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8.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2"/>
  </p:sldMasterIdLst>
  <p:notesMasterIdLst>
    <p:notesMasterId r:id="rId12"/>
  </p:notesMasterIdLst>
  <p:handoutMasterIdLst>
    <p:handoutMasterId r:id="rId13"/>
  </p:handoutMasterIdLst>
  <p:sldIdLst>
    <p:sldId id="2147468945" r:id="rId3"/>
    <p:sldId id="2147468950" r:id="rId4"/>
    <p:sldId id="258" r:id="rId5"/>
    <p:sldId id="318" r:id="rId6"/>
    <p:sldId id="349" r:id="rId7"/>
    <p:sldId id="2147468955" r:id="rId8"/>
    <p:sldId id="350" r:id="rId9"/>
    <p:sldId id="2147468954" r:id="rId10"/>
    <p:sldId id="2147468957" r:id="rId11"/>
  </p:sldIdLst>
  <p:sldSz cx="12192000" cy="6858000"/>
  <p:notesSz cx="6858000" cy="91440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514" userDrawn="1">
          <p15:clr>
            <a:srgbClr val="A4A3A4"/>
          </p15:clr>
        </p15:guide>
        <p15:guide id="2" pos="7378" userDrawn="1">
          <p15:clr>
            <a:srgbClr val="A4A3A4"/>
          </p15:clr>
        </p15:guide>
        <p15:guide id="3" orient="horz" pos="3838" userDrawn="1">
          <p15:clr>
            <a:srgbClr val="A4A3A4"/>
          </p15:clr>
        </p15:guide>
        <p15:guide id="5" orient="horz" pos="4088" userDrawn="1">
          <p15:clr>
            <a:srgbClr val="A4A3A4"/>
          </p15:clr>
        </p15:guide>
        <p15:guide id="6" orient="horz" pos="402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u, Bing" initials="YB" lastIdx="12" clrIdx="0">
    <p:extLst>
      <p:ext uri="{19B8F6BF-5375-455C-9EA6-DF929625EA0E}">
        <p15:presenceInfo xmlns:p15="http://schemas.microsoft.com/office/powerpoint/2012/main" userId="S::yubing3@merck.com::90a94cb0-8e9a-43a8-89bf-1b8017aa98de" providerId="AD"/>
      </p:ext>
    </p:extLst>
  </p:cmAuthor>
  <p:cmAuthor id="2" name="Sun, Yi" initials="SY" lastIdx="9" clrIdx="1">
    <p:extLst>
      <p:ext uri="{19B8F6BF-5375-455C-9EA6-DF929625EA0E}">
        <p15:presenceInfo xmlns:p15="http://schemas.microsoft.com/office/powerpoint/2012/main" userId="S::sunyi6@merck.com::4bbb6d08-3ae8-42cf-bcb4-09f09d11eba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2F2F2"/>
    <a:srgbClr val="B7D332"/>
    <a:srgbClr val="FFC000"/>
    <a:srgbClr val="F2F9F8"/>
    <a:srgbClr val="00857C"/>
    <a:srgbClr val="00645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40" autoAdjust="0"/>
    <p:restoredTop sz="93353" autoAdjust="0"/>
  </p:normalViewPr>
  <p:slideViewPr>
    <p:cSldViewPr snapToGrid="0">
      <p:cViewPr varScale="1">
        <p:scale>
          <a:sx n="64" d="100"/>
          <a:sy n="64" d="100"/>
        </p:scale>
        <p:origin x="858" y="66"/>
      </p:cViewPr>
      <p:guideLst>
        <p:guide pos="7514"/>
        <p:guide pos="7378"/>
        <p:guide orient="horz" pos="3838"/>
        <p:guide orient="horz" pos="4088"/>
        <p:guide orient="horz" pos="4020"/>
      </p:guideLst>
    </p:cSldViewPr>
  </p:slideViewPr>
  <p:notesTextViewPr>
    <p:cViewPr>
      <p:scale>
        <a:sx n="1" d="1"/>
        <a:sy n="1" d="1"/>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u, Bing" userId="90a94cb0-8e9a-43a8-89bf-1b8017aa98de" providerId="ADAL" clId="{89263D42-2051-4E94-B881-7AC65E2DFEDD}"/>
    <pc:docChg chg="undo custSel addSld delSld modSld">
      <pc:chgData name="Yu, Bing" userId="90a94cb0-8e9a-43a8-89bf-1b8017aa98de" providerId="ADAL" clId="{89263D42-2051-4E94-B881-7AC65E2DFEDD}" dt="2022-07-12T11:13:49.998" v="1034" actId="113"/>
      <pc:docMkLst>
        <pc:docMk/>
      </pc:docMkLst>
      <pc:sldChg chg="modSp del mod delCm modNotesTx">
        <pc:chgData name="Yu, Bing" userId="90a94cb0-8e9a-43a8-89bf-1b8017aa98de" providerId="ADAL" clId="{89263D42-2051-4E94-B881-7AC65E2DFEDD}" dt="2022-07-12T11:11:27.702" v="1017" actId="47"/>
        <pc:sldMkLst>
          <pc:docMk/>
          <pc:sldMk cId="2530524659" sldId="257"/>
        </pc:sldMkLst>
        <pc:spChg chg="mod">
          <ac:chgData name="Yu, Bing" userId="90a94cb0-8e9a-43a8-89bf-1b8017aa98de" providerId="ADAL" clId="{89263D42-2051-4E94-B881-7AC65E2DFEDD}" dt="2022-07-12T07:12:09.132" v="781" actId="207"/>
          <ac:spMkLst>
            <pc:docMk/>
            <pc:sldMk cId="2530524659" sldId="257"/>
            <ac:spMk id="26" creationId="{00000000-0000-0000-0000-000000000000}"/>
          </ac:spMkLst>
        </pc:spChg>
        <pc:spChg chg="mod">
          <ac:chgData name="Yu, Bing" userId="90a94cb0-8e9a-43a8-89bf-1b8017aa98de" providerId="ADAL" clId="{89263D42-2051-4E94-B881-7AC65E2DFEDD}" dt="2022-07-12T07:14:33.495" v="797"/>
          <ac:spMkLst>
            <pc:docMk/>
            <pc:sldMk cId="2530524659" sldId="257"/>
            <ac:spMk id="27" creationId="{00000000-0000-0000-0000-000000000000}"/>
          </ac:spMkLst>
        </pc:spChg>
        <pc:spChg chg="mod">
          <ac:chgData name="Yu, Bing" userId="90a94cb0-8e9a-43a8-89bf-1b8017aa98de" providerId="ADAL" clId="{89263D42-2051-4E94-B881-7AC65E2DFEDD}" dt="2022-07-12T07:12:41.297" v="784" actId="207"/>
          <ac:spMkLst>
            <pc:docMk/>
            <pc:sldMk cId="2530524659" sldId="257"/>
            <ac:spMk id="32" creationId="{00000000-0000-0000-0000-000000000000}"/>
          </ac:spMkLst>
        </pc:spChg>
        <pc:spChg chg="mod">
          <ac:chgData name="Yu, Bing" userId="90a94cb0-8e9a-43a8-89bf-1b8017aa98de" providerId="ADAL" clId="{89263D42-2051-4E94-B881-7AC65E2DFEDD}" dt="2022-07-12T07:11:30.996" v="779" actId="255"/>
          <ac:spMkLst>
            <pc:docMk/>
            <pc:sldMk cId="2530524659" sldId="257"/>
            <ac:spMk id="33" creationId="{00000000-0000-0000-0000-000000000000}"/>
          </ac:spMkLst>
        </pc:spChg>
        <pc:spChg chg="mod">
          <ac:chgData name="Yu, Bing" userId="90a94cb0-8e9a-43a8-89bf-1b8017aa98de" providerId="ADAL" clId="{89263D42-2051-4E94-B881-7AC65E2DFEDD}" dt="2022-07-12T07:12:24.829" v="782" actId="207"/>
          <ac:spMkLst>
            <pc:docMk/>
            <pc:sldMk cId="2530524659" sldId="257"/>
            <ac:spMk id="40" creationId="{00000000-0000-0000-0000-000000000000}"/>
          </ac:spMkLst>
        </pc:spChg>
        <pc:spChg chg="mod">
          <ac:chgData name="Yu, Bing" userId="90a94cb0-8e9a-43a8-89bf-1b8017aa98de" providerId="ADAL" clId="{89263D42-2051-4E94-B881-7AC65E2DFEDD}" dt="2022-07-12T07:14:55.693" v="798" actId="108"/>
          <ac:spMkLst>
            <pc:docMk/>
            <pc:sldMk cId="2530524659" sldId="257"/>
            <ac:spMk id="41" creationId="{00000000-0000-0000-0000-000000000000}"/>
          </ac:spMkLst>
        </pc:spChg>
      </pc:sldChg>
      <pc:sldChg chg="modSp mod modNotesTx">
        <pc:chgData name="Yu, Bing" userId="90a94cb0-8e9a-43a8-89bf-1b8017aa98de" providerId="ADAL" clId="{89263D42-2051-4E94-B881-7AC65E2DFEDD}" dt="2022-07-12T07:21:45.108" v="800" actId="113"/>
        <pc:sldMkLst>
          <pc:docMk/>
          <pc:sldMk cId="0" sldId="258"/>
        </pc:sldMkLst>
        <pc:spChg chg="mod">
          <ac:chgData name="Yu, Bing" userId="90a94cb0-8e9a-43a8-89bf-1b8017aa98de" providerId="ADAL" clId="{89263D42-2051-4E94-B881-7AC65E2DFEDD}" dt="2022-07-12T06:36:24.557" v="562" actId="1076"/>
          <ac:spMkLst>
            <pc:docMk/>
            <pc:sldMk cId="0" sldId="258"/>
            <ac:spMk id="3" creationId="{884001B9-1D75-401E-8D49-FE8962EB1B5D}"/>
          </ac:spMkLst>
        </pc:spChg>
        <pc:spChg chg="mod">
          <ac:chgData name="Yu, Bing" userId="90a94cb0-8e9a-43a8-89bf-1b8017aa98de" providerId="ADAL" clId="{89263D42-2051-4E94-B881-7AC65E2DFEDD}" dt="2022-07-12T06:36:49.653" v="564" actId="207"/>
          <ac:spMkLst>
            <pc:docMk/>
            <pc:sldMk cId="0" sldId="258"/>
            <ac:spMk id="33" creationId="{D2AFDF46-99CB-400C-818F-5DAB0D1E4DD5}"/>
          </ac:spMkLst>
        </pc:spChg>
        <pc:spChg chg="mod">
          <ac:chgData name="Yu, Bing" userId="90a94cb0-8e9a-43a8-89bf-1b8017aa98de" providerId="ADAL" clId="{89263D42-2051-4E94-B881-7AC65E2DFEDD}" dt="2022-07-12T06:37:57.806" v="575" actId="20577"/>
          <ac:spMkLst>
            <pc:docMk/>
            <pc:sldMk cId="0" sldId="258"/>
            <ac:spMk id="37" creationId="{BCEAEB03-6043-4F14-9664-BA7304F77E74}"/>
          </ac:spMkLst>
        </pc:spChg>
        <pc:spChg chg="mod">
          <ac:chgData name="Yu, Bing" userId="90a94cb0-8e9a-43a8-89bf-1b8017aa98de" providerId="ADAL" clId="{89263D42-2051-4E94-B881-7AC65E2DFEDD}" dt="2022-07-11T09:51:11.474" v="16" actId="1036"/>
          <ac:spMkLst>
            <pc:docMk/>
            <pc:sldMk cId="0" sldId="258"/>
            <ac:spMk id="76" creationId="{00000000-0000-0000-0000-000000000000}"/>
          </ac:spMkLst>
        </pc:spChg>
        <pc:spChg chg="mod">
          <ac:chgData name="Yu, Bing" userId="90a94cb0-8e9a-43a8-89bf-1b8017aa98de" providerId="ADAL" clId="{89263D42-2051-4E94-B881-7AC65E2DFEDD}" dt="2022-07-11T09:51:23.725" v="24" actId="1036"/>
          <ac:spMkLst>
            <pc:docMk/>
            <pc:sldMk cId="0" sldId="258"/>
            <ac:spMk id="77" creationId="{00000000-0000-0000-0000-000000000000}"/>
          </ac:spMkLst>
        </pc:spChg>
        <pc:spChg chg="mod">
          <ac:chgData name="Yu, Bing" userId="90a94cb0-8e9a-43a8-89bf-1b8017aa98de" providerId="ADAL" clId="{89263D42-2051-4E94-B881-7AC65E2DFEDD}" dt="2022-07-11T22:42:39.290" v="186" actId="1036"/>
          <ac:spMkLst>
            <pc:docMk/>
            <pc:sldMk cId="0" sldId="258"/>
            <ac:spMk id="78" creationId="{00000000-0000-0000-0000-000000000000}"/>
          </ac:spMkLst>
        </pc:spChg>
        <pc:spChg chg="mod">
          <ac:chgData name="Yu, Bing" userId="90a94cb0-8e9a-43a8-89bf-1b8017aa98de" providerId="ADAL" clId="{89263D42-2051-4E94-B881-7AC65E2DFEDD}" dt="2022-07-12T07:21:45.108" v="800" actId="113"/>
          <ac:spMkLst>
            <pc:docMk/>
            <pc:sldMk cId="0" sldId="258"/>
            <ac:spMk id="79" creationId="{00000000-0000-0000-0000-000000000000}"/>
          </ac:spMkLst>
        </pc:spChg>
        <pc:spChg chg="mod">
          <ac:chgData name="Yu, Bing" userId="90a94cb0-8e9a-43a8-89bf-1b8017aa98de" providerId="ADAL" clId="{89263D42-2051-4E94-B881-7AC65E2DFEDD}" dt="2022-07-12T06:33:54.343" v="557" actId="207"/>
          <ac:spMkLst>
            <pc:docMk/>
            <pc:sldMk cId="0" sldId="258"/>
            <ac:spMk id="81" creationId="{00000000-0000-0000-0000-000000000000}"/>
          </ac:spMkLst>
        </pc:spChg>
        <pc:spChg chg="mod">
          <ac:chgData name="Yu, Bing" userId="90a94cb0-8e9a-43a8-89bf-1b8017aa98de" providerId="ADAL" clId="{89263D42-2051-4E94-B881-7AC65E2DFEDD}" dt="2022-07-12T07:18:33.612" v="799" actId="113"/>
          <ac:spMkLst>
            <pc:docMk/>
            <pc:sldMk cId="0" sldId="258"/>
            <ac:spMk id="82" creationId="{00000000-0000-0000-0000-000000000000}"/>
          </ac:spMkLst>
        </pc:spChg>
        <pc:spChg chg="mod">
          <ac:chgData name="Yu, Bing" userId="90a94cb0-8e9a-43a8-89bf-1b8017aa98de" providerId="ADAL" clId="{89263D42-2051-4E94-B881-7AC65E2DFEDD}" dt="2022-07-11T09:51:11.474" v="16" actId="1036"/>
          <ac:spMkLst>
            <pc:docMk/>
            <pc:sldMk cId="0" sldId="258"/>
            <ac:spMk id="84" creationId="{00000000-0000-0000-0000-000000000000}"/>
          </ac:spMkLst>
        </pc:spChg>
        <pc:spChg chg="mod">
          <ac:chgData name="Yu, Bing" userId="90a94cb0-8e9a-43a8-89bf-1b8017aa98de" providerId="ADAL" clId="{89263D42-2051-4E94-B881-7AC65E2DFEDD}" dt="2022-07-11T09:51:23.725" v="24" actId="1036"/>
          <ac:spMkLst>
            <pc:docMk/>
            <pc:sldMk cId="0" sldId="258"/>
            <ac:spMk id="85" creationId="{00000000-0000-0000-0000-000000000000}"/>
          </ac:spMkLst>
        </pc:spChg>
        <pc:spChg chg="mod">
          <ac:chgData name="Yu, Bing" userId="90a94cb0-8e9a-43a8-89bf-1b8017aa98de" providerId="ADAL" clId="{89263D42-2051-4E94-B881-7AC65E2DFEDD}" dt="2022-07-11T22:42:39.290" v="186" actId="1036"/>
          <ac:spMkLst>
            <pc:docMk/>
            <pc:sldMk cId="0" sldId="258"/>
            <ac:spMk id="86" creationId="{00000000-0000-0000-0000-000000000000}"/>
          </ac:spMkLst>
        </pc:spChg>
        <pc:spChg chg="mod">
          <ac:chgData name="Yu, Bing" userId="90a94cb0-8e9a-43a8-89bf-1b8017aa98de" providerId="ADAL" clId="{89263D42-2051-4E94-B881-7AC65E2DFEDD}" dt="2022-07-12T06:37:32.464" v="566" actId="207"/>
          <ac:spMkLst>
            <pc:docMk/>
            <pc:sldMk cId="0" sldId="258"/>
            <ac:spMk id="106" creationId="{C32CE4D1-C2D5-48AB-A9E7-CC7F921D3421}"/>
          </ac:spMkLst>
        </pc:spChg>
      </pc:sldChg>
      <pc:sldChg chg="modSp mod">
        <pc:chgData name="Yu, Bing" userId="90a94cb0-8e9a-43a8-89bf-1b8017aa98de" providerId="ADAL" clId="{89263D42-2051-4E94-B881-7AC65E2DFEDD}" dt="2022-07-12T07:59:28.489" v="1011" actId="1036"/>
        <pc:sldMkLst>
          <pc:docMk/>
          <pc:sldMk cId="0" sldId="318"/>
        </pc:sldMkLst>
        <pc:spChg chg="mod">
          <ac:chgData name="Yu, Bing" userId="90a94cb0-8e9a-43a8-89bf-1b8017aa98de" providerId="ADAL" clId="{89263D42-2051-4E94-B881-7AC65E2DFEDD}" dt="2022-07-12T07:58:27.428" v="986" actId="20577"/>
          <ac:spMkLst>
            <pc:docMk/>
            <pc:sldMk cId="0" sldId="318"/>
            <ac:spMk id="6" creationId="{00000000-0000-0000-0000-000000000000}"/>
          </ac:spMkLst>
        </pc:spChg>
        <pc:spChg chg="mod">
          <ac:chgData name="Yu, Bing" userId="90a94cb0-8e9a-43a8-89bf-1b8017aa98de" providerId="ADAL" clId="{89263D42-2051-4E94-B881-7AC65E2DFEDD}" dt="2022-07-12T07:59:28.489" v="1011" actId="1036"/>
          <ac:spMkLst>
            <pc:docMk/>
            <pc:sldMk cId="0" sldId="318"/>
            <ac:spMk id="8" creationId="{00000000-0000-0000-0000-000000000000}"/>
          </ac:spMkLst>
        </pc:spChg>
        <pc:spChg chg="mod">
          <ac:chgData name="Yu, Bing" userId="90a94cb0-8e9a-43a8-89bf-1b8017aa98de" providerId="ADAL" clId="{89263D42-2051-4E94-B881-7AC65E2DFEDD}" dt="2022-07-12T06:38:44.953" v="576" actId="113"/>
          <ac:spMkLst>
            <pc:docMk/>
            <pc:sldMk cId="0" sldId="318"/>
            <ac:spMk id="47" creationId="{00000000-0000-0000-0000-000000000000}"/>
          </ac:spMkLst>
        </pc:spChg>
        <pc:spChg chg="mod">
          <ac:chgData name="Yu, Bing" userId="90a94cb0-8e9a-43a8-89bf-1b8017aa98de" providerId="ADAL" clId="{89263D42-2051-4E94-B881-7AC65E2DFEDD}" dt="2022-07-12T07:59:28.489" v="1011" actId="1036"/>
          <ac:spMkLst>
            <pc:docMk/>
            <pc:sldMk cId="0" sldId="318"/>
            <ac:spMk id="52" creationId="{00000000-0000-0000-0000-000000000000}"/>
          </ac:spMkLst>
        </pc:spChg>
        <pc:spChg chg="mod">
          <ac:chgData name="Yu, Bing" userId="90a94cb0-8e9a-43a8-89bf-1b8017aa98de" providerId="ADAL" clId="{89263D42-2051-4E94-B881-7AC65E2DFEDD}" dt="2022-07-12T07:59:07.797" v="1008" actId="1036"/>
          <ac:spMkLst>
            <pc:docMk/>
            <pc:sldMk cId="0" sldId="318"/>
            <ac:spMk id="61" creationId="{00000000-0000-0000-0000-000000000000}"/>
          </ac:spMkLst>
        </pc:spChg>
        <pc:spChg chg="mod">
          <ac:chgData name="Yu, Bing" userId="90a94cb0-8e9a-43a8-89bf-1b8017aa98de" providerId="ADAL" clId="{89263D42-2051-4E94-B881-7AC65E2DFEDD}" dt="2022-07-12T07:59:28.489" v="1011" actId="1036"/>
          <ac:spMkLst>
            <pc:docMk/>
            <pc:sldMk cId="0" sldId="318"/>
            <ac:spMk id="68" creationId="{B331BD60-7D53-4C32-A0F8-B9B61E535009}"/>
          </ac:spMkLst>
        </pc:spChg>
        <pc:spChg chg="mod">
          <ac:chgData name="Yu, Bing" userId="90a94cb0-8e9a-43a8-89bf-1b8017aa98de" providerId="ADAL" clId="{89263D42-2051-4E94-B881-7AC65E2DFEDD}" dt="2022-07-12T07:59:28.489" v="1011" actId="1036"/>
          <ac:spMkLst>
            <pc:docMk/>
            <pc:sldMk cId="0" sldId="318"/>
            <ac:spMk id="69" creationId="{B331BD60-7D53-4C32-A0F8-B9B61E535009}"/>
          </ac:spMkLst>
        </pc:spChg>
        <pc:spChg chg="mod">
          <ac:chgData name="Yu, Bing" userId="90a94cb0-8e9a-43a8-89bf-1b8017aa98de" providerId="ADAL" clId="{89263D42-2051-4E94-B881-7AC65E2DFEDD}" dt="2022-07-12T07:59:28.489" v="1011" actId="1036"/>
          <ac:spMkLst>
            <pc:docMk/>
            <pc:sldMk cId="0" sldId="318"/>
            <ac:spMk id="100" creationId="{9BD0BF96-5889-4165-CA4B-C04DA7F11E0B}"/>
          </ac:spMkLst>
        </pc:spChg>
        <pc:spChg chg="mod">
          <ac:chgData name="Yu, Bing" userId="90a94cb0-8e9a-43a8-89bf-1b8017aa98de" providerId="ADAL" clId="{89263D42-2051-4E94-B881-7AC65E2DFEDD}" dt="2022-07-12T07:59:28.489" v="1011" actId="1036"/>
          <ac:spMkLst>
            <pc:docMk/>
            <pc:sldMk cId="0" sldId="318"/>
            <ac:spMk id="101" creationId="{C4D3603D-DD58-7210-E5C2-0776FD0C56F8}"/>
          </ac:spMkLst>
        </pc:spChg>
        <pc:spChg chg="mod">
          <ac:chgData name="Yu, Bing" userId="90a94cb0-8e9a-43a8-89bf-1b8017aa98de" providerId="ADAL" clId="{89263D42-2051-4E94-B881-7AC65E2DFEDD}" dt="2022-07-12T07:59:28.489" v="1011" actId="1036"/>
          <ac:spMkLst>
            <pc:docMk/>
            <pc:sldMk cId="0" sldId="318"/>
            <ac:spMk id="102" creationId="{A367A9FD-3ECB-C779-70F1-FA5956B1CFFA}"/>
          </ac:spMkLst>
        </pc:spChg>
        <pc:spChg chg="mod">
          <ac:chgData name="Yu, Bing" userId="90a94cb0-8e9a-43a8-89bf-1b8017aa98de" providerId="ADAL" clId="{89263D42-2051-4E94-B881-7AC65E2DFEDD}" dt="2022-07-12T07:59:28.489" v="1011" actId="1036"/>
          <ac:spMkLst>
            <pc:docMk/>
            <pc:sldMk cId="0" sldId="318"/>
            <ac:spMk id="103" creationId="{E6BF774D-514E-73A4-0E2E-8565E02D588D}"/>
          </ac:spMkLst>
        </pc:spChg>
        <pc:spChg chg="mod">
          <ac:chgData name="Yu, Bing" userId="90a94cb0-8e9a-43a8-89bf-1b8017aa98de" providerId="ADAL" clId="{89263D42-2051-4E94-B881-7AC65E2DFEDD}" dt="2022-07-12T07:59:28.489" v="1011" actId="1036"/>
          <ac:spMkLst>
            <pc:docMk/>
            <pc:sldMk cId="0" sldId="318"/>
            <ac:spMk id="104" creationId="{00BE387D-687A-221F-D498-B1D9791F01DB}"/>
          </ac:spMkLst>
        </pc:spChg>
        <pc:spChg chg="mod">
          <ac:chgData name="Yu, Bing" userId="90a94cb0-8e9a-43a8-89bf-1b8017aa98de" providerId="ADAL" clId="{89263D42-2051-4E94-B881-7AC65E2DFEDD}" dt="2022-07-12T07:59:28.489" v="1011" actId="1036"/>
          <ac:spMkLst>
            <pc:docMk/>
            <pc:sldMk cId="0" sldId="318"/>
            <ac:spMk id="105" creationId="{78B3B79D-6E35-8361-A4E3-E31DEA6E8719}"/>
          </ac:spMkLst>
        </pc:spChg>
        <pc:spChg chg="mod">
          <ac:chgData name="Yu, Bing" userId="90a94cb0-8e9a-43a8-89bf-1b8017aa98de" providerId="ADAL" clId="{89263D42-2051-4E94-B881-7AC65E2DFEDD}" dt="2022-07-12T07:59:28.489" v="1011" actId="1036"/>
          <ac:spMkLst>
            <pc:docMk/>
            <pc:sldMk cId="0" sldId="318"/>
            <ac:spMk id="106" creationId="{BBD76F73-DA95-A3A5-90B8-1A2602C1967F}"/>
          </ac:spMkLst>
        </pc:spChg>
        <pc:spChg chg="mod">
          <ac:chgData name="Yu, Bing" userId="90a94cb0-8e9a-43a8-89bf-1b8017aa98de" providerId="ADAL" clId="{89263D42-2051-4E94-B881-7AC65E2DFEDD}" dt="2022-07-12T07:59:28.489" v="1011" actId="1036"/>
          <ac:spMkLst>
            <pc:docMk/>
            <pc:sldMk cId="0" sldId="318"/>
            <ac:spMk id="107" creationId="{2CC927EC-C804-D8D0-2B64-605B3F2CE87C}"/>
          </ac:spMkLst>
        </pc:spChg>
        <pc:spChg chg="mod">
          <ac:chgData name="Yu, Bing" userId="90a94cb0-8e9a-43a8-89bf-1b8017aa98de" providerId="ADAL" clId="{89263D42-2051-4E94-B881-7AC65E2DFEDD}" dt="2022-07-12T07:59:28.489" v="1011" actId="1036"/>
          <ac:spMkLst>
            <pc:docMk/>
            <pc:sldMk cId="0" sldId="318"/>
            <ac:spMk id="108" creationId="{52E88F87-3C1B-1090-813A-E9BF380984FF}"/>
          </ac:spMkLst>
        </pc:spChg>
        <pc:spChg chg="mod">
          <ac:chgData name="Yu, Bing" userId="90a94cb0-8e9a-43a8-89bf-1b8017aa98de" providerId="ADAL" clId="{89263D42-2051-4E94-B881-7AC65E2DFEDD}" dt="2022-07-12T07:59:28.489" v="1011" actId="1036"/>
          <ac:spMkLst>
            <pc:docMk/>
            <pc:sldMk cId="0" sldId="318"/>
            <ac:spMk id="109" creationId="{70059D9F-BAAE-E211-14AC-406C08C30C6C}"/>
          </ac:spMkLst>
        </pc:spChg>
        <pc:spChg chg="mod">
          <ac:chgData name="Yu, Bing" userId="90a94cb0-8e9a-43a8-89bf-1b8017aa98de" providerId="ADAL" clId="{89263D42-2051-4E94-B881-7AC65E2DFEDD}" dt="2022-07-12T07:59:28.489" v="1011" actId="1036"/>
          <ac:spMkLst>
            <pc:docMk/>
            <pc:sldMk cId="0" sldId="318"/>
            <ac:spMk id="110" creationId="{4FA51537-9798-CDDE-EF63-AEDBC58840F0}"/>
          </ac:spMkLst>
        </pc:spChg>
        <pc:spChg chg="mod">
          <ac:chgData name="Yu, Bing" userId="90a94cb0-8e9a-43a8-89bf-1b8017aa98de" providerId="ADAL" clId="{89263D42-2051-4E94-B881-7AC65E2DFEDD}" dt="2022-07-12T07:59:28.489" v="1011" actId="1036"/>
          <ac:spMkLst>
            <pc:docMk/>
            <pc:sldMk cId="0" sldId="318"/>
            <ac:spMk id="111" creationId="{F3758DA2-22D9-F019-C025-36D05E7DF9E9}"/>
          </ac:spMkLst>
        </pc:spChg>
        <pc:spChg chg="mod">
          <ac:chgData name="Yu, Bing" userId="90a94cb0-8e9a-43a8-89bf-1b8017aa98de" providerId="ADAL" clId="{89263D42-2051-4E94-B881-7AC65E2DFEDD}" dt="2022-07-12T07:59:28.489" v="1011" actId="1036"/>
          <ac:spMkLst>
            <pc:docMk/>
            <pc:sldMk cId="0" sldId="318"/>
            <ac:spMk id="112" creationId="{0806D483-ADE7-9E07-D099-08D7E1BF141C}"/>
          </ac:spMkLst>
        </pc:spChg>
        <pc:spChg chg="mod">
          <ac:chgData name="Yu, Bing" userId="90a94cb0-8e9a-43a8-89bf-1b8017aa98de" providerId="ADAL" clId="{89263D42-2051-4E94-B881-7AC65E2DFEDD}" dt="2022-07-12T07:59:28.489" v="1011" actId="1036"/>
          <ac:spMkLst>
            <pc:docMk/>
            <pc:sldMk cId="0" sldId="318"/>
            <ac:spMk id="113" creationId="{4A89A8A7-A4BF-EF01-CA3A-7060D66C07D1}"/>
          </ac:spMkLst>
        </pc:spChg>
        <pc:spChg chg="mod">
          <ac:chgData name="Yu, Bing" userId="90a94cb0-8e9a-43a8-89bf-1b8017aa98de" providerId="ADAL" clId="{89263D42-2051-4E94-B881-7AC65E2DFEDD}" dt="2022-07-12T07:59:28.489" v="1011" actId="1036"/>
          <ac:spMkLst>
            <pc:docMk/>
            <pc:sldMk cId="0" sldId="318"/>
            <ac:spMk id="114" creationId="{2105024B-A5DA-2DC5-5394-230EF515EF32}"/>
          </ac:spMkLst>
        </pc:spChg>
        <pc:spChg chg="mod">
          <ac:chgData name="Yu, Bing" userId="90a94cb0-8e9a-43a8-89bf-1b8017aa98de" providerId="ADAL" clId="{89263D42-2051-4E94-B881-7AC65E2DFEDD}" dt="2022-07-12T07:59:28.489" v="1011" actId="1036"/>
          <ac:spMkLst>
            <pc:docMk/>
            <pc:sldMk cId="0" sldId="318"/>
            <ac:spMk id="115" creationId="{42BB481D-2BFE-C6C0-6EA7-6445231ADBE2}"/>
          </ac:spMkLst>
        </pc:spChg>
        <pc:spChg chg="mod">
          <ac:chgData name="Yu, Bing" userId="90a94cb0-8e9a-43a8-89bf-1b8017aa98de" providerId="ADAL" clId="{89263D42-2051-4E94-B881-7AC65E2DFEDD}" dt="2022-07-12T07:59:28.489" v="1011" actId="1036"/>
          <ac:spMkLst>
            <pc:docMk/>
            <pc:sldMk cId="0" sldId="318"/>
            <ac:spMk id="116" creationId="{96DBB3C1-1753-1A5F-FD52-20D1136B4F9D}"/>
          </ac:spMkLst>
        </pc:spChg>
        <pc:spChg chg="mod">
          <ac:chgData name="Yu, Bing" userId="90a94cb0-8e9a-43a8-89bf-1b8017aa98de" providerId="ADAL" clId="{89263D42-2051-4E94-B881-7AC65E2DFEDD}" dt="2022-07-12T07:59:28.489" v="1011" actId="1036"/>
          <ac:spMkLst>
            <pc:docMk/>
            <pc:sldMk cId="0" sldId="318"/>
            <ac:spMk id="117" creationId="{CDBE2ABA-FCA6-5304-DF34-2446203E9A79}"/>
          </ac:spMkLst>
        </pc:spChg>
        <pc:spChg chg="mod">
          <ac:chgData name="Yu, Bing" userId="90a94cb0-8e9a-43a8-89bf-1b8017aa98de" providerId="ADAL" clId="{89263D42-2051-4E94-B881-7AC65E2DFEDD}" dt="2022-07-12T07:59:28.489" v="1011" actId="1036"/>
          <ac:spMkLst>
            <pc:docMk/>
            <pc:sldMk cId="0" sldId="318"/>
            <ac:spMk id="118" creationId="{74079C97-99FE-753E-8601-263672BD409F}"/>
          </ac:spMkLst>
        </pc:spChg>
        <pc:spChg chg="mod">
          <ac:chgData name="Yu, Bing" userId="90a94cb0-8e9a-43a8-89bf-1b8017aa98de" providerId="ADAL" clId="{89263D42-2051-4E94-B881-7AC65E2DFEDD}" dt="2022-07-12T07:59:28.489" v="1011" actId="1036"/>
          <ac:spMkLst>
            <pc:docMk/>
            <pc:sldMk cId="0" sldId="318"/>
            <ac:spMk id="119" creationId="{DD3D1DDC-D077-B5E2-69F1-4E496F21439E}"/>
          </ac:spMkLst>
        </pc:spChg>
        <pc:spChg chg="mod">
          <ac:chgData name="Yu, Bing" userId="90a94cb0-8e9a-43a8-89bf-1b8017aa98de" providerId="ADAL" clId="{89263D42-2051-4E94-B881-7AC65E2DFEDD}" dt="2022-07-12T07:59:28.489" v="1011" actId="1036"/>
          <ac:spMkLst>
            <pc:docMk/>
            <pc:sldMk cId="0" sldId="318"/>
            <ac:spMk id="120" creationId="{03EAFAB9-48C2-EB7D-E8FD-69141215F139}"/>
          </ac:spMkLst>
        </pc:spChg>
        <pc:spChg chg="mod">
          <ac:chgData name="Yu, Bing" userId="90a94cb0-8e9a-43a8-89bf-1b8017aa98de" providerId="ADAL" clId="{89263D42-2051-4E94-B881-7AC65E2DFEDD}" dt="2022-07-12T07:59:28.489" v="1011" actId="1036"/>
          <ac:spMkLst>
            <pc:docMk/>
            <pc:sldMk cId="0" sldId="318"/>
            <ac:spMk id="121" creationId="{0FB150DB-C87D-6831-0E78-D413D72E56BD}"/>
          </ac:spMkLst>
        </pc:spChg>
        <pc:spChg chg="mod">
          <ac:chgData name="Yu, Bing" userId="90a94cb0-8e9a-43a8-89bf-1b8017aa98de" providerId="ADAL" clId="{89263D42-2051-4E94-B881-7AC65E2DFEDD}" dt="2022-07-12T07:59:28.489" v="1011" actId="1036"/>
          <ac:spMkLst>
            <pc:docMk/>
            <pc:sldMk cId="0" sldId="318"/>
            <ac:spMk id="122" creationId="{764423D9-1DA0-52FE-587E-A7A3B31D9C52}"/>
          </ac:spMkLst>
        </pc:spChg>
        <pc:spChg chg="mod">
          <ac:chgData name="Yu, Bing" userId="90a94cb0-8e9a-43a8-89bf-1b8017aa98de" providerId="ADAL" clId="{89263D42-2051-4E94-B881-7AC65E2DFEDD}" dt="2022-07-12T07:59:28.489" v="1011" actId="1036"/>
          <ac:spMkLst>
            <pc:docMk/>
            <pc:sldMk cId="0" sldId="318"/>
            <ac:spMk id="123" creationId="{0C88471E-1309-D0DF-C557-CBE53D082BE6}"/>
          </ac:spMkLst>
        </pc:spChg>
        <pc:spChg chg="mod">
          <ac:chgData name="Yu, Bing" userId="90a94cb0-8e9a-43a8-89bf-1b8017aa98de" providerId="ADAL" clId="{89263D42-2051-4E94-B881-7AC65E2DFEDD}" dt="2022-07-12T07:59:28.489" v="1011" actId="1036"/>
          <ac:spMkLst>
            <pc:docMk/>
            <pc:sldMk cId="0" sldId="318"/>
            <ac:spMk id="124" creationId="{558C77EA-F5A5-58CE-E996-C1BF5D0E4BCA}"/>
          </ac:spMkLst>
        </pc:spChg>
        <pc:spChg chg="mod">
          <ac:chgData name="Yu, Bing" userId="90a94cb0-8e9a-43a8-89bf-1b8017aa98de" providerId="ADAL" clId="{89263D42-2051-4E94-B881-7AC65E2DFEDD}" dt="2022-07-12T07:59:28.489" v="1011" actId="1036"/>
          <ac:spMkLst>
            <pc:docMk/>
            <pc:sldMk cId="0" sldId="318"/>
            <ac:spMk id="125" creationId="{4056C192-3E0C-071F-1D6C-367677C5E902}"/>
          </ac:spMkLst>
        </pc:spChg>
        <pc:spChg chg="mod">
          <ac:chgData name="Yu, Bing" userId="90a94cb0-8e9a-43a8-89bf-1b8017aa98de" providerId="ADAL" clId="{89263D42-2051-4E94-B881-7AC65E2DFEDD}" dt="2022-07-12T07:59:28.489" v="1011" actId="1036"/>
          <ac:spMkLst>
            <pc:docMk/>
            <pc:sldMk cId="0" sldId="318"/>
            <ac:spMk id="126" creationId="{54B3DAA2-AA05-7E51-882D-6BE418841CCE}"/>
          </ac:spMkLst>
        </pc:spChg>
        <pc:spChg chg="mod">
          <ac:chgData name="Yu, Bing" userId="90a94cb0-8e9a-43a8-89bf-1b8017aa98de" providerId="ADAL" clId="{89263D42-2051-4E94-B881-7AC65E2DFEDD}" dt="2022-07-12T07:59:28.489" v="1011" actId="1036"/>
          <ac:spMkLst>
            <pc:docMk/>
            <pc:sldMk cId="0" sldId="318"/>
            <ac:spMk id="127" creationId="{6417E074-F36B-C0F4-4922-80E8DFF8FB7B}"/>
          </ac:spMkLst>
        </pc:spChg>
        <pc:spChg chg="mod">
          <ac:chgData name="Yu, Bing" userId="90a94cb0-8e9a-43a8-89bf-1b8017aa98de" providerId="ADAL" clId="{89263D42-2051-4E94-B881-7AC65E2DFEDD}" dt="2022-07-12T07:59:28.489" v="1011" actId="1036"/>
          <ac:spMkLst>
            <pc:docMk/>
            <pc:sldMk cId="0" sldId="318"/>
            <ac:spMk id="128" creationId="{984AF88B-7AC8-B546-A492-41AE52173131}"/>
          </ac:spMkLst>
        </pc:spChg>
        <pc:spChg chg="mod">
          <ac:chgData name="Yu, Bing" userId="90a94cb0-8e9a-43a8-89bf-1b8017aa98de" providerId="ADAL" clId="{89263D42-2051-4E94-B881-7AC65E2DFEDD}" dt="2022-07-12T07:59:28.489" v="1011" actId="1036"/>
          <ac:spMkLst>
            <pc:docMk/>
            <pc:sldMk cId="0" sldId="318"/>
            <ac:spMk id="129" creationId="{BEBF6805-D1ED-753A-AE99-25A5E26DD91C}"/>
          </ac:spMkLst>
        </pc:spChg>
        <pc:spChg chg="mod">
          <ac:chgData name="Yu, Bing" userId="90a94cb0-8e9a-43a8-89bf-1b8017aa98de" providerId="ADAL" clId="{89263D42-2051-4E94-B881-7AC65E2DFEDD}" dt="2022-07-12T07:59:28.489" v="1011" actId="1036"/>
          <ac:spMkLst>
            <pc:docMk/>
            <pc:sldMk cId="0" sldId="318"/>
            <ac:spMk id="130" creationId="{9E3A8F59-2F4F-FA91-5CC3-08EC05427FAC}"/>
          </ac:spMkLst>
        </pc:spChg>
        <pc:spChg chg="mod">
          <ac:chgData name="Yu, Bing" userId="90a94cb0-8e9a-43a8-89bf-1b8017aa98de" providerId="ADAL" clId="{89263D42-2051-4E94-B881-7AC65E2DFEDD}" dt="2022-07-12T07:59:28.489" v="1011" actId="1036"/>
          <ac:spMkLst>
            <pc:docMk/>
            <pc:sldMk cId="0" sldId="318"/>
            <ac:spMk id="131" creationId="{04E6B382-3A61-8BCC-D072-0287BF15C088}"/>
          </ac:spMkLst>
        </pc:spChg>
        <pc:spChg chg="mod">
          <ac:chgData name="Yu, Bing" userId="90a94cb0-8e9a-43a8-89bf-1b8017aa98de" providerId="ADAL" clId="{89263D42-2051-4E94-B881-7AC65E2DFEDD}" dt="2022-07-12T07:59:28.489" v="1011" actId="1036"/>
          <ac:spMkLst>
            <pc:docMk/>
            <pc:sldMk cId="0" sldId="318"/>
            <ac:spMk id="132" creationId="{E404DB82-5E28-9F9F-23DD-CD9C72767C75}"/>
          </ac:spMkLst>
        </pc:spChg>
        <pc:spChg chg="mod">
          <ac:chgData name="Yu, Bing" userId="90a94cb0-8e9a-43a8-89bf-1b8017aa98de" providerId="ADAL" clId="{89263D42-2051-4E94-B881-7AC65E2DFEDD}" dt="2022-07-12T07:59:28.489" v="1011" actId="1036"/>
          <ac:spMkLst>
            <pc:docMk/>
            <pc:sldMk cId="0" sldId="318"/>
            <ac:spMk id="133" creationId="{F2693AB3-F406-7852-785A-9ADE665CE47D}"/>
          </ac:spMkLst>
        </pc:spChg>
        <pc:spChg chg="mod">
          <ac:chgData name="Yu, Bing" userId="90a94cb0-8e9a-43a8-89bf-1b8017aa98de" providerId="ADAL" clId="{89263D42-2051-4E94-B881-7AC65E2DFEDD}" dt="2022-07-12T07:59:28.489" v="1011" actId="1036"/>
          <ac:spMkLst>
            <pc:docMk/>
            <pc:sldMk cId="0" sldId="318"/>
            <ac:spMk id="134" creationId="{FC6C7E4C-C59B-4BDC-AD37-B5BF1AE34D94}"/>
          </ac:spMkLst>
        </pc:spChg>
        <pc:spChg chg="mod">
          <ac:chgData name="Yu, Bing" userId="90a94cb0-8e9a-43a8-89bf-1b8017aa98de" providerId="ADAL" clId="{89263D42-2051-4E94-B881-7AC65E2DFEDD}" dt="2022-07-12T07:59:28.489" v="1011" actId="1036"/>
          <ac:spMkLst>
            <pc:docMk/>
            <pc:sldMk cId="0" sldId="318"/>
            <ac:spMk id="135" creationId="{E947BAFA-AA30-5FC8-8926-33D75E2C684F}"/>
          </ac:spMkLst>
        </pc:spChg>
        <pc:spChg chg="mod">
          <ac:chgData name="Yu, Bing" userId="90a94cb0-8e9a-43a8-89bf-1b8017aa98de" providerId="ADAL" clId="{89263D42-2051-4E94-B881-7AC65E2DFEDD}" dt="2022-07-12T07:59:28.489" v="1011" actId="1036"/>
          <ac:spMkLst>
            <pc:docMk/>
            <pc:sldMk cId="0" sldId="318"/>
            <ac:spMk id="136" creationId="{AE1F5607-E5EA-9F72-EF58-C9DB7524F2AD}"/>
          </ac:spMkLst>
        </pc:spChg>
        <pc:spChg chg="mod">
          <ac:chgData name="Yu, Bing" userId="90a94cb0-8e9a-43a8-89bf-1b8017aa98de" providerId="ADAL" clId="{89263D42-2051-4E94-B881-7AC65E2DFEDD}" dt="2022-07-12T07:59:28.489" v="1011" actId="1036"/>
          <ac:spMkLst>
            <pc:docMk/>
            <pc:sldMk cId="0" sldId="318"/>
            <ac:spMk id="137" creationId="{67C13462-14EF-046C-3103-2AC69A0AE296}"/>
          </ac:spMkLst>
        </pc:spChg>
        <pc:spChg chg="mod">
          <ac:chgData name="Yu, Bing" userId="90a94cb0-8e9a-43a8-89bf-1b8017aa98de" providerId="ADAL" clId="{89263D42-2051-4E94-B881-7AC65E2DFEDD}" dt="2022-07-12T07:59:28.489" v="1011" actId="1036"/>
          <ac:spMkLst>
            <pc:docMk/>
            <pc:sldMk cId="0" sldId="318"/>
            <ac:spMk id="138" creationId="{2ADA687E-C0B2-7A2A-908D-8C42015F142B}"/>
          </ac:spMkLst>
        </pc:spChg>
        <pc:spChg chg="mod">
          <ac:chgData name="Yu, Bing" userId="90a94cb0-8e9a-43a8-89bf-1b8017aa98de" providerId="ADAL" clId="{89263D42-2051-4E94-B881-7AC65E2DFEDD}" dt="2022-07-12T07:59:28.489" v="1011" actId="1036"/>
          <ac:spMkLst>
            <pc:docMk/>
            <pc:sldMk cId="0" sldId="318"/>
            <ac:spMk id="139" creationId="{DB225D9C-9623-960A-B974-7D288840BAB1}"/>
          </ac:spMkLst>
        </pc:spChg>
        <pc:spChg chg="mod">
          <ac:chgData name="Yu, Bing" userId="90a94cb0-8e9a-43a8-89bf-1b8017aa98de" providerId="ADAL" clId="{89263D42-2051-4E94-B881-7AC65E2DFEDD}" dt="2022-07-12T07:59:28.489" v="1011" actId="1036"/>
          <ac:spMkLst>
            <pc:docMk/>
            <pc:sldMk cId="0" sldId="318"/>
            <ac:spMk id="140" creationId="{8756ED6F-22DB-514B-ABC7-5B7DF47AE8F4}"/>
          </ac:spMkLst>
        </pc:spChg>
        <pc:spChg chg="mod">
          <ac:chgData name="Yu, Bing" userId="90a94cb0-8e9a-43a8-89bf-1b8017aa98de" providerId="ADAL" clId="{89263D42-2051-4E94-B881-7AC65E2DFEDD}" dt="2022-07-12T07:59:28.489" v="1011" actId="1036"/>
          <ac:spMkLst>
            <pc:docMk/>
            <pc:sldMk cId="0" sldId="318"/>
            <ac:spMk id="141" creationId="{7C2E004A-2DCD-590A-04A0-8613E4C20938}"/>
          </ac:spMkLst>
        </pc:spChg>
        <pc:spChg chg="mod">
          <ac:chgData name="Yu, Bing" userId="90a94cb0-8e9a-43a8-89bf-1b8017aa98de" providerId="ADAL" clId="{89263D42-2051-4E94-B881-7AC65E2DFEDD}" dt="2022-07-12T07:59:28.489" v="1011" actId="1036"/>
          <ac:spMkLst>
            <pc:docMk/>
            <pc:sldMk cId="0" sldId="318"/>
            <ac:spMk id="142" creationId="{EDA89E10-38C3-FD13-3055-97918AA7A4ED}"/>
          </ac:spMkLst>
        </pc:spChg>
        <pc:spChg chg="mod">
          <ac:chgData name="Yu, Bing" userId="90a94cb0-8e9a-43a8-89bf-1b8017aa98de" providerId="ADAL" clId="{89263D42-2051-4E94-B881-7AC65E2DFEDD}" dt="2022-07-12T07:59:28.489" v="1011" actId="1036"/>
          <ac:spMkLst>
            <pc:docMk/>
            <pc:sldMk cId="0" sldId="318"/>
            <ac:spMk id="143" creationId="{444A6AED-D2EC-12AA-FF5C-64328AAC00AE}"/>
          </ac:spMkLst>
        </pc:spChg>
        <pc:spChg chg="mod">
          <ac:chgData name="Yu, Bing" userId="90a94cb0-8e9a-43a8-89bf-1b8017aa98de" providerId="ADAL" clId="{89263D42-2051-4E94-B881-7AC65E2DFEDD}" dt="2022-07-12T07:59:28.489" v="1011" actId="1036"/>
          <ac:spMkLst>
            <pc:docMk/>
            <pc:sldMk cId="0" sldId="318"/>
            <ac:spMk id="144" creationId="{D64CD6C7-206E-A49B-D66A-7F424BD1D9F4}"/>
          </ac:spMkLst>
        </pc:spChg>
        <pc:spChg chg="mod">
          <ac:chgData name="Yu, Bing" userId="90a94cb0-8e9a-43a8-89bf-1b8017aa98de" providerId="ADAL" clId="{89263D42-2051-4E94-B881-7AC65E2DFEDD}" dt="2022-07-12T07:59:28.489" v="1011" actId="1036"/>
          <ac:spMkLst>
            <pc:docMk/>
            <pc:sldMk cId="0" sldId="318"/>
            <ac:spMk id="145" creationId="{1867D1A0-7145-C407-C843-E810DEB5C433}"/>
          </ac:spMkLst>
        </pc:spChg>
        <pc:spChg chg="mod">
          <ac:chgData name="Yu, Bing" userId="90a94cb0-8e9a-43a8-89bf-1b8017aa98de" providerId="ADAL" clId="{89263D42-2051-4E94-B881-7AC65E2DFEDD}" dt="2022-07-12T07:59:28.489" v="1011" actId="1036"/>
          <ac:spMkLst>
            <pc:docMk/>
            <pc:sldMk cId="0" sldId="318"/>
            <ac:spMk id="146" creationId="{4E717DE2-6921-07EC-B28A-F814C236DBF6}"/>
          </ac:spMkLst>
        </pc:spChg>
        <pc:spChg chg="mod">
          <ac:chgData name="Yu, Bing" userId="90a94cb0-8e9a-43a8-89bf-1b8017aa98de" providerId="ADAL" clId="{89263D42-2051-4E94-B881-7AC65E2DFEDD}" dt="2022-07-12T07:59:28.489" v="1011" actId="1036"/>
          <ac:spMkLst>
            <pc:docMk/>
            <pc:sldMk cId="0" sldId="318"/>
            <ac:spMk id="147" creationId="{BC8A7EC3-F904-21F5-081E-A56E3AE8F204}"/>
          </ac:spMkLst>
        </pc:spChg>
        <pc:spChg chg="mod">
          <ac:chgData name="Yu, Bing" userId="90a94cb0-8e9a-43a8-89bf-1b8017aa98de" providerId="ADAL" clId="{89263D42-2051-4E94-B881-7AC65E2DFEDD}" dt="2022-07-12T07:59:28.489" v="1011" actId="1036"/>
          <ac:spMkLst>
            <pc:docMk/>
            <pc:sldMk cId="0" sldId="318"/>
            <ac:spMk id="148" creationId="{D4A014CF-ED16-DEAF-901E-920797B9EDDA}"/>
          </ac:spMkLst>
        </pc:spChg>
        <pc:spChg chg="mod">
          <ac:chgData name="Yu, Bing" userId="90a94cb0-8e9a-43a8-89bf-1b8017aa98de" providerId="ADAL" clId="{89263D42-2051-4E94-B881-7AC65E2DFEDD}" dt="2022-07-12T07:59:28.489" v="1011" actId="1036"/>
          <ac:spMkLst>
            <pc:docMk/>
            <pc:sldMk cId="0" sldId="318"/>
            <ac:spMk id="149" creationId="{3E3843C3-8AAD-5B8A-3EC6-727EE33A804A}"/>
          </ac:spMkLst>
        </pc:spChg>
        <pc:spChg chg="mod">
          <ac:chgData name="Yu, Bing" userId="90a94cb0-8e9a-43a8-89bf-1b8017aa98de" providerId="ADAL" clId="{89263D42-2051-4E94-B881-7AC65E2DFEDD}" dt="2022-07-12T07:59:28.489" v="1011" actId="1036"/>
          <ac:spMkLst>
            <pc:docMk/>
            <pc:sldMk cId="0" sldId="318"/>
            <ac:spMk id="150" creationId="{94D2E16A-9D4C-6190-3A22-B56A635CD26C}"/>
          </ac:spMkLst>
        </pc:spChg>
        <pc:spChg chg="mod">
          <ac:chgData name="Yu, Bing" userId="90a94cb0-8e9a-43a8-89bf-1b8017aa98de" providerId="ADAL" clId="{89263D42-2051-4E94-B881-7AC65E2DFEDD}" dt="2022-07-12T07:59:28.489" v="1011" actId="1036"/>
          <ac:spMkLst>
            <pc:docMk/>
            <pc:sldMk cId="0" sldId="318"/>
            <ac:spMk id="151" creationId="{F8ABD484-49DC-94E9-B0C8-0C364161FC02}"/>
          </ac:spMkLst>
        </pc:spChg>
        <pc:spChg chg="mod">
          <ac:chgData name="Yu, Bing" userId="90a94cb0-8e9a-43a8-89bf-1b8017aa98de" providerId="ADAL" clId="{89263D42-2051-4E94-B881-7AC65E2DFEDD}" dt="2022-07-12T07:59:28.489" v="1011" actId="1036"/>
          <ac:spMkLst>
            <pc:docMk/>
            <pc:sldMk cId="0" sldId="318"/>
            <ac:spMk id="152" creationId="{23C3FF0D-42C1-EAC3-23E3-ACBB32339589}"/>
          </ac:spMkLst>
        </pc:spChg>
        <pc:spChg chg="mod">
          <ac:chgData name="Yu, Bing" userId="90a94cb0-8e9a-43a8-89bf-1b8017aa98de" providerId="ADAL" clId="{89263D42-2051-4E94-B881-7AC65E2DFEDD}" dt="2022-07-12T07:59:28.489" v="1011" actId="1036"/>
          <ac:spMkLst>
            <pc:docMk/>
            <pc:sldMk cId="0" sldId="318"/>
            <ac:spMk id="153" creationId="{88C8B70C-207E-E3C7-5DF0-7AA5D9CC53A0}"/>
          </ac:spMkLst>
        </pc:spChg>
        <pc:spChg chg="mod">
          <ac:chgData name="Yu, Bing" userId="90a94cb0-8e9a-43a8-89bf-1b8017aa98de" providerId="ADAL" clId="{89263D42-2051-4E94-B881-7AC65E2DFEDD}" dt="2022-07-12T07:59:28.489" v="1011" actId="1036"/>
          <ac:spMkLst>
            <pc:docMk/>
            <pc:sldMk cId="0" sldId="318"/>
            <ac:spMk id="154" creationId="{95ADC52C-C71D-72AC-31E4-44922DB0DDEF}"/>
          </ac:spMkLst>
        </pc:spChg>
        <pc:spChg chg="mod">
          <ac:chgData name="Yu, Bing" userId="90a94cb0-8e9a-43a8-89bf-1b8017aa98de" providerId="ADAL" clId="{89263D42-2051-4E94-B881-7AC65E2DFEDD}" dt="2022-07-12T07:59:28.489" v="1011" actId="1036"/>
          <ac:spMkLst>
            <pc:docMk/>
            <pc:sldMk cId="0" sldId="318"/>
            <ac:spMk id="155" creationId="{4036BF99-502D-5ED9-29B3-041188617C1B}"/>
          </ac:spMkLst>
        </pc:spChg>
        <pc:spChg chg="mod">
          <ac:chgData name="Yu, Bing" userId="90a94cb0-8e9a-43a8-89bf-1b8017aa98de" providerId="ADAL" clId="{89263D42-2051-4E94-B881-7AC65E2DFEDD}" dt="2022-07-12T07:59:28.489" v="1011" actId="1036"/>
          <ac:spMkLst>
            <pc:docMk/>
            <pc:sldMk cId="0" sldId="318"/>
            <ac:spMk id="156" creationId="{D390F894-6B70-A4D9-509B-F047528EBCA9}"/>
          </ac:spMkLst>
        </pc:spChg>
        <pc:spChg chg="mod">
          <ac:chgData name="Yu, Bing" userId="90a94cb0-8e9a-43a8-89bf-1b8017aa98de" providerId="ADAL" clId="{89263D42-2051-4E94-B881-7AC65E2DFEDD}" dt="2022-07-12T07:59:28.489" v="1011" actId="1036"/>
          <ac:spMkLst>
            <pc:docMk/>
            <pc:sldMk cId="0" sldId="318"/>
            <ac:spMk id="157" creationId="{ED351580-2CA9-9F76-82E4-059ABAE583CC}"/>
          </ac:spMkLst>
        </pc:spChg>
        <pc:spChg chg="mod">
          <ac:chgData name="Yu, Bing" userId="90a94cb0-8e9a-43a8-89bf-1b8017aa98de" providerId="ADAL" clId="{89263D42-2051-4E94-B881-7AC65E2DFEDD}" dt="2022-07-12T07:59:28.489" v="1011" actId="1036"/>
          <ac:spMkLst>
            <pc:docMk/>
            <pc:sldMk cId="0" sldId="318"/>
            <ac:spMk id="158" creationId="{B9714731-6188-94E3-06FB-BF82F4CBCFF8}"/>
          </ac:spMkLst>
        </pc:spChg>
        <pc:spChg chg="mod">
          <ac:chgData name="Yu, Bing" userId="90a94cb0-8e9a-43a8-89bf-1b8017aa98de" providerId="ADAL" clId="{89263D42-2051-4E94-B881-7AC65E2DFEDD}" dt="2022-07-12T07:59:28.489" v="1011" actId="1036"/>
          <ac:spMkLst>
            <pc:docMk/>
            <pc:sldMk cId="0" sldId="318"/>
            <ac:spMk id="160" creationId="{5E0EEB65-67B9-DF5E-E957-2BF93665C612}"/>
          </ac:spMkLst>
        </pc:spChg>
        <pc:spChg chg="mod">
          <ac:chgData name="Yu, Bing" userId="90a94cb0-8e9a-43a8-89bf-1b8017aa98de" providerId="ADAL" clId="{89263D42-2051-4E94-B881-7AC65E2DFEDD}" dt="2022-07-12T07:59:28.489" v="1011" actId="1036"/>
          <ac:spMkLst>
            <pc:docMk/>
            <pc:sldMk cId="0" sldId="318"/>
            <ac:spMk id="161" creationId="{38614341-10AA-085C-429F-95AB9E035F73}"/>
          </ac:spMkLst>
        </pc:spChg>
        <pc:spChg chg="mod">
          <ac:chgData name="Yu, Bing" userId="90a94cb0-8e9a-43a8-89bf-1b8017aa98de" providerId="ADAL" clId="{89263D42-2051-4E94-B881-7AC65E2DFEDD}" dt="2022-07-12T07:59:28.489" v="1011" actId="1036"/>
          <ac:spMkLst>
            <pc:docMk/>
            <pc:sldMk cId="0" sldId="318"/>
            <ac:spMk id="162" creationId="{CD7CCEA6-67E1-1EC8-3CC3-9D27CCD864C2}"/>
          </ac:spMkLst>
        </pc:spChg>
        <pc:spChg chg="mod">
          <ac:chgData name="Yu, Bing" userId="90a94cb0-8e9a-43a8-89bf-1b8017aa98de" providerId="ADAL" clId="{89263D42-2051-4E94-B881-7AC65E2DFEDD}" dt="2022-07-12T07:59:28.489" v="1011" actId="1036"/>
          <ac:spMkLst>
            <pc:docMk/>
            <pc:sldMk cId="0" sldId="318"/>
            <ac:spMk id="163" creationId="{2C957B9F-D2C8-C84C-6082-00F2E7A64406}"/>
          </ac:spMkLst>
        </pc:spChg>
        <pc:spChg chg="mod">
          <ac:chgData name="Yu, Bing" userId="90a94cb0-8e9a-43a8-89bf-1b8017aa98de" providerId="ADAL" clId="{89263D42-2051-4E94-B881-7AC65E2DFEDD}" dt="2022-07-12T07:59:28.489" v="1011" actId="1036"/>
          <ac:spMkLst>
            <pc:docMk/>
            <pc:sldMk cId="0" sldId="318"/>
            <ac:spMk id="167" creationId="{00000000-0000-0000-0000-000000000000}"/>
          </ac:spMkLst>
        </pc:spChg>
        <pc:spChg chg="mod">
          <ac:chgData name="Yu, Bing" userId="90a94cb0-8e9a-43a8-89bf-1b8017aa98de" providerId="ADAL" clId="{89263D42-2051-4E94-B881-7AC65E2DFEDD}" dt="2022-07-12T07:59:28.489" v="1011" actId="1036"/>
          <ac:spMkLst>
            <pc:docMk/>
            <pc:sldMk cId="0" sldId="318"/>
            <ac:spMk id="168" creationId="{B331BD60-7D53-4C32-A0F8-B9B61E535009}"/>
          </ac:spMkLst>
        </pc:spChg>
        <pc:spChg chg="mod">
          <ac:chgData name="Yu, Bing" userId="90a94cb0-8e9a-43a8-89bf-1b8017aa98de" providerId="ADAL" clId="{89263D42-2051-4E94-B881-7AC65E2DFEDD}" dt="2022-07-12T07:59:28.489" v="1011" actId="1036"/>
          <ac:spMkLst>
            <pc:docMk/>
            <pc:sldMk cId="0" sldId="318"/>
            <ac:spMk id="245" creationId="{A53A6A04-3EB3-469C-A640-6E12764F52C9}"/>
          </ac:spMkLst>
        </pc:spChg>
        <pc:spChg chg="mod">
          <ac:chgData name="Yu, Bing" userId="90a94cb0-8e9a-43a8-89bf-1b8017aa98de" providerId="ADAL" clId="{89263D42-2051-4E94-B881-7AC65E2DFEDD}" dt="2022-07-12T07:59:28.489" v="1011" actId="1036"/>
          <ac:spMkLst>
            <pc:docMk/>
            <pc:sldMk cId="0" sldId="318"/>
            <ac:spMk id="246" creationId="{272BEB18-C4B3-423A-A211-0AD1D3CFF1DA}"/>
          </ac:spMkLst>
        </pc:spChg>
        <pc:spChg chg="mod">
          <ac:chgData name="Yu, Bing" userId="90a94cb0-8e9a-43a8-89bf-1b8017aa98de" providerId="ADAL" clId="{89263D42-2051-4E94-B881-7AC65E2DFEDD}" dt="2022-07-12T07:59:28.489" v="1011" actId="1036"/>
          <ac:spMkLst>
            <pc:docMk/>
            <pc:sldMk cId="0" sldId="318"/>
            <ac:spMk id="247" creationId="{4501EAF3-9AFC-4DC3-BAD2-57160C19E710}"/>
          </ac:spMkLst>
        </pc:spChg>
        <pc:spChg chg="mod">
          <ac:chgData name="Yu, Bing" userId="90a94cb0-8e9a-43a8-89bf-1b8017aa98de" providerId="ADAL" clId="{89263D42-2051-4E94-B881-7AC65E2DFEDD}" dt="2022-07-12T07:59:28.489" v="1011" actId="1036"/>
          <ac:spMkLst>
            <pc:docMk/>
            <pc:sldMk cId="0" sldId="318"/>
            <ac:spMk id="248" creationId="{7ACF9729-B9A6-480B-B230-BEF0B25BDF7A}"/>
          </ac:spMkLst>
        </pc:spChg>
        <pc:spChg chg="mod">
          <ac:chgData name="Yu, Bing" userId="90a94cb0-8e9a-43a8-89bf-1b8017aa98de" providerId="ADAL" clId="{89263D42-2051-4E94-B881-7AC65E2DFEDD}" dt="2022-07-12T07:59:28.489" v="1011" actId="1036"/>
          <ac:spMkLst>
            <pc:docMk/>
            <pc:sldMk cId="0" sldId="318"/>
            <ac:spMk id="249" creationId="{EC44D6B4-DADA-44D7-A9DC-10FEDC904B73}"/>
          </ac:spMkLst>
        </pc:spChg>
        <pc:spChg chg="mod">
          <ac:chgData name="Yu, Bing" userId="90a94cb0-8e9a-43a8-89bf-1b8017aa98de" providerId="ADAL" clId="{89263D42-2051-4E94-B881-7AC65E2DFEDD}" dt="2022-07-12T07:59:28.489" v="1011" actId="1036"/>
          <ac:spMkLst>
            <pc:docMk/>
            <pc:sldMk cId="0" sldId="318"/>
            <ac:spMk id="250" creationId="{5E17C40A-7105-49AB-920C-84B6E69F77FA}"/>
          </ac:spMkLst>
        </pc:spChg>
        <pc:spChg chg="mod">
          <ac:chgData name="Yu, Bing" userId="90a94cb0-8e9a-43a8-89bf-1b8017aa98de" providerId="ADAL" clId="{89263D42-2051-4E94-B881-7AC65E2DFEDD}" dt="2022-07-12T07:59:28.489" v="1011" actId="1036"/>
          <ac:spMkLst>
            <pc:docMk/>
            <pc:sldMk cId="0" sldId="318"/>
            <ac:spMk id="251" creationId="{11C61FCF-EAE2-48CF-B0BA-3165D12768FC}"/>
          </ac:spMkLst>
        </pc:spChg>
        <pc:spChg chg="mod">
          <ac:chgData name="Yu, Bing" userId="90a94cb0-8e9a-43a8-89bf-1b8017aa98de" providerId="ADAL" clId="{89263D42-2051-4E94-B881-7AC65E2DFEDD}" dt="2022-07-12T07:59:28.489" v="1011" actId="1036"/>
          <ac:spMkLst>
            <pc:docMk/>
            <pc:sldMk cId="0" sldId="318"/>
            <ac:spMk id="252" creationId="{5281AAFE-3046-4B5D-819C-DB8DE4A9E96E}"/>
          </ac:spMkLst>
        </pc:spChg>
        <pc:spChg chg="mod">
          <ac:chgData name="Yu, Bing" userId="90a94cb0-8e9a-43a8-89bf-1b8017aa98de" providerId="ADAL" clId="{89263D42-2051-4E94-B881-7AC65E2DFEDD}" dt="2022-07-12T07:59:28.489" v="1011" actId="1036"/>
          <ac:spMkLst>
            <pc:docMk/>
            <pc:sldMk cId="0" sldId="318"/>
            <ac:spMk id="253" creationId="{D81A518B-FF20-4965-AA86-A7EB19DC7584}"/>
          </ac:spMkLst>
        </pc:spChg>
        <pc:spChg chg="mod">
          <ac:chgData name="Yu, Bing" userId="90a94cb0-8e9a-43a8-89bf-1b8017aa98de" providerId="ADAL" clId="{89263D42-2051-4E94-B881-7AC65E2DFEDD}" dt="2022-07-12T07:59:28.489" v="1011" actId="1036"/>
          <ac:spMkLst>
            <pc:docMk/>
            <pc:sldMk cId="0" sldId="318"/>
            <ac:spMk id="254" creationId="{81D2D9FF-3BD0-46BB-9C9F-095BC5C38F3F}"/>
          </ac:spMkLst>
        </pc:spChg>
        <pc:grpChg chg="mod">
          <ac:chgData name="Yu, Bing" userId="90a94cb0-8e9a-43a8-89bf-1b8017aa98de" providerId="ADAL" clId="{89263D42-2051-4E94-B881-7AC65E2DFEDD}" dt="2022-07-12T07:59:28.489" v="1011" actId="1036"/>
          <ac:grpSpMkLst>
            <pc:docMk/>
            <pc:sldMk cId="0" sldId="318"/>
            <ac:grpSpMk id="13" creationId="{00000000-0000-0000-0000-000000000000}"/>
          </ac:grpSpMkLst>
        </pc:grpChg>
        <pc:grpChg chg="mod">
          <ac:chgData name="Yu, Bing" userId="90a94cb0-8e9a-43a8-89bf-1b8017aa98de" providerId="ADAL" clId="{89263D42-2051-4E94-B881-7AC65E2DFEDD}" dt="2022-07-12T07:59:28.489" v="1011" actId="1036"/>
          <ac:grpSpMkLst>
            <pc:docMk/>
            <pc:sldMk cId="0" sldId="318"/>
            <ac:grpSpMk id="98" creationId="{00000000-0000-0000-0000-000000000000}"/>
          </ac:grpSpMkLst>
        </pc:grpChg>
        <pc:picChg chg="mod">
          <ac:chgData name="Yu, Bing" userId="90a94cb0-8e9a-43a8-89bf-1b8017aa98de" providerId="ADAL" clId="{89263D42-2051-4E94-B881-7AC65E2DFEDD}" dt="2022-07-12T07:59:28.489" v="1011" actId="1036"/>
          <ac:picMkLst>
            <pc:docMk/>
            <pc:sldMk cId="0" sldId="318"/>
            <ac:picMk id="12" creationId="{00000000-0000-0000-0000-000000000000}"/>
          </ac:picMkLst>
        </pc:picChg>
        <pc:cxnChg chg="mod">
          <ac:chgData name="Yu, Bing" userId="90a94cb0-8e9a-43a8-89bf-1b8017aa98de" providerId="ADAL" clId="{89263D42-2051-4E94-B881-7AC65E2DFEDD}" dt="2022-07-12T07:59:07.797" v="1008" actId="1036"/>
          <ac:cxnSpMkLst>
            <pc:docMk/>
            <pc:sldMk cId="0" sldId="318"/>
            <ac:cxnSpMk id="62" creationId="{00000000-0000-0000-0000-000000000000}"/>
          </ac:cxnSpMkLst>
        </pc:cxnChg>
      </pc:sldChg>
      <pc:sldChg chg="addSp modSp del mod">
        <pc:chgData name="Yu, Bing" userId="90a94cb0-8e9a-43a8-89bf-1b8017aa98de" providerId="ADAL" clId="{89263D42-2051-4E94-B881-7AC65E2DFEDD}" dt="2022-07-12T06:16:07.407" v="485" actId="47"/>
        <pc:sldMkLst>
          <pc:docMk/>
          <pc:sldMk cId="454013025" sldId="348"/>
        </pc:sldMkLst>
        <pc:spChg chg="mod">
          <ac:chgData name="Yu, Bing" userId="90a94cb0-8e9a-43a8-89bf-1b8017aa98de" providerId="ADAL" clId="{89263D42-2051-4E94-B881-7AC65E2DFEDD}" dt="2022-07-11T10:08:36.858" v="108" actId="1036"/>
          <ac:spMkLst>
            <pc:docMk/>
            <pc:sldMk cId="454013025" sldId="348"/>
            <ac:spMk id="5" creationId="{00000000-0000-0000-0000-000000000000}"/>
          </ac:spMkLst>
        </pc:spChg>
        <pc:spChg chg="add mod">
          <ac:chgData name="Yu, Bing" userId="90a94cb0-8e9a-43a8-89bf-1b8017aa98de" providerId="ADAL" clId="{89263D42-2051-4E94-B881-7AC65E2DFEDD}" dt="2022-07-11T10:09:31.776" v="122" actId="1035"/>
          <ac:spMkLst>
            <pc:docMk/>
            <pc:sldMk cId="454013025" sldId="348"/>
            <ac:spMk id="8" creationId="{A1BC1B00-2D54-4FEA-8C10-E03AA186ACAF}"/>
          </ac:spMkLst>
        </pc:spChg>
        <pc:spChg chg="mod">
          <ac:chgData name="Yu, Bing" userId="90a94cb0-8e9a-43a8-89bf-1b8017aa98de" providerId="ADAL" clId="{89263D42-2051-4E94-B881-7AC65E2DFEDD}" dt="2022-07-11T10:10:32.786" v="131" actId="1036"/>
          <ac:spMkLst>
            <pc:docMk/>
            <pc:sldMk cId="454013025" sldId="348"/>
            <ac:spMk id="98" creationId="{EE16BE49-957A-4E3B-AB18-AB1F27D1ADED}"/>
          </ac:spMkLst>
        </pc:spChg>
        <pc:spChg chg="mod">
          <ac:chgData name="Yu, Bing" userId="90a94cb0-8e9a-43a8-89bf-1b8017aa98de" providerId="ADAL" clId="{89263D42-2051-4E94-B881-7AC65E2DFEDD}" dt="2022-07-11T10:10:32.786" v="131" actId="1036"/>
          <ac:spMkLst>
            <pc:docMk/>
            <pc:sldMk cId="454013025" sldId="348"/>
            <ac:spMk id="99" creationId="{BE8450F1-F0C7-4629-9B03-E8285BC8DC13}"/>
          </ac:spMkLst>
        </pc:spChg>
        <pc:spChg chg="add mod">
          <ac:chgData name="Yu, Bing" userId="90a94cb0-8e9a-43a8-89bf-1b8017aa98de" providerId="ADAL" clId="{89263D42-2051-4E94-B881-7AC65E2DFEDD}" dt="2022-07-11T10:10:32.786" v="131" actId="1036"/>
          <ac:spMkLst>
            <pc:docMk/>
            <pc:sldMk cId="454013025" sldId="348"/>
            <ac:spMk id="106" creationId="{96BEC685-08DA-4986-AE2B-B7F85762C99D}"/>
          </ac:spMkLst>
        </pc:spChg>
        <pc:spChg chg="add mod">
          <ac:chgData name="Yu, Bing" userId="90a94cb0-8e9a-43a8-89bf-1b8017aa98de" providerId="ADAL" clId="{89263D42-2051-4E94-B881-7AC65E2DFEDD}" dt="2022-07-11T10:10:04.259" v="128" actId="1038"/>
          <ac:spMkLst>
            <pc:docMk/>
            <pc:sldMk cId="454013025" sldId="348"/>
            <ac:spMk id="107" creationId="{7E6554BD-22AB-49C8-8B0E-B4223686A052}"/>
          </ac:spMkLst>
        </pc:spChg>
        <pc:spChg chg="mod">
          <ac:chgData name="Yu, Bing" userId="90a94cb0-8e9a-43a8-89bf-1b8017aa98de" providerId="ADAL" clId="{89263D42-2051-4E94-B881-7AC65E2DFEDD}" dt="2022-07-11T10:08:49.450" v="114" actId="1036"/>
          <ac:spMkLst>
            <pc:docMk/>
            <pc:sldMk cId="454013025" sldId="348"/>
            <ac:spMk id="140" creationId="{00000000-0000-0000-0000-000000000000}"/>
          </ac:spMkLst>
        </pc:spChg>
      </pc:sldChg>
      <pc:sldChg chg="modSp mod delCm">
        <pc:chgData name="Yu, Bing" userId="90a94cb0-8e9a-43a8-89bf-1b8017aa98de" providerId="ADAL" clId="{89263D42-2051-4E94-B881-7AC65E2DFEDD}" dt="2022-07-12T08:20:42.422" v="1013" actId="20577"/>
        <pc:sldMkLst>
          <pc:docMk/>
          <pc:sldMk cId="2679673404" sldId="350"/>
        </pc:sldMkLst>
        <pc:spChg chg="mod">
          <ac:chgData name="Yu, Bing" userId="90a94cb0-8e9a-43a8-89bf-1b8017aa98de" providerId="ADAL" clId="{89263D42-2051-4E94-B881-7AC65E2DFEDD}" dt="2022-07-12T08:20:42.422" v="1013" actId="20577"/>
          <ac:spMkLst>
            <pc:docMk/>
            <pc:sldMk cId="2679673404" sldId="350"/>
            <ac:spMk id="2" creationId="{4D450375-5D30-467E-8C7A-3DDE34A8CBED}"/>
          </ac:spMkLst>
        </pc:spChg>
        <pc:spChg chg="mod">
          <ac:chgData name="Yu, Bing" userId="90a94cb0-8e9a-43a8-89bf-1b8017aa98de" providerId="ADAL" clId="{89263D42-2051-4E94-B881-7AC65E2DFEDD}" dt="2022-07-12T06:55:30.781" v="701" actId="108"/>
          <ac:spMkLst>
            <pc:docMk/>
            <pc:sldMk cId="2679673404" sldId="350"/>
            <ac:spMk id="6" creationId="{43DC84BD-8AF0-4A3C-9899-B37B7987304B}"/>
          </ac:spMkLst>
        </pc:spChg>
        <pc:spChg chg="mod">
          <ac:chgData name="Yu, Bing" userId="90a94cb0-8e9a-43a8-89bf-1b8017aa98de" providerId="ADAL" clId="{89263D42-2051-4E94-B881-7AC65E2DFEDD}" dt="2022-07-12T06:16:57.606" v="496" actId="113"/>
          <ac:spMkLst>
            <pc:docMk/>
            <pc:sldMk cId="2679673404" sldId="350"/>
            <ac:spMk id="12" creationId="{56F1582D-0B26-4708-9CF8-E4B1D34C26B3}"/>
          </ac:spMkLst>
        </pc:spChg>
        <pc:spChg chg="mod">
          <ac:chgData name="Yu, Bing" userId="90a94cb0-8e9a-43a8-89bf-1b8017aa98de" providerId="ADAL" clId="{89263D42-2051-4E94-B881-7AC65E2DFEDD}" dt="2022-07-12T06:54:01.114" v="693" actId="108"/>
          <ac:spMkLst>
            <pc:docMk/>
            <pc:sldMk cId="2679673404" sldId="350"/>
            <ac:spMk id="14" creationId="{FE2A2AB8-0AA9-4977-8C3D-F0FD6F51CEF3}"/>
          </ac:spMkLst>
        </pc:spChg>
        <pc:spChg chg="mod">
          <ac:chgData name="Yu, Bing" userId="90a94cb0-8e9a-43a8-89bf-1b8017aa98de" providerId="ADAL" clId="{89263D42-2051-4E94-B881-7AC65E2DFEDD}" dt="2022-07-12T06:53:35.131" v="692" actId="1036"/>
          <ac:spMkLst>
            <pc:docMk/>
            <pc:sldMk cId="2679673404" sldId="350"/>
            <ac:spMk id="16" creationId="{370DB014-6ADF-4BCB-A836-E8F572FFCA87}"/>
          </ac:spMkLst>
        </pc:spChg>
        <pc:spChg chg="mod">
          <ac:chgData name="Yu, Bing" userId="90a94cb0-8e9a-43a8-89bf-1b8017aa98de" providerId="ADAL" clId="{89263D42-2051-4E94-B881-7AC65E2DFEDD}" dt="2022-07-12T06:17:03.787" v="497" actId="255"/>
          <ac:spMkLst>
            <pc:docMk/>
            <pc:sldMk cId="2679673404" sldId="350"/>
            <ac:spMk id="18" creationId="{2801D45C-83DB-4D59-9140-6E6E6C005006}"/>
          </ac:spMkLst>
        </pc:spChg>
        <pc:spChg chg="mod">
          <ac:chgData name="Yu, Bing" userId="90a94cb0-8e9a-43a8-89bf-1b8017aa98de" providerId="ADAL" clId="{89263D42-2051-4E94-B881-7AC65E2DFEDD}" dt="2022-07-11T22:40:00.591" v="157" actId="403"/>
          <ac:spMkLst>
            <pc:docMk/>
            <pc:sldMk cId="2679673404" sldId="350"/>
            <ac:spMk id="19" creationId="{933A0474-C5E0-47B1-B79C-4F167B169840}"/>
          </ac:spMkLst>
        </pc:spChg>
        <pc:spChg chg="mod">
          <ac:chgData name="Yu, Bing" userId="90a94cb0-8e9a-43a8-89bf-1b8017aa98de" providerId="ADAL" clId="{89263D42-2051-4E94-B881-7AC65E2DFEDD}" dt="2022-07-12T06:17:14.971" v="500" actId="14100"/>
          <ac:spMkLst>
            <pc:docMk/>
            <pc:sldMk cId="2679673404" sldId="350"/>
            <ac:spMk id="20" creationId="{4D1D882C-C017-4F4E-9180-F143EB9886E3}"/>
          </ac:spMkLst>
        </pc:spChg>
        <pc:spChg chg="mod">
          <ac:chgData name="Yu, Bing" userId="90a94cb0-8e9a-43a8-89bf-1b8017aa98de" providerId="ADAL" clId="{89263D42-2051-4E94-B881-7AC65E2DFEDD}" dt="2022-07-12T06:17:22.071" v="501" actId="255"/>
          <ac:spMkLst>
            <pc:docMk/>
            <pc:sldMk cId="2679673404" sldId="350"/>
            <ac:spMk id="21" creationId="{A13AE7F9-8E72-4CB3-98BA-DC76E945EA8C}"/>
          </ac:spMkLst>
        </pc:spChg>
        <pc:spChg chg="mod">
          <ac:chgData name="Yu, Bing" userId="90a94cb0-8e9a-43a8-89bf-1b8017aa98de" providerId="ADAL" clId="{89263D42-2051-4E94-B881-7AC65E2DFEDD}" dt="2022-07-11T10:04:36.018" v="47" actId="403"/>
          <ac:spMkLst>
            <pc:docMk/>
            <pc:sldMk cId="2679673404" sldId="350"/>
            <ac:spMk id="22" creationId="{AA6AE179-F7E2-40E1-998B-A6C9A75E5CEF}"/>
          </ac:spMkLst>
        </pc:spChg>
        <pc:picChg chg="mod">
          <ac:chgData name="Yu, Bing" userId="90a94cb0-8e9a-43a8-89bf-1b8017aa98de" providerId="ADAL" clId="{89263D42-2051-4E94-B881-7AC65E2DFEDD}" dt="2022-07-11T22:39:53.680" v="156" actId="1076"/>
          <ac:picMkLst>
            <pc:docMk/>
            <pc:sldMk cId="2679673404" sldId="350"/>
            <ac:picMk id="25" creationId="{00000000-0000-0000-0000-000000000000}"/>
          </ac:picMkLst>
        </pc:picChg>
        <pc:picChg chg="mod">
          <ac:chgData name="Yu, Bing" userId="90a94cb0-8e9a-43a8-89bf-1b8017aa98de" providerId="ADAL" clId="{89263D42-2051-4E94-B881-7AC65E2DFEDD}" dt="2022-07-11T22:39:50.623" v="155" actId="1076"/>
          <ac:picMkLst>
            <pc:docMk/>
            <pc:sldMk cId="2679673404" sldId="350"/>
            <ac:picMk id="26" creationId="{00000000-0000-0000-0000-000000000000}"/>
          </ac:picMkLst>
        </pc:picChg>
        <pc:picChg chg="mod">
          <ac:chgData name="Yu, Bing" userId="90a94cb0-8e9a-43a8-89bf-1b8017aa98de" providerId="ADAL" clId="{89263D42-2051-4E94-B881-7AC65E2DFEDD}" dt="2022-07-11T10:04:25.220" v="45" actId="1076"/>
          <ac:picMkLst>
            <pc:docMk/>
            <pc:sldMk cId="2679673404" sldId="350"/>
            <ac:picMk id="29" creationId="{00000000-0000-0000-0000-000000000000}"/>
          </ac:picMkLst>
        </pc:picChg>
      </pc:sldChg>
      <pc:sldChg chg="modSp mod">
        <pc:chgData name="Yu, Bing" userId="90a94cb0-8e9a-43a8-89bf-1b8017aa98de" providerId="ADAL" clId="{89263D42-2051-4E94-B881-7AC65E2DFEDD}" dt="2022-07-12T06:33:01.515" v="556" actId="1076"/>
        <pc:sldMkLst>
          <pc:docMk/>
          <pc:sldMk cId="2332532083" sldId="2147468945"/>
        </pc:sldMkLst>
        <pc:spChg chg="mod">
          <ac:chgData name="Yu, Bing" userId="90a94cb0-8e9a-43a8-89bf-1b8017aa98de" providerId="ADAL" clId="{89263D42-2051-4E94-B881-7AC65E2DFEDD}" dt="2022-07-12T06:32:53.747" v="555" actId="1076"/>
          <ac:spMkLst>
            <pc:docMk/>
            <pc:sldMk cId="2332532083" sldId="2147468945"/>
            <ac:spMk id="8" creationId="{D14C43A5-CE68-4276-98B6-F56F5F4C2974}"/>
          </ac:spMkLst>
        </pc:spChg>
        <pc:spChg chg="mod">
          <ac:chgData name="Yu, Bing" userId="90a94cb0-8e9a-43a8-89bf-1b8017aa98de" providerId="ADAL" clId="{89263D42-2051-4E94-B881-7AC65E2DFEDD}" dt="2022-07-12T06:33:01.515" v="556" actId="1076"/>
          <ac:spMkLst>
            <pc:docMk/>
            <pc:sldMk cId="2332532083" sldId="2147468945"/>
            <ac:spMk id="10" creationId="{C25033A0-FC7C-B653-E7AF-A4FBF5BB4599}"/>
          </ac:spMkLst>
        </pc:spChg>
      </pc:sldChg>
      <pc:sldChg chg="addSp delSp modSp add mod modNotesTx">
        <pc:chgData name="Yu, Bing" userId="90a94cb0-8e9a-43a8-89bf-1b8017aa98de" providerId="ADAL" clId="{89263D42-2051-4E94-B881-7AC65E2DFEDD}" dt="2022-07-12T08:20:48.164" v="1015" actId="20577"/>
        <pc:sldMkLst>
          <pc:docMk/>
          <pc:sldMk cId="202739375" sldId="2147468948"/>
        </pc:sldMkLst>
        <pc:spChg chg="mod">
          <ac:chgData name="Yu, Bing" userId="90a94cb0-8e9a-43a8-89bf-1b8017aa98de" providerId="ADAL" clId="{89263D42-2051-4E94-B881-7AC65E2DFEDD}" dt="2022-07-12T07:48:45.077" v="984" actId="1036"/>
          <ac:spMkLst>
            <pc:docMk/>
            <pc:sldMk cId="202739375" sldId="2147468948"/>
            <ac:spMk id="4" creationId="{00000000-0000-0000-0000-000000000000}"/>
          </ac:spMkLst>
        </pc:spChg>
        <pc:spChg chg="mod">
          <ac:chgData name="Yu, Bing" userId="90a94cb0-8e9a-43a8-89bf-1b8017aa98de" providerId="ADAL" clId="{89263D42-2051-4E94-B881-7AC65E2DFEDD}" dt="2022-07-12T08:20:48.164" v="1015" actId="20577"/>
          <ac:spMkLst>
            <pc:docMk/>
            <pc:sldMk cId="202739375" sldId="2147468948"/>
            <ac:spMk id="8" creationId="{4A1736B5-805C-B0B6-C9CA-C28B5CDFAD81}"/>
          </ac:spMkLst>
        </pc:spChg>
        <pc:spChg chg="mod">
          <ac:chgData name="Yu, Bing" userId="90a94cb0-8e9a-43a8-89bf-1b8017aa98de" providerId="ADAL" clId="{89263D42-2051-4E94-B881-7AC65E2DFEDD}" dt="2022-07-12T07:48:45.077" v="984" actId="1036"/>
          <ac:spMkLst>
            <pc:docMk/>
            <pc:sldMk cId="202739375" sldId="2147468948"/>
            <ac:spMk id="13" creationId="{9DEB0028-7EBA-40AD-84EE-AAEAFBAF78C3}"/>
          </ac:spMkLst>
        </pc:spChg>
        <pc:spChg chg="mod">
          <ac:chgData name="Yu, Bing" userId="90a94cb0-8e9a-43a8-89bf-1b8017aa98de" providerId="ADAL" clId="{89263D42-2051-4E94-B881-7AC65E2DFEDD}" dt="2022-07-12T07:48:45.077" v="984" actId="1036"/>
          <ac:spMkLst>
            <pc:docMk/>
            <pc:sldMk cId="202739375" sldId="2147468948"/>
            <ac:spMk id="17" creationId="{00000000-0000-0000-0000-000000000000}"/>
          </ac:spMkLst>
        </pc:spChg>
        <pc:spChg chg="mod">
          <ac:chgData name="Yu, Bing" userId="90a94cb0-8e9a-43a8-89bf-1b8017aa98de" providerId="ADAL" clId="{89263D42-2051-4E94-B881-7AC65E2DFEDD}" dt="2022-07-12T07:48:45.077" v="984" actId="1036"/>
          <ac:spMkLst>
            <pc:docMk/>
            <pc:sldMk cId="202739375" sldId="2147468948"/>
            <ac:spMk id="18" creationId="{00000000-0000-0000-0000-000000000000}"/>
          </ac:spMkLst>
        </pc:spChg>
        <pc:spChg chg="mod">
          <ac:chgData name="Yu, Bing" userId="90a94cb0-8e9a-43a8-89bf-1b8017aa98de" providerId="ADAL" clId="{89263D42-2051-4E94-B881-7AC65E2DFEDD}" dt="2022-07-12T07:48:45.077" v="984" actId="1036"/>
          <ac:spMkLst>
            <pc:docMk/>
            <pc:sldMk cId="202739375" sldId="2147468948"/>
            <ac:spMk id="19" creationId="{00000000-0000-0000-0000-000000000000}"/>
          </ac:spMkLst>
        </pc:spChg>
        <pc:spChg chg="mod">
          <ac:chgData name="Yu, Bing" userId="90a94cb0-8e9a-43a8-89bf-1b8017aa98de" providerId="ADAL" clId="{89263D42-2051-4E94-B881-7AC65E2DFEDD}" dt="2022-07-12T07:48:45.077" v="984" actId="1036"/>
          <ac:spMkLst>
            <pc:docMk/>
            <pc:sldMk cId="202739375" sldId="2147468948"/>
            <ac:spMk id="20" creationId="{00000000-0000-0000-0000-000000000000}"/>
          </ac:spMkLst>
        </pc:spChg>
        <pc:spChg chg="mod">
          <ac:chgData name="Yu, Bing" userId="90a94cb0-8e9a-43a8-89bf-1b8017aa98de" providerId="ADAL" clId="{89263D42-2051-4E94-B881-7AC65E2DFEDD}" dt="2022-07-12T07:48:45.077" v="984" actId="1036"/>
          <ac:spMkLst>
            <pc:docMk/>
            <pc:sldMk cId="202739375" sldId="2147468948"/>
            <ac:spMk id="21" creationId="{00000000-0000-0000-0000-000000000000}"/>
          </ac:spMkLst>
        </pc:spChg>
        <pc:spChg chg="mod">
          <ac:chgData name="Yu, Bing" userId="90a94cb0-8e9a-43a8-89bf-1b8017aa98de" providerId="ADAL" clId="{89263D42-2051-4E94-B881-7AC65E2DFEDD}" dt="2022-07-12T07:48:45.077" v="984" actId="1036"/>
          <ac:spMkLst>
            <pc:docMk/>
            <pc:sldMk cId="202739375" sldId="2147468948"/>
            <ac:spMk id="22" creationId="{00000000-0000-0000-0000-000000000000}"/>
          </ac:spMkLst>
        </pc:spChg>
        <pc:spChg chg="mod">
          <ac:chgData name="Yu, Bing" userId="90a94cb0-8e9a-43a8-89bf-1b8017aa98de" providerId="ADAL" clId="{89263D42-2051-4E94-B881-7AC65E2DFEDD}" dt="2022-07-12T07:48:45.077" v="984" actId="1036"/>
          <ac:spMkLst>
            <pc:docMk/>
            <pc:sldMk cId="202739375" sldId="2147468948"/>
            <ac:spMk id="23" creationId="{00000000-0000-0000-0000-000000000000}"/>
          </ac:spMkLst>
        </pc:spChg>
        <pc:spChg chg="del">
          <ac:chgData name="Yu, Bing" userId="90a94cb0-8e9a-43a8-89bf-1b8017aa98de" providerId="ADAL" clId="{89263D42-2051-4E94-B881-7AC65E2DFEDD}" dt="2022-07-12T05:44:12.033" v="188" actId="478"/>
          <ac:spMkLst>
            <pc:docMk/>
            <pc:sldMk cId="202739375" sldId="2147468948"/>
            <ac:spMk id="24" creationId="{00000000-0000-0000-0000-000000000000}"/>
          </ac:spMkLst>
        </pc:spChg>
        <pc:spChg chg="mod">
          <ac:chgData name="Yu, Bing" userId="90a94cb0-8e9a-43a8-89bf-1b8017aa98de" providerId="ADAL" clId="{89263D42-2051-4E94-B881-7AC65E2DFEDD}" dt="2022-07-12T07:48:45.077" v="984" actId="1036"/>
          <ac:spMkLst>
            <pc:docMk/>
            <pc:sldMk cId="202739375" sldId="2147468948"/>
            <ac:spMk id="27" creationId="{C196092C-0D8D-4F71-827B-3129D2F588AA}"/>
          </ac:spMkLst>
        </pc:spChg>
        <pc:spChg chg="mod">
          <ac:chgData name="Yu, Bing" userId="90a94cb0-8e9a-43a8-89bf-1b8017aa98de" providerId="ADAL" clId="{89263D42-2051-4E94-B881-7AC65E2DFEDD}" dt="2022-07-12T07:48:45.077" v="984" actId="1036"/>
          <ac:spMkLst>
            <pc:docMk/>
            <pc:sldMk cId="202739375" sldId="2147468948"/>
            <ac:spMk id="28" creationId="{CD1864D7-E2EC-488F-9F57-B9D87F1CBE54}"/>
          </ac:spMkLst>
        </pc:spChg>
        <pc:spChg chg="mod">
          <ac:chgData name="Yu, Bing" userId="90a94cb0-8e9a-43a8-89bf-1b8017aa98de" providerId="ADAL" clId="{89263D42-2051-4E94-B881-7AC65E2DFEDD}" dt="2022-07-12T07:48:45.077" v="984" actId="1036"/>
          <ac:spMkLst>
            <pc:docMk/>
            <pc:sldMk cId="202739375" sldId="2147468948"/>
            <ac:spMk id="29" creationId="{0BE5D52B-73FB-4D05-A64F-4166AE6A883D}"/>
          </ac:spMkLst>
        </pc:spChg>
        <pc:spChg chg="mod">
          <ac:chgData name="Yu, Bing" userId="90a94cb0-8e9a-43a8-89bf-1b8017aa98de" providerId="ADAL" clId="{89263D42-2051-4E94-B881-7AC65E2DFEDD}" dt="2022-07-12T07:48:45.077" v="984" actId="1036"/>
          <ac:spMkLst>
            <pc:docMk/>
            <pc:sldMk cId="202739375" sldId="2147468948"/>
            <ac:spMk id="30" creationId="{4EF54CDB-95AE-4BBC-B2F0-A4A0947208E0}"/>
          </ac:spMkLst>
        </pc:spChg>
        <pc:spChg chg="mod">
          <ac:chgData name="Yu, Bing" userId="90a94cb0-8e9a-43a8-89bf-1b8017aa98de" providerId="ADAL" clId="{89263D42-2051-4E94-B881-7AC65E2DFEDD}" dt="2022-07-12T07:48:45.077" v="984" actId="1036"/>
          <ac:spMkLst>
            <pc:docMk/>
            <pc:sldMk cId="202739375" sldId="2147468948"/>
            <ac:spMk id="31" creationId="{8A6D96DD-258B-47AB-8D7D-1A95E55641DB}"/>
          </ac:spMkLst>
        </pc:spChg>
        <pc:spChg chg="mod">
          <ac:chgData name="Yu, Bing" userId="90a94cb0-8e9a-43a8-89bf-1b8017aa98de" providerId="ADAL" clId="{89263D42-2051-4E94-B881-7AC65E2DFEDD}" dt="2022-07-12T07:48:45.077" v="984" actId="1036"/>
          <ac:spMkLst>
            <pc:docMk/>
            <pc:sldMk cId="202739375" sldId="2147468948"/>
            <ac:spMk id="32" creationId="{BEFE5C42-70A0-42F8-B742-40163AA4B67E}"/>
          </ac:spMkLst>
        </pc:spChg>
        <pc:spChg chg="mod">
          <ac:chgData name="Yu, Bing" userId="90a94cb0-8e9a-43a8-89bf-1b8017aa98de" providerId="ADAL" clId="{89263D42-2051-4E94-B881-7AC65E2DFEDD}" dt="2022-07-12T07:48:45.077" v="984" actId="1036"/>
          <ac:spMkLst>
            <pc:docMk/>
            <pc:sldMk cId="202739375" sldId="2147468948"/>
            <ac:spMk id="33" creationId="{4463DCF0-1AEF-46F8-BC50-0F8D61783E92}"/>
          </ac:spMkLst>
        </pc:spChg>
        <pc:spChg chg="mod">
          <ac:chgData name="Yu, Bing" userId="90a94cb0-8e9a-43a8-89bf-1b8017aa98de" providerId="ADAL" clId="{89263D42-2051-4E94-B881-7AC65E2DFEDD}" dt="2022-07-12T07:48:45.077" v="984" actId="1036"/>
          <ac:spMkLst>
            <pc:docMk/>
            <pc:sldMk cId="202739375" sldId="2147468948"/>
            <ac:spMk id="34" creationId="{8ABC17AC-611A-439F-9CC2-EADEFC503FE7}"/>
          </ac:spMkLst>
        </pc:spChg>
        <pc:spChg chg="del mod">
          <ac:chgData name="Yu, Bing" userId="90a94cb0-8e9a-43a8-89bf-1b8017aa98de" providerId="ADAL" clId="{89263D42-2051-4E94-B881-7AC65E2DFEDD}" dt="2022-07-12T05:48:27.124" v="262" actId="478"/>
          <ac:spMkLst>
            <pc:docMk/>
            <pc:sldMk cId="202739375" sldId="2147468948"/>
            <ac:spMk id="38" creationId="{0195FD0B-18CC-4B49-AC54-9AC216738684}"/>
          </ac:spMkLst>
        </pc:spChg>
        <pc:spChg chg="del mod">
          <ac:chgData name="Yu, Bing" userId="90a94cb0-8e9a-43a8-89bf-1b8017aa98de" providerId="ADAL" clId="{89263D42-2051-4E94-B881-7AC65E2DFEDD}" dt="2022-07-12T05:48:25.697" v="261" actId="478"/>
          <ac:spMkLst>
            <pc:docMk/>
            <pc:sldMk cId="202739375" sldId="2147468948"/>
            <ac:spMk id="39" creationId="{A956D68D-2156-4637-AEB8-127F03A40C11}"/>
          </ac:spMkLst>
        </pc:spChg>
        <pc:spChg chg="del mod">
          <ac:chgData name="Yu, Bing" userId="90a94cb0-8e9a-43a8-89bf-1b8017aa98de" providerId="ADAL" clId="{89263D42-2051-4E94-B881-7AC65E2DFEDD}" dt="2022-07-12T05:47:41.871" v="258" actId="478"/>
          <ac:spMkLst>
            <pc:docMk/>
            <pc:sldMk cId="202739375" sldId="2147468948"/>
            <ac:spMk id="43" creationId="{D4C8F313-0F0C-4E2D-B86A-B61E08322ED0}"/>
          </ac:spMkLst>
        </pc:spChg>
        <pc:spChg chg="del mod">
          <ac:chgData name="Yu, Bing" userId="90a94cb0-8e9a-43a8-89bf-1b8017aa98de" providerId="ADAL" clId="{89263D42-2051-4E94-B881-7AC65E2DFEDD}" dt="2022-07-12T05:47:39.018" v="257" actId="478"/>
          <ac:spMkLst>
            <pc:docMk/>
            <pc:sldMk cId="202739375" sldId="2147468948"/>
            <ac:spMk id="44" creationId="{1361BFE4-DB49-4B92-A5B1-6FFD25BAA9DC}"/>
          </ac:spMkLst>
        </pc:spChg>
        <pc:spChg chg="mod">
          <ac:chgData name="Yu, Bing" userId="90a94cb0-8e9a-43a8-89bf-1b8017aa98de" providerId="ADAL" clId="{89263D42-2051-4E94-B881-7AC65E2DFEDD}" dt="2022-07-12T07:48:45.077" v="984" actId="1036"/>
          <ac:spMkLst>
            <pc:docMk/>
            <pc:sldMk cId="202739375" sldId="2147468948"/>
            <ac:spMk id="50" creationId="{B60E6F7E-92C9-45C5-A04A-874C583457B2}"/>
          </ac:spMkLst>
        </pc:spChg>
        <pc:spChg chg="mod">
          <ac:chgData name="Yu, Bing" userId="90a94cb0-8e9a-43a8-89bf-1b8017aa98de" providerId="ADAL" clId="{89263D42-2051-4E94-B881-7AC65E2DFEDD}" dt="2022-07-12T07:48:45.077" v="984" actId="1036"/>
          <ac:spMkLst>
            <pc:docMk/>
            <pc:sldMk cId="202739375" sldId="2147468948"/>
            <ac:spMk id="51" creationId="{D0E97890-3CEC-4384-9496-9A262F95759A}"/>
          </ac:spMkLst>
        </pc:spChg>
        <pc:spChg chg="mod">
          <ac:chgData name="Yu, Bing" userId="90a94cb0-8e9a-43a8-89bf-1b8017aa98de" providerId="ADAL" clId="{89263D42-2051-4E94-B881-7AC65E2DFEDD}" dt="2022-07-12T07:48:45.077" v="984" actId="1036"/>
          <ac:spMkLst>
            <pc:docMk/>
            <pc:sldMk cId="202739375" sldId="2147468948"/>
            <ac:spMk id="53" creationId="{A39395F1-CA48-4136-8801-3278D1CC3AE9}"/>
          </ac:spMkLst>
        </pc:spChg>
        <pc:spChg chg="mod">
          <ac:chgData name="Yu, Bing" userId="90a94cb0-8e9a-43a8-89bf-1b8017aa98de" providerId="ADAL" clId="{89263D42-2051-4E94-B881-7AC65E2DFEDD}" dt="2022-07-12T07:48:45.077" v="984" actId="1036"/>
          <ac:spMkLst>
            <pc:docMk/>
            <pc:sldMk cId="202739375" sldId="2147468948"/>
            <ac:spMk id="54" creationId="{B283488D-EA3B-40CB-99CD-B353A3417C6F}"/>
          </ac:spMkLst>
        </pc:spChg>
        <pc:spChg chg="mod">
          <ac:chgData name="Yu, Bing" userId="90a94cb0-8e9a-43a8-89bf-1b8017aa98de" providerId="ADAL" clId="{89263D42-2051-4E94-B881-7AC65E2DFEDD}" dt="2022-07-12T07:48:45.077" v="984" actId="1036"/>
          <ac:spMkLst>
            <pc:docMk/>
            <pc:sldMk cId="202739375" sldId="2147468948"/>
            <ac:spMk id="55" creationId="{C05F0FCE-F6BF-4663-B83F-8957240F76F3}"/>
          </ac:spMkLst>
        </pc:spChg>
        <pc:spChg chg="mod">
          <ac:chgData name="Yu, Bing" userId="90a94cb0-8e9a-43a8-89bf-1b8017aa98de" providerId="ADAL" clId="{89263D42-2051-4E94-B881-7AC65E2DFEDD}" dt="2022-07-12T07:48:45.077" v="984" actId="1036"/>
          <ac:spMkLst>
            <pc:docMk/>
            <pc:sldMk cId="202739375" sldId="2147468948"/>
            <ac:spMk id="56" creationId="{40152406-637F-45BA-9FD3-067F831A160A}"/>
          </ac:spMkLst>
        </pc:spChg>
        <pc:spChg chg="mod">
          <ac:chgData name="Yu, Bing" userId="90a94cb0-8e9a-43a8-89bf-1b8017aa98de" providerId="ADAL" clId="{89263D42-2051-4E94-B881-7AC65E2DFEDD}" dt="2022-07-12T07:48:45.077" v="984" actId="1036"/>
          <ac:spMkLst>
            <pc:docMk/>
            <pc:sldMk cId="202739375" sldId="2147468948"/>
            <ac:spMk id="57" creationId="{69376066-F72C-47BF-B56C-EB904B468305}"/>
          </ac:spMkLst>
        </pc:spChg>
        <pc:spChg chg="del">
          <ac:chgData name="Yu, Bing" userId="90a94cb0-8e9a-43a8-89bf-1b8017aa98de" providerId="ADAL" clId="{89263D42-2051-4E94-B881-7AC65E2DFEDD}" dt="2022-07-12T05:44:33.194" v="208" actId="478"/>
          <ac:spMkLst>
            <pc:docMk/>
            <pc:sldMk cId="202739375" sldId="2147468948"/>
            <ac:spMk id="58" creationId="{E6A7A5B1-8444-4339-8F9A-F5357BDD28BB}"/>
          </ac:spMkLst>
        </pc:spChg>
        <pc:spChg chg="add del mod">
          <ac:chgData name="Yu, Bing" userId="90a94cb0-8e9a-43a8-89bf-1b8017aa98de" providerId="ADAL" clId="{89263D42-2051-4E94-B881-7AC65E2DFEDD}" dt="2022-07-12T05:49:33.371" v="267" actId="478"/>
          <ac:spMkLst>
            <pc:docMk/>
            <pc:sldMk cId="202739375" sldId="2147468948"/>
            <ac:spMk id="59" creationId="{6F543E05-6795-4BE1-B0CE-E134E16B6AD3}"/>
          </ac:spMkLst>
        </pc:spChg>
        <pc:spChg chg="add mod">
          <ac:chgData name="Yu, Bing" userId="90a94cb0-8e9a-43a8-89bf-1b8017aa98de" providerId="ADAL" clId="{89263D42-2051-4E94-B881-7AC65E2DFEDD}" dt="2022-07-12T07:48:45.077" v="984" actId="1036"/>
          <ac:spMkLst>
            <pc:docMk/>
            <pc:sldMk cId="202739375" sldId="2147468948"/>
            <ac:spMk id="62" creationId="{56341A62-333D-4654-B300-497A3FCC5831}"/>
          </ac:spMkLst>
        </pc:spChg>
        <pc:spChg chg="add mod">
          <ac:chgData name="Yu, Bing" userId="90a94cb0-8e9a-43a8-89bf-1b8017aa98de" providerId="ADAL" clId="{89263D42-2051-4E94-B881-7AC65E2DFEDD}" dt="2022-07-12T07:48:45.077" v="984" actId="1036"/>
          <ac:spMkLst>
            <pc:docMk/>
            <pc:sldMk cId="202739375" sldId="2147468948"/>
            <ac:spMk id="64" creationId="{F0AE7CF6-4C56-4433-B516-F0DADFEAEACF}"/>
          </ac:spMkLst>
        </pc:spChg>
        <pc:spChg chg="add mod">
          <ac:chgData name="Yu, Bing" userId="90a94cb0-8e9a-43a8-89bf-1b8017aa98de" providerId="ADAL" clId="{89263D42-2051-4E94-B881-7AC65E2DFEDD}" dt="2022-07-12T07:48:37.867" v="979" actId="1036"/>
          <ac:spMkLst>
            <pc:docMk/>
            <pc:sldMk cId="202739375" sldId="2147468948"/>
            <ac:spMk id="66" creationId="{FFFBF450-64C7-4C9C-8411-ED44DD03D5BD}"/>
          </ac:spMkLst>
        </pc:spChg>
        <pc:spChg chg="mod">
          <ac:chgData name="Yu, Bing" userId="90a94cb0-8e9a-43a8-89bf-1b8017aa98de" providerId="ADAL" clId="{89263D42-2051-4E94-B881-7AC65E2DFEDD}" dt="2022-07-12T07:48:45.077" v="984" actId="1036"/>
          <ac:spMkLst>
            <pc:docMk/>
            <pc:sldMk cId="202739375" sldId="2147468948"/>
            <ac:spMk id="78" creationId="{AF2369FE-9888-4771-9DB3-900A2853A2AD}"/>
          </ac:spMkLst>
        </pc:spChg>
        <pc:spChg chg="mod">
          <ac:chgData name="Yu, Bing" userId="90a94cb0-8e9a-43a8-89bf-1b8017aa98de" providerId="ADAL" clId="{89263D42-2051-4E94-B881-7AC65E2DFEDD}" dt="2022-07-12T07:48:45.077" v="984" actId="1036"/>
          <ac:spMkLst>
            <pc:docMk/>
            <pc:sldMk cId="202739375" sldId="2147468948"/>
            <ac:spMk id="80" creationId="{01F936C3-79D7-4423-97C2-7237F21C1D39}"/>
          </ac:spMkLst>
        </pc:spChg>
        <pc:spChg chg="mod">
          <ac:chgData name="Yu, Bing" userId="90a94cb0-8e9a-43a8-89bf-1b8017aa98de" providerId="ADAL" clId="{89263D42-2051-4E94-B881-7AC65E2DFEDD}" dt="2022-07-12T07:48:45.077" v="984" actId="1036"/>
          <ac:spMkLst>
            <pc:docMk/>
            <pc:sldMk cId="202739375" sldId="2147468948"/>
            <ac:spMk id="89" creationId="{F7DD1E5E-33F0-4CCB-B38D-B6A76F62CFC6}"/>
          </ac:spMkLst>
        </pc:spChg>
        <pc:spChg chg="mod">
          <ac:chgData name="Yu, Bing" userId="90a94cb0-8e9a-43a8-89bf-1b8017aa98de" providerId="ADAL" clId="{89263D42-2051-4E94-B881-7AC65E2DFEDD}" dt="2022-07-12T07:48:45.077" v="984" actId="1036"/>
          <ac:spMkLst>
            <pc:docMk/>
            <pc:sldMk cId="202739375" sldId="2147468948"/>
            <ac:spMk id="90" creationId="{4E4680F3-A4D2-43F2-933A-C149DFB56BF2}"/>
          </ac:spMkLst>
        </pc:spChg>
        <pc:spChg chg="mod">
          <ac:chgData name="Yu, Bing" userId="90a94cb0-8e9a-43a8-89bf-1b8017aa98de" providerId="ADAL" clId="{89263D42-2051-4E94-B881-7AC65E2DFEDD}" dt="2022-07-12T07:48:45.077" v="984" actId="1036"/>
          <ac:spMkLst>
            <pc:docMk/>
            <pc:sldMk cId="202739375" sldId="2147468948"/>
            <ac:spMk id="91" creationId="{828592C1-3E89-4C28-AFBF-B3F6544C515F}"/>
          </ac:spMkLst>
        </pc:spChg>
        <pc:graphicFrameChg chg="mod">
          <ac:chgData name="Yu, Bing" userId="90a94cb0-8e9a-43a8-89bf-1b8017aa98de" providerId="ADAL" clId="{89263D42-2051-4E94-B881-7AC65E2DFEDD}" dt="2022-07-12T07:48:45.077" v="984" actId="1036"/>
          <ac:graphicFrameMkLst>
            <pc:docMk/>
            <pc:sldMk cId="202739375" sldId="2147468948"/>
            <ac:graphicFrameMk id="88" creationId="{95DEC045-0FB3-45FF-A90F-C85217B6D8DF}"/>
          </ac:graphicFrameMkLst>
        </pc:graphicFrameChg>
        <pc:picChg chg="del mod">
          <ac:chgData name="Yu, Bing" userId="90a94cb0-8e9a-43a8-89bf-1b8017aa98de" providerId="ADAL" clId="{89263D42-2051-4E94-B881-7AC65E2DFEDD}" dt="2022-07-12T05:49:09.923" v="265" actId="478"/>
          <ac:picMkLst>
            <pc:docMk/>
            <pc:sldMk cId="202739375" sldId="2147468948"/>
            <ac:picMk id="7" creationId="{B26A856C-4BD6-4D14-A572-72778D1FC3C4}"/>
          </ac:picMkLst>
        </pc:picChg>
        <pc:picChg chg="mod">
          <ac:chgData name="Yu, Bing" userId="90a94cb0-8e9a-43a8-89bf-1b8017aa98de" providerId="ADAL" clId="{89263D42-2051-4E94-B881-7AC65E2DFEDD}" dt="2022-07-12T07:48:45.077" v="984" actId="1036"/>
          <ac:picMkLst>
            <pc:docMk/>
            <pc:sldMk cId="202739375" sldId="2147468948"/>
            <ac:picMk id="10" creationId="{38EDD6C6-5221-4A67-ACAF-21CA99345C06}"/>
          </ac:picMkLst>
        </pc:picChg>
        <pc:picChg chg="mod">
          <ac:chgData name="Yu, Bing" userId="90a94cb0-8e9a-43a8-89bf-1b8017aa98de" providerId="ADAL" clId="{89263D42-2051-4E94-B881-7AC65E2DFEDD}" dt="2022-07-12T07:48:45.077" v="984" actId="1036"/>
          <ac:picMkLst>
            <pc:docMk/>
            <pc:sldMk cId="202739375" sldId="2147468948"/>
            <ac:picMk id="12" creationId="{B0AD0AA0-6E41-4C9F-B46F-50AF081601E8}"/>
          </ac:picMkLst>
        </pc:picChg>
        <pc:picChg chg="mod">
          <ac:chgData name="Yu, Bing" userId="90a94cb0-8e9a-43a8-89bf-1b8017aa98de" providerId="ADAL" clId="{89263D42-2051-4E94-B881-7AC65E2DFEDD}" dt="2022-07-12T07:48:45.077" v="984" actId="1036"/>
          <ac:picMkLst>
            <pc:docMk/>
            <pc:sldMk cId="202739375" sldId="2147468948"/>
            <ac:picMk id="15" creationId="{4AE3E70A-7AC0-41A0-926E-7F825D2E1587}"/>
          </ac:picMkLst>
        </pc:picChg>
        <pc:picChg chg="mod">
          <ac:chgData name="Yu, Bing" userId="90a94cb0-8e9a-43a8-89bf-1b8017aa98de" providerId="ADAL" clId="{89263D42-2051-4E94-B881-7AC65E2DFEDD}" dt="2022-07-12T07:48:45.077" v="984" actId="1036"/>
          <ac:picMkLst>
            <pc:docMk/>
            <pc:sldMk cId="202739375" sldId="2147468948"/>
            <ac:picMk id="45" creationId="{5A3A0834-F34A-44F0-BE76-2F5A5DEA7A18}"/>
          </ac:picMkLst>
        </pc:picChg>
        <pc:picChg chg="mod">
          <ac:chgData name="Yu, Bing" userId="90a94cb0-8e9a-43a8-89bf-1b8017aa98de" providerId="ADAL" clId="{89263D42-2051-4E94-B881-7AC65E2DFEDD}" dt="2022-07-12T07:48:45.077" v="984" actId="1036"/>
          <ac:picMkLst>
            <pc:docMk/>
            <pc:sldMk cId="202739375" sldId="2147468948"/>
            <ac:picMk id="47" creationId="{FF3BBF9B-8EDF-44BD-A481-EF8E8544D99E}"/>
          </ac:picMkLst>
        </pc:picChg>
        <pc:picChg chg="add mod">
          <ac:chgData name="Yu, Bing" userId="90a94cb0-8e9a-43a8-89bf-1b8017aa98de" providerId="ADAL" clId="{89263D42-2051-4E94-B881-7AC65E2DFEDD}" dt="2022-07-12T07:48:45.077" v="984" actId="1036"/>
          <ac:picMkLst>
            <pc:docMk/>
            <pc:sldMk cId="202739375" sldId="2147468948"/>
            <ac:picMk id="60" creationId="{ED80941F-C650-4F1C-8B9F-05C1E7D0B559}"/>
          </ac:picMkLst>
        </pc:picChg>
        <pc:picChg chg="mod">
          <ac:chgData name="Yu, Bing" userId="90a94cb0-8e9a-43a8-89bf-1b8017aa98de" providerId="ADAL" clId="{89263D42-2051-4E94-B881-7AC65E2DFEDD}" dt="2022-07-12T07:48:45.077" v="984" actId="1036"/>
          <ac:picMkLst>
            <pc:docMk/>
            <pc:sldMk cId="202739375" sldId="2147468948"/>
            <ac:picMk id="61" creationId="{7361BD52-3D82-4E07-A441-D45C6A04582F}"/>
          </ac:picMkLst>
        </pc:picChg>
        <pc:picChg chg="mod">
          <ac:chgData name="Yu, Bing" userId="90a94cb0-8e9a-43a8-89bf-1b8017aa98de" providerId="ADAL" clId="{89263D42-2051-4E94-B881-7AC65E2DFEDD}" dt="2022-07-12T07:48:45.077" v="984" actId="1036"/>
          <ac:picMkLst>
            <pc:docMk/>
            <pc:sldMk cId="202739375" sldId="2147468948"/>
            <ac:picMk id="63" creationId="{AFD7055E-4B63-4326-9758-13A62341ECF7}"/>
          </ac:picMkLst>
        </pc:picChg>
        <pc:picChg chg="mod">
          <ac:chgData name="Yu, Bing" userId="90a94cb0-8e9a-43a8-89bf-1b8017aa98de" providerId="ADAL" clId="{89263D42-2051-4E94-B881-7AC65E2DFEDD}" dt="2022-07-12T07:48:45.077" v="984" actId="1036"/>
          <ac:picMkLst>
            <pc:docMk/>
            <pc:sldMk cId="202739375" sldId="2147468948"/>
            <ac:picMk id="67" creationId="{6424E41B-6F82-4E3E-83A9-90061BCB6325}"/>
          </ac:picMkLst>
        </pc:picChg>
        <pc:picChg chg="mod">
          <ac:chgData name="Yu, Bing" userId="90a94cb0-8e9a-43a8-89bf-1b8017aa98de" providerId="ADAL" clId="{89263D42-2051-4E94-B881-7AC65E2DFEDD}" dt="2022-07-12T07:48:45.077" v="984" actId="1036"/>
          <ac:picMkLst>
            <pc:docMk/>
            <pc:sldMk cId="202739375" sldId="2147468948"/>
            <ac:picMk id="68" creationId="{955F615C-161E-4EEC-9515-14C6B07B70ED}"/>
          </ac:picMkLst>
        </pc:picChg>
        <pc:picChg chg="mod">
          <ac:chgData name="Yu, Bing" userId="90a94cb0-8e9a-43a8-89bf-1b8017aa98de" providerId="ADAL" clId="{89263D42-2051-4E94-B881-7AC65E2DFEDD}" dt="2022-07-12T07:48:45.077" v="984" actId="1036"/>
          <ac:picMkLst>
            <pc:docMk/>
            <pc:sldMk cId="202739375" sldId="2147468948"/>
            <ac:picMk id="70" creationId="{F8EB500D-193C-456A-9B46-D3EB1380C32A}"/>
          </ac:picMkLst>
        </pc:picChg>
        <pc:picChg chg="mod">
          <ac:chgData name="Yu, Bing" userId="90a94cb0-8e9a-43a8-89bf-1b8017aa98de" providerId="ADAL" clId="{89263D42-2051-4E94-B881-7AC65E2DFEDD}" dt="2022-07-12T07:48:45.077" v="984" actId="1036"/>
          <ac:picMkLst>
            <pc:docMk/>
            <pc:sldMk cId="202739375" sldId="2147468948"/>
            <ac:picMk id="72" creationId="{7AA990AB-2117-45AF-BD41-87AD33C28DF2}"/>
          </ac:picMkLst>
        </pc:picChg>
        <pc:picChg chg="mod">
          <ac:chgData name="Yu, Bing" userId="90a94cb0-8e9a-43a8-89bf-1b8017aa98de" providerId="ADAL" clId="{89263D42-2051-4E94-B881-7AC65E2DFEDD}" dt="2022-07-12T07:48:45.077" v="984" actId="1036"/>
          <ac:picMkLst>
            <pc:docMk/>
            <pc:sldMk cId="202739375" sldId="2147468948"/>
            <ac:picMk id="74" creationId="{DF2D7BCA-A4D1-4FA9-850A-A82D2C022575}"/>
          </ac:picMkLst>
        </pc:picChg>
        <pc:picChg chg="mod">
          <ac:chgData name="Yu, Bing" userId="90a94cb0-8e9a-43a8-89bf-1b8017aa98de" providerId="ADAL" clId="{89263D42-2051-4E94-B881-7AC65E2DFEDD}" dt="2022-07-12T07:48:45.077" v="984" actId="1036"/>
          <ac:picMkLst>
            <pc:docMk/>
            <pc:sldMk cId="202739375" sldId="2147468948"/>
            <ac:picMk id="76" creationId="{96C50623-EC53-4AC4-BEE4-E38346EDC6DD}"/>
          </ac:picMkLst>
        </pc:picChg>
        <pc:cxnChg chg="add del mod">
          <ac:chgData name="Yu, Bing" userId="90a94cb0-8e9a-43a8-89bf-1b8017aa98de" providerId="ADAL" clId="{89263D42-2051-4E94-B881-7AC65E2DFEDD}" dt="2022-07-12T06:21:11.210" v="535" actId="478"/>
          <ac:cxnSpMkLst>
            <pc:docMk/>
            <pc:sldMk cId="202739375" sldId="2147468948"/>
            <ac:cxnSpMk id="65" creationId="{2F866DB7-599C-4A40-BC87-42633C98AAB0}"/>
          </ac:cxnSpMkLst>
        </pc:cxnChg>
      </pc:sldChg>
      <pc:sldChg chg="modSp del mod modNotesTx">
        <pc:chgData name="Yu, Bing" userId="90a94cb0-8e9a-43a8-89bf-1b8017aa98de" providerId="ADAL" clId="{89263D42-2051-4E94-B881-7AC65E2DFEDD}" dt="2022-07-12T05:44:20.806" v="190" actId="47"/>
        <pc:sldMkLst>
          <pc:docMk/>
          <pc:sldMk cId="980256063" sldId="2147468953"/>
        </pc:sldMkLst>
        <pc:spChg chg="mod">
          <ac:chgData name="Yu, Bing" userId="90a94cb0-8e9a-43a8-89bf-1b8017aa98de" providerId="ADAL" clId="{89263D42-2051-4E94-B881-7AC65E2DFEDD}" dt="2022-07-11T10:04:13.676" v="44" actId="6549"/>
          <ac:spMkLst>
            <pc:docMk/>
            <pc:sldMk cId="980256063" sldId="2147468953"/>
            <ac:spMk id="8" creationId="{4A1736B5-805C-B0B6-C9CA-C28B5CDFAD81}"/>
          </ac:spMkLst>
        </pc:spChg>
      </pc:sldChg>
      <pc:sldChg chg="modSp mod delCm modNotesTx">
        <pc:chgData name="Yu, Bing" userId="90a94cb0-8e9a-43a8-89bf-1b8017aa98de" providerId="ADAL" clId="{89263D42-2051-4E94-B881-7AC65E2DFEDD}" dt="2022-07-12T07:07:16.727" v="768" actId="1035"/>
        <pc:sldMkLst>
          <pc:docMk/>
          <pc:sldMk cId="2725222057" sldId="2147468954"/>
        </pc:sldMkLst>
        <pc:spChg chg="mod">
          <ac:chgData name="Yu, Bing" userId="90a94cb0-8e9a-43a8-89bf-1b8017aa98de" providerId="ADAL" clId="{89263D42-2051-4E94-B881-7AC65E2DFEDD}" dt="2022-07-12T07:05:32.804" v="750" actId="108"/>
          <ac:spMkLst>
            <pc:docMk/>
            <pc:sldMk cId="2725222057" sldId="2147468954"/>
            <ac:spMk id="4" creationId="{E064333D-6471-46C6-9EB6-A7A7FD9DF751}"/>
          </ac:spMkLst>
        </pc:spChg>
        <pc:spChg chg="mod">
          <ac:chgData name="Yu, Bing" userId="90a94cb0-8e9a-43a8-89bf-1b8017aa98de" providerId="ADAL" clId="{89263D42-2051-4E94-B881-7AC65E2DFEDD}" dt="2022-07-12T07:07:16.727" v="768" actId="1035"/>
          <ac:spMkLst>
            <pc:docMk/>
            <pc:sldMk cId="2725222057" sldId="2147468954"/>
            <ac:spMk id="38" creationId="{00000000-0000-0000-0000-000000000000}"/>
          </ac:spMkLst>
        </pc:spChg>
        <pc:spChg chg="mod">
          <ac:chgData name="Yu, Bing" userId="90a94cb0-8e9a-43a8-89bf-1b8017aa98de" providerId="ADAL" clId="{89263D42-2051-4E94-B881-7AC65E2DFEDD}" dt="2022-07-12T07:06:26.662" v="753" actId="113"/>
          <ac:spMkLst>
            <pc:docMk/>
            <pc:sldMk cId="2725222057" sldId="2147468954"/>
            <ac:spMk id="66" creationId="{E064333D-6471-46C6-9EB6-A7A7FD9DF751}"/>
          </ac:spMkLst>
        </pc:spChg>
        <pc:spChg chg="mod">
          <ac:chgData name="Yu, Bing" userId="90a94cb0-8e9a-43a8-89bf-1b8017aa98de" providerId="ADAL" clId="{89263D42-2051-4E94-B881-7AC65E2DFEDD}" dt="2022-07-12T07:07:00.541" v="756" actId="255"/>
          <ac:spMkLst>
            <pc:docMk/>
            <pc:sldMk cId="2725222057" sldId="2147468954"/>
            <ac:spMk id="72" creationId="{E064333D-6471-46C6-9EB6-A7A7FD9DF751}"/>
          </ac:spMkLst>
        </pc:spChg>
      </pc:sldChg>
      <pc:sldChg chg="addSp modSp add mod">
        <pc:chgData name="Yu, Bing" userId="90a94cb0-8e9a-43a8-89bf-1b8017aa98de" providerId="ADAL" clId="{89263D42-2051-4E94-B881-7AC65E2DFEDD}" dt="2022-07-12T11:13:49.998" v="1034" actId="113"/>
        <pc:sldMkLst>
          <pc:docMk/>
          <pc:sldMk cId="3873352731" sldId="2147468955"/>
        </pc:sldMkLst>
        <pc:spChg chg="mod">
          <ac:chgData name="Yu, Bing" userId="90a94cb0-8e9a-43a8-89bf-1b8017aa98de" providerId="ADAL" clId="{89263D42-2051-4E94-B881-7AC65E2DFEDD}" dt="2022-07-12T06:48:34.931" v="670" actId="113"/>
          <ac:spMkLst>
            <pc:docMk/>
            <pc:sldMk cId="3873352731" sldId="2147468955"/>
            <ac:spMk id="5" creationId="{00000000-0000-0000-0000-000000000000}"/>
          </ac:spMkLst>
        </pc:spChg>
        <pc:spChg chg="mod">
          <ac:chgData name="Yu, Bing" userId="90a94cb0-8e9a-43a8-89bf-1b8017aa98de" providerId="ADAL" clId="{89263D42-2051-4E94-B881-7AC65E2DFEDD}" dt="2022-07-12T11:13:45.037" v="1032" actId="1076"/>
          <ac:spMkLst>
            <pc:docMk/>
            <pc:sldMk cId="3873352731" sldId="2147468955"/>
            <ac:spMk id="7" creationId="{00000000-0000-0000-0000-000000000000}"/>
          </ac:spMkLst>
        </pc:spChg>
        <pc:spChg chg="mod">
          <ac:chgData name="Yu, Bing" userId="90a94cb0-8e9a-43a8-89bf-1b8017aa98de" providerId="ADAL" clId="{89263D42-2051-4E94-B881-7AC65E2DFEDD}" dt="2022-07-12T06:48:29.882" v="668" actId="113"/>
          <ac:spMkLst>
            <pc:docMk/>
            <pc:sldMk cId="3873352731" sldId="2147468955"/>
            <ac:spMk id="40" creationId="{00000000-0000-0000-0000-000000000000}"/>
          </ac:spMkLst>
        </pc:spChg>
        <pc:spChg chg="mod">
          <ac:chgData name="Yu, Bing" userId="90a94cb0-8e9a-43a8-89bf-1b8017aa98de" providerId="ADAL" clId="{89263D42-2051-4E94-B881-7AC65E2DFEDD}" dt="2022-07-12T06:46:31.990" v="660" actId="207"/>
          <ac:spMkLst>
            <pc:docMk/>
            <pc:sldMk cId="3873352731" sldId="2147468955"/>
            <ac:spMk id="60" creationId="{00000000-0000-0000-0000-000000000000}"/>
          </ac:spMkLst>
        </pc:spChg>
        <pc:spChg chg="mod">
          <ac:chgData name="Yu, Bing" userId="90a94cb0-8e9a-43a8-89bf-1b8017aa98de" providerId="ADAL" clId="{89263D42-2051-4E94-B881-7AC65E2DFEDD}" dt="2022-07-12T06:46:27.293" v="659" actId="207"/>
          <ac:spMkLst>
            <pc:docMk/>
            <pc:sldMk cId="3873352731" sldId="2147468955"/>
            <ac:spMk id="63" creationId="{00000000-0000-0000-0000-000000000000}"/>
          </ac:spMkLst>
        </pc:spChg>
        <pc:spChg chg="add mod">
          <ac:chgData name="Yu, Bing" userId="90a94cb0-8e9a-43a8-89bf-1b8017aa98de" providerId="ADAL" clId="{89263D42-2051-4E94-B881-7AC65E2DFEDD}" dt="2022-07-12T11:13:49.998" v="1034" actId="113"/>
          <ac:spMkLst>
            <pc:docMk/>
            <pc:sldMk cId="3873352731" sldId="2147468955"/>
            <ac:spMk id="102" creationId="{40E36CDA-F985-45EF-A4CC-C22487C6C2C2}"/>
          </ac:spMkLst>
        </pc:spChg>
        <pc:spChg chg="mod">
          <ac:chgData name="Yu, Bing" userId="90a94cb0-8e9a-43a8-89bf-1b8017aa98de" providerId="ADAL" clId="{89263D42-2051-4E94-B881-7AC65E2DFEDD}" dt="2022-07-12T06:44:18.264" v="647" actId="113"/>
          <ac:spMkLst>
            <pc:docMk/>
            <pc:sldMk cId="3873352731" sldId="2147468955"/>
            <ac:spMk id="140" creationId="{00000000-0000-0000-0000-000000000000}"/>
          </ac:spMkLst>
        </pc:spChg>
        <pc:graphicFrameChg chg="mod">
          <ac:chgData name="Yu, Bing" userId="90a94cb0-8e9a-43a8-89bf-1b8017aa98de" providerId="ADAL" clId="{89263D42-2051-4E94-B881-7AC65E2DFEDD}" dt="2022-07-12T06:47:57.699" v="666" actId="113"/>
          <ac:graphicFrameMkLst>
            <pc:docMk/>
            <pc:sldMk cId="3873352731" sldId="2147468955"/>
            <ac:graphicFrameMk id="141" creationId="{00000000-0000-0000-0000-000000000000}"/>
          </ac:graphicFrameMkLst>
        </pc:graphicFrameChg>
      </pc:sldChg>
      <pc:sldChg chg="add">
        <pc:chgData name="Yu, Bing" userId="90a94cb0-8e9a-43a8-89bf-1b8017aa98de" providerId="ADAL" clId="{89263D42-2051-4E94-B881-7AC65E2DFEDD}" dt="2022-07-12T11:11:25.309" v="1016"/>
        <pc:sldMkLst>
          <pc:docMk/>
          <pc:sldMk cId="435332247" sldId="2147468956"/>
        </pc:sldMkLst>
      </pc:sldChg>
    </pc:docChg>
  </pc:docChgLst>
  <pc:docChgLst>
    <pc:chgData name="Yu, Bing" userId="90a94cb0-8e9a-43a8-89bf-1b8017aa98de" providerId="ADAL" clId="{1C29DF7F-F9F2-47EE-9269-1E79F1583F39}"/>
    <pc:docChg chg="undo custSel addSld delSld modSld">
      <pc:chgData name="Yu, Bing" userId="90a94cb0-8e9a-43a8-89bf-1b8017aa98de" providerId="ADAL" clId="{1C29DF7F-F9F2-47EE-9269-1E79F1583F39}" dt="2022-07-10T07:30:06.883" v="714" actId="478"/>
      <pc:docMkLst>
        <pc:docMk/>
      </pc:docMkLst>
      <pc:sldChg chg="modSp mod modCm">
        <pc:chgData name="Yu, Bing" userId="90a94cb0-8e9a-43a8-89bf-1b8017aa98de" providerId="ADAL" clId="{1C29DF7F-F9F2-47EE-9269-1E79F1583F39}" dt="2022-07-10T06:39:51.675" v="313" actId="20577"/>
        <pc:sldMkLst>
          <pc:docMk/>
          <pc:sldMk cId="226615251" sldId="256"/>
        </pc:sldMkLst>
        <pc:spChg chg="mod">
          <ac:chgData name="Yu, Bing" userId="90a94cb0-8e9a-43a8-89bf-1b8017aa98de" providerId="ADAL" clId="{1C29DF7F-F9F2-47EE-9269-1E79F1583F39}" dt="2022-07-10T06:35:49.441" v="182" actId="108"/>
          <ac:spMkLst>
            <pc:docMk/>
            <pc:sldMk cId="226615251" sldId="256"/>
            <ac:spMk id="38" creationId="{00000000-0000-0000-0000-000000000000}"/>
          </ac:spMkLst>
        </pc:spChg>
        <pc:spChg chg="mod">
          <ac:chgData name="Yu, Bing" userId="90a94cb0-8e9a-43a8-89bf-1b8017aa98de" providerId="ADAL" clId="{1C29DF7F-F9F2-47EE-9269-1E79F1583F39}" dt="2022-07-10T06:37:11.595" v="217" actId="108"/>
          <ac:spMkLst>
            <pc:docMk/>
            <pc:sldMk cId="226615251" sldId="256"/>
            <ac:spMk id="61" creationId="{00000000-0000-0000-0000-000000000000}"/>
          </ac:spMkLst>
        </pc:spChg>
        <pc:spChg chg="mod">
          <ac:chgData name="Yu, Bing" userId="90a94cb0-8e9a-43a8-89bf-1b8017aa98de" providerId="ADAL" clId="{1C29DF7F-F9F2-47EE-9269-1E79F1583F39}" dt="2022-07-10T06:39:51.675" v="313" actId="20577"/>
          <ac:spMkLst>
            <pc:docMk/>
            <pc:sldMk cId="226615251" sldId="256"/>
            <ac:spMk id="72" creationId="{E064333D-6471-46C6-9EB6-A7A7FD9DF751}"/>
          </ac:spMkLst>
        </pc:spChg>
      </pc:sldChg>
      <pc:sldChg chg="modSp mod addCm">
        <pc:chgData name="Yu, Bing" userId="90a94cb0-8e9a-43a8-89bf-1b8017aa98de" providerId="ADAL" clId="{1C29DF7F-F9F2-47EE-9269-1E79F1583F39}" dt="2022-07-10T07:00:29.497" v="604" actId="1589"/>
        <pc:sldMkLst>
          <pc:docMk/>
          <pc:sldMk cId="2530524659" sldId="257"/>
        </pc:sldMkLst>
        <pc:spChg chg="mod">
          <ac:chgData name="Yu, Bing" userId="90a94cb0-8e9a-43a8-89bf-1b8017aa98de" providerId="ADAL" clId="{1C29DF7F-F9F2-47EE-9269-1E79F1583F39}" dt="2022-07-10T06:32:59.631" v="158" actId="404"/>
          <ac:spMkLst>
            <pc:docMk/>
            <pc:sldMk cId="2530524659" sldId="257"/>
            <ac:spMk id="33" creationId="{00000000-0000-0000-0000-000000000000}"/>
          </ac:spMkLst>
        </pc:spChg>
        <pc:spChg chg="mod">
          <ac:chgData name="Yu, Bing" userId="90a94cb0-8e9a-43a8-89bf-1b8017aa98de" providerId="ADAL" clId="{1C29DF7F-F9F2-47EE-9269-1E79F1583F39}" dt="2022-07-10T06:28:03.086" v="18" actId="20577"/>
          <ac:spMkLst>
            <pc:docMk/>
            <pc:sldMk cId="2530524659" sldId="257"/>
            <ac:spMk id="40" creationId="{00000000-0000-0000-0000-000000000000}"/>
          </ac:spMkLst>
        </pc:spChg>
        <pc:spChg chg="mod">
          <ac:chgData name="Yu, Bing" userId="90a94cb0-8e9a-43a8-89bf-1b8017aa98de" providerId="ADAL" clId="{1C29DF7F-F9F2-47EE-9269-1E79F1583F39}" dt="2022-07-10T06:57:40.039" v="571" actId="20577"/>
          <ac:spMkLst>
            <pc:docMk/>
            <pc:sldMk cId="2530524659" sldId="257"/>
            <ac:spMk id="41" creationId="{00000000-0000-0000-0000-000000000000}"/>
          </ac:spMkLst>
        </pc:spChg>
      </pc:sldChg>
      <pc:sldChg chg="addSp delSp modSp mod modCm">
        <pc:chgData name="Yu, Bing" userId="90a94cb0-8e9a-43a8-89bf-1b8017aa98de" providerId="ADAL" clId="{1C29DF7F-F9F2-47EE-9269-1E79F1583F39}" dt="2022-07-10T07:30:06.883" v="714" actId="478"/>
        <pc:sldMkLst>
          <pc:docMk/>
          <pc:sldMk cId="0" sldId="258"/>
        </pc:sldMkLst>
        <pc:spChg chg="mod">
          <ac:chgData name="Yu, Bing" userId="90a94cb0-8e9a-43a8-89bf-1b8017aa98de" providerId="ADAL" clId="{1C29DF7F-F9F2-47EE-9269-1E79F1583F39}" dt="2022-07-10T06:55:43.178" v="518" actId="1076"/>
          <ac:spMkLst>
            <pc:docMk/>
            <pc:sldMk cId="0" sldId="258"/>
            <ac:spMk id="7" creationId="{00000000-0000-0000-0000-000000000000}"/>
          </ac:spMkLst>
        </pc:spChg>
        <pc:spChg chg="mod topLvl">
          <ac:chgData name="Yu, Bing" userId="90a94cb0-8e9a-43a8-89bf-1b8017aa98de" providerId="ADAL" clId="{1C29DF7F-F9F2-47EE-9269-1E79F1583F39}" dt="2022-07-10T06:55:26.150" v="515" actId="1038"/>
          <ac:spMkLst>
            <pc:docMk/>
            <pc:sldMk cId="0" sldId="258"/>
            <ac:spMk id="33" creationId="{D2AFDF46-99CB-400C-818F-5DAB0D1E4DD5}"/>
          </ac:spMkLst>
        </pc:spChg>
        <pc:spChg chg="mod topLvl">
          <ac:chgData name="Yu, Bing" userId="90a94cb0-8e9a-43a8-89bf-1b8017aa98de" providerId="ADAL" clId="{1C29DF7F-F9F2-47EE-9269-1E79F1583F39}" dt="2022-07-10T06:55:26.150" v="515" actId="1038"/>
          <ac:spMkLst>
            <pc:docMk/>
            <pc:sldMk cId="0" sldId="258"/>
            <ac:spMk id="34" creationId="{C741FBBD-ACCB-441D-83FA-846ADAFCDDB0}"/>
          </ac:spMkLst>
        </pc:spChg>
        <pc:spChg chg="mod topLvl">
          <ac:chgData name="Yu, Bing" userId="90a94cb0-8e9a-43a8-89bf-1b8017aa98de" providerId="ADAL" clId="{1C29DF7F-F9F2-47EE-9269-1E79F1583F39}" dt="2022-07-10T06:55:26.150" v="515" actId="1038"/>
          <ac:spMkLst>
            <pc:docMk/>
            <pc:sldMk cId="0" sldId="258"/>
            <ac:spMk id="35" creationId="{B9032456-4656-40E1-8C40-C0929394387E}"/>
          </ac:spMkLst>
        </pc:spChg>
        <pc:spChg chg="mod topLvl">
          <ac:chgData name="Yu, Bing" userId="90a94cb0-8e9a-43a8-89bf-1b8017aa98de" providerId="ADAL" clId="{1C29DF7F-F9F2-47EE-9269-1E79F1583F39}" dt="2022-07-10T06:55:26.150" v="515" actId="1038"/>
          <ac:spMkLst>
            <pc:docMk/>
            <pc:sldMk cId="0" sldId="258"/>
            <ac:spMk id="36" creationId="{90D8CEA7-0745-475B-BE1B-35E132D82B1B}"/>
          </ac:spMkLst>
        </pc:spChg>
        <pc:spChg chg="mod topLvl">
          <ac:chgData name="Yu, Bing" userId="90a94cb0-8e9a-43a8-89bf-1b8017aa98de" providerId="ADAL" clId="{1C29DF7F-F9F2-47EE-9269-1E79F1583F39}" dt="2022-07-10T06:55:26.150" v="515" actId="1038"/>
          <ac:spMkLst>
            <pc:docMk/>
            <pc:sldMk cId="0" sldId="258"/>
            <ac:spMk id="37" creationId="{BCEAEB03-6043-4F14-9664-BA7304F77E74}"/>
          </ac:spMkLst>
        </pc:spChg>
        <pc:spChg chg="mod topLvl">
          <ac:chgData name="Yu, Bing" userId="90a94cb0-8e9a-43a8-89bf-1b8017aa98de" providerId="ADAL" clId="{1C29DF7F-F9F2-47EE-9269-1E79F1583F39}" dt="2022-07-10T06:55:26.150" v="515" actId="1038"/>
          <ac:spMkLst>
            <pc:docMk/>
            <pc:sldMk cId="0" sldId="258"/>
            <ac:spMk id="38" creationId="{CCA42C3A-6476-4D33-9A76-CB88DBF66036}"/>
          </ac:spMkLst>
        </pc:spChg>
        <pc:spChg chg="mod topLvl">
          <ac:chgData name="Yu, Bing" userId="90a94cb0-8e9a-43a8-89bf-1b8017aa98de" providerId="ADAL" clId="{1C29DF7F-F9F2-47EE-9269-1E79F1583F39}" dt="2022-07-10T06:55:26.150" v="515" actId="1038"/>
          <ac:spMkLst>
            <pc:docMk/>
            <pc:sldMk cId="0" sldId="258"/>
            <ac:spMk id="39" creationId="{10BBE680-B0D6-4826-9DDD-AC47ACF34FDE}"/>
          </ac:spMkLst>
        </pc:spChg>
        <pc:spChg chg="mod topLvl">
          <ac:chgData name="Yu, Bing" userId="90a94cb0-8e9a-43a8-89bf-1b8017aa98de" providerId="ADAL" clId="{1C29DF7F-F9F2-47EE-9269-1E79F1583F39}" dt="2022-07-10T06:55:26.150" v="515" actId="1038"/>
          <ac:spMkLst>
            <pc:docMk/>
            <pc:sldMk cId="0" sldId="258"/>
            <ac:spMk id="42" creationId="{C32CE4D1-C2D5-48AB-A9E7-CC7F921D3421}"/>
          </ac:spMkLst>
        </pc:spChg>
        <pc:spChg chg="add mod">
          <ac:chgData name="Yu, Bing" userId="90a94cb0-8e9a-43a8-89bf-1b8017aa98de" providerId="ADAL" clId="{1C29DF7F-F9F2-47EE-9269-1E79F1583F39}" dt="2022-07-10T06:55:26.150" v="515" actId="1038"/>
          <ac:spMkLst>
            <pc:docMk/>
            <pc:sldMk cId="0" sldId="258"/>
            <ac:spMk id="43" creationId="{04B392EE-EB6C-435E-86E9-ACC9946ECE39}"/>
          </ac:spMkLst>
        </pc:spChg>
        <pc:spChg chg="add mod">
          <ac:chgData name="Yu, Bing" userId="90a94cb0-8e9a-43a8-89bf-1b8017aa98de" providerId="ADAL" clId="{1C29DF7F-F9F2-47EE-9269-1E79F1583F39}" dt="2022-07-10T06:55:26.150" v="515" actId="1038"/>
          <ac:spMkLst>
            <pc:docMk/>
            <pc:sldMk cId="0" sldId="258"/>
            <ac:spMk id="44" creationId="{261A829D-81C1-49FD-A930-4A3E0B7793E3}"/>
          </ac:spMkLst>
        </pc:spChg>
        <pc:spChg chg="add mod">
          <ac:chgData name="Yu, Bing" userId="90a94cb0-8e9a-43a8-89bf-1b8017aa98de" providerId="ADAL" clId="{1C29DF7F-F9F2-47EE-9269-1E79F1583F39}" dt="2022-07-10T06:55:26.150" v="515" actId="1038"/>
          <ac:spMkLst>
            <pc:docMk/>
            <pc:sldMk cId="0" sldId="258"/>
            <ac:spMk id="45" creationId="{E8E37FF4-C265-4E05-9BF8-DA4A9F020713}"/>
          </ac:spMkLst>
        </pc:spChg>
        <pc:spChg chg="add mod">
          <ac:chgData name="Yu, Bing" userId="90a94cb0-8e9a-43a8-89bf-1b8017aa98de" providerId="ADAL" clId="{1C29DF7F-F9F2-47EE-9269-1E79F1583F39}" dt="2022-07-10T06:55:26.150" v="515" actId="1038"/>
          <ac:spMkLst>
            <pc:docMk/>
            <pc:sldMk cId="0" sldId="258"/>
            <ac:spMk id="47" creationId="{9A3BE526-8A4C-4C6C-8ED4-79BBCCAE2EB0}"/>
          </ac:spMkLst>
        </pc:spChg>
        <pc:spChg chg="add mod">
          <ac:chgData name="Yu, Bing" userId="90a94cb0-8e9a-43a8-89bf-1b8017aa98de" providerId="ADAL" clId="{1C29DF7F-F9F2-47EE-9269-1E79F1583F39}" dt="2022-07-10T06:55:26.150" v="515" actId="1038"/>
          <ac:spMkLst>
            <pc:docMk/>
            <pc:sldMk cId="0" sldId="258"/>
            <ac:spMk id="48" creationId="{781E3D8F-F7E2-4A23-B4CD-B02439A55F02}"/>
          </ac:spMkLst>
        </pc:spChg>
        <pc:spChg chg="add del mod">
          <ac:chgData name="Yu, Bing" userId="90a94cb0-8e9a-43a8-89bf-1b8017aa98de" providerId="ADAL" clId="{1C29DF7F-F9F2-47EE-9269-1E79F1583F39}" dt="2022-07-10T07:30:06.883" v="714" actId="478"/>
          <ac:spMkLst>
            <pc:docMk/>
            <pc:sldMk cId="0" sldId="258"/>
            <ac:spMk id="49" creationId="{D3A69ACE-2133-4157-B549-A03FC2E58236}"/>
          </ac:spMkLst>
        </pc:spChg>
        <pc:spChg chg="mod topLvl">
          <ac:chgData name="Yu, Bing" userId="90a94cb0-8e9a-43a8-89bf-1b8017aa98de" providerId="ADAL" clId="{1C29DF7F-F9F2-47EE-9269-1E79F1583F39}" dt="2022-07-10T06:55:26.150" v="515" actId="1038"/>
          <ac:spMkLst>
            <pc:docMk/>
            <pc:sldMk cId="0" sldId="258"/>
            <ac:spMk id="106" creationId="{C32CE4D1-C2D5-48AB-A9E7-CC7F921D3421}"/>
          </ac:spMkLst>
        </pc:spChg>
        <pc:spChg chg="mod">
          <ac:chgData name="Yu, Bing" userId="90a94cb0-8e9a-43a8-89bf-1b8017aa98de" providerId="ADAL" clId="{1C29DF7F-F9F2-47EE-9269-1E79F1583F39}" dt="2022-07-10T06:55:59.402" v="521" actId="1035"/>
          <ac:spMkLst>
            <pc:docMk/>
            <pc:sldMk cId="0" sldId="258"/>
            <ac:spMk id="109" creationId="{00000000-0000-0000-0000-000000000000}"/>
          </ac:spMkLst>
        </pc:spChg>
        <pc:grpChg chg="del">
          <ac:chgData name="Yu, Bing" userId="90a94cb0-8e9a-43a8-89bf-1b8017aa98de" providerId="ADAL" clId="{1C29DF7F-F9F2-47EE-9269-1E79F1583F39}" dt="2022-07-10T06:47:26.135" v="339" actId="165"/>
          <ac:grpSpMkLst>
            <pc:docMk/>
            <pc:sldMk cId="0" sldId="258"/>
            <ac:grpSpMk id="32" creationId="{00000000-0000-0000-0000-000000000000}"/>
          </ac:grpSpMkLst>
        </pc:grpChg>
        <pc:cxnChg chg="mod topLvl">
          <ac:chgData name="Yu, Bing" userId="90a94cb0-8e9a-43a8-89bf-1b8017aa98de" providerId="ADAL" clId="{1C29DF7F-F9F2-47EE-9269-1E79F1583F39}" dt="2022-07-10T06:55:26.150" v="515" actId="1038"/>
          <ac:cxnSpMkLst>
            <pc:docMk/>
            <pc:sldMk cId="0" sldId="258"/>
            <ac:cxnSpMk id="40" creationId="{373DA7E0-08C4-4927-9318-454EB99A50A6}"/>
          </ac:cxnSpMkLst>
        </pc:cxnChg>
        <pc:cxnChg chg="add mod">
          <ac:chgData name="Yu, Bing" userId="90a94cb0-8e9a-43a8-89bf-1b8017aa98de" providerId="ADAL" clId="{1C29DF7F-F9F2-47EE-9269-1E79F1583F39}" dt="2022-07-10T06:55:26.150" v="515" actId="1038"/>
          <ac:cxnSpMkLst>
            <pc:docMk/>
            <pc:sldMk cId="0" sldId="258"/>
            <ac:cxnSpMk id="46" creationId="{154CEF6C-AE8B-4D0F-9387-F8F02C3BE807}"/>
          </ac:cxnSpMkLst>
        </pc:cxnChg>
      </pc:sldChg>
      <pc:sldChg chg="addSp modSp mod">
        <pc:chgData name="Yu, Bing" userId="90a94cb0-8e9a-43a8-89bf-1b8017aa98de" providerId="ADAL" clId="{1C29DF7F-F9F2-47EE-9269-1E79F1583F39}" dt="2022-07-10T07:01:12.368" v="646" actId="20577"/>
        <pc:sldMkLst>
          <pc:docMk/>
          <pc:sldMk cId="2218956602" sldId="272"/>
        </pc:sldMkLst>
        <pc:spChg chg="add mod">
          <ac:chgData name="Yu, Bing" userId="90a94cb0-8e9a-43a8-89bf-1b8017aa98de" providerId="ADAL" clId="{1C29DF7F-F9F2-47EE-9269-1E79F1583F39}" dt="2022-07-10T07:01:12.368" v="646" actId="20577"/>
          <ac:spMkLst>
            <pc:docMk/>
            <pc:sldMk cId="2218956602" sldId="272"/>
            <ac:spMk id="14" creationId="{6D1E9D48-363C-4920-A335-597E2A0554F0}"/>
          </ac:spMkLst>
        </pc:spChg>
      </pc:sldChg>
      <pc:sldChg chg="modSp mod">
        <pc:chgData name="Yu, Bing" userId="90a94cb0-8e9a-43a8-89bf-1b8017aa98de" providerId="ADAL" clId="{1C29DF7F-F9F2-47EE-9269-1E79F1583F39}" dt="2022-07-10T07:06:19.248" v="699" actId="20577"/>
        <pc:sldMkLst>
          <pc:docMk/>
          <pc:sldMk cId="0" sldId="318"/>
        </pc:sldMkLst>
        <pc:spChg chg="mod">
          <ac:chgData name="Yu, Bing" userId="90a94cb0-8e9a-43a8-89bf-1b8017aa98de" providerId="ADAL" clId="{1C29DF7F-F9F2-47EE-9269-1E79F1583F39}" dt="2022-07-10T07:06:19.248" v="699" actId="20577"/>
          <ac:spMkLst>
            <pc:docMk/>
            <pc:sldMk cId="0" sldId="318"/>
            <ac:spMk id="6" creationId="{00000000-0000-0000-0000-000000000000}"/>
          </ac:spMkLst>
        </pc:spChg>
      </pc:sldChg>
      <pc:sldChg chg="addSp modSp add del mod">
        <pc:chgData name="Yu, Bing" userId="90a94cb0-8e9a-43a8-89bf-1b8017aa98de" providerId="ADAL" clId="{1C29DF7F-F9F2-47EE-9269-1E79F1583F39}" dt="2022-07-10T07:21:30.871" v="711" actId="20577"/>
        <pc:sldMkLst>
          <pc:docMk/>
          <pc:sldMk cId="454013025" sldId="348"/>
        </pc:sldMkLst>
        <pc:spChg chg="add mod">
          <ac:chgData name="Yu, Bing" userId="90a94cb0-8e9a-43a8-89bf-1b8017aa98de" providerId="ADAL" clId="{1C29DF7F-F9F2-47EE-9269-1E79F1583F39}" dt="2022-07-10T06:59:28.692" v="603" actId="113"/>
          <ac:spMkLst>
            <pc:docMk/>
            <pc:sldMk cId="454013025" sldId="348"/>
            <ac:spMk id="8" creationId="{E75E0936-08F2-4341-A606-BF4820AF8B93}"/>
          </ac:spMkLst>
        </pc:spChg>
        <pc:spChg chg="add mod">
          <ac:chgData name="Yu, Bing" userId="90a94cb0-8e9a-43a8-89bf-1b8017aa98de" providerId="ADAL" clId="{1C29DF7F-F9F2-47EE-9269-1E79F1583F39}" dt="2022-07-10T07:21:30.871" v="711" actId="20577"/>
          <ac:spMkLst>
            <pc:docMk/>
            <pc:sldMk cId="454013025" sldId="348"/>
            <ac:spMk id="127" creationId="{C03DA5B9-C819-45FC-82AA-48561917451E}"/>
          </ac:spMkLst>
        </pc:spChg>
      </pc:sldChg>
      <pc:sldChg chg="modSp mod">
        <pc:chgData name="Yu, Bing" userId="90a94cb0-8e9a-43a8-89bf-1b8017aa98de" providerId="ADAL" clId="{1C29DF7F-F9F2-47EE-9269-1E79F1583F39}" dt="2022-07-10T06:43:35.630" v="338" actId="207"/>
        <pc:sldMkLst>
          <pc:docMk/>
          <pc:sldMk cId="1262531339" sldId="349"/>
        </pc:sldMkLst>
        <pc:spChg chg="mod">
          <ac:chgData name="Yu, Bing" userId="90a94cb0-8e9a-43a8-89bf-1b8017aa98de" providerId="ADAL" clId="{1C29DF7F-F9F2-47EE-9269-1E79F1583F39}" dt="2022-07-10T06:43:35.630" v="338" actId="207"/>
          <ac:spMkLst>
            <pc:docMk/>
            <pc:sldMk cId="1262531339" sldId="349"/>
            <ac:spMk id="20" creationId="{3E5A7641-96A2-4BE1-B63C-1D24C74377C0}"/>
          </ac:spMkLst>
        </pc:spChg>
      </pc:sldChg>
      <pc:sldChg chg="addSp modSp mod addCm">
        <pc:chgData name="Yu, Bing" userId="90a94cb0-8e9a-43a8-89bf-1b8017aa98de" providerId="ADAL" clId="{1C29DF7F-F9F2-47EE-9269-1E79F1583F39}" dt="2022-07-10T06:58:49.489" v="572" actId="1589"/>
        <pc:sldMkLst>
          <pc:docMk/>
          <pc:sldMk cId="2679673404" sldId="350"/>
        </pc:sldMkLst>
        <pc:spChg chg="mod">
          <ac:chgData name="Yu, Bing" userId="90a94cb0-8e9a-43a8-89bf-1b8017aa98de" providerId="ADAL" clId="{1C29DF7F-F9F2-47EE-9269-1E79F1583F39}" dt="2022-07-10T06:41:24.293" v="317" actId="164"/>
          <ac:spMkLst>
            <pc:docMk/>
            <pc:sldMk cId="2679673404" sldId="350"/>
            <ac:spMk id="7" creationId="{28BF902E-12F0-44BE-9FB1-93A6EC040D89}"/>
          </ac:spMkLst>
        </pc:spChg>
        <pc:spChg chg="mod">
          <ac:chgData name="Yu, Bing" userId="90a94cb0-8e9a-43a8-89bf-1b8017aa98de" providerId="ADAL" clId="{1C29DF7F-F9F2-47EE-9269-1E79F1583F39}" dt="2022-07-10T06:40:52.205" v="314" actId="164"/>
          <ac:spMkLst>
            <pc:docMk/>
            <pc:sldMk cId="2679673404" sldId="350"/>
            <ac:spMk id="12" creationId="{56F1582D-0B26-4708-9CF8-E4B1D34C26B3}"/>
          </ac:spMkLst>
        </pc:spChg>
        <pc:spChg chg="mod">
          <ac:chgData name="Yu, Bing" userId="90a94cb0-8e9a-43a8-89bf-1b8017aa98de" providerId="ADAL" clId="{1C29DF7F-F9F2-47EE-9269-1E79F1583F39}" dt="2022-07-10T06:41:24.293" v="317" actId="164"/>
          <ac:spMkLst>
            <pc:docMk/>
            <pc:sldMk cId="2679673404" sldId="350"/>
            <ac:spMk id="14" creationId="{FE2A2AB8-0AA9-4977-8C3D-F0FD6F51CEF3}"/>
          </ac:spMkLst>
        </pc:spChg>
        <pc:spChg chg="mod">
          <ac:chgData name="Yu, Bing" userId="90a94cb0-8e9a-43a8-89bf-1b8017aa98de" providerId="ADAL" clId="{1C29DF7F-F9F2-47EE-9269-1E79F1583F39}" dt="2022-07-10T06:41:14.503" v="316" actId="164"/>
          <ac:spMkLst>
            <pc:docMk/>
            <pc:sldMk cId="2679673404" sldId="350"/>
            <ac:spMk id="16" creationId="{370DB014-6ADF-4BCB-A836-E8F572FFCA87}"/>
          </ac:spMkLst>
        </pc:spChg>
        <pc:spChg chg="mod">
          <ac:chgData name="Yu, Bing" userId="90a94cb0-8e9a-43a8-89bf-1b8017aa98de" providerId="ADAL" clId="{1C29DF7F-F9F2-47EE-9269-1E79F1583F39}" dt="2022-07-10T06:40:59.286" v="315" actId="164"/>
          <ac:spMkLst>
            <pc:docMk/>
            <pc:sldMk cId="2679673404" sldId="350"/>
            <ac:spMk id="18" creationId="{2801D45C-83DB-4D59-9140-6E6E6C005006}"/>
          </ac:spMkLst>
        </pc:spChg>
        <pc:spChg chg="mod">
          <ac:chgData name="Yu, Bing" userId="90a94cb0-8e9a-43a8-89bf-1b8017aa98de" providerId="ADAL" clId="{1C29DF7F-F9F2-47EE-9269-1E79F1583F39}" dt="2022-07-10T06:43:16.639" v="337" actId="20577"/>
          <ac:spMkLst>
            <pc:docMk/>
            <pc:sldMk cId="2679673404" sldId="350"/>
            <ac:spMk id="19" creationId="{933A0474-C5E0-47B1-B79C-4F167B169840}"/>
          </ac:spMkLst>
        </pc:spChg>
        <pc:spChg chg="mod">
          <ac:chgData name="Yu, Bing" userId="90a94cb0-8e9a-43a8-89bf-1b8017aa98de" providerId="ADAL" clId="{1C29DF7F-F9F2-47EE-9269-1E79F1583F39}" dt="2022-07-10T06:43:05.394" v="333" actId="20577"/>
          <ac:spMkLst>
            <pc:docMk/>
            <pc:sldMk cId="2679673404" sldId="350"/>
            <ac:spMk id="20" creationId="{4D1D882C-C017-4F4E-9180-F143EB9886E3}"/>
          </ac:spMkLst>
        </pc:spChg>
        <pc:spChg chg="mod">
          <ac:chgData name="Yu, Bing" userId="90a94cb0-8e9a-43a8-89bf-1b8017aa98de" providerId="ADAL" clId="{1C29DF7F-F9F2-47EE-9269-1E79F1583F39}" dt="2022-07-10T06:41:14.503" v="316" actId="164"/>
          <ac:spMkLst>
            <pc:docMk/>
            <pc:sldMk cId="2679673404" sldId="350"/>
            <ac:spMk id="21" creationId="{A13AE7F9-8E72-4CB3-98BA-DC76E945EA8C}"/>
          </ac:spMkLst>
        </pc:spChg>
        <pc:spChg chg="mod">
          <ac:chgData name="Yu, Bing" userId="90a94cb0-8e9a-43a8-89bf-1b8017aa98de" providerId="ADAL" clId="{1C29DF7F-F9F2-47EE-9269-1E79F1583F39}" dt="2022-07-10T06:43:09.807" v="335" actId="20577"/>
          <ac:spMkLst>
            <pc:docMk/>
            <pc:sldMk cId="2679673404" sldId="350"/>
            <ac:spMk id="22" creationId="{AA6AE179-F7E2-40E1-998B-A6C9A75E5CEF}"/>
          </ac:spMkLst>
        </pc:spChg>
        <pc:spChg chg="mod">
          <ac:chgData name="Yu, Bing" userId="90a94cb0-8e9a-43a8-89bf-1b8017aa98de" providerId="ADAL" clId="{1C29DF7F-F9F2-47EE-9269-1E79F1583F39}" dt="2022-07-10T06:40:52.205" v="314" actId="164"/>
          <ac:spMkLst>
            <pc:docMk/>
            <pc:sldMk cId="2679673404" sldId="350"/>
            <ac:spMk id="30" creationId="{12107348-C004-4930-A1FA-68F1609B5E88}"/>
          </ac:spMkLst>
        </pc:spChg>
        <pc:spChg chg="mod">
          <ac:chgData name="Yu, Bing" userId="90a94cb0-8e9a-43a8-89bf-1b8017aa98de" providerId="ADAL" clId="{1C29DF7F-F9F2-47EE-9269-1E79F1583F39}" dt="2022-07-10T06:41:14.503" v="316" actId="164"/>
          <ac:spMkLst>
            <pc:docMk/>
            <pc:sldMk cId="2679673404" sldId="350"/>
            <ac:spMk id="31" creationId="{0F05D89C-48DB-485F-9E7A-CEE94CD71D80}"/>
          </ac:spMkLst>
        </pc:spChg>
        <pc:spChg chg="mod">
          <ac:chgData name="Yu, Bing" userId="90a94cb0-8e9a-43a8-89bf-1b8017aa98de" providerId="ADAL" clId="{1C29DF7F-F9F2-47EE-9269-1E79F1583F39}" dt="2022-07-10T06:40:59.286" v="315" actId="164"/>
          <ac:spMkLst>
            <pc:docMk/>
            <pc:sldMk cId="2679673404" sldId="350"/>
            <ac:spMk id="32" creationId="{8D560EB7-E7DC-4665-B9A9-095E3E2192FB}"/>
          </ac:spMkLst>
        </pc:spChg>
        <pc:spChg chg="mod">
          <ac:chgData name="Yu, Bing" userId="90a94cb0-8e9a-43a8-89bf-1b8017aa98de" providerId="ADAL" clId="{1C29DF7F-F9F2-47EE-9269-1E79F1583F39}" dt="2022-07-10T06:42:59.623" v="331" actId="20577"/>
          <ac:spMkLst>
            <pc:docMk/>
            <pc:sldMk cId="2679673404" sldId="350"/>
            <ac:spMk id="35" creationId="{00000000-0000-0000-0000-000000000000}"/>
          </ac:spMkLst>
        </pc:spChg>
        <pc:grpChg chg="mod">
          <ac:chgData name="Yu, Bing" userId="90a94cb0-8e9a-43a8-89bf-1b8017aa98de" providerId="ADAL" clId="{1C29DF7F-F9F2-47EE-9269-1E79F1583F39}" dt="2022-07-10T06:41:14.503" v="316" actId="164"/>
          <ac:grpSpMkLst>
            <pc:docMk/>
            <pc:sldMk cId="2679673404" sldId="350"/>
            <ac:grpSpMk id="3" creationId="{00000000-0000-0000-0000-000000000000}"/>
          </ac:grpSpMkLst>
        </pc:grpChg>
        <pc:grpChg chg="add mod">
          <ac:chgData name="Yu, Bing" userId="90a94cb0-8e9a-43a8-89bf-1b8017aa98de" providerId="ADAL" clId="{1C29DF7F-F9F2-47EE-9269-1E79F1583F39}" dt="2022-07-10T06:41:57.078" v="323" actId="1076"/>
          <ac:grpSpMkLst>
            <pc:docMk/>
            <pc:sldMk cId="2679673404" sldId="350"/>
            <ac:grpSpMk id="5" creationId="{57D39EA1-A313-4CE0-8853-37ECEE4CB38C}"/>
          </ac:grpSpMkLst>
        </pc:grpChg>
        <pc:grpChg chg="add mod">
          <ac:chgData name="Yu, Bing" userId="90a94cb0-8e9a-43a8-89bf-1b8017aa98de" providerId="ADAL" clId="{1C29DF7F-F9F2-47EE-9269-1E79F1583F39}" dt="2022-07-10T06:41:50.150" v="322" actId="1076"/>
          <ac:grpSpMkLst>
            <pc:docMk/>
            <pc:sldMk cId="2679673404" sldId="350"/>
            <ac:grpSpMk id="9" creationId="{E6AA857F-E54F-4B08-882D-74A64B4A1CE9}"/>
          </ac:grpSpMkLst>
        </pc:grpChg>
        <pc:grpChg chg="add mod">
          <ac:chgData name="Yu, Bing" userId="90a94cb0-8e9a-43a8-89bf-1b8017aa98de" providerId="ADAL" clId="{1C29DF7F-F9F2-47EE-9269-1E79F1583F39}" dt="2022-07-10T06:41:14.503" v="316" actId="164"/>
          <ac:grpSpMkLst>
            <pc:docMk/>
            <pc:sldMk cId="2679673404" sldId="350"/>
            <ac:grpSpMk id="10" creationId="{DC513D16-D225-40BE-AE92-C187FC587C9A}"/>
          </ac:grpSpMkLst>
        </pc:grpChg>
        <pc:grpChg chg="add mod">
          <ac:chgData name="Yu, Bing" userId="90a94cb0-8e9a-43a8-89bf-1b8017aa98de" providerId="ADAL" clId="{1C29DF7F-F9F2-47EE-9269-1E79F1583F39}" dt="2022-07-10T06:41:46.616" v="321" actId="1076"/>
          <ac:grpSpMkLst>
            <pc:docMk/>
            <pc:sldMk cId="2679673404" sldId="350"/>
            <ac:grpSpMk id="11" creationId="{B115D03B-FF8E-4846-8302-0B394015BE42}"/>
          </ac:grpSpMkLst>
        </pc:grpChg>
        <pc:picChg chg="mod">
          <ac:chgData name="Yu, Bing" userId="90a94cb0-8e9a-43a8-89bf-1b8017aa98de" providerId="ADAL" clId="{1C29DF7F-F9F2-47EE-9269-1E79F1583F39}" dt="2022-07-10T06:41:24.293" v="317" actId="164"/>
          <ac:picMkLst>
            <pc:docMk/>
            <pc:sldMk cId="2679673404" sldId="350"/>
            <ac:picMk id="27" creationId="{00000000-0000-0000-0000-000000000000}"/>
          </ac:picMkLst>
        </pc:picChg>
        <pc:picChg chg="mod">
          <ac:chgData name="Yu, Bing" userId="90a94cb0-8e9a-43a8-89bf-1b8017aa98de" providerId="ADAL" clId="{1C29DF7F-F9F2-47EE-9269-1E79F1583F39}" dt="2022-07-10T06:40:52.205" v="314" actId="164"/>
          <ac:picMkLst>
            <pc:docMk/>
            <pc:sldMk cId="2679673404" sldId="350"/>
            <ac:picMk id="28" creationId="{00000000-0000-0000-0000-000000000000}"/>
          </ac:picMkLst>
        </pc:picChg>
        <pc:picChg chg="mod">
          <ac:chgData name="Yu, Bing" userId="90a94cb0-8e9a-43a8-89bf-1b8017aa98de" providerId="ADAL" clId="{1C29DF7F-F9F2-47EE-9269-1E79F1583F39}" dt="2022-07-10T06:40:59.286" v="315" actId="164"/>
          <ac:picMkLst>
            <pc:docMk/>
            <pc:sldMk cId="2679673404" sldId="350"/>
            <ac:picMk id="29" creationId="{00000000-0000-0000-0000-000000000000}"/>
          </ac:picMkLst>
        </pc:picChg>
      </pc:sldChg>
      <pc:sldChg chg="add del">
        <pc:chgData name="Yu, Bing" userId="90a94cb0-8e9a-43a8-89bf-1b8017aa98de" providerId="ADAL" clId="{1C29DF7F-F9F2-47EE-9269-1E79F1583F39}" dt="2022-07-10T07:21:16.070" v="703" actId="47"/>
        <pc:sldMkLst>
          <pc:docMk/>
          <pc:sldMk cId="3776327181" sldId="2147468951"/>
        </pc:sldMkLst>
      </pc:sldChg>
    </pc:docChg>
  </pc:docChgLst>
  <pc:docChgLst>
    <pc:chgData name="Yu, Bing" userId="90a94cb0-8e9a-43a8-89bf-1b8017aa98de" providerId="ADAL" clId="{E665F7FB-DEAB-4A8F-8783-66B06FCA712D}"/>
    <pc:docChg chg="undo custSel addSld delSld modSld modMainMaster">
      <pc:chgData name="Yu, Bing" userId="90a94cb0-8e9a-43a8-89bf-1b8017aa98de" providerId="ADAL" clId="{E665F7FB-DEAB-4A8F-8783-66B06FCA712D}" dt="2022-07-11T09:43:58.080" v="970" actId="1037"/>
      <pc:docMkLst>
        <pc:docMk/>
      </pc:docMkLst>
      <pc:sldChg chg="addSp delSp modSp del mod addCm delCm modCm">
        <pc:chgData name="Yu, Bing" userId="90a94cb0-8e9a-43a8-89bf-1b8017aa98de" providerId="ADAL" clId="{E665F7FB-DEAB-4A8F-8783-66B06FCA712D}" dt="2022-07-11T06:48:25.658" v="424" actId="47"/>
        <pc:sldMkLst>
          <pc:docMk/>
          <pc:sldMk cId="226615251" sldId="256"/>
        </pc:sldMkLst>
        <pc:spChg chg="mod">
          <ac:chgData name="Yu, Bing" userId="90a94cb0-8e9a-43a8-89bf-1b8017aa98de" providerId="ADAL" clId="{E665F7FB-DEAB-4A8F-8783-66B06FCA712D}" dt="2022-07-11T06:47:55.165" v="422" actId="207"/>
          <ac:spMkLst>
            <pc:docMk/>
            <pc:sldMk cId="226615251" sldId="256"/>
            <ac:spMk id="38" creationId="{00000000-0000-0000-0000-000000000000}"/>
          </ac:spMkLst>
        </pc:spChg>
        <pc:spChg chg="mod">
          <ac:chgData name="Yu, Bing" userId="90a94cb0-8e9a-43a8-89bf-1b8017aa98de" providerId="ADAL" clId="{E665F7FB-DEAB-4A8F-8783-66B06FCA712D}" dt="2022-07-10T14:57:30.941" v="90" actId="108"/>
          <ac:spMkLst>
            <pc:docMk/>
            <pc:sldMk cId="226615251" sldId="256"/>
            <ac:spMk id="42" creationId="{00000000-0000-0000-0000-000000000000}"/>
          </ac:spMkLst>
        </pc:spChg>
        <pc:spChg chg="add mod">
          <ac:chgData name="Yu, Bing" userId="90a94cb0-8e9a-43a8-89bf-1b8017aa98de" providerId="ADAL" clId="{E665F7FB-DEAB-4A8F-8783-66B06FCA712D}" dt="2022-07-11T03:43:32.814" v="164"/>
          <ac:spMkLst>
            <pc:docMk/>
            <pc:sldMk cId="226615251" sldId="256"/>
            <ac:spMk id="60" creationId="{614FBE7D-7F3B-47E2-B06F-F2AC315EEC69}"/>
          </ac:spMkLst>
        </pc:spChg>
        <pc:spChg chg="mod">
          <ac:chgData name="Yu, Bing" userId="90a94cb0-8e9a-43a8-89bf-1b8017aa98de" providerId="ADAL" clId="{E665F7FB-DEAB-4A8F-8783-66B06FCA712D}" dt="2022-07-10T14:57:34.472" v="91" actId="108"/>
          <ac:spMkLst>
            <pc:docMk/>
            <pc:sldMk cId="226615251" sldId="256"/>
            <ac:spMk id="61" creationId="{00000000-0000-0000-0000-000000000000}"/>
          </ac:spMkLst>
        </pc:spChg>
        <pc:spChg chg="mod ord">
          <ac:chgData name="Yu, Bing" userId="90a94cb0-8e9a-43a8-89bf-1b8017aa98de" providerId="ADAL" clId="{E665F7FB-DEAB-4A8F-8783-66B06FCA712D}" dt="2022-07-11T03:43:39.036" v="165" actId="166"/>
          <ac:spMkLst>
            <pc:docMk/>
            <pc:sldMk cId="226615251" sldId="256"/>
            <ac:spMk id="75" creationId="{00000000-0000-0000-0000-000000000000}"/>
          </ac:spMkLst>
        </pc:spChg>
        <pc:picChg chg="add del">
          <ac:chgData name="Yu, Bing" userId="90a94cb0-8e9a-43a8-89bf-1b8017aa98de" providerId="ADAL" clId="{E665F7FB-DEAB-4A8F-8783-66B06FCA712D}" dt="2022-07-10T14:54:58.238" v="76" actId="22"/>
          <ac:picMkLst>
            <pc:docMk/>
            <pc:sldMk cId="226615251" sldId="256"/>
            <ac:picMk id="3" creationId="{6FCEC115-CD0F-42F9-B119-17C69B9EBA93}"/>
          </ac:picMkLst>
        </pc:picChg>
      </pc:sldChg>
      <pc:sldChg chg="addSp modSp mod">
        <pc:chgData name="Yu, Bing" userId="90a94cb0-8e9a-43a8-89bf-1b8017aa98de" providerId="ADAL" clId="{E665F7FB-DEAB-4A8F-8783-66B06FCA712D}" dt="2022-07-11T08:41:34.397" v="766" actId="20577"/>
        <pc:sldMkLst>
          <pc:docMk/>
          <pc:sldMk cId="2530524659" sldId="257"/>
        </pc:sldMkLst>
        <pc:spChg chg="mod">
          <ac:chgData name="Yu, Bing" userId="90a94cb0-8e9a-43a8-89bf-1b8017aa98de" providerId="ADAL" clId="{E665F7FB-DEAB-4A8F-8783-66B06FCA712D}" dt="2022-07-11T06:49:21.741" v="429" actId="255"/>
          <ac:spMkLst>
            <pc:docMk/>
            <pc:sldMk cId="2530524659" sldId="257"/>
            <ac:spMk id="26" creationId="{00000000-0000-0000-0000-000000000000}"/>
          </ac:spMkLst>
        </pc:spChg>
        <pc:spChg chg="mod">
          <ac:chgData name="Yu, Bing" userId="90a94cb0-8e9a-43a8-89bf-1b8017aa98de" providerId="ADAL" clId="{E665F7FB-DEAB-4A8F-8783-66B06FCA712D}" dt="2022-07-11T02:13:38.752" v="96" actId="207"/>
          <ac:spMkLst>
            <pc:docMk/>
            <pc:sldMk cId="2530524659" sldId="257"/>
            <ac:spMk id="27" creationId="{00000000-0000-0000-0000-000000000000}"/>
          </ac:spMkLst>
        </pc:spChg>
        <pc:spChg chg="mod">
          <ac:chgData name="Yu, Bing" userId="90a94cb0-8e9a-43a8-89bf-1b8017aa98de" providerId="ADAL" clId="{E665F7FB-DEAB-4A8F-8783-66B06FCA712D}" dt="2022-07-11T06:49:32.493" v="431" actId="255"/>
          <ac:spMkLst>
            <pc:docMk/>
            <pc:sldMk cId="2530524659" sldId="257"/>
            <ac:spMk id="32" creationId="{00000000-0000-0000-0000-000000000000}"/>
          </ac:spMkLst>
        </pc:spChg>
        <pc:spChg chg="mod">
          <ac:chgData name="Yu, Bing" userId="90a94cb0-8e9a-43a8-89bf-1b8017aa98de" providerId="ADAL" clId="{E665F7FB-DEAB-4A8F-8783-66B06FCA712D}" dt="2022-07-10T14:31:23.954" v="70" actId="20577"/>
          <ac:spMkLst>
            <pc:docMk/>
            <pc:sldMk cId="2530524659" sldId="257"/>
            <ac:spMk id="33" creationId="{00000000-0000-0000-0000-000000000000}"/>
          </ac:spMkLst>
        </pc:spChg>
        <pc:spChg chg="mod">
          <ac:chgData name="Yu, Bing" userId="90a94cb0-8e9a-43a8-89bf-1b8017aa98de" providerId="ADAL" clId="{E665F7FB-DEAB-4A8F-8783-66B06FCA712D}" dt="2022-07-11T06:49:36.842" v="432" actId="255"/>
          <ac:spMkLst>
            <pc:docMk/>
            <pc:sldMk cId="2530524659" sldId="257"/>
            <ac:spMk id="40" creationId="{00000000-0000-0000-0000-000000000000}"/>
          </ac:spMkLst>
        </pc:spChg>
        <pc:spChg chg="mod">
          <ac:chgData name="Yu, Bing" userId="90a94cb0-8e9a-43a8-89bf-1b8017aa98de" providerId="ADAL" clId="{E665F7FB-DEAB-4A8F-8783-66B06FCA712D}" dt="2022-07-11T08:41:34.397" v="766" actId="20577"/>
          <ac:spMkLst>
            <pc:docMk/>
            <pc:sldMk cId="2530524659" sldId="257"/>
            <ac:spMk id="41" creationId="{00000000-0000-0000-0000-000000000000}"/>
          </ac:spMkLst>
        </pc:spChg>
        <pc:spChg chg="ord">
          <ac:chgData name="Yu, Bing" userId="90a94cb0-8e9a-43a8-89bf-1b8017aa98de" providerId="ADAL" clId="{E665F7FB-DEAB-4A8F-8783-66B06FCA712D}" dt="2022-07-11T03:43:49.538" v="167" actId="166"/>
          <ac:spMkLst>
            <pc:docMk/>
            <pc:sldMk cId="2530524659" sldId="257"/>
            <ac:spMk id="44" creationId="{00000000-0000-0000-0000-000000000000}"/>
          </ac:spMkLst>
        </pc:spChg>
        <pc:spChg chg="add mod">
          <ac:chgData name="Yu, Bing" userId="90a94cb0-8e9a-43a8-89bf-1b8017aa98de" providerId="ADAL" clId="{E665F7FB-DEAB-4A8F-8783-66B06FCA712D}" dt="2022-07-11T03:43:42.112" v="166"/>
          <ac:spMkLst>
            <pc:docMk/>
            <pc:sldMk cId="2530524659" sldId="257"/>
            <ac:spMk id="45" creationId="{038A650B-2E90-4379-98FD-75EE72CF6B85}"/>
          </ac:spMkLst>
        </pc:spChg>
      </pc:sldChg>
      <pc:sldChg chg="addSp delSp modSp add del mod">
        <pc:chgData name="Yu, Bing" userId="90a94cb0-8e9a-43a8-89bf-1b8017aa98de" providerId="ADAL" clId="{E665F7FB-DEAB-4A8F-8783-66B06FCA712D}" dt="2022-07-11T09:42:14.411" v="924" actId="478"/>
        <pc:sldMkLst>
          <pc:docMk/>
          <pc:sldMk cId="0" sldId="258"/>
        </pc:sldMkLst>
        <pc:spChg chg="mod">
          <ac:chgData name="Yu, Bing" userId="90a94cb0-8e9a-43a8-89bf-1b8017aa98de" providerId="ADAL" clId="{E665F7FB-DEAB-4A8F-8783-66B06FCA712D}" dt="2022-07-11T06:44:24.468" v="401" actId="207"/>
          <ac:spMkLst>
            <pc:docMk/>
            <pc:sldMk cId="0" sldId="258"/>
            <ac:spMk id="3" creationId="{884001B9-1D75-401E-8D49-FE8962EB1B5D}"/>
          </ac:spMkLst>
        </pc:spChg>
        <pc:spChg chg="ord">
          <ac:chgData name="Yu, Bing" userId="90a94cb0-8e9a-43a8-89bf-1b8017aa98de" providerId="ADAL" clId="{E665F7FB-DEAB-4A8F-8783-66B06FCA712D}" dt="2022-07-11T05:29:01.840" v="400" actId="166"/>
          <ac:spMkLst>
            <pc:docMk/>
            <pc:sldMk cId="0" sldId="258"/>
            <ac:spMk id="7" creationId="{00000000-0000-0000-0000-000000000000}"/>
          </ac:spMkLst>
        </pc:spChg>
        <pc:spChg chg="add del mod">
          <ac:chgData name="Yu, Bing" userId="90a94cb0-8e9a-43a8-89bf-1b8017aa98de" providerId="ADAL" clId="{E665F7FB-DEAB-4A8F-8783-66B06FCA712D}" dt="2022-07-11T09:42:14.411" v="924" actId="478"/>
          <ac:spMkLst>
            <pc:docMk/>
            <pc:sldMk cId="0" sldId="258"/>
            <ac:spMk id="45" creationId="{9CA8F956-7B4A-425D-8351-A61E822DD15E}"/>
          </ac:spMkLst>
        </pc:spChg>
        <pc:spChg chg="mod">
          <ac:chgData name="Yu, Bing" userId="90a94cb0-8e9a-43a8-89bf-1b8017aa98de" providerId="ADAL" clId="{E665F7FB-DEAB-4A8F-8783-66B06FCA712D}" dt="2022-07-11T08:40:51.298" v="757" actId="1076"/>
          <ac:spMkLst>
            <pc:docMk/>
            <pc:sldMk cId="0" sldId="258"/>
            <ac:spMk id="77" creationId="{00000000-0000-0000-0000-000000000000}"/>
          </ac:spMkLst>
        </pc:spChg>
        <pc:spChg chg="mod">
          <ac:chgData name="Yu, Bing" userId="90a94cb0-8e9a-43a8-89bf-1b8017aa98de" providerId="ADAL" clId="{E665F7FB-DEAB-4A8F-8783-66B06FCA712D}" dt="2022-07-11T05:07:11.567" v="216" actId="207"/>
          <ac:spMkLst>
            <pc:docMk/>
            <pc:sldMk cId="0" sldId="258"/>
            <ac:spMk id="81" creationId="{00000000-0000-0000-0000-000000000000}"/>
          </ac:spMkLst>
        </pc:spChg>
        <pc:spChg chg="mod">
          <ac:chgData name="Yu, Bing" userId="90a94cb0-8e9a-43a8-89bf-1b8017aa98de" providerId="ADAL" clId="{E665F7FB-DEAB-4A8F-8783-66B06FCA712D}" dt="2022-07-11T08:41:22.522" v="761" actId="1076"/>
          <ac:spMkLst>
            <pc:docMk/>
            <pc:sldMk cId="0" sldId="258"/>
            <ac:spMk id="82" creationId="{00000000-0000-0000-0000-000000000000}"/>
          </ac:spMkLst>
        </pc:spChg>
        <pc:spChg chg="mod">
          <ac:chgData name="Yu, Bing" userId="90a94cb0-8e9a-43a8-89bf-1b8017aa98de" providerId="ADAL" clId="{E665F7FB-DEAB-4A8F-8783-66B06FCA712D}" dt="2022-07-11T05:07:17.412" v="218" actId="113"/>
          <ac:spMkLst>
            <pc:docMk/>
            <pc:sldMk cId="0" sldId="258"/>
            <ac:spMk id="83" creationId="{00000000-0000-0000-0000-000000000000}"/>
          </ac:spMkLst>
        </pc:spChg>
        <pc:spChg chg="mod">
          <ac:chgData name="Yu, Bing" userId="90a94cb0-8e9a-43a8-89bf-1b8017aa98de" providerId="ADAL" clId="{E665F7FB-DEAB-4A8F-8783-66B06FCA712D}" dt="2022-07-11T08:40:51.298" v="757" actId="1076"/>
          <ac:spMkLst>
            <pc:docMk/>
            <pc:sldMk cId="0" sldId="258"/>
            <ac:spMk id="85" creationId="{00000000-0000-0000-0000-000000000000}"/>
          </ac:spMkLst>
        </pc:spChg>
        <pc:spChg chg="mod">
          <ac:chgData name="Yu, Bing" userId="90a94cb0-8e9a-43a8-89bf-1b8017aa98de" providerId="ADAL" clId="{E665F7FB-DEAB-4A8F-8783-66B06FCA712D}" dt="2022-07-11T06:44:34.876" v="403" actId="113"/>
          <ac:spMkLst>
            <pc:docMk/>
            <pc:sldMk cId="0" sldId="258"/>
            <ac:spMk id="86" creationId="{00000000-0000-0000-0000-000000000000}"/>
          </ac:spMkLst>
        </pc:spChg>
        <pc:spChg chg="mod">
          <ac:chgData name="Yu, Bing" userId="90a94cb0-8e9a-43a8-89bf-1b8017aa98de" providerId="ADAL" clId="{E665F7FB-DEAB-4A8F-8783-66B06FCA712D}" dt="2022-07-11T08:41:18.630" v="760" actId="1076"/>
          <ac:spMkLst>
            <pc:docMk/>
            <pc:sldMk cId="0" sldId="258"/>
            <ac:spMk id="109" creationId="{00000000-0000-0000-0000-000000000000}"/>
          </ac:spMkLst>
        </pc:spChg>
        <pc:picChg chg="add del">
          <ac:chgData name="Yu, Bing" userId="90a94cb0-8e9a-43a8-89bf-1b8017aa98de" providerId="ADAL" clId="{E665F7FB-DEAB-4A8F-8783-66B06FCA712D}" dt="2022-07-11T05:28:49.048" v="398" actId="478"/>
          <ac:picMkLst>
            <pc:docMk/>
            <pc:sldMk cId="0" sldId="258"/>
            <ac:picMk id="8" creationId="{C06729AA-9A6B-4BD6-A7E6-D61286253D3C}"/>
          </ac:picMkLst>
        </pc:picChg>
      </pc:sldChg>
      <pc:sldChg chg="del">
        <pc:chgData name="Yu, Bing" userId="90a94cb0-8e9a-43a8-89bf-1b8017aa98de" providerId="ADAL" clId="{E665F7FB-DEAB-4A8F-8783-66B06FCA712D}" dt="2022-07-10T22:26:52.476" v="93" actId="47"/>
        <pc:sldMkLst>
          <pc:docMk/>
          <pc:sldMk cId="2218956602" sldId="272"/>
        </pc:sldMkLst>
      </pc:sldChg>
      <pc:sldChg chg="addSp delSp modSp mod">
        <pc:chgData name="Yu, Bing" userId="90a94cb0-8e9a-43a8-89bf-1b8017aa98de" providerId="ADAL" clId="{E665F7FB-DEAB-4A8F-8783-66B06FCA712D}" dt="2022-07-11T09:42:17.725" v="925" actId="478"/>
        <pc:sldMkLst>
          <pc:docMk/>
          <pc:sldMk cId="0" sldId="318"/>
        </pc:sldMkLst>
        <pc:spChg chg="ord">
          <ac:chgData name="Yu, Bing" userId="90a94cb0-8e9a-43a8-89bf-1b8017aa98de" providerId="ADAL" clId="{E665F7FB-DEAB-4A8F-8783-66B06FCA712D}" dt="2022-07-11T03:42:31.681" v="155" actId="166"/>
          <ac:spMkLst>
            <pc:docMk/>
            <pc:sldMk cId="0" sldId="318"/>
            <ac:spMk id="7" creationId="{00000000-0000-0000-0000-000000000000}"/>
          </ac:spMkLst>
        </pc:spChg>
        <pc:spChg chg="mod">
          <ac:chgData name="Yu, Bing" userId="90a94cb0-8e9a-43a8-89bf-1b8017aa98de" providerId="ADAL" clId="{E665F7FB-DEAB-4A8F-8783-66B06FCA712D}" dt="2022-07-11T06:47:04.666" v="414" actId="113"/>
          <ac:spMkLst>
            <pc:docMk/>
            <pc:sldMk cId="0" sldId="318"/>
            <ac:spMk id="61" creationId="{00000000-0000-0000-0000-000000000000}"/>
          </ac:spMkLst>
        </pc:spChg>
        <pc:spChg chg="mod">
          <ac:chgData name="Yu, Bing" userId="90a94cb0-8e9a-43a8-89bf-1b8017aa98de" providerId="ADAL" clId="{E665F7FB-DEAB-4A8F-8783-66B06FCA712D}" dt="2022-07-11T06:47:15.462" v="421" actId="1037"/>
          <ac:spMkLst>
            <pc:docMk/>
            <pc:sldMk cId="0" sldId="318"/>
            <ac:spMk id="68" creationId="{B331BD60-7D53-4C32-A0F8-B9B61E535009}"/>
          </ac:spMkLst>
        </pc:spChg>
        <pc:spChg chg="mod">
          <ac:chgData name="Yu, Bing" userId="90a94cb0-8e9a-43a8-89bf-1b8017aa98de" providerId="ADAL" clId="{E665F7FB-DEAB-4A8F-8783-66B06FCA712D}" dt="2022-07-11T08:08:16.777" v="493" actId="207"/>
          <ac:spMkLst>
            <pc:docMk/>
            <pc:sldMk cId="0" sldId="318"/>
            <ac:spMk id="72" creationId="{00000000-0000-0000-0000-000000000000}"/>
          </ac:spMkLst>
        </pc:spChg>
        <pc:spChg chg="add del mod">
          <ac:chgData name="Yu, Bing" userId="90a94cb0-8e9a-43a8-89bf-1b8017aa98de" providerId="ADAL" clId="{E665F7FB-DEAB-4A8F-8783-66B06FCA712D}" dt="2022-07-11T09:42:17.725" v="925" actId="478"/>
          <ac:spMkLst>
            <pc:docMk/>
            <pc:sldMk cId="0" sldId="318"/>
            <ac:spMk id="212" creationId="{18D11829-93EF-4BB8-A15E-BC29AA143B3B}"/>
          </ac:spMkLst>
        </pc:spChg>
      </pc:sldChg>
      <pc:sldChg chg="addSp delSp modSp add del mod">
        <pc:chgData name="Yu, Bing" userId="90a94cb0-8e9a-43a8-89bf-1b8017aa98de" providerId="ADAL" clId="{E665F7FB-DEAB-4A8F-8783-66B06FCA712D}" dt="2022-07-11T09:43:58.080" v="970" actId="1037"/>
        <pc:sldMkLst>
          <pc:docMk/>
          <pc:sldMk cId="454013025" sldId="348"/>
        </pc:sldMkLst>
        <pc:spChg chg="mod">
          <ac:chgData name="Yu, Bing" userId="90a94cb0-8e9a-43a8-89bf-1b8017aa98de" providerId="ADAL" clId="{E665F7FB-DEAB-4A8F-8783-66B06FCA712D}" dt="2022-07-11T09:39:36.601" v="912" actId="1076"/>
          <ac:spMkLst>
            <pc:docMk/>
            <pc:sldMk cId="454013025" sldId="348"/>
            <ac:spMk id="5" creationId="{00000000-0000-0000-0000-000000000000}"/>
          </ac:spMkLst>
        </pc:spChg>
        <pc:spChg chg="mod">
          <ac:chgData name="Yu, Bing" userId="90a94cb0-8e9a-43a8-89bf-1b8017aa98de" providerId="ADAL" clId="{E665F7FB-DEAB-4A8F-8783-66B06FCA712D}" dt="2022-07-11T09:38:51.107" v="907" actId="1076"/>
          <ac:spMkLst>
            <pc:docMk/>
            <pc:sldMk cId="454013025" sldId="348"/>
            <ac:spMk id="6" creationId="{00000000-0000-0000-0000-000000000000}"/>
          </ac:spMkLst>
        </pc:spChg>
        <pc:spChg chg="mod">
          <ac:chgData name="Yu, Bing" userId="90a94cb0-8e9a-43a8-89bf-1b8017aa98de" providerId="ADAL" clId="{E665F7FB-DEAB-4A8F-8783-66B06FCA712D}" dt="2022-07-11T09:41:04.854" v="917" actId="1076"/>
          <ac:spMkLst>
            <pc:docMk/>
            <pc:sldMk cId="454013025" sldId="348"/>
            <ac:spMk id="7" creationId="{00000000-0000-0000-0000-000000000000}"/>
          </ac:spMkLst>
        </pc:spChg>
        <pc:spChg chg="del">
          <ac:chgData name="Yu, Bing" userId="90a94cb0-8e9a-43a8-89bf-1b8017aa98de" providerId="ADAL" clId="{E665F7FB-DEAB-4A8F-8783-66B06FCA712D}" dt="2022-07-10T10:55:46.186" v="60" actId="478"/>
          <ac:spMkLst>
            <pc:docMk/>
            <pc:sldMk cId="454013025" sldId="348"/>
            <ac:spMk id="9" creationId="{00000000-0000-0000-0000-000000000000}"/>
          </ac:spMkLst>
        </pc:spChg>
        <pc:spChg chg="mod">
          <ac:chgData name="Yu, Bing" userId="90a94cb0-8e9a-43a8-89bf-1b8017aa98de" providerId="ADAL" clId="{E665F7FB-DEAB-4A8F-8783-66B06FCA712D}" dt="2022-07-11T09:40:51.516" v="914" actId="1076"/>
          <ac:spMkLst>
            <pc:docMk/>
            <pc:sldMk cId="454013025" sldId="348"/>
            <ac:spMk id="10" creationId="{00000000-0000-0000-0000-000000000000}"/>
          </ac:spMkLst>
        </pc:spChg>
        <pc:spChg chg="add del mod">
          <ac:chgData name="Yu, Bing" userId="90a94cb0-8e9a-43a8-89bf-1b8017aa98de" providerId="ADAL" clId="{E665F7FB-DEAB-4A8F-8783-66B06FCA712D}" dt="2022-07-11T09:41:57.936" v="919" actId="478"/>
          <ac:spMkLst>
            <pc:docMk/>
            <pc:sldMk cId="454013025" sldId="348"/>
            <ac:spMk id="34" creationId="{96899006-AF95-47CC-A2B2-2A3ACFA5295F}"/>
          </ac:spMkLst>
        </pc:spChg>
        <pc:spChg chg="mod">
          <ac:chgData name="Yu, Bing" userId="90a94cb0-8e9a-43a8-89bf-1b8017aa98de" providerId="ADAL" clId="{E665F7FB-DEAB-4A8F-8783-66B06FCA712D}" dt="2022-07-11T08:19:59.559" v="496"/>
          <ac:spMkLst>
            <pc:docMk/>
            <pc:sldMk cId="454013025" sldId="348"/>
            <ac:spMk id="36" creationId="{E7681919-A99E-4296-8D6D-4D26ADBFFFBC}"/>
          </ac:spMkLst>
        </pc:spChg>
        <pc:spChg chg="mod">
          <ac:chgData name="Yu, Bing" userId="90a94cb0-8e9a-43a8-89bf-1b8017aa98de" providerId="ADAL" clId="{E665F7FB-DEAB-4A8F-8783-66B06FCA712D}" dt="2022-07-11T08:19:59.559" v="496"/>
          <ac:spMkLst>
            <pc:docMk/>
            <pc:sldMk cId="454013025" sldId="348"/>
            <ac:spMk id="39" creationId="{378D591F-E5C9-4419-9A3A-097385CCE839}"/>
          </ac:spMkLst>
        </pc:spChg>
        <pc:spChg chg="mod">
          <ac:chgData name="Yu, Bing" userId="90a94cb0-8e9a-43a8-89bf-1b8017aa98de" providerId="ADAL" clId="{E665F7FB-DEAB-4A8F-8783-66B06FCA712D}" dt="2022-07-11T08:21:53.741" v="524" actId="404"/>
          <ac:spMkLst>
            <pc:docMk/>
            <pc:sldMk cId="454013025" sldId="348"/>
            <ac:spMk id="42" creationId="{074DCAC3-AFD8-4812-A1F4-4D6084E7FDB5}"/>
          </ac:spMkLst>
        </pc:spChg>
        <pc:spChg chg="mod">
          <ac:chgData name="Yu, Bing" userId="90a94cb0-8e9a-43a8-89bf-1b8017aa98de" providerId="ADAL" clId="{E665F7FB-DEAB-4A8F-8783-66B06FCA712D}" dt="2022-07-11T08:22:14.750" v="531" actId="404"/>
          <ac:spMkLst>
            <pc:docMk/>
            <pc:sldMk cId="454013025" sldId="348"/>
            <ac:spMk id="43" creationId="{8A3B65D6-2535-43BC-9841-CF2BAC8843D3}"/>
          </ac:spMkLst>
        </pc:spChg>
        <pc:spChg chg="mod">
          <ac:chgData name="Yu, Bing" userId="90a94cb0-8e9a-43a8-89bf-1b8017aa98de" providerId="ADAL" clId="{E665F7FB-DEAB-4A8F-8783-66B06FCA712D}" dt="2022-07-11T08:19:59.559" v="496"/>
          <ac:spMkLst>
            <pc:docMk/>
            <pc:sldMk cId="454013025" sldId="348"/>
            <ac:spMk id="45" creationId="{11A987A7-EE09-4A74-986A-BFC06068C131}"/>
          </ac:spMkLst>
        </pc:spChg>
        <pc:spChg chg="mod">
          <ac:chgData name="Yu, Bing" userId="90a94cb0-8e9a-43a8-89bf-1b8017aa98de" providerId="ADAL" clId="{E665F7FB-DEAB-4A8F-8783-66B06FCA712D}" dt="2022-07-11T08:19:59.559" v="496"/>
          <ac:spMkLst>
            <pc:docMk/>
            <pc:sldMk cId="454013025" sldId="348"/>
            <ac:spMk id="46" creationId="{94F2037C-4EFD-4823-8001-486234ED2D29}"/>
          </ac:spMkLst>
        </pc:spChg>
        <pc:spChg chg="mod">
          <ac:chgData name="Yu, Bing" userId="90a94cb0-8e9a-43a8-89bf-1b8017aa98de" providerId="ADAL" clId="{E665F7FB-DEAB-4A8F-8783-66B06FCA712D}" dt="2022-07-11T09:38:42.021" v="905" actId="1076"/>
          <ac:spMkLst>
            <pc:docMk/>
            <pc:sldMk cId="454013025" sldId="348"/>
            <ac:spMk id="47" creationId="{00000000-0000-0000-0000-000000000000}"/>
          </ac:spMkLst>
        </pc:spChg>
        <pc:spChg chg="mod">
          <ac:chgData name="Yu, Bing" userId="90a94cb0-8e9a-43a8-89bf-1b8017aa98de" providerId="ADAL" clId="{E665F7FB-DEAB-4A8F-8783-66B06FCA712D}" dt="2022-07-11T08:19:59.559" v="496"/>
          <ac:spMkLst>
            <pc:docMk/>
            <pc:sldMk cId="454013025" sldId="348"/>
            <ac:spMk id="49" creationId="{0766C2BA-68BF-4E5E-A262-4011549E49F2}"/>
          </ac:spMkLst>
        </pc:spChg>
        <pc:spChg chg="mod">
          <ac:chgData name="Yu, Bing" userId="90a94cb0-8e9a-43a8-89bf-1b8017aa98de" providerId="ADAL" clId="{E665F7FB-DEAB-4A8F-8783-66B06FCA712D}" dt="2022-07-11T08:19:59.559" v="496"/>
          <ac:spMkLst>
            <pc:docMk/>
            <pc:sldMk cId="454013025" sldId="348"/>
            <ac:spMk id="50" creationId="{BEB9E03B-AD86-4B21-88BC-9B6D37FD6B93}"/>
          </ac:spMkLst>
        </pc:spChg>
        <pc:spChg chg="mod">
          <ac:chgData name="Yu, Bing" userId="90a94cb0-8e9a-43a8-89bf-1b8017aa98de" providerId="ADAL" clId="{E665F7FB-DEAB-4A8F-8783-66B06FCA712D}" dt="2022-07-11T08:19:59.559" v="496"/>
          <ac:spMkLst>
            <pc:docMk/>
            <pc:sldMk cId="454013025" sldId="348"/>
            <ac:spMk id="52" creationId="{D7972E8A-802A-42F2-AD5F-744D12A3FF80}"/>
          </ac:spMkLst>
        </pc:spChg>
        <pc:spChg chg="mod">
          <ac:chgData name="Yu, Bing" userId="90a94cb0-8e9a-43a8-89bf-1b8017aa98de" providerId="ADAL" clId="{E665F7FB-DEAB-4A8F-8783-66B06FCA712D}" dt="2022-07-11T08:19:59.559" v="496"/>
          <ac:spMkLst>
            <pc:docMk/>
            <pc:sldMk cId="454013025" sldId="348"/>
            <ac:spMk id="53" creationId="{28329AE2-6BCB-403D-9458-A8813B44CC92}"/>
          </ac:spMkLst>
        </pc:spChg>
        <pc:spChg chg="mod">
          <ac:chgData name="Yu, Bing" userId="90a94cb0-8e9a-43a8-89bf-1b8017aa98de" providerId="ADAL" clId="{E665F7FB-DEAB-4A8F-8783-66B06FCA712D}" dt="2022-07-11T08:19:59.559" v="496"/>
          <ac:spMkLst>
            <pc:docMk/>
            <pc:sldMk cId="454013025" sldId="348"/>
            <ac:spMk id="54" creationId="{4AB264BC-9936-483B-9C30-676E55600C37}"/>
          </ac:spMkLst>
        </pc:spChg>
        <pc:spChg chg="mod">
          <ac:chgData name="Yu, Bing" userId="90a94cb0-8e9a-43a8-89bf-1b8017aa98de" providerId="ADAL" clId="{E665F7FB-DEAB-4A8F-8783-66B06FCA712D}" dt="2022-07-11T08:19:59.559" v="496"/>
          <ac:spMkLst>
            <pc:docMk/>
            <pc:sldMk cId="454013025" sldId="348"/>
            <ac:spMk id="55" creationId="{45ACADCA-4D01-4385-9D27-6B11E58F6197}"/>
          </ac:spMkLst>
        </pc:spChg>
        <pc:spChg chg="mod">
          <ac:chgData name="Yu, Bing" userId="90a94cb0-8e9a-43a8-89bf-1b8017aa98de" providerId="ADAL" clId="{E665F7FB-DEAB-4A8F-8783-66B06FCA712D}" dt="2022-07-11T08:19:59.559" v="496"/>
          <ac:spMkLst>
            <pc:docMk/>
            <pc:sldMk cId="454013025" sldId="348"/>
            <ac:spMk id="56" creationId="{34F83B86-9606-4E5B-9E9A-4FE7F6840A19}"/>
          </ac:spMkLst>
        </pc:spChg>
        <pc:spChg chg="mod">
          <ac:chgData name="Yu, Bing" userId="90a94cb0-8e9a-43a8-89bf-1b8017aa98de" providerId="ADAL" clId="{E665F7FB-DEAB-4A8F-8783-66B06FCA712D}" dt="2022-07-11T08:19:59.559" v="496"/>
          <ac:spMkLst>
            <pc:docMk/>
            <pc:sldMk cId="454013025" sldId="348"/>
            <ac:spMk id="57" creationId="{3A59BE2E-C9E5-4F80-973C-641A1F9054A7}"/>
          </ac:spMkLst>
        </pc:spChg>
        <pc:spChg chg="mod">
          <ac:chgData name="Yu, Bing" userId="90a94cb0-8e9a-43a8-89bf-1b8017aa98de" providerId="ADAL" clId="{E665F7FB-DEAB-4A8F-8783-66B06FCA712D}" dt="2022-07-11T08:19:59.559" v="496"/>
          <ac:spMkLst>
            <pc:docMk/>
            <pc:sldMk cId="454013025" sldId="348"/>
            <ac:spMk id="58" creationId="{D0CE5C58-DE21-4026-B3E7-7F09BEF91B3D}"/>
          </ac:spMkLst>
        </pc:spChg>
        <pc:spChg chg="mod">
          <ac:chgData name="Yu, Bing" userId="90a94cb0-8e9a-43a8-89bf-1b8017aa98de" providerId="ADAL" clId="{E665F7FB-DEAB-4A8F-8783-66B06FCA712D}" dt="2022-07-11T08:19:59.559" v="496"/>
          <ac:spMkLst>
            <pc:docMk/>
            <pc:sldMk cId="454013025" sldId="348"/>
            <ac:spMk id="59" creationId="{485735F2-19DB-476F-93DC-D4311E0A929F}"/>
          </ac:spMkLst>
        </pc:spChg>
        <pc:spChg chg="mod">
          <ac:chgData name="Yu, Bing" userId="90a94cb0-8e9a-43a8-89bf-1b8017aa98de" providerId="ADAL" clId="{E665F7FB-DEAB-4A8F-8783-66B06FCA712D}" dt="2022-07-11T08:19:59.559" v="496"/>
          <ac:spMkLst>
            <pc:docMk/>
            <pc:sldMk cId="454013025" sldId="348"/>
            <ac:spMk id="60" creationId="{398257FE-8C96-4BE0-A074-EEBB9F1ECAC8}"/>
          </ac:spMkLst>
        </pc:spChg>
        <pc:spChg chg="mod">
          <ac:chgData name="Yu, Bing" userId="90a94cb0-8e9a-43a8-89bf-1b8017aa98de" providerId="ADAL" clId="{E665F7FB-DEAB-4A8F-8783-66B06FCA712D}" dt="2022-07-11T08:19:59.559" v="496"/>
          <ac:spMkLst>
            <pc:docMk/>
            <pc:sldMk cId="454013025" sldId="348"/>
            <ac:spMk id="63" creationId="{C793F433-2241-4BC4-9612-A9C8FECCBC92}"/>
          </ac:spMkLst>
        </pc:spChg>
        <pc:spChg chg="mod">
          <ac:chgData name="Yu, Bing" userId="90a94cb0-8e9a-43a8-89bf-1b8017aa98de" providerId="ADAL" clId="{E665F7FB-DEAB-4A8F-8783-66B06FCA712D}" dt="2022-07-11T08:19:59.559" v="496"/>
          <ac:spMkLst>
            <pc:docMk/>
            <pc:sldMk cId="454013025" sldId="348"/>
            <ac:spMk id="64" creationId="{33422B35-B49F-4403-A396-9D6BA0259468}"/>
          </ac:spMkLst>
        </pc:spChg>
        <pc:spChg chg="mod">
          <ac:chgData name="Yu, Bing" userId="90a94cb0-8e9a-43a8-89bf-1b8017aa98de" providerId="ADAL" clId="{E665F7FB-DEAB-4A8F-8783-66B06FCA712D}" dt="2022-07-11T08:19:59.559" v="496"/>
          <ac:spMkLst>
            <pc:docMk/>
            <pc:sldMk cId="454013025" sldId="348"/>
            <ac:spMk id="65" creationId="{74C10B3A-F642-4C7C-A4B0-09FFAE5B7B30}"/>
          </ac:spMkLst>
        </pc:spChg>
        <pc:spChg chg="mod">
          <ac:chgData name="Yu, Bing" userId="90a94cb0-8e9a-43a8-89bf-1b8017aa98de" providerId="ADAL" clId="{E665F7FB-DEAB-4A8F-8783-66B06FCA712D}" dt="2022-07-11T09:35:15.040" v="866" actId="1037"/>
          <ac:spMkLst>
            <pc:docMk/>
            <pc:sldMk cId="454013025" sldId="348"/>
            <ac:spMk id="66" creationId="{18315427-B694-407B-AD29-8B041932B8C1}"/>
          </ac:spMkLst>
        </pc:spChg>
        <pc:spChg chg="mod">
          <ac:chgData name="Yu, Bing" userId="90a94cb0-8e9a-43a8-89bf-1b8017aa98de" providerId="ADAL" clId="{E665F7FB-DEAB-4A8F-8783-66B06FCA712D}" dt="2022-07-11T08:19:59.559" v="496"/>
          <ac:spMkLst>
            <pc:docMk/>
            <pc:sldMk cId="454013025" sldId="348"/>
            <ac:spMk id="67" creationId="{C7785302-9309-4FC0-8D7C-18F67484BD22}"/>
          </ac:spMkLst>
        </pc:spChg>
        <pc:spChg chg="mod">
          <ac:chgData name="Yu, Bing" userId="90a94cb0-8e9a-43a8-89bf-1b8017aa98de" providerId="ADAL" clId="{E665F7FB-DEAB-4A8F-8783-66B06FCA712D}" dt="2022-07-11T08:19:59.559" v="496"/>
          <ac:spMkLst>
            <pc:docMk/>
            <pc:sldMk cId="454013025" sldId="348"/>
            <ac:spMk id="68" creationId="{D57F455E-4124-4B49-89D4-27463D02D486}"/>
          </ac:spMkLst>
        </pc:spChg>
        <pc:spChg chg="mod">
          <ac:chgData name="Yu, Bing" userId="90a94cb0-8e9a-43a8-89bf-1b8017aa98de" providerId="ADAL" clId="{E665F7FB-DEAB-4A8F-8783-66B06FCA712D}" dt="2022-07-11T08:19:59.559" v="496"/>
          <ac:spMkLst>
            <pc:docMk/>
            <pc:sldMk cId="454013025" sldId="348"/>
            <ac:spMk id="69" creationId="{B91708ED-4353-45F9-80CB-75E6F245D708}"/>
          </ac:spMkLst>
        </pc:spChg>
        <pc:spChg chg="mod">
          <ac:chgData name="Yu, Bing" userId="90a94cb0-8e9a-43a8-89bf-1b8017aa98de" providerId="ADAL" clId="{E665F7FB-DEAB-4A8F-8783-66B06FCA712D}" dt="2022-07-11T08:19:59.559" v="496"/>
          <ac:spMkLst>
            <pc:docMk/>
            <pc:sldMk cId="454013025" sldId="348"/>
            <ac:spMk id="70" creationId="{8472B7EA-E8F1-45EC-87E0-E995B003E4F7}"/>
          </ac:spMkLst>
        </pc:spChg>
        <pc:spChg chg="mod">
          <ac:chgData name="Yu, Bing" userId="90a94cb0-8e9a-43a8-89bf-1b8017aa98de" providerId="ADAL" clId="{E665F7FB-DEAB-4A8F-8783-66B06FCA712D}" dt="2022-07-11T08:19:59.559" v="496"/>
          <ac:spMkLst>
            <pc:docMk/>
            <pc:sldMk cId="454013025" sldId="348"/>
            <ac:spMk id="71" creationId="{0EDB0283-564A-4CDF-BA47-EF566EC029E1}"/>
          </ac:spMkLst>
        </pc:spChg>
        <pc:spChg chg="mod">
          <ac:chgData name="Yu, Bing" userId="90a94cb0-8e9a-43a8-89bf-1b8017aa98de" providerId="ADAL" clId="{E665F7FB-DEAB-4A8F-8783-66B06FCA712D}" dt="2022-07-11T08:19:59.559" v="496"/>
          <ac:spMkLst>
            <pc:docMk/>
            <pc:sldMk cId="454013025" sldId="348"/>
            <ac:spMk id="72" creationId="{A12E780C-6768-4114-B856-D4BD79C27F5B}"/>
          </ac:spMkLst>
        </pc:spChg>
        <pc:spChg chg="mod">
          <ac:chgData name="Yu, Bing" userId="90a94cb0-8e9a-43a8-89bf-1b8017aa98de" providerId="ADAL" clId="{E665F7FB-DEAB-4A8F-8783-66B06FCA712D}" dt="2022-07-11T08:19:59.559" v="496"/>
          <ac:spMkLst>
            <pc:docMk/>
            <pc:sldMk cId="454013025" sldId="348"/>
            <ac:spMk id="73" creationId="{3600540A-2BC2-4E55-BC4E-4D2951CEBBE5}"/>
          </ac:spMkLst>
        </pc:spChg>
        <pc:spChg chg="mod">
          <ac:chgData name="Yu, Bing" userId="90a94cb0-8e9a-43a8-89bf-1b8017aa98de" providerId="ADAL" clId="{E665F7FB-DEAB-4A8F-8783-66B06FCA712D}" dt="2022-07-11T08:19:59.559" v="496"/>
          <ac:spMkLst>
            <pc:docMk/>
            <pc:sldMk cId="454013025" sldId="348"/>
            <ac:spMk id="74" creationId="{121CCC77-35F6-4053-9B41-14967DB71EE8}"/>
          </ac:spMkLst>
        </pc:spChg>
        <pc:spChg chg="mod">
          <ac:chgData name="Yu, Bing" userId="90a94cb0-8e9a-43a8-89bf-1b8017aa98de" providerId="ADAL" clId="{E665F7FB-DEAB-4A8F-8783-66B06FCA712D}" dt="2022-07-11T08:19:59.559" v="496"/>
          <ac:spMkLst>
            <pc:docMk/>
            <pc:sldMk cId="454013025" sldId="348"/>
            <ac:spMk id="75" creationId="{9C529F19-9540-450B-8AA1-BAC8C0CABCE5}"/>
          </ac:spMkLst>
        </pc:spChg>
        <pc:spChg chg="mod">
          <ac:chgData name="Yu, Bing" userId="90a94cb0-8e9a-43a8-89bf-1b8017aa98de" providerId="ADAL" clId="{E665F7FB-DEAB-4A8F-8783-66B06FCA712D}" dt="2022-07-11T08:19:59.559" v="496"/>
          <ac:spMkLst>
            <pc:docMk/>
            <pc:sldMk cId="454013025" sldId="348"/>
            <ac:spMk id="76" creationId="{63634BB2-2D0E-4545-A317-5331CB85E4A6}"/>
          </ac:spMkLst>
        </pc:spChg>
        <pc:spChg chg="mod">
          <ac:chgData name="Yu, Bing" userId="90a94cb0-8e9a-43a8-89bf-1b8017aa98de" providerId="ADAL" clId="{E665F7FB-DEAB-4A8F-8783-66B06FCA712D}" dt="2022-07-11T08:19:59.559" v="496"/>
          <ac:spMkLst>
            <pc:docMk/>
            <pc:sldMk cId="454013025" sldId="348"/>
            <ac:spMk id="77" creationId="{5AEF0DCD-2118-4D70-A9BB-797D1A3AB640}"/>
          </ac:spMkLst>
        </pc:spChg>
        <pc:spChg chg="mod">
          <ac:chgData name="Yu, Bing" userId="90a94cb0-8e9a-43a8-89bf-1b8017aa98de" providerId="ADAL" clId="{E665F7FB-DEAB-4A8F-8783-66B06FCA712D}" dt="2022-07-11T08:22:30.581" v="533" actId="1076"/>
          <ac:spMkLst>
            <pc:docMk/>
            <pc:sldMk cId="454013025" sldId="348"/>
            <ac:spMk id="78" creationId="{EBCD99C2-B315-43FF-AB04-04E39AC5BC14}"/>
          </ac:spMkLst>
        </pc:spChg>
        <pc:spChg chg="mod">
          <ac:chgData name="Yu, Bing" userId="90a94cb0-8e9a-43a8-89bf-1b8017aa98de" providerId="ADAL" clId="{E665F7FB-DEAB-4A8F-8783-66B06FCA712D}" dt="2022-07-11T08:19:59.559" v="496"/>
          <ac:spMkLst>
            <pc:docMk/>
            <pc:sldMk cId="454013025" sldId="348"/>
            <ac:spMk id="79" creationId="{88CDBF54-C277-41C6-9068-558BEBDCE059}"/>
          </ac:spMkLst>
        </pc:spChg>
        <pc:spChg chg="mod">
          <ac:chgData name="Yu, Bing" userId="90a94cb0-8e9a-43a8-89bf-1b8017aa98de" providerId="ADAL" clId="{E665F7FB-DEAB-4A8F-8783-66B06FCA712D}" dt="2022-07-11T09:43:18.619" v="958" actId="1036"/>
          <ac:spMkLst>
            <pc:docMk/>
            <pc:sldMk cId="454013025" sldId="348"/>
            <ac:spMk id="80" creationId="{BA7EE006-028D-485B-A507-89DDF9EF319B}"/>
          </ac:spMkLst>
        </pc:spChg>
        <pc:spChg chg="mod">
          <ac:chgData name="Yu, Bing" userId="90a94cb0-8e9a-43a8-89bf-1b8017aa98de" providerId="ADAL" clId="{E665F7FB-DEAB-4A8F-8783-66B06FCA712D}" dt="2022-07-11T09:43:52.898" v="965" actId="1037"/>
          <ac:spMkLst>
            <pc:docMk/>
            <pc:sldMk cId="454013025" sldId="348"/>
            <ac:spMk id="81" creationId="{95FEFFE4-045F-4540-8DD7-B1EF5751BEF1}"/>
          </ac:spMkLst>
        </pc:spChg>
        <pc:spChg chg="mod">
          <ac:chgData name="Yu, Bing" userId="90a94cb0-8e9a-43a8-89bf-1b8017aa98de" providerId="ADAL" clId="{E665F7FB-DEAB-4A8F-8783-66B06FCA712D}" dt="2022-07-11T08:19:59.559" v="496"/>
          <ac:spMkLst>
            <pc:docMk/>
            <pc:sldMk cId="454013025" sldId="348"/>
            <ac:spMk id="96" creationId="{BA0876B1-3EE6-4C71-B53F-87C3F132A4A9}"/>
          </ac:spMkLst>
        </pc:spChg>
        <pc:spChg chg="mod">
          <ac:chgData name="Yu, Bing" userId="90a94cb0-8e9a-43a8-89bf-1b8017aa98de" providerId="ADAL" clId="{E665F7FB-DEAB-4A8F-8783-66B06FCA712D}" dt="2022-07-11T08:22:07.476" v="529" actId="404"/>
          <ac:spMkLst>
            <pc:docMk/>
            <pc:sldMk cId="454013025" sldId="348"/>
            <ac:spMk id="97" creationId="{2601922F-4252-41E9-BB96-C492E8A3B6AC}"/>
          </ac:spMkLst>
        </pc:spChg>
        <pc:spChg chg="add mod">
          <ac:chgData name="Yu, Bing" userId="90a94cb0-8e9a-43a8-89bf-1b8017aa98de" providerId="ADAL" clId="{E665F7FB-DEAB-4A8F-8783-66B06FCA712D}" dt="2022-07-11T09:39:09.322" v="910" actId="14100"/>
          <ac:spMkLst>
            <pc:docMk/>
            <pc:sldMk cId="454013025" sldId="348"/>
            <ac:spMk id="98" creationId="{EE16BE49-957A-4E3B-AB18-AB1F27D1ADED}"/>
          </ac:spMkLst>
        </pc:spChg>
        <pc:spChg chg="add mod">
          <ac:chgData name="Yu, Bing" userId="90a94cb0-8e9a-43a8-89bf-1b8017aa98de" providerId="ADAL" clId="{E665F7FB-DEAB-4A8F-8783-66B06FCA712D}" dt="2022-07-11T09:39:14.901" v="911" actId="14100"/>
          <ac:spMkLst>
            <pc:docMk/>
            <pc:sldMk cId="454013025" sldId="348"/>
            <ac:spMk id="99" creationId="{BE8450F1-F0C7-4629-9B03-E8285BC8DC13}"/>
          </ac:spMkLst>
        </pc:spChg>
        <pc:spChg chg="mod">
          <ac:chgData name="Yu, Bing" userId="90a94cb0-8e9a-43a8-89bf-1b8017aa98de" providerId="ADAL" clId="{E665F7FB-DEAB-4A8F-8783-66B06FCA712D}" dt="2022-07-11T09:42:57.576" v="932" actId="1037"/>
          <ac:spMkLst>
            <pc:docMk/>
            <pc:sldMk cId="454013025" sldId="348"/>
            <ac:spMk id="102" creationId="{4F0067FE-79B0-4953-83B3-D2D86F0F4FF6}"/>
          </ac:spMkLst>
        </pc:spChg>
        <pc:spChg chg="mod">
          <ac:chgData name="Yu, Bing" userId="90a94cb0-8e9a-43a8-89bf-1b8017aa98de" providerId="ADAL" clId="{E665F7FB-DEAB-4A8F-8783-66B06FCA712D}" dt="2022-07-11T09:43:01.939" v="939" actId="1037"/>
          <ac:spMkLst>
            <pc:docMk/>
            <pc:sldMk cId="454013025" sldId="348"/>
            <ac:spMk id="103" creationId="{47651DE6-395D-45D5-9B2E-F399D3ED98DC}"/>
          </ac:spMkLst>
        </pc:spChg>
        <pc:spChg chg="mod">
          <ac:chgData name="Yu, Bing" userId="90a94cb0-8e9a-43a8-89bf-1b8017aa98de" providerId="ADAL" clId="{E665F7FB-DEAB-4A8F-8783-66B06FCA712D}" dt="2022-07-11T09:42:51.738" v="927" actId="1076"/>
          <ac:spMkLst>
            <pc:docMk/>
            <pc:sldMk cId="454013025" sldId="348"/>
            <ac:spMk id="104" creationId="{D7F868BE-8907-4E3C-B2CF-F674896B840F}"/>
          </ac:spMkLst>
        </pc:spChg>
        <pc:spChg chg="mod">
          <ac:chgData name="Yu, Bing" userId="90a94cb0-8e9a-43a8-89bf-1b8017aa98de" providerId="ADAL" clId="{E665F7FB-DEAB-4A8F-8783-66B06FCA712D}" dt="2022-07-11T09:34:30.263" v="851" actId="14100"/>
          <ac:spMkLst>
            <pc:docMk/>
            <pc:sldMk cId="454013025" sldId="348"/>
            <ac:spMk id="105" creationId="{E86C8B25-1FF8-47EA-B357-54A6A1943ADD}"/>
          </ac:spMkLst>
        </pc:spChg>
        <pc:spChg chg="del">
          <ac:chgData name="Yu, Bing" userId="90a94cb0-8e9a-43a8-89bf-1b8017aa98de" providerId="ADAL" clId="{E665F7FB-DEAB-4A8F-8783-66B06FCA712D}" dt="2022-07-10T10:55:48.578" v="61" actId="478"/>
          <ac:spMkLst>
            <pc:docMk/>
            <pc:sldMk cId="454013025" sldId="348"/>
            <ac:spMk id="113" creationId="{00000000-0000-0000-0000-000000000000}"/>
          </ac:spMkLst>
        </pc:spChg>
        <pc:spChg chg="del">
          <ac:chgData name="Yu, Bing" userId="90a94cb0-8e9a-43a8-89bf-1b8017aa98de" providerId="ADAL" clId="{E665F7FB-DEAB-4A8F-8783-66B06FCA712D}" dt="2022-07-10T10:55:46.186" v="60" actId="478"/>
          <ac:spMkLst>
            <pc:docMk/>
            <pc:sldMk cId="454013025" sldId="348"/>
            <ac:spMk id="114" creationId="{00000000-0000-0000-0000-000000000000}"/>
          </ac:spMkLst>
        </pc:spChg>
        <pc:spChg chg="mod ord">
          <ac:chgData name="Yu, Bing" userId="90a94cb0-8e9a-43a8-89bf-1b8017aa98de" providerId="ADAL" clId="{E665F7FB-DEAB-4A8F-8783-66B06FCA712D}" dt="2022-07-11T09:41:01.375" v="916" actId="1076"/>
          <ac:spMkLst>
            <pc:docMk/>
            <pc:sldMk cId="454013025" sldId="348"/>
            <ac:spMk id="115" creationId="{00000000-0000-0000-0000-000000000000}"/>
          </ac:spMkLst>
        </pc:spChg>
        <pc:spChg chg="mod">
          <ac:chgData name="Yu, Bing" userId="90a94cb0-8e9a-43a8-89bf-1b8017aa98de" providerId="ADAL" clId="{E665F7FB-DEAB-4A8F-8783-66B06FCA712D}" dt="2022-07-11T09:43:35.674" v="963" actId="1036"/>
          <ac:spMkLst>
            <pc:docMk/>
            <pc:sldMk cId="454013025" sldId="348"/>
            <ac:spMk id="132" creationId="{00000000-0000-0000-0000-000000000000}"/>
          </ac:spMkLst>
        </pc:spChg>
        <pc:spChg chg="del">
          <ac:chgData name="Yu, Bing" userId="90a94cb0-8e9a-43a8-89bf-1b8017aa98de" providerId="ADAL" clId="{E665F7FB-DEAB-4A8F-8783-66B06FCA712D}" dt="2022-07-10T10:55:46.186" v="60" actId="478"/>
          <ac:spMkLst>
            <pc:docMk/>
            <pc:sldMk cId="454013025" sldId="348"/>
            <ac:spMk id="137" creationId="{00000000-0000-0000-0000-000000000000}"/>
          </ac:spMkLst>
        </pc:spChg>
        <pc:spChg chg="mod">
          <ac:chgData name="Yu, Bing" userId="90a94cb0-8e9a-43a8-89bf-1b8017aa98de" providerId="ADAL" clId="{E665F7FB-DEAB-4A8F-8783-66B06FCA712D}" dt="2022-07-11T09:43:58.080" v="970" actId="1037"/>
          <ac:spMkLst>
            <pc:docMk/>
            <pc:sldMk cId="454013025" sldId="348"/>
            <ac:spMk id="138" creationId="{00000000-0000-0000-0000-000000000000}"/>
          </ac:spMkLst>
        </pc:spChg>
        <pc:spChg chg="mod">
          <ac:chgData name="Yu, Bing" userId="90a94cb0-8e9a-43a8-89bf-1b8017aa98de" providerId="ADAL" clId="{E665F7FB-DEAB-4A8F-8783-66B06FCA712D}" dt="2022-07-11T09:38:30.239" v="903" actId="1076"/>
          <ac:spMkLst>
            <pc:docMk/>
            <pc:sldMk cId="454013025" sldId="348"/>
            <ac:spMk id="139" creationId="{00000000-0000-0000-0000-000000000000}"/>
          </ac:spMkLst>
        </pc:spChg>
        <pc:spChg chg="mod">
          <ac:chgData name="Yu, Bing" userId="90a94cb0-8e9a-43a8-89bf-1b8017aa98de" providerId="ADAL" clId="{E665F7FB-DEAB-4A8F-8783-66B06FCA712D}" dt="2022-07-11T09:38:35.561" v="904" actId="1076"/>
          <ac:spMkLst>
            <pc:docMk/>
            <pc:sldMk cId="454013025" sldId="348"/>
            <ac:spMk id="140" creationId="{00000000-0000-0000-0000-000000000000}"/>
          </ac:spMkLst>
        </pc:spChg>
        <pc:spChg chg="del mod">
          <ac:chgData name="Yu, Bing" userId="90a94cb0-8e9a-43a8-89bf-1b8017aa98de" providerId="ADAL" clId="{E665F7FB-DEAB-4A8F-8783-66B06FCA712D}" dt="2022-07-11T09:31:37.647" v="797" actId="478"/>
          <ac:spMkLst>
            <pc:docMk/>
            <pc:sldMk cId="454013025" sldId="348"/>
            <ac:spMk id="142" creationId="{00000000-0000-0000-0000-000000000000}"/>
          </ac:spMkLst>
        </pc:spChg>
        <pc:spChg chg="del mod">
          <ac:chgData name="Yu, Bing" userId="90a94cb0-8e9a-43a8-89bf-1b8017aa98de" providerId="ADAL" clId="{E665F7FB-DEAB-4A8F-8783-66B06FCA712D}" dt="2022-07-11T09:31:37.647" v="797" actId="478"/>
          <ac:spMkLst>
            <pc:docMk/>
            <pc:sldMk cId="454013025" sldId="348"/>
            <ac:spMk id="143" creationId="{00000000-0000-0000-0000-000000000000}"/>
          </ac:spMkLst>
        </pc:spChg>
        <pc:spChg chg="del mod">
          <ac:chgData name="Yu, Bing" userId="90a94cb0-8e9a-43a8-89bf-1b8017aa98de" providerId="ADAL" clId="{E665F7FB-DEAB-4A8F-8783-66B06FCA712D}" dt="2022-07-11T09:31:37.647" v="797" actId="478"/>
          <ac:spMkLst>
            <pc:docMk/>
            <pc:sldMk cId="454013025" sldId="348"/>
            <ac:spMk id="144" creationId="{00000000-0000-0000-0000-000000000000}"/>
          </ac:spMkLst>
        </pc:spChg>
        <pc:spChg chg="del mod">
          <ac:chgData name="Yu, Bing" userId="90a94cb0-8e9a-43a8-89bf-1b8017aa98de" providerId="ADAL" clId="{E665F7FB-DEAB-4A8F-8783-66B06FCA712D}" dt="2022-07-11T09:31:37.647" v="797" actId="478"/>
          <ac:spMkLst>
            <pc:docMk/>
            <pc:sldMk cId="454013025" sldId="348"/>
            <ac:spMk id="145" creationId="{00000000-0000-0000-0000-000000000000}"/>
          </ac:spMkLst>
        </pc:spChg>
        <pc:grpChg chg="add mod">
          <ac:chgData name="Yu, Bing" userId="90a94cb0-8e9a-43a8-89bf-1b8017aa98de" providerId="ADAL" clId="{E665F7FB-DEAB-4A8F-8783-66B06FCA712D}" dt="2022-07-11T09:43:12.636" v="949" actId="1037"/>
          <ac:grpSpMkLst>
            <pc:docMk/>
            <pc:sldMk cId="454013025" sldId="348"/>
            <ac:grpSpMk id="35" creationId="{978897CE-282B-49DD-9D0E-DFF2BB92210D}"/>
          </ac:grpSpMkLst>
        </pc:grpChg>
        <pc:grpChg chg="mod">
          <ac:chgData name="Yu, Bing" userId="90a94cb0-8e9a-43a8-89bf-1b8017aa98de" providerId="ADAL" clId="{E665F7FB-DEAB-4A8F-8783-66B06FCA712D}" dt="2022-07-11T08:19:59.559" v="496"/>
          <ac:grpSpMkLst>
            <pc:docMk/>
            <pc:sldMk cId="454013025" sldId="348"/>
            <ac:grpSpMk id="37" creationId="{20B0E9B0-691F-470C-A9C7-F62B14A23D8F}"/>
          </ac:grpSpMkLst>
        </pc:grpChg>
        <pc:grpChg chg="mod">
          <ac:chgData name="Yu, Bing" userId="90a94cb0-8e9a-43a8-89bf-1b8017aa98de" providerId="ADAL" clId="{E665F7FB-DEAB-4A8F-8783-66B06FCA712D}" dt="2022-07-11T08:19:59.559" v="496"/>
          <ac:grpSpMkLst>
            <pc:docMk/>
            <pc:sldMk cId="454013025" sldId="348"/>
            <ac:grpSpMk id="38" creationId="{8A2C3D1D-5F03-48D5-B1A7-98EB8381AC25}"/>
          </ac:grpSpMkLst>
        </pc:grpChg>
        <pc:grpChg chg="mod">
          <ac:chgData name="Yu, Bing" userId="90a94cb0-8e9a-43a8-89bf-1b8017aa98de" providerId="ADAL" clId="{E665F7FB-DEAB-4A8F-8783-66B06FCA712D}" dt="2022-07-11T08:19:59.559" v="496"/>
          <ac:grpSpMkLst>
            <pc:docMk/>
            <pc:sldMk cId="454013025" sldId="348"/>
            <ac:grpSpMk id="40" creationId="{43AFC00A-2A40-4D92-8D1E-58D512CA3A20}"/>
          </ac:grpSpMkLst>
        </pc:grpChg>
        <pc:grpChg chg="mod">
          <ac:chgData name="Yu, Bing" userId="90a94cb0-8e9a-43a8-89bf-1b8017aa98de" providerId="ADAL" clId="{E665F7FB-DEAB-4A8F-8783-66B06FCA712D}" dt="2022-07-11T08:19:59.559" v="496"/>
          <ac:grpSpMkLst>
            <pc:docMk/>
            <pc:sldMk cId="454013025" sldId="348"/>
            <ac:grpSpMk id="41" creationId="{D42E2A1E-5BF6-48F8-AC82-BECCC73810D4}"/>
          </ac:grpSpMkLst>
        </pc:grpChg>
        <pc:grpChg chg="mod">
          <ac:chgData name="Yu, Bing" userId="90a94cb0-8e9a-43a8-89bf-1b8017aa98de" providerId="ADAL" clId="{E665F7FB-DEAB-4A8F-8783-66B06FCA712D}" dt="2022-07-11T08:19:59.559" v="496"/>
          <ac:grpSpMkLst>
            <pc:docMk/>
            <pc:sldMk cId="454013025" sldId="348"/>
            <ac:grpSpMk id="44" creationId="{9B4788BE-733C-4FFF-887D-F4C55E911638}"/>
          </ac:grpSpMkLst>
        </pc:grpChg>
        <pc:grpChg chg="mod">
          <ac:chgData name="Yu, Bing" userId="90a94cb0-8e9a-43a8-89bf-1b8017aa98de" providerId="ADAL" clId="{E665F7FB-DEAB-4A8F-8783-66B06FCA712D}" dt="2022-07-11T08:19:59.559" v="496"/>
          <ac:grpSpMkLst>
            <pc:docMk/>
            <pc:sldMk cId="454013025" sldId="348"/>
            <ac:grpSpMk id="48" creationId="{A70CF0DD-C29A-4C29-99DD-F518B16842E6}"/>
          </ac:grpSpMkLst>
        </pc:grpChg>
        <pc:grpChg chg="mod">
          <ac:chgData name="Yu, Bing" userId="90a94cb0-8e9a-43a8-89bf-1b8017aa98de" providerId="ADAL" clId="{E665F7FB-DEAB-4A8F-8783-66B06FCA712D}" dt="2022-07-11T08:19:59.559" v="496"/>
          <ac:grpSpMkLst>
            <pc:docMk/>
            <pc:sldMk cId="454013025" sldId="348"/>
            <ac:grpSpMk id="51" creationId="{4D0350BB-2D8C-40F1-A2E1-7BA49A1C3308}"/>
          </ac:grpSpMkLst>
        </pc:grpChg>
        <pc:grpChg chg="mod">
          <ac:chgData name="Yu, Bing" userId="90a94cb0-8e9a-43a8-89bf-1b8017aa98de" providerId="ADAL" clId="{E665F7FB-DEAB-4A8F-8783-66B06FCA712D}" dt="2022-07-11T08:19:59.559" v="496"/>
          <ac:grpSpMkLst>
            <pc:docMk/>
            <pc:sldMk cId="454013025" sldId="348"/>
            <ac:grpSpMk id="61" creationId="{76B65822-D1F3-450F-9F31-F207307EDB7F}"/>
          </ac:grpSpMkLst>
        </pc:grpChg>
        <pc:grpChg chg="mod">
          <ac:chgData name="Yu, Bing" userId="90a94cb0-8e9a-43a8-89bf-1b8017aa98de" providerId="ADAL" clId="{E665F7FB-DEAB-4A8F-8783-66B06FCA712D}" dt="2022-07-11T08:19:59.559" v="496"/>
          <ac:grpSpMkLst>
            <pc:docMk/>
            <pc:sldMk cId="454013025" sldId="348"/>
            <ac:grpSpMk id="62" creationId="{E0BDCE7C-AA9E-43BD-B278-3C7DDB86944A}"/>
          </ac:grpSpMkLst>
        </pc:grpChg>
        <pc:grpChg chg="add mod">
          <ac:chgData name="Yu, Bing" userId="90a94cb0-8e9a-43a8-89bf-1b8017aa98de" providerId="ADAL" clId="{E665F7FB-DEAB-4A8F-8783-66B06FCA712D}" dt="2022-07-11T09:38:25.233" v="902" actId="1076"/>
          <ac:grpSpMkLst>
            <pc:docMk/>
            <pc:sldMk cId="454013025" sldId="348"/>
            <ac:grpSpMk id="100" creationId="{509972CE-F5A7-438E-A54D-3D0BC0024F32}"/>
          </ac:grpSpMkLst>
        </pc:grpChg>
        <pc:grpChg chg="mod">
          <ac:chgData name="Yu, Bing" userId="90a94cb0-8e9a-43a8-89bf-1b8017aa98de" providerId="ADAL" clId="{E665F7FB-DEAB-4A8F-8783-66B06FCA712D}" dt="2022-07-11T09:43:28.083" v="959" actId="14100"/>
          <ac:grpSpMkLst>
            <pc:docMk/>
            <pc:sldMk cId="454013025" sldId="348"/>
            <ac:grpSpMk id="116" creationId="{00000000-0000-0000-0000-000000000000}"/>
          </ac:grpSpMkLst>
        </pc:grpChg>
        <pc:graphicFrameChg chg="add del mod">
          <ac:chgData name="Yu, Bing" userId="90a94cb0-8e9a-43a8-89bf-1b8017aa98de" providerId="ADAL" clId="{E665F7FB-DEAB-4A8F-8783-66B06FCA712D}" dt="2022-07-11T09:42:47.944" v="926"/>
          <ac:graphicFrameMkLst>
            <pc:docMk/>
            <pc:sldMk cId="454013025" sldId="348"/>
            <ac:graphicFrameMk id="101" creationId="{31056523-F471-4B5F-8324-6D2A555D593B}"/>
          </ac:graphicFrameMkLst>
        </pc:graphicFrameChg>
        <pc:graphicFrameChg chg="del">
          <ac:chgData name="Yu, Bing" userId="90a94cb0-8e9a-43a8-89bf-1b8017aa98de" providerId="ADAL" clId="{E665F7FB-DEAB-4A8F-8783-66B06FCA712D}" dt="2022-07-10T10:55:18.070" v="59" actId="478"/>
          <ac:graphicFrameMkLst>
            <pc:docMk/>
            <pc:sldMk cId="454013025" sldId="348"/>
            <ac:graphicFrameMk id="127" creationId="{00000000-0000-0000-0000-000000000000}"/>
          </ac:graphicFrameMkLst>
        </pc:graphicFrameChg>
        <pc:graphicFrameChg chg="del mod">
          <ac:chgData name="Yu, Bing" userId="90a94cb0-8e9a-43a8-89bf-1b8017aa98de" providerId="ADAL" clId="{E665F7FB-DEAB-4A8F-8783-66B06FCA712D}" dt="2022-07-11T09:31:37.647" v="797" actId="478"/>
          <ac:graphicFrameMkLst>
            <pc:docMk/>
            <pc:sldMk cId="454013025" sldId="348"/>
            <ac:graphicFrameMk id="141" creationId="{00000000-0000-0000-0000-000000000000}"/>
          </ac:graphicFrameMkLst>
        </pc:graphicFrameChg>
        <pc:cxnChg chg="mod">
          <ac:chgData name="Yu, Bing" userId="90a94cb0-8e9a-43a8-89bf-1b8017aa98de" providerId="ADAL" clId="{E665F7FB-DEAB-4A8F-8783-66B06FCA712D}" dt="2022-07-11T08:19:59.559" v="496"/>
          <ac:cxnSpMkLst>
            <pc:docMk/>
            <pc:sldMk cId="454013025" sldId="348"/>
            <ac:cxnSpMk id="82" creationId="{37E83868-2748-471C-8E08-E6130CE86C57}"/>
          </ac:cxnSpMkLst>
        </pc:cxnChg>
        <pc:cxnChg chg="mod">
          <ac:chgData name="Yu, Bing" userId="90a94cb0-8e9a-43a8-89bf-1b8017aa98de" providerId="ADAL" clId="{E665F7FB-DEAB-4A8F-8783-66B06FCA712D}" dt="2022-07-11T08:19:59.559" v="496"/>
          <ac:cxnSpMkLst>
            <pc:docMk/>
            <pc:sldMk cId="454013025" sldId="348"/>
            <ac:cxnSpMk id="83" creationId="{B1CB0F40-35BD-44C3-8B0C-5CADA3EDBF7E}"/>
          </ac:cxnSpMkLst>
        </pc:cxnChg>
        <pc:cxnChg chg="mod">
          <ac:chgData name="Yu, Bing" userId="90a94cb0-8e9a-43a8-89bf-1b8017aa98de" providerId="ADAL" clId="{E665F7FB-DEAB-4A8F-8783-66B06FCA712D}" dt="2022-07-11T08:19:59.559" v="496"/>
          <ac:cxnSpMkLst>
            <pc:docMk/>
            <pc:sldMk cId="454013025" sldId="348"/>
            <ac:cxnSpMk id="84" creationId="{220EA62F-90DC-425E-802D-7A5ACE8E8FF0}"/>
          </ac:cxnSpMkLst>
        </pc:cxnChg>
        <pc:cxnChg chg="mod">
          <ac:chgData name="Yu, Bing" userId="90a94cb0-8e9a-43a8-89bf-1b8017aa98de" providerId="ADAL" clId="{E665F7FB-DEAB-4A8F-8783-66B06FCA712D}" dt="2022-07-11T08:19:59.559" v="496"/>
          <ac:cxnSpMkLst>
            <pc:docMk/>
            <pc:sldMk cId="454013025" sldId="348"/>
            <ac:cxnSpMk id="85" creationId="{1AA769BF-2436-4842-B675-B53F533A1A8F}"/>
          </ac:cxnSpMkLst>
        </pc:cxnChg>
        <pc:cxnChg chg="mod">
          <ac:chgData name="Yu, Bing" userId="90a94cb0-8e9a-43a8-89bf-1b8017aa98de" providerId="ADAL" clId="{E665F7FB-DEAB-4A8F-8783-66B06FCA712D}" dt="2022-07-11T08:19:59.559" v="496"/>
          <ac:cxnSpMkLst>
            <pc:docMk/>
            <pc:sldMk cId="454013025" sldId="348"/>
            <ac:cxnSpMk id="86" creationId="{0EC57781-B7F2-44EA-8E26-17C4FF78A037}"/>
          </ac:cxnSpMkLst>
        </pc:cxnChg>
        <pc:cxnChg chg="mod">
          <ac:chgData name="Yu, Bing" userId="90a94cb0-8e9a-43a8-89bf-1b8017aa98de" providerId="ADAL" clId="{E665F7FB-DEAB-4A8F-8783-66B06FCA712D}" dt="2022-07-11T08:19:59.559" v="496"/>
          <ac:cxnSpMkLst>
            <pc:docMk/>
            <pc:sldMk cId="454013025" sldId="348"/>
            <ac:cxnSpMk id="87" creationId="{EC6ED412-950C-4D08-A5C9-542A8A9E15ED}"/>
          </ac:cxnSpMkLst>
        </pc:cxnChg>
        <pc:cxnChg chg="mod">
          <ac:chgData name="Yu, Bing" userId="90a94cb0-8e9a-43a8-89bf-1b8017aa98de" providerId="ADAL" clId="{E665F7FB-DEAB-4A8F-8783-66B06FCA712D}" dt="2022-07-11T08:19:59.559" v="496"/>
          <ac:cxnSpMkLst>
            <pc:docMk/>
            <pc:sldMk cId="454013025" sldId="348"/>
            <ac:cxnSpMk id="88" creationId="{C7C30439-EFDA-4996-801F-4BEFB6E44AE4}"/>
          </ac:cxnSpMkLst>
        </pc:cxnChg>
        <pc:cxnChg chg="mod">
          <ac:chgData name="Yu, Bing" userId="90a94cb0-8e9a-43a8-89bf-1b8017aa98de" providerId="ADAL" clId="{E665F7FB-DEAB-4A8F-8783-66B06FCA712D}" dt="2022-07-11T08:19:59.559" v="496"/>
          <ac:cxnSpMkLst>
            <pc:docMk/>
            <pc:sldMk cId="454013025" sldId="348"/>
            <ac:cxnSpMk id="89" creationId="{95F94F90-BCEA-486F-8E02-FC1788507ADF}"/>
          </ac:cxnSpMkLst>
        </pc:cxnChg>
        <pc:cxnChg chg="mod">
          <ac:chgData name="Yu, Bing" userId="90a94cb0-8e9a-43a8-89bf-1b8017aa98de" providerId="ADAL" clId="{E665F7FB-DEAB-4A8F-8783-66B06FCA712D}" dt="2022-07-11T08:19:59.559" v="496"/>
          <ac:cxnSpMkLst>
            <pc:docMk/>
            <pc:sldMk cId="454013025" sldId="348"/>
            <ac:cxnSpMk id="90" creationId="{4681B60B-9CFE-4B45-940C-323A8293D8A7}"/>
          </ac:cxnSpMkLst>
        </pc:cxnChg>
        <pc:cxnChg chg="mod">
          <ac:chgData name="Yu, Bing" userId="90a94cb0-8e9a-43a8-89bf-1b8017aa98de" providerId="ADAL" clId="{E665F7FB-DEAB-4A8F-8783-66B06FCA712D}" dt="2022-07-11T08:19:59.559" v="496"/>
          <ac:cxnSpMkLst>
            <pc:docMk/>
            <pc:sldMk cId="454013025" sldId="348"/>
            <ac:cxnSpMk id="91" creationId="{0FB0EAC7-AA23-48BB-B5AD-2DD9CE48F9E8}"/>
          </ac:cxnSpMkLst>
        </pc:cxnChg>
        <pc:cxnChg chg="mod">
          <ac:chgData name="Yu, Bing" userId="90a94cb0-8e9a-43a8-89bf-1b8017aa98de" providerId="ADAL" clId="{E665F7FB-DEAB-4A8F-8783-66B06FCA712D}" dt="2022-07-11T08:19:59.559" v="496"/>
          <ac:cxnSpMkLst>
            <pc:docMk/>
            <pc:sldMk cId="454013025" sldId="348"/>
            <ac:cxnSpMk id="92" creationId="{1D6435B7-0D63-40D6-9890-0D30FF008CE5}"/>
          </ac:cxnSpMkLst>
        </pc:cxnChg>
        <pc:cxnChg chg="mod">
          <ac:chgData name="Yu, Bing" userId="90a94cb0-8e9a-43a8-89bf-1b8017aa98de" providerId="ADAL" clId="{E665F7FB-DEAB-4A8F-8783-66B06FCA712D}" dt="2022-07-11T08:19:59.559" v="496"/>
          <ac:cxnSpMkLst>
            <pc:docMk/>
            <pc:sldMk cId="454013025" sldId="348"/>
            <ac:cxnSpMk id="93" creationId="{CA636AAD-B2DE-48ED-B551-410BF8927232}"/>
          </ac:cxnSpMkLst>
        </pc:cxnChg>
        <pc:cxnChg chg="mod">
          <ac:chgData name="Yu, Bing" userId="90a94cb0-8e9a-43a8-89bf-1b8017aa98de" providerId="ADAL" clId="{E665F7FB-DEAB-4A8F-8783-66B06FCA712D}" dt="2022-07-11T08:19:59.559" v="496"/>
          <ac:cxnSpMkLst>
            <pc:docMk/>
            <pc:sldMk cId="454013025" sldId="348"/>
            <ac:cxnSpMk id="94" creationId="{5C1B32BB-5C0A-4FBA-A0DC-D1F92254F3A0}"/>
          </ac:cxnSpMkLst>
        </pc:cxnChg>
        <pc:cxnChg chg="mod">
          <ac:chgData name="Yu, Bing" userId="90a94cb0-8e9a-43a8-89bf-1b8017aa98de" providerId="ADAL" clId="{E665F7FB-DEAB-4A8F-8783-66B06FCA712D}" dt="2022-07-11T08:19:59.559" v="496"/>
          <ac:cxnSpMkLst>
            <pc:docMk/>
            <pc:sldMk cId="454013025" sldId="348"/>
            <ac:cxnSpMk id="95" creationId="{0FA8E439-FAF9-4E36-B754-27824033C327}"/>
          </ac:cxnSpMkLst>
        </pc:cxnChg>
      </pc:sldChg>
      <pc:sldChg chg="addSp delSp modSp mod delCm">
        <pc:chgData name="Yu, Bing" userId="90a94cb0-8e9a-43a8-89bf-1b8017aa98de" providerId="ADAL" clId="{E665F7FB-DEAB-4A8F-8783-66B06FCA712D}" dt="2022-07-11T05:07:55.451" v="225" actId="207"/>
        <pc:sldMkLst>
          <pc:docMk/>
          <pc:sldMk cId="1262531339" sldId="349"/>
        </pc:sldMkLst>
        <pc:spChg chg="mod">
          <ac:chgData name="Yu, Bing" userId="90a94cb0-8e9a-43a8-89bf-1b8017aa98de" providerId="ADAL" clId="{E665F7FB-DEAB-4A8F-8783-66B06FCA712D}" dt="2022-07-10T10:54:45.045" v="58" actId="1036"/>
          <ac:spMkLst>
            <pc:docMk/>
            <pc:sldMk cId="1262531339" sldId="349"/>
            <ac:spMk id="5" creationId="{00000000-0000-0000-0000-000000000000}"/>
          </ac:spMkLst>
        </pc:spChg>
        <pc:spChg chg="add mod">
          <ac:chgData name="Yu, Bing" userId="90a94cb0-8e9a-43a8-89bf-1b8017aa98de" providerId="ADAL" clId="{E665F7FB-DEAB-4A8F-8783-66B06FCA712D}" dt="2022-07-11T03:42:38.810" v="156"/>
          <ac:spMkLst>
            <pc:docMk/>
            <pc:sldMk cId="1262531339" sldId="349"/>
            <ac:spMk id="13" creationId="{226BD936-1D56-4DA6-8FE9-D00188849BE9}"/>
          </ac:spMkLst>
        </pc:spChg>
        <pc:spChg chg="mod">
          <ac:chgData name="Yu, Bing" userId="90a94cb0-8e9a-43a8-89bf-1b8017aa98de" providerId="ADAL" clId="{E665F7FB-DEAB-4A8F-8783-66B06FCA712D}" dt="2022-07-11T05:07:55.451" v="225" actId="207"/>
          <ac:spMkLst>
            <pc:docMk/>
            <pc:sldMk cId="1262531339" sldId="349"/>
            <ac:spMk id="15" creationId="{43DC84BD-8AF0-4A3C-9899-B37B7987304B}"/>
          </ac:spMkLst>
        </pc:spChg>
        <pc:spChg chg="ord">
          <ac:chgData name="Yu, Bing" userId="90a94cb0-8e9a-43a8-89bf-1b8017aa98de" providerId="ADAL" clId="{E665F7FB-DEAB-4A8F-8783-66B06FCA712D}" dt="2022-07-11T03:42:44.164" v="157" actId="166"/>
          <ac:spMkLst>
            <pc:docMk/>
            <pc:sldMk cId="1262531339" sldId="349"/>
            <ac:spMk id="16" creationId="{00000000-0000-0000-0000-000000000000}"/>
          </ac:spMkLst>
        </pc:spChg>
        <pc:spChg chg="mod">
          <ac:chgData name="Yu, Bing" userId="90a94cb0-8e9a-43a8-89bf-1b8017aa98de" providerId="ADAL" clId="{E665F7FB-DEAB-4A8F-8783-66B06FCA712D}" dt="2022-07-10T10:54:34.983" v="48" actId="1036"/>
          <ac:spMkLst>
            <pc:docMk/>
            <pc:sldMk cId="1262531339" sldId="349"/>
            <ac:spMk id="18" creationId="{00000000-0000-0000-0000-000000000000}"/>
          </ac:spMkLst>
        </pc:spChg>
        <pc:spChg chg="mod">
          <ac:chgData name="Yu, Bing" userId="90a94cb0-8e9a-43a8-89bf-1b8017aa98de" providerId="ADAL" clId="{E665F7FB-DEAB-4A8F-8783-66B06FCA712D}" dt="2022-07-10T10:54:45.045" v="58" actId="1036"/>
          <ac:spMkLst>
            <pc:docMk/>
            <pc:sldMk cId="1262531339" sldId="349"/>
            <ac:spMk id="19" creationId="{54405246-CCE2-4201-BBB1-D3F3EB6E740D}"/>
          </ac:spMkLst>
        </pc:spChg>
        <pc:spChg chg="del">
          <ac:chgData name="Yu, Bing" userId="90a94cb0-8e9a-43a8-89bf-1b8017aa98de" providerId="ADAL" clId="{E665F7FB-DEAB-4A8F-8783-66B06FCA712D}" dt="2022-07-10T10:54:03.624" v="4" actId="478"/>
          <ac:spMkLst>
            <pc:docMk/>
            <pc:sldMk cId="1262531339" sldId="349"/>
            <ac:spMk id="20" creationId="{3E5A7641-96A2-4BE1-B63C-1D24C74377C0}"/>
          </ac:spMkLst>
        </pc:spChg>
        <pc:spChg chg="del">
          <ac:chgData name="Yu, Bing" userId="90a94cb0-8e9a-43a8-89bf-1b8017aa98de" providerId="ADAL" clId="{E665F7FB-DEAB-4A8F-8783-66B06FCA712D}" dt="2022-07-10T10:54:06.012" v="5" actId="478"/>
          <ac:spMkLst>
            <pc:docMk/>
            <pc:sldMk cId="1262531339" sldId="349"/>
            <ac:spMk id="21" creationId="{89FD2837-332D-4440-B802-80D2471CF4BE}"/>
          </ac:spMkLst>
        </pc:spChg>
      </pc:sldChg>
      <pc:sldChg chg="addSp modSp mod">
        <pc:chgData name="Yu, Bing" userId="90a94cb0-8e9a-43a8-89bf-1b8017aa98de" providerId="ADAL" clId="{E665F7FB-DEAB-4A8F-8783-66B06FCA712D}" dt="2022-07-11T08:26:06.473" v="594" actId="1076"/>
        <pc:sldMkLst>
          <pc:docMk/>
          <pc:sldMk cId="2679673404" sldId="350"/>
        </pc:sldMkLst>
        <pc:spChg chg="mod">
          <ac:chgData name="Yu, Bing" userId="90a94cb0-8e9a-43a8-89bf-1b8017aa98de" providerId="ADAL" clId="{E665F7FB-DEAB-4A8F-8783-66B06FCA712D}" dt="2022-07-11T08:25:57.647" v="592" actId="207"/>
          <ac:spMkLst>
            <pc:docMk/>
            <pc:sldMk cId="2679673404" sldId="350"/>
            <ac:spMk id="14" creationId="{FE2A2AB8-0AA9-4977-8C3D-F0FD6F51CEF3}"/>
          </ac:spMkLst>
        </pc:spChg>
        <pc:spChg chg="mod">
          <ac:chgData name="Yu, Bing" userId="90a94cb0-8e9a-43a8-89bf-1b8017aa98de" providerId="ADAL" clId="{E665F7FB-DEAB-4A8F-8783-66B06FCA712D}" dt="2022-07-11T08:26:02.375" v="593" actId="403"/>
          <ac:spMkLst>
            <pc:docMk/>
            <pc:sldMk cId="2679673404" sldId="350"/>
            <ac:spMk id="20" creationId="{4D1D882C-C017-4F4E-9180-F143EB9886E3}"/>
          </ac:spMkLst>
        </pc:spChg>
        <pc:spChg chg="add mod ord">
          <ac:chgData name="Yu, Bing" userId="90a94cb0-8e9a-43a8-89bf-1b8017aa98de" providerId="ADAL" clId="{E665F7FB-DEAB-4A8F-8783-66B06FCA712D}" dt="2022-07-11T03:43:13.094" v="161" actId="166"/>
          <ac:spMkLst>
            <pc:docMk/>
            <pc:sldMk cId="2679673404" sldId="350"/>
            <ac:spMk id="33" creationId="{D22C8E9F-8EF6-4524-B30C-723927ADE375}"/>
          </ac:spMkLst>
        </pc:spChg>
        <pc:spChg chg="ord">
          <ac:chgData name="Yu, Bing" userId="90a94cb0-8e9a-43a8-89bf-1b8017aa98de" providerId="ADAL" clId="{E665F7FB-DEAB-4A8F-8783-66B06FCA712D}" dt="2022-07-11T03:43:21.909" v="162" actId="166"/>
          <ac:spMkLst>
            <pc:docMk/>
            <pc:sldMk cId="2679673404" sldId="350"/>
            <ac:spMk id="35" creationId="{00000000-0000-0000-0000-000000000000}"/>
          </ac:spMkLst>
        </pc:spChg>
        <pc:picChg chg="mod">
          <ac:chgData name="Yu, Bing" userId="90a94cb0-8e9a-43a8-89bf-1b8017aa98de" providerId="ADAL" clId="{E665F7FB-DEAB-4A8F-8783-66B06FCA712D}" dt="2022-07-11T08:26:06.473" v="594" actId="1076"/>
          <ac:picMkLst>
            <pc:docMk/>
            <pc:sldMk cId="2679673404" sldId="350"/>
            <ac:picMk id="27" creationId="{00000000-0000-0000-0000-000000000000}"/>
          </ac:picMkLst>
        </pc:picChg>
      </pc:sldChg>
      <pc:sldChg chg="addSp delSp modSp mod">
        <pc:chgData name="Yu, Bing" userId="90a94cb0-8e9a-43a8-89bf-1b8017aa98de" providerId="ADAL" clId="{E665F7FB-DEAB-4A8F-8783-66B06FCA712D}" dt="2022-07-11T09:42:05.361" v="921" actId="478"/>
        <pc:sldMkLst>
          <pc:docMk/>
          <pc:sldMk cId="2332532083" sldId="2147468945"/>
        </pc:sldMkLst>
        <pc:spChg chg="add mod">
          <ac:chgData name="Yu, Bing" userId="90a94cb0-8e9a-43a8-89bf-1b8017aa98de" providerId="ADAL" clId="{E665F7FB-DEAB-4A8F-8783-66B06FCA712D}" dt="2022-07-11T06:46:41.411" v="412" actId="1076"/>
          <ac:spMkLst>
            <pc:docMk/>
            <pc:sldMk cId="2332532083" sldId="2147468945"/>
            <ac:spMk id="8" creationId="{D14C43A5-CE68-4276-98B6-F56F5F4C2974}"/>
          </ac:spMkLst>
        </pc:spChg>
        <pc:spChg chg="add del mod">
          <ac:chgData name="Yu, Bing" userId="90a94cb0-8e9a-43a8-89bf-1b8017aa98de" providerId="ADAL" clId="{E665F7FB-DEAB-4A8F-8783-66B06FCA712D}" dt="2022-07-11T05:26:59.234" v="231" actId="478"/>
          <ac:spMkLst>
            <pc:docMk/>
            <pc:sldMk cId="2332532083" sldId="2147468945"/>
            <ac:spMk id="9" creationId="{C2474C69-4C97-4B31-8208-22EF547E7466}"/>
          </ac:spMkLst>
        </pc:spChg>
        <pc:spChg chg="ord">
          <ac:chgData name="Yu, Bing" userId="90a94cb0-8e9a-43a8-89bf-1b8017aa98de" providerId="ADAL" clId="{E665F7FB-DEAB-4A8F-8783-66B06FCA712D}" dt="2022-07-11T05:28:34.424" v="396" actId="166"/>
          <ac:spMkLst>
            <pc:docMk/>
            <pc:sldMk cId="2332532083" sldId="2147468945"/>
            <ac:spMk id="13" creationId="{5DDFD40E-0575-DCB3-8466-DA94069F7278}"/>
          </ac:spMkLst>
        </pc:spChg>
        <pc:picChg chg="add del mod">
          <ac:chgData name="Yu, Bing" userId="90a94cb0-8e9a-43a8-89bf-1b8017aa98de" providerId="ADAL" clId="{E665F7FB-DEAB-4A8F-8783-66B06FCA712D}" dt="2022-07-11T09:42:05.361" v="921" actId="478"/>
          <ac:picMkLst>
            <pc:docMk/>
            <pc:sldMk cId="2332532083" sldId="2147468945"/>
            <ac:picMk id="3" creationId="{6BE8269B-472A-4C5C-BB14-6760C10F9E3A}"/>
          </ac:picMkLst>
        </pc:picChg>
      </pc:sldChg>
      <pc:sldChg chg="addSp delSp modSp mod">
        <pc:chgData name="Yu, Bing" userId="90a94cb0-8e9a-43a8-89bf-1b8017aa98de" providerId="ADAL" clId="{E665F7FB-DEAB-4A8F-8783-66B06FCA712D}" dt="2022-07-11T09:42:10.372" v="923" actId="478"/>
        <pc:sldMkLst>
          <pc:docMk/>
          <pc:sldMk cId="3075227333" sldId="2147468950"/>
        </pc:sldMkLst>
        <pc:spChg chg="add del mod">
          <ac:chgData name="Yu, Bing" userId="90a94cb0-8e9a-43a8-89bf-1b8017aa98de" providerId="ADAL" clId="{E665F7FB-DEAB-4A8F-8783-66B06FCA712D}" dt="2022-07-11T09:42:10.372" v="923" actId="478"/>
          <ac:spMkLst>
            <pc:docMk/>
            <pc:sldMk cId="3075227333" sldId="2147468950"/>
            <ac:spMk id="4" creationId="{31FD1E54-D345-48DB-B5B1-CBF382645976}"/>
          </ac:spMkLst>
        </pc:spChg>
      </pc:sldChg>
      <pc:sldChg chg="addSp modSp add del mod">
        <pc:chgData name="Yu, Bing" userId="90a94cb0-8e9a-43a8-89bf-1b8017aa98de" providerId="ADAL" clId="{E665F7FB-DEAB-4A8F-8783-66B06FCA712D}" dt="2022-07-11T03:47:54.989" v="213" actId="47"/>
        <pc:sldMkLst>
          <pc:docMk/>
          <pc:sldMk cId="0" sldId="2147468952"/>
        </pc:sldMkLst>
        <pc:spChg chg="add mod">
          <ac:chgData name="Yu, Bing" userId="90a94cb0-8e9a-43a8-89bf-1b8017aa98de" providerId="ADAL" clId="{E665F7FB-DEAB-4A8F-8783-66B06FCA712D}" dt="2022-07-11T03:41:28.813" v="149"/>
          <ac:spMkLst>
            <pc:docMk/>
            <pc:sldMk cId="0" sldId="2147468952"/>
            <ac:spMk id="51" creationId="{33FE98F1-4B5E-4F62-9A44-52177D5FAB68}"/>
          </ac:spMkLst>
        </pc:spChg>
        <pc:spChg chg="ord">
          <ac:chgData name="Yu, Bing" userId="90a94cb0-8e9a-43a8-89bf-1b8017aa98de" providerId="ADAL" clId="{E665F7FB-DEAB-4A8F-8783-66B06FCA712D}" dt="2022-07-11T03:42:07.467" v="153" actId="166"/>
          <ac:spMkLst>
            <pc:docMk/>
            <pc:sldMk cId="0" sldId="2147468952"/>
            <ac:spMk id="105" creationId="{00000000-0000-0000-0000-000000000000}"/>
          </ac:spMkLst>
        </pc:spChg>
      </pc:sldChg>
      <pc:sldChg chg="addSp delSp modSp add mod">
        <pc:chgData name="Yu, Bing" userId="90a94cb0-8e9a-43a8-89bf-1b8017aa98de" providerId="ADAL" clId="{E665F7FB-DEAB-4A8F-8783-66B06FCA712D}" dt="2022-07-11T03:45:32.150" v="212" actId="114"/>
        <pc:sldMkLst>
          <pc:docMk/>
          <pc:sldMk cId="980256063" sldId="2147468953"/>
        </pc:sldMkLst>
        <pc:spChg chg="mod">
          <ac:chgData name="Yu, Bing" userId="90a94cb0-8e9a-43a8-89bf-1b8017aa98de" providerId="ADAL" clId="{E665F7FB-DEAB-4A8F-8783-66B06FCA712D}" dt="2022-07-11T03:45:18.482" v="210" actId="13926"/>
          <ac:spMkLst>
            <pc:docMk/>
            <pc:sldMk cId="980256063" sldId="2147468953"/>
            <ac:spMk id="4" creationId="{00000000-0000-0000-0000-000000000000}"/>
          </ac:spMkLst>
        </pc:spChg>
        <pc:spChg chg="mod">
          <ac:chgData name="Yu, Bing" userId="90a94cb0-8e9a-43a8-89bf-1b8017aa98de" providerId="ADAL" clId="{E665F7FB-DEAB-4A8F-8783-66B06FCA712D}" dt="2022-07-11T03:45:02.161" v="199" actId="1037"/>
          <ac:spMkLst>
            <pc:docMk/>
            <pc:sldMk cId="980256063" sldId="2147468953"/>
            <ac:spMk id="12" creationId="{D1EC9C5D-F7D2-B56B-213B-962117643A4D}"/>
          </ac:spMkLst>
        </pc:spChg>
        <pc:spChg chg="mod">
          <ac:chgData name="Yu, Bing" userId="90a94cb0-8e9a-43a8-89bf-1b8017aa98de" providerId="ADAL" clId="{E665F7FB-DEAB-4A8F-8783-66B06FCA712D}" dt="2022-07-11T03:00:19.200" v="118" actId="1036"/>
          <ac:spMkLst>
            <pc:docMk/>
            <pc:sldMk cId="980256063" sldId="2147468953"/>
            <ac:spMk id="13" creationId="{9DEB0028-7EBA-40AD-84EE-AAEAFBAF78C3}"/>
          </ac:spMkLst>
        </pc:spChg>
        <pc:spChg chg="mod">
          <ac:chgData name="Yu, Bing" userId="90a94cb0-8e9a-43a8-89bf-1b8017aa98de" providerId="ADAL" clId="{E665F7FB-DEAB-4A8F-8783-66B06FCA712D}" dt="2022-07-11T03:45:32.150" v="212" actId="114"/>
          <ac:spMkLst>
            <pc:docMk/>
            <pc:sldMk cId="980256063" sldId="2147468953"/>
            <ac:spMk id="14" creationId="{52FE9884-1F12-4DF4-B0CB-55D401CEC29D}"/>
          </ac:spMkLst>
        </pc:spChg>
        <pc:spChg chg="mod">
          <ac:chgData name="Yu, Bing" userId="90a94cb0-8e9a-43a8-89bf-1b8017aa98de" providerId="ADAL" clId="{E665F7FB-DEAB-4A8F-8783-66B06FCA712D}" dt="2022-07-11T03:00:49.895" v="135" actId="20577"/>
          <ac:spMkLst>
            <pc:docMk/>
            <pc:sldMk cId="980256063" sldId="2147468953"/>
            <ac:spMk id="15" creationId="{D63219C7-A29F-4A69-BA16-17ED9B038410}"/>
          </ac:spMkLst>
        </pc:spChg>
        <pc:spChg chg="add mod">
          <ac:chgData name="Yu, Bing" userId="90a94cb0-8e9a-43a8-89bf-1b8017aa98de" providerId="ADAL" clId="{E665F7FB-DEAB-4A8F-8783-66B06FCA712D}" dt="2022-07-11T03:43:27.333" v="163"/>
          <ac:spMkLst>
            <pc:docMk/>
            <pc:sldMk cId="980256063" sldId="2147468953"/>
            <ac:spMk id="16" creationId="{7BDFB5C5-DE2B-4D21-8453-1AB82D914424}"/>
          </ac:spMkLst>
        </pc:spChg>
        <pc:spChg chg="mod">
          <ac:chgData name="Yu, Bing" userId="90a94cb0-8e9a-43a8-89bf-1b8017aa98de" providerId="ADAL" clId="{E665F7FB-DEAB-4A8F-8783-66B06FCA712D}" dt="2022-07-11T03:00:19.200" v="118" actId="1036"/>
          <ac:spMkLst>
            <pc:docMk/>
            <pc:sldMk cId="980256063" sldId="2147468953"/>
            <ac:spMk id="17" creationId="{00000000-0000-0000-0000-000000000000}"/>
          </ac:spMkLst>
        </pc:spChg>
        <pc:spChg chg="mod">
          <ac:chgData name="Yu, Bing" userId="90a94cb0-8e9a-43a8-89bf-1b8017aa98de" providerId="ADAL" clId="{E665F7FB-DEAB-4A8F-8783-66B06FCA712D}" dt="2022-07-11T03:00:19.200" v="118" actId="1036"/>
          <ac:spMkLst>
            <pc:docMk/>
            <pc:sldMk cId="980256063" sldId="2147468953"/>
            <ac:spMk id="18" creationId="{00000000-0000-0000-0000-000000000000}"/>
          </ac:spMkLst>
        </pc:spChg>
        <pc:spChg chg="mod">
          <ac:chgData name="Yu, Bing" userId="90a94cb0-8e9a-43a8-89bf-1b8017aa98de" providerId="ADAL" clId="{E665F7FB-DEAB-4A8F-8783-66B06FCA712D}" dt="2022-07-11T03:00:19.200" v="118" actId="1036"/>
          <ac:spMkLst>
            <pc:docMk/>
            <pc:sldMk cId="980256063" sldId="2147468953"/>
            <ac:spMk id="19" creationId="{00000000-0000-0000-0000-000000000000}"/>
          </ac:spMkLst>
        </pc:spChg>
        <pc:spChg chg="mod">
          <ac:chgData name="Yu, Bing" userId="90a94cb0-8e9a-43a8-89bf-1b8017aa98de" providerId="ADAL" clId="{E665F7FB-DEAB-4A8F-8783-66B06FCA712D}" dt="2022-07-11T03:00:19.200" v="118" actId="1036"/>
          <ac:spMkLst>
            <pc:docMk/>
            <pc:sldMk cId="980256063" sldId="2147468953"/>
            <ac:spMk id="20" creationId="{00000000-0000-0000-0000-000000000000}"/>
          </ac:spMkLst>
        </pc:spChg>
        <pc:spChg chg="mod">
          <ac:chgData name="Yu, Bing" userId="90a94cb0-8e9a-43a8-89bf-1b8017aa98de" providerId="ADAL" clId="{E665F7FB-DEAB-4A8F-8783-66B06FCA712D}" dt="2022-07-11T03:00:19.200" v="118" actId="1036"/>
          <ac:spMkLst>
            <pc:docMk/>
            <pc:sldMk cId="980256063" sldId="2147468953"/>
            <ac:spMk id="21" creationId="{00000000-0000-0000-0000-000000000000}"/>
          </ac:spMkLst>
        </pc:spChg>
        <pc:spChg chg="mod">
          <ac:chgData name="Yu, Bing" userId="90a94cb0-8e9a-43a8-89bf-1b8017aa98de" providerId="ADAL" clId="{E665F7FB-DEAB-4A8F-8783-66B06FCA712D}" dt="2022-07-11T03:00:19.200" v="118" actId="1036"/>
          <ac:spMkLst>
            <pc:docMk/>
            <pc:sldMk cId="980256063" sldId="2147468953"/>
            <ac:spMk id="22" creationId="{00000000-0000-0000-0000-000000000000}"/>
          </ac:spMkLst>
        </pc:spChg>
        <pc:spChg chg="mod">
          <ac:chgData name="Yu, Bing" userId="90a94cb0-8e9a-43a8-89bf-1b8017aa98de" providerId="ADAL" clId="{E665F7FB-DEAB-4A8F-8783-66B06FCA712D}" dt="2022-07-11T03:45:21.837" v="211" actId="13926"/>
          <ac:spMkLst>
            <pc:docMk/>
            <pc:sldMk cId="980256063" sldId="2147468953"/>
            <ac:spMk id="23" creationId="{00000000-0000-0000-0000-000000000000}"/>
          </ac:spMkLst>
        </pc:spChg>
        <pc:spChg chg="del">
          <ac:chgData name="Yu, Bing" userId="90a94cb0-8e9a-43a8-89bf-1b8017aa98de" providerId="ADAL" clId="{E665F7FB-DEAB-4A8F-8783-66B06FCA712D}" dt="2022-07-11T03:00:12.426" v="98" actId="478"/>
          <ac:spMkLst>
            <pc:docMk/>
            <pc:sldMk cId="980256063" sldId="2147468953"/>
            <ac:spMk id="24" creationId="{00000000-0000-0000-0000-000000000000}"/>
          </ac:spMkLst>
        </pc:spChg>
      </pc:sldChg>
      <pc:sldChg chg="add">
        <pc:chgData name="Yu, Bing" userId="90a94cb0-8e9a-43a8-89bf-1b8017aa98de" providerId="ADAL" clId="{E665F7FB-DEAB-4A8F-8783-66B06FCA712D}" dt="2022-07-11T06:48:21.602" v="423"/>
        <pc:sldMkLst>
          <pc:docMk/>
          <pc:sldMk cId="2725222057" sldId="2147468954"/>
        </pc:sldMkLst>
      </pc:sldChg>
      <pc:sldMasterChg chg="modSldLayout">
        <pc:chgData name="Yu, Bing" userId="90a94cb0-8e9a-43a8-89bf-1b8017aa98de" providerId="ADAL" clId="{E665F7FB-DEAB-4A8F-8783-66B06FCA712D}" dt="2022-07-11T09:41:49.622" v="918" actId="478"/>
        <pc:sldMasterMkLst>
          <pc:docMk/>
          <pc:sldMasterMk cId="2591711165" sldId="2147483660"/>
        </pc:sldMasterMkLst>
        <pc:sldLayoutChg chg="delSp mod">
          <pc:chgData name="Yu, Bing" userId="90a94cb0-8e9a-43a8-89bf-1b8017aa98de" providerId="ADAL" clId="{E665F7FB-DEAB-4A8F-8783-66B06FCA712D}" dt="2022-07-11T09:41:49.622" v="918" actId="478"/>
          <pc:sldLayoutMkLst>
            <pc:docMk/>
            <pc:sldMasterMk cId="2591711165" sldId="2147483660"/>
            <pc:sldLayoutMk cId="2334699482" sldId="2147483662"/>
          </pc:sldLayoutMkLst>
          <pc:picChg chg="del">
            <ac:chgData name="Yu, Bing" userId="90a94cb0-8e9a-43a8-89bf-1b8017aa98de" providerId="ADAL" clId="{E665F7FB-DEAB-4A8F-8783-66B06FCA712D}" dt="2022-07-11T09:41:49.622" v="918" actId="478"/>
            <ac:picMkLst>
              <pc:docMk/>
              <pc:sldMasterMk cId="2591711165" sldId="2147483660"/>
              <pc:sldLayoutMk cId="2334699482" sldId="2147483662"/>
              <ac:picMk id="9" creationId="{1311789B-53A9-4F88-B478-513CE3A3BC70}"/>
            </ac:picMkLst>
          </pc:picChg>
        </pc:sldLayoutChg>
      </pc:sldMasterChg>
    </pc:docChg>
  </pc:docChgLst>
  <pc:docChgLst>
    <pc:chgData name="Yu, Bing" userId="90a94cb0-8e9a-43a8-89bf-1b8017aa98de" providerId="ADAL" clId="{8ADC1E04-DD43-4149-B13C-6CDB73A6F761}"/>
    <pc:docChg chg="custSel addSld delSld modSld">
      <pc:chgData name="Yu, Bing" userId="90a94cb0-8e9a-43a8-89bf-1b8017aa98de" providerId="ADAL" clId="{8ADC1E04-DD43-4149-B13C-6CDB73A6F761}" dt="2022-07-12T16:22:41.463" v="588" actId="20577"/>
      <pc:docMkLst>
        <pc:docMk/>
      </pc:docMkLst>
      <pc:sldChg chg="addSp delSp modSp mod">
        <pc:chgData name="Yu, Bing" userId="90a94cb0-8e9a-43a8-89bf-1b8017aa98de" providerId="ADAL" clId="{8ADC1E04-DD43-4149-B13C-6CDB73A6F761}" dt="2022-07-12T15:00:58.012" v="564" actId="255"/>
        <pc:sldMkLst>
          <pc:docMk/>
          <pc:sldMk cId="0" sldId="318"/>
        </pc:sldMkLst>
        <pc:spChg chg="mod">
          <ac:chgData name="Yu, Bing" userId="90a94cb0-8e9a-43a8-89bf-1b8017aa98de" providerId="ADAL" clId="{8ADC1E04-DD43-4149-B13C-6CDB73A6F761}" dt="2022-07-12T14:41:05.710" v="497" actId="14100"/>
          <ac:spMkLst>
            <pc:docMk/>
            <pc:sldMk cId="0" sldId="318"/>
            <ac:spMk id="7" creationId="{00000000-0000-0000-0000-000000000000}"/>
          </ac:spMkLst>
        </pc:spChg>
        <pc:spChg chg="del">
          <ac:chgData name="Yu, Bing" userId="90a94cb0-8e9a-43a8-89bf-1b8017aa98de" providerId="ADAL" clId="{8ADC1E04-DD43-4149-B13C-6CDB73A6F761}" dt="2022-07-12T14:40:26.770" v="492" actId="478"/>
          <ac:spMkLst>
            <pc:docMk/>
            <pc:sldMk cId="0" sldId="318"/>
            <ac:spMk id="28" creationId="{00000000-0000-0000-0000-000000000000}"/>
          </ac:spMkLst>
        </pc:spChg>
        <pc:spChg chg="add mod">
          <ac:chgData name="Yu, Bing" userId="90a94cb0-8e9a-43a8-89bf-1b8017aa98de" providerId="ADAL" clId="{8ADC1E04-DD43-4149-B13C-6CDB73A6F761}" dt="2022-07-12T15:00:58.012" v="564" actId="255"/>
          <ac:spMkLst>
            <pc:docMk/>
            <pc:sldMk cId="0" sldId="318"/>
            <ac:spMk id="212" creationId="{12AA1274-561B-4333-BA3A-3DB14567BCDD}"/>
          </ac:spMkLst>
        </pc:spChg>
      </pc:sldChg>
      <pc:sldChg chg="addSp delSp modSp mod">
        <pc:chgData name="Yu, Bing" userId="90a94cb0-8e9a-43a8-89bf-1b8017aa98de" providerId="ADAL" clId="{8ADC1E04-DD43-4149-B13C-6CDB73A6F761}" dt="2022-07-12T15:44:53.588" v="585" actId="207"/>
        <pc:sldMkLst>
          <pc:docMk/>
          <pc:sldMk cId="202739375" sldId="2147468948"/>
        </pc:sldMkLst>
        <pc:spChg chg="del">
          <ac:chgData name="Yu, Bing" userId="90a94cb0-8e9a-43a8-89bf-1b8017aa98de" providerId="ADAL" clId="{8ADC1E04-DD43-4149-B13C-6CDB73A6F761}" dt="2022-07-12T11:26:49.712" v="88" actId="478"/>
          <ac:spMkLst>
            <pc:docMk/>
            <pc:sldMk cId="202739375" sldId="2147468948"/>
            <ac:spMk id="4" creationId="{00000000-0000-0000-0000-000000000000}"/>
          </ac:spMkLst>
        </pc:spChg>
        <pc:spChg chg="mod">
          <ac:chgData name="Yu, Bing" userId="90a94cb0-8e9a-43a8-89bf-1b8017aa98de" providerId="ADAL" clId="{8ADC1E04-DD43-4149-B13C-6CDB73A6F761}" dt="2022-07-12T15:44:53.588" v="585" actId="207"/>
          <ac:spMkLst>
            <pc:docMk/>
            <pc:sldMk cId="202739375" sldId="2147468948"/>
            <ac:spMk id="8" creationId="{4A1736B5-805C-B0B6-C9CA-C28B5CDFAD81}"/>
          </ac:spMkLst>
        </pc:spChg>
        <pc:spChg chg="mod">
          <ac:chgData name="Yu, Bing" userId="90a94cb0-8e9a-43a8-89bf-1b8017aa98de" providerId="ADAL" clId="{8ADC1E04-DD43-4149-B13C-6CDB73A6F761}" dt="2022-07-12T11:29:28.483" v="352" actId="1036"/>
          <ac:spMkLst>
            <pc:docMk/>
            <pc:sldMk cId="202739375" sldId="2147468948"/>
            <ac:spMk id="13" creationId="{9DEB0028-7EBA-40AD-84EE-AAEAFBAF78C3}"/>
          </ac:spMkLst>
        </pc:spChg>
        <pc:spChg chg="del">
          <ac:chgData name="Yu, Bing" userId="90a94cb0-8e9a-43a8-89bf-1b8017aa98de" providerId="ADAL" clId="{8ADC1E04-DD43-4149-B13C-6CDB73A6F761}" dt="2022-07-12T11:26:49.712" v="88" actId="478"/>
          <ac:spMkLst>
            <pc:docMk/>
            <pc:sldMk cId="202739375" sldId="2147468948"/>
            <ac:spMk id="17" creationId="{00000000-0000-0000-0000-000000000000}"/>
          </ac:spMkLst>
        </pc:spChg>
        <pc:spChg chg="del">
          <ac:chgData name="Yu, Bing" userId="90a94cb0-8e9a-43a8-89bf-1b8017aa98de" providerId="ADAL" clId="{8ADC1E04-DD43-4149-B13C-6CDB73A6F761}" dt="2022-07-12T11:26:49.712" v="88" actId="478"/>
          <ac:spMkLst>
            <pc:docMk/>
            <pc:sldMk cId="202739375" sldId="2147468948"/>
            <ac:spMk id="18" creationId="{00000000-0000-0000-0000-000000000000}"/>
          </ac:spMkLst>
        </pc:spChg>
        <pc:spChg chg="mod">
          <ac:chgData name="Yu, Bing" userId="90a94cb0-8e9a-43a8-89bf-1b8017aa98de" providerId="ADAL" clId="{8ADC1E04-DD43-4149-B13C-6CDB73A6F761}" dt="2022-07-12T11:29:28.483" v="352" actId="1036"/>
          <ac:spMkLst>
            <pc:docMk/>
            <pc:sldMk cId="202739375" sldId="2147468948"/>
            <ac:spMk id="19" creationId="{00000000-0000-0000-0000-000000000000}"/>
          </ac:spMkLst>
        </pc:spChg>
        <pc:spChg chg="del">
          <ac:chgData name="Yu, Bing" userId="90a94cb0-8e9a-43a8-89bf-1b8017aa98de" providerId="ADAL" clId="{8ADC1E04-DD43-4149-B13C-6CDB73A6F761}" dt="2022-07-12T11:26:49.712" v="88" actId="478"/>
          <ac:spMkLst>
            <pc:docMk/>
            <pc:sldMk cId="202739375" sldId="2147468948"/>
            <ac:spMk id="20" creationId="{00000000-0000-0000-0000-000000000000}"/>
          </ac:spMkLst>
        </pc:spChg>
        <pc:spChg chg="del">
          <ac:chgData name="Yu, Bing" userId="90a94cb0-8e9a-43a8-89bf-1b8017aa98de" providerId="ADAL" clId="{8ADC1E04-DD43-4149-B13C-6CDB73A6F761}" dt="2022-07-12T11:26:49.712" v="88" actId="478"/>
          <ac:spMkLst>
            <pc:docMk/>
            <pc:sldMk cId="202739375" sldId="2147468948"/>
            <ac:spMk id="21" creationId="{00000000-0000-0000-0000-000000000000}"/>
          </ac:spMkLst>
        </pc:spChg>
        <pc:spChg chg="mod">
          <ac:chgData name="Yu, Bing" userId="90a94cb0-8e9a-43a8-89bf-1b8017aa98de" providerId="ADAL" clId="{8ADC1E04-DD43-4149-B13C-6CDB73A6F761}" dt="2022-07-12T11:29:28.483" v="352" actId="1036"/>
          <ac:spMkLst>
            <pc:docMk/>
            <pc:sldMk cId="202739375" sldId="2147468948"/>
            <ac:spMk id="22" creationId="{00000000-0000-0000-0000-000000000000}"/>
          </ac:spMkLst>
        </pc:spChg>
        <pc:spChg chg="del">
          <ac:chgData name="Yu, Bing" userId="90a94cb0-8e9a-43a8-89bf-1b8017aa98de" providerId="ADAL" clId="{8ADC1E04-DD43-4149-B13C-6CDB73A6F761}" dt="2022-07-12T11:26:49.712" v="88" actId="478"/>
          <ac:spMkLst>
            <pc:docMk/>
            <pc:sldMk cId="202739375" sldId="2147468948"/>
            <ac:spMk id="23" creationId="{00000000-0000-0000-0000-000000000000}"/>
          </ac:spMkLst>
        </pc:spChg>
        <pc:spChg chg="mod">
          <ac:chgData name="Yu, Bing" userId="90a94cb0-8e9a-43a8-89bf-1b8017aa98de" providerId="ADAL" clId="{8ADC1E04-DD43-4149-B13C-6CDB73A6F761}" dt="2022-07-12T11:29:28.483" v="352" actId="1036"/>
          <ac:spMkLst>
            <pc:docMk/>
            <pc:sldMk cId="202739375" sldId="2147468948"/>
            <ac:spMk id="27" creationId="{C196092C-0D8D-4F71-827B-3129D2F588AA}"/>
          </ac:spMkLst>
        </pc:spChg>
        <pc:spChg chg="mod">
          <ac:chgData name="Yu, Bing" userId="90a94cb0-8e9a-43a8-89bf-1b8017aa98de" providerId="ADAL" clId="{8ADC1E04-DD43-4149-B13C-6CDB73A6F761}" dt="2022-07-12T14:41:45.804" v="505" actId="20577"/>
          <ac:spMkLst>
            <pc:docMk/>
            <pc:sldMk cId="202739375" sldId="2147468948"/>
            <ac:spMk id="28" creationId="{CD1864D7-E2EC-488F-9F57-B9D87F1CBE54}"/>
          </ac:spMkLst>
        </pc:spChg>
        <pc:spChg chg="mod">
          <ac:chgData name="Yu, Bing" userId="90a94cb0-8e9a-43a8-89bf-1b8017aa98de" providerId="ADAL" clId="{8ADC1E04-DD43-4149-B13C-6CDB73A6F761}" dt="2022-07-12T11:29:28.483" v="352" actId="1036"/>
          <ac:spMkLst>
            <pc:docMk/>
            <pc:sldMk cId="202739375" sldId="2147468948"/>
            <ac:spMk id="29" creationId="{0BE5D52B-73FB-4D05-A64F-4166AE6A883D}"/>
          </ac:spMkLst>
        </pc:spChg>
        <pc:spChg chg="mod">
          <ac:chgData name="Yu, Bing" userId="90a94cb0-8e9a-43a8-89bf-1b8017aa98de" providerId="ADAL" clId="{8ADC1E04-DD43-4149-B13C-6CDB73A6F761}" dt="2022-07-12T12:09:45.824" v="380" actId="20577"/>
          <ac:spMkLst>
            <pc:docMk/>
            <pc:sldMk cId="202739375" sldId="2147468948"/>
            <ac:spMk id="30" creationId="{4EF54CDB-95AE-4BBC-B2F0-A4A0947208E0}"/>
          </ac:spMkLst>
        </pc:spChg>
        <pc:spChg chg="mod">
          <ac:chgData name="Yu, Bing" userId="90a94cb0-8e9a-43a8-89bf-1b8017aa98de" providerId="ADAL" clId="{8ADC1E04-DD43-4149-B13C-6CDB73A6F761}" dt="2022-07-12T11:29:28.483" v="352" actId="1036"/>
          <ac:spMkLst>
            <pc:docMk/>
            <pc:sldMk cId="202739375" sldId="2147468948"/>
            <ac:spMk id="31" creationId="{8A6D96DD-258B-47AB-8D7D-1A95E55641DB}"/>
          </ac:spMkLst>
        </pc:spChg>
        <pc:spChg chg="mod">
          <ac:chgData name="Yu, Bing" userId="90a94cb0-8e9a-43a8-89bf-1b8017aa98de" providerId="ADAL" clId="{8ADC1E04-DD43-4149-B13C-6CDB73A6F761}" dt="2022-07-12T11:29:28.483" v="352" actId="1036"/>
          <ac:spMkLst>
            <pc:docMk/>
            <pc:sldMk cId="202739375" sldId="2147468948"/>
            <ac:spMk id="32" creationId="{BEFE5C42-70A0-42F8-B742-40163AA4B67E}"/>
          </ac:spMkLst>
        </pc:spChg>
        <pc:spChg chg="mod">
          <ac:chgData name="Yu, Bing" userId="90a94cb0-8e9a-43a8-89bf-1b8017aa98de" providerId="ADAL" clId="{8ADC1E04-DD43-4149-B13C-6CDB73A6F761}" dt="2022-07-12T14:13:38.871" v="487" actId="20577"/>
          <ac:spMkLst>
            <pc:docMk/>
            <pc:sldMk cId="202739375" sldId="2147468948"/>
            <ac:spMk id="33" creationId="{4463DCF0-1AEF-46F8-BC50-0F8D61783E92}"/>
          </ac:spMkLst>
        </pc:spChg>
        <pc:spChg chg="mod">
          <ac:chgData name="Yu, Bing" userId="90a94cb0-8e9a-43a8-89bf-1b8017aa98de" providerId="ADAL" clId="{8ADC1E04-DD43-4149-B13C-6CDB73A6F761}" dt="2022-07-12T11:29:28.483" v="352" actId="1036"/>
          <ac:spMkLst>
            <pc:docMk/>
            <pc:sldMk cId="202739375" sldId="2147468948"/>
            <ac:spMk id="34" creationId="{8ABC17AC-611A-439F-9CC2-EADEFC503FE7}"/>
          </ac:spMkLst>
        </pc:spChg>
        <pc:spChg chg="mod">
          <ac:chgData name="Yu, Bing" userId="90a94cb0-8e9a-43a8-89bf-1b8017aa98de" providerId="ADAL" clId="{8ADC1E04-DD43-4149-B13C-6CDB73A6F761}" dt="2022-07-12T14:42:31.251" v="511" actId="255"/>
          <ac:spMkLst>
            <pc:docMk/>
            <pc:sldMk cId="202739375" sldId="2147468948"/>
            <ac:spMk id="50" creationId="{B60E6F7E-92C9-45C5-A04A-874C583457B2}"/>
          </ac:spMkLst>
        </pc:spChg>
        <pc:spChg chg="mod">
          <ac:chgData name="Yu, Bing" userId="90a94cb0-8e9a-43a8-89bf-1b8017aa98de" providerId="ADAL" clId="{8ADC1E04-DD43-4149-B13C-6CDB73A6F761}" dt="2022-07-12T14:44:49.758" v="542" actId="113"/>
          <ac:spMkLst>
            <pc:docMk/>
            <pc:sldMk cId="202739375" sldId="2147468948"/>
            <ac:spMk id="51" creationId="{D0E97890-3CEC-4384-9496-9A262F95759A}"/>
          </ac:spMkLst>
        </pc:spChg>
        <pc:spChg chg="add del mod">
          <ac:chgData name="Yu, Bing" userId="90a94cb0-8e9a-43a8-89bf-1b8017aa98de" providerId="ADAL" clId="{8ADC1E04-DD43-4149-B13C-6CDB73A6F761}" dt="2022-07-12T11:26:47.575" v="87"/>
          <ac:spMkLst>
            <pc:docMk/>
            <pc:sldMk cId="202739375" sldId="2147468948"/>
            <ac:spMk id="52" creationId="{FC5FDBCD-10FF-41A7-99B6-CF45F8B61DC5}"/>
          </ac:spMkLst>
        </pc:spChg>
        <pc:spChg chg="del">
          <ac:chgData name="Yu, Bing" userId="90a94cb0-8e9a-43a8-89bf-1b8017aa98de" providerId="ADAL" clId="{8ADC1E04-DD43-4149-B13C-6CDB73A6F761}" dt="2022-07-12T11:26:49.712" v="88" actId="478"/>
          <ac:spMkLst>
            <pc:docMk/>
            <pc:sldMk cId="202739375" sldId="2147468948"/>
            <ac:spMk id="53" creationId="{A39395F1-CA48-4136-8801-3278D1CC3AE9}"/>
          </ac:spMkLst>
        </pc:spChg>
        <pc:spChg chg="del">
          <ac:chgData name="Yu, Bing" userId="90a94cb0-8e9a-43a8-89bf-1b8017aa98de" providerId="ADAL" clId="{8ADC1E04-DD43-4149-B13C-6CDB73A6F761}" dt="2022-07-12T11:26:49.712" v="88" actId="478"/>
          <ac:spMkLst>
            <pc:docMk/>
            <pc:sldMk cId="202739375" sldId="2147468948"/>
            <ac:spMk id="54" creationId="{B283488D-EA3B-40CB-99CD-B353A3417C6F}"/>
          </ac:spMkLst>
        </pc:spChg>
        <pc:spChg chg="del">
          <ac:chgData name="Yu, Bing" userId="90a94cb0-8e9a-43a8-89bf-1b8017aa98de" providerId="ADAL" clId="{8ADC1E04-DD43-4149-B13C-6CDB73A6F761}" dt="2022-07-12T11:26:49.712" v="88" actId="478"/>
          <ac:spMkLst>
            <pc:docMk/>
            <pc:sldMk cId="202739375" sldId="2147468948"/>
            <ac:spMk id="55" creationId="{C05F0FCE-F6BF-4663-B83F-8957240F76F3}"/>
          </ac:spMkLst>
        </pc:spChg>
        <pc:spChg chg="del">
          <ac:chgData name="Yu, Bing" userId="90a94cb0-8e9a-43a8-89bf-1b8017aa98de" providerId="ADAL" clId="{8ADC1E04-DD43-4149-B13C-6CDB73A6F761}" dt="2022-07-12T11:26:49.712" v="88" actId="478"/>
          <ac:spMkLst>
            <pc:docMk/>
            <pc:sldMk cId="202739375" sldId="2147468948"/>
            <ac:spMk id="56" creationId="{40152406-637F-45BA-9FD3-067F831A160A}"/>
          </ac:spMkLst>
        </pc:spChg>
        <pc:spChg chg="del">
          <ac:chgData name="Yu, Bing" userId="90a94cb0-8e9a-43a8-89bf-1b8017aa98de" providerId="ADAL" clId="{8ADC1E04-DD43-4149-B13C-6CDB73A6F761}" dt="2022-07-12T11:26:49.712" v="88" actId="478"/>
          <ac:spMkLst>
            <pc:docMk/>
            <pc:sldMk cId="202739375" sldId="2147468948"/>
            <ac:spMk id="57" creationId="{69376066-F72C-47BF-B56C-EB904B468305}"/>
          </ac:spMkLst>
        </pc:spChg>
        <pc:spChg chg="add del mod">
          <ac:chgData name="Yu, Bing" userId="90a94cb0-8e9a-43a8-89bf-1b8017aa98de" providerId="ADAL" clId="{8ADC1E04-DD43-4149-B13C-6CDB73A6F761}" dt="2022-07-12T11:26:47.575" v="87"/>
          <ac:spMkLst>
            <pc:docMk/>
            <pc:sldMk cId="202739375" sldId="2147468948"/>
            <ac:spMk id="58" creationId="{756105CC-7269-4171-BFDF-5C9579DDAEA5}"/>
          </ac:spMkLst>
        </pc:spChg>
        <pc:spChg chg="add del mod">
          <ac:chgData name="Yu, Bing" userId="90a94cb0-8e9a-43a8-89bf-1b8017aa98de" providerId="ADAL" clId="{8ADC1E04-DD43-4149-B13C-6CDB73A6F761}" dt="2022-07-12T11:26:47.575" v="87"/>
          <ac:spMkLst>
            <pc:docMk/>
            <pc:sldMk cId="202739375" sldId="2147468948"/>
            <ac:spMk id="59" creationId="{6BB20F76-D7FC-4E5A-93A4-EC69BA1FFEC0}"/>
          </ac:spMkLst>
        </pc:spChg>
        <pc:spChg chg="del">
          <ac:chgData name="Yu, Bing" userId="90a94cb0-8e9a-43a8-89bf-1b8017aa98de" providerId="ADAL" clId="{8ADC1E04-DD43-4149-B13C-6CDB73A6F761}" dt="2022-07-12T11:26:49.712" v="88" actId="478"/>
          <ac:spMkLst>
            <pc:docMk/>
            <pc:sldMk cId="202739375" sldId="2147468948"/>
            <ac:spMk id="62" creationId="{56341A62-333D-4654-B300-497A3FCC5831}"/>
          </ac:spMkLst>
        </pc:spChg>
        <pc:spChg chg="del">
          <ac:chgData name="Yu, Bing" userId="90a94cb0-8e9a-43a8-89bf-1b8017aa98de" providerId="ADAL" clId="{8ADC1E04-DD43-4149-B13C-6CDB73A6F761}" dt="2022-07-12T11:26:49.712" v="88" actId="478"/>
          <ac:spMkLst>
            <pc:docMk/>
            <pc:sldMk cId="202739375" sldId="2147468948"/>
            <ac:spMk id="64" creationId="{F0AE7CF6-4C56-4433-B516-F0DADFEAEACF}"/>
          </ac:spMkLst>
        </pc:spChg>
        <pc:spChg chg="add del mod">
          <ac:chgData name="Yu, Bing" userId="90a94cb0-8e9a-43a8-89bf-1b8017aa98de" providerId="ADAL" clId="{8ADC1E04-DD43-4149-B13C-6CDB73A6F761}" dt="2022-07-12T11:26:47.575" v="87"/>
          <ac:spMkLst>
            <pc:docMk/>
            <pc:sldMk cId="202739375" sldId="2147468948"/>
            <ac:spMk id="65" creationId="{15772FB4-D477-4FE5-A137-E4DF0BCABE5A}"/>
          </ac:spMkLst>
        </pc:spChg>
        <pc:spChg chg="mod">
          <ac:chgData name="Yu, Bing" userId="90a94cb0-8e9a-43a8-89bf-1b8017aa98de" providerId="ADAL" clId="{8ADC1E04-DD43-4149-B13C-6CDB73A6F761}" dt="2022-07-12T11:29:22.617" v="348" actId="1036"/>
          <ac:spMkLst>
            <pc:docMk/>
            <pc:sldMk cId="202739375" sldId="2147468948"/>
            <ac:spMk id="66" creationId="{FFFBF450-64C7-4C9C-8411-ED44DD03D5BD}"/>
          </ac:spMkLst>
        </pc:spChg>
        <pc:spChg chg="add del mod">
          <ac:chgData name="Yu, Bing" userId="90a94cb0-8e9a-43a8-89bf-1b8017aa98de" providerId="ADAL" clId="{8ADC1E04-DD43-4149-B13C-6CDB73A6F761}" dt="2022-07-12T11:26:47.575" v="87"/>
          <ac:spMkLst>
            <pc:docMk/>
            <pc:sldMk cId="202739375" sldId="2147468948"/>
            <ac:spMk id="69" creationId="{F47AFFD3-0C3B-4A7F-9C19-03CE9279AFE8}"/>
          </ac:spMkLst>
        </pc:spChg>
        <pc:spChg chg="del">
          <ac:chgData name="Yu, Bing" userId="90a94cb0-8e9a-43a8-89bf-1b8017aa98de" providerId="ADAL" clId="{8ADC1E04-DD43-4149-B13C-6CDB73A6F761}" dt="2022-07-12T11:26:49.712" v="88" actId="478"/>
          <ac:spMkLst>
            <pc:docMk/>
            <pc:sldMk cId="202739375" sldId="2147468948"/>
            <ac:spMk id="78" creationId="{AF2369FE-9888-4771-9DB3-900A2853A2AD}"/>
          </ac:spMkLst>
        </pc:spChg>
        <pc:spChg chg="del">
          <ac:chgData name="Yu, Bing" userId="90a94cb0-8e9a-43a8-89bf-1b8017aa98de" providerId="ADAL" clId="{8ADC1E04-DD43-4149-B13C-6CDB73A6F761}" dt="2022-07-12T11:26:49.712" v="88" actId="478"/>
          <ac:spMkLst>
            <pc:docMk/>
            <pc:sldMk cId="202739375" sldId="2147468948"/>
            <ac:spMk id="80" creationId="{01F936C3-79D7-4423-97C2-7237F21C1D39}"/>
          </ac:spMkLst>
        </pc:spChg>
        <pc:spChg chg="add del mod">
          <ac:chgData name="Yu, Bing" userId="90a94cb0-8e9a-43a8-89bf-1b8017aa98de" providerId="ADAL" clId="{8ADC1E04-DD43-4149-B13C-6CDB73A6F761}" dt="2022-07-12T11:26:47.575" v="87"/>
          <ac:spMkLst>
            <pc:docMk/>
            <pc:sldMk cId="202739375" sldId="2147468948"/>
            <ac:spMk id="81" creationId="{224516DE-678E-4A6A-8B55-6372E2708C3D}"/>
          </ac:spMkLst>
        </pc:spChg>
        <pc:spChg chg="add del mod">
          <ac:chgData name="Yu, Bing" userId="90a94cb0-8e9a-43a8-89bf-1b8017aa98de" providerId="ADAL" clId="{8ADC1E04-DD43-4149-B13C-6CDB73A6F761}" dt="2022-07-12T11:26:47.575" v="87"/>
          <ac:spMkLst>
            <pc:docMk/>
            <pc:sldMk cId="202739375" sldId="2147468948"/>
            <ac:spMk id="82" creationId="{4062715B-DA0F-40FE-BC6F-EB787B505E99}"/>
          </ac:spMkLst>
        </pc:spChg>
        <pc:spChg chg="add del mod">
          <ac:chgData name="Yu, Bing" userId="90a94cb0-8e9a-43a8-89bf-1b8017aa98de" providerId="ADAL" clId="{8ADC1E04-DD43-4149-B13C-6CDB73A6F761}" dt="2022-07-12T11:26:47.575" v="87"/>
          <ac:spMkLst>
            <pc:docMk/>
            <pc:sldMk cId="202739375" sldId="2147468948"/>
            <ac:spMk id="83" creationId="{2B6271DE-9D0E-4718-BB05-CF324295F4E6}"/>
          </ac:spMkLst>
        </pc:spChg>
        <pc:spChg chg="add del mod">
          <ac:chgData name="Yu, Bing" userId="90a94cb0-8e9a-43a8-89bf-1b8017aa98de" providerId="ADAL" clId="{8ADC1E04-DD43-4149-B13C-6CDB73A6F761}" dt="2022-07-12T11:26:47.575" v="87"/>
          <ac:spMkLst>
            <pc:docMk/>
            <pc:sldMk cId="202739375" sldId="2147468948"/>
            <ac:spMk id="84" creationId="{01E7DD2A-AB4A-4F46-A0BC-717741117BFB}"/>
          </ac:spMkLst>
        </pc:spChg>
        <pc:spChg chg="add del mod">
          <ac:chgData name="Yu, Bing" userId="90a94cb0-8e9a-43a8-89bf-1b8017aa98de" providerId="ADAL" clId="{8ADC1E04-DD43-4149-B13C-6CDB73A6F761}" dt="2022-07-12T11:26:47.575" v="87"/>
          <ac:spMkLst>
            <pc:docMk/>
            <pc:sldMk cId="202739375" sldId="2147468948"/>
            <ac:spMk id="85" creationId="{5C2E505B-C99A-4E01-BD03-C712550DBF38}"/>
          </ac:spMkLst>
        </pc:spChg>
        <pc:spChg chg="add del mod">
          <ac:chgData name="Yu, Bing" userId="90a94cb0-8e9a-43a8-89bf-1b8017aa98de" providerId="ADAL" clId="{8ADC1E04-DD43-4149-B13C-6CDB73A6F761}" dt="2022-07-12T11:26:47.575" v="87"/>
          <ac:spMkLst>
            <pc:docMk/>
            <pc:sldMk cId="202739375" sldId="2147468948"/>
            <ac:spMk id="86" creationId="{1F19B4BC-FF22-469F-8AF4-56B3384B9A71}"/>
          </ac:spMkLst>
        </pc:spChg>
        <pc:spChg chg="add del mod">
          <ac:chgData name="Yu, Bing" userId="90a94cb0-8e9a-43a8-89bf-1b8017aa98de" providerId="ADAL" clId="{8ADC1E04-DD43-4149-B13C-6CDB73A6F761}" dt="2022-07-12T11:26:47.575" v="87"/>
          <ac:spMkLst>
            <pc:docMk/>
            <pc:sldMk cId="202739375" sldId="2147468948"/>
            <ac:spMk id="87" creationId="{B2CA6723-7382-457B-AEE2-E447485C2D31}"/>
          </ac:spMkLst>
        </pc:spChg>
        <pc:spChg chg="mod">
          <ac:chgData name="Yu, Bing" userId="90a94cb0-8e9a-43a8-89bf-1b8017aa98de" providerId="ADAL" clId="{8ADC1E04-DD43-4149-B13C-6CDB73A6F761}" dt="2022-07-12T11:29:28.483" v="352" actId="1036"/>
          <ac:spMkLst>
            <pc:docMk/>
            <pc:sldMk cId="202739375" sldId="2147468948"/>
            <ac:spMk id="89" creationId="{F7DD1E5E-33F0-4CCB-B38D-B6A76F62CFC6}"/>
          </ac:spMkLst>
        </pc:spChg>
        <pc:spChg chg="mod">
          <ac:chgData name="Yu, Bing" userId="90a94cb0-8e9a-43a8-89bf-1b8017aa98de" providerId="ADAL" clId="{8ADC1E04-DD43-4149-B13C-6CDB73A6F761}" dt="2022-07-12T11:29:28.483" v="352" actId="1036"/>
          <ac:spMkLst>
            <pc:docMk/>
            <pc:sldMk cId="202739375" sldId="2147468948"/>
            <ac:spMk id="90" creationId="{4E4680F3-A4D2-43F2-933A-C149DFB56BF2}"/>
          </ac:spMkLst>
        </pc:spChg>
        <pc:spChg chg="add del mod">
          <ac:chgData name="Yu, Bing" userId="90a94cb0-8e9a-43a8-89bf-1b8017aa98de" providerId="ADAL" clId="{8ADC1E04-DD43-4149-B13C-6CDB73A6F761}" dt="2022-07-12T11:26:47.575" v="87"/>
          <ac:spMkLst>
            <pc:docMk/>
            <pc:sldMk cId="202739375" sldId="2147468948"/>
            <ac:spMk id="93" creationId="{29EB132F-CB0E-4066-8868-F037AB4EB7A9}"/>
          </ac:spMkLst>
        </pc:spChg>
        <pc:spChg chg="add del mod">
          <ac:chgData name="Yu, Bing" userId="90a94cb0-8e9a-43a8-89bf-1b8017aa98de" providerId="ADAL" clId="{8ADC1E04-DD43-4149-B13C-6CDB73A6F761}" dt="2022-07-12T11:26:47.575" v="87"/>
          <ac:spMkLst>
            <pc:docMk/>
            <pc:sldMk cId="202739375" sldId="2147468948"/>
            <ac:spMk id="95" creationId="{72964641-834A-4F2C-937E-0F1470F5B8DB}"/>
          </ac:spMkLst>
        </pc:spChg>
        <pc:spChg chg="add del mod">
          <ac:chgData name="Yu, Bing" userId="90a94cb0-8e9a-43a8-89bf-1b8017aa98de" providerId="ADAL" clId="{8ADC1E04-DD43-4149-B13C-6CDB73A6F761}" dt="2022-07-12T11:26:47.575" v="87"/>
          <ac:spMkLst>
            <pc:docMk/>
            <pc:sldMk cId="202739375" sldId="2147468948"/>
            <ac:spMk id="96" creationId="{58EC8447-D683-44BF-96FF-3F1F48331052}"/>
          </ac:spMkLst>
        </pc:spChg>
        <pc:spChg chg="add mod">
          <ac:chgData name="Yu, Bing" userId="90a94cb0-8e9a-43a8-89bf-1b8017aa98de" providerId="ADAL" clId="{8ADC1E04-DD43-4149-B13C-6CDB73A6F761}" dt="2022-07-12T11:29:28.483" v="352" actId="1036"/>
          <ac:spMkLst>
            <pc:docMk/>
            <pc:sldMk cId="202739375" sldId="2147468948"/>
            <ac:spMk id="97" creationId="{A3BED388-BA84-47B7-B372-79D3AEF98721}"/>
          </ac:spMkLst>
        </pc:spChg>
        <pc:spChg chg="add mod">
          <ac:chgData name="Yu, Bing" userId="90a94cb0-8e9a-43a8-89bf-1b8017aa98de" providerId="ADAL" clId="{8ADC1E04-DD43-4149-B13C-6CDB73A6F761}" dt="2022-07-12T11:29:28.483" v="352" actId="1036"/>
          <ac:spMkLst>
            <pc:docMk/>
            <pc:sldMk cId="202739375" sldId="2147468948"/>
            <ac:spMk id="98" creationId="{FD35FE3A-FBEF-46B9-97ED-621821BA2633}"/>
          </ac:spMkLst>
        </pc:spChg>
        <pc:spChg chg="add mod">
          <ac:chgData name="Yu, Bing" userId="90a94cb0-8e9a-43a8-89bf-1b8017aa98de" providerId="ADAL" clId="{8ADC1E04-DD43-4149-B13C-6CDB73A6F761}" dt="2022-07-12T11:29:28.483" v="352" actId="1036"/>
          <ac:spMkLst>
            <pc:docMk/>
            <pc:sldMk cId="202739375" sldId="2147468948"/>
            <ac:spMk id="99" creationId="{A964B3C1-2E07-40DD-97B7-1BCE1BB78A7B}"/>
          </ac:spMkLst>
        </pc:spChg>
        <pc:spChg chg="add mod">
          <ac:chgData name="Yu, Bing" userId="90a94cb0-8e9a-43a8-89bf-1b8017aa98de" providerId="ADAL" clId="{8ADC1E04-DD43-4149-B13C-6CDB73A6F761}" dt="2022-07-12T11:29:28.483" v="352" actId="1036"/>
          <ac:spMkLst>
            <pc:docMk/>
            <pc:sldMk cId="202739375" sldId="2147468948"/>
            <ac:spMk id="100" creationId="{D27AB88F-022E-4412-9392-156BDF73F1DF}"/>
          </ac:spMkLst>
        </pc:spChg>
        <pc:spChg chg="add mod">
          <ac:chgData name="Yu, Bing" userId="90a94cb0-8e9a-43a8-89bf-1b8017aa98de" providerId="ADAL" clId="{8ADC1E04-DD43-4149-B13C-6CDB73A6F761}" dt="2022-07-12T11:29:28.483" v="352" actId="1036"/>
          <ac:spMkLst>
            <pc:docMk/>
            <pc:sldMk cId="202739375" sldId="2147468948"/>
            <ac:spMk id="101" creationId="{0B7CFDC3-B434-4F3E-809B-A8BB59D1EB4D}"/>
          </ac:spMkLst>
        </pc:spChg>
        <pc:spChg chg="add mod">
          <ac:chgData name="Yu, Bing" userId="90a94cb0-8e9a-43a8-89bf-1b8017aa98de" providerId="ADAL" clId="{8ADC1E04-DD43-4149-B13C-6CDB73A6F761}" dt="2022-07-12T11:29:28.483" v="352" actId="1036"/>
          <ac:spMkLst>
            <pc:docMk/>
            <pc:sldMk cId="202739375" sldId="2147468948"/>
            <ac:spMk id="107" creationId="{E4F14E2F-3724-4416-A71A-A5E1F0A5E96D}"/>
          </ac:spMkLst>
        </pc:spChg>
        <pc:spChg chg="add mod">
          <ac:chgData name="Yu, Bing" userId="90a94cb0-8e9a-43a8-89bf-1b8017aa98de" providerId="ADAL" clId="{8ADC1E04-DD43-4149-B13C-6CDB73A6F761}" dt="2022-07-12T11:29:28.483" v="352" actId="1036"/>
          <ac:spMkLst>
            <pc:docMk/>
            <pc:sldMk cId="202739375" sldId="2147468948"/>
            <ac:spMk id="108" creationId="{9CF7686E-D2C4-410F-9941-22AE83BD24FD}"/>
          </ac:spMkLst>
        </pc:spChg>
        <pc:spChg chg="add mod">
          <ac:chgData name="Yu, Bing" userId="90a94cb0-8e9a-43a8-89bf-1b8017aa98de" providerId="ADAL" clId="{8ADC1E04-DD43-4149-B13C-6CDB73A6F761}" dt="2022-07-12T11:29:28.483" v="352" actId="1036"/>
          <ac:spMkLst>
            <pc:docMk/>
            <pc:sldMk cId="202739375" sldId="2147468948"/>
            <ac:spMk id="109" creationId="{307F2F52-417E-45CA-8C1A-691E1CAC0925}"/>
          </ac:spMkLst>
        </pc:spChg>
        <pc:spChg chg="add mod">
          <ac:chgData name="Yu, Bing" userId="90a94cb0-8e9a-43a8-89bf-1b8017aa98de" providerId="ADAL" clId="{8ADC1E04-DD43-4149-B13C-6CDB73A6F761}" dt="2022-07-12T11:29:28.483" v="352" actId="1036"/>
          <ac:spMkLst>
            <pc:docMk/>
            <pc:sldMk cId="202739375" sldId="2147468948"/>
            <ac:spMk id="110" creationId="{660D98DB-E2A5-4E20-9AC2-E797D42F6F0C}"/>
          </ac:spMkLst>
        </pc:spChg>
        <pc:spChg chg="add mod">
          <ac:chgData name="Yu, Bing" userId="90a94cb0-8e9a-43a8-89bf-1b8017aa98de" providerId="ADAL" clId="{8ADC1E04-DD43-4149-B13C-6CDB73A6F761}" dt="2022-07-12T11:29:28.483" v="352" actId="1036"/>
          <ac:spMkLst>
            <pc:docMk/>
            <pc:sldMk cId="202739375" sldId="2147468948"/>
            <ac:spMk id="111" creationId="{5A31C5E3-680B-43E6-8DBC-2CD9964F601A}"/>
          </ac:spMkLst>
        </pc:spChg>
        <pc:spChg chg="add mod">
          <ac:chgData name="Yu, Bing" userId="90a94cb0-8e9a-43a8-89bf-1b8017aa98de" providerId="ADAL" clId="{8ADC1E04-DD43-4149-B13C-6CDB73A6F761}" dt="2022-07-12T15:15:32.889" v="565" actId="403"/>
          <ac:spMkLst>
            <pc:docMk/>
            <pc:sldMk cId="202739375" sldId="2147468948"/>
            <ac:spMk id="112" creationId="{1C030B3D-69E7-4235-A7AB-E159C54669E6}"/>
          </ac:spMkLst>
        </pc:spChg>
        <pc:spChg chg="add mod">
          <ac:chgData name="Yu, Bing" userId="90a94cb0-8e9a-43a8-89bf-1b8017aa98de" providerId="ADAL" clId="{8ADC1E04-DD43-4149-B13C-6CDB73A6F761}" dt="2022-07-12T11:29:28.483" v="352" actId="1036"/>
          <ac:spMkLst>
            <pc:docMk/>
            <pc:sldMk cId="202739375" sldId="2147468948"/>
            <ac:spMk id="113" creationId="{3473AF1F-0E6B-4BC9-A667-A0AA3079C855}"/>
          </ac:spMkLst>
        </pc:spChg>
        <pc:spChg chg="add mod">
          <ac:chgData name="Yu, Bing" userId="90a94cb0-8e9a-43a8-89bf-1b8017aa98de" providerId="ADAL" clId="{8ADC1E04-DD43-4149-B13C-6CDB73A6F761}" dt="2022-07-12T11:29:28.483" v="352" actId="1036"/>
          <ac:spMkLst>
            <pc:docMk/>
            <pc:sldMk cId="202739375" sldId="2147468948"/>
            <ac:spMk id="115" creationId="{5E0A84BD-1583-43DE-ABC2-FEE8DE83BAA5}"/>
          </ac:spMkLst>
        </pc:spChg>
        <pc:spChg chg="add mod">
          <ac:chgData name="Yu, Bing" userId="90a94cb0-8e9a-43a8-89bf-1b8017aa98de" providerId="ADAL" clId="{8ADC1E04-DD43-4149-B13C-6CDB73A6F761}" dt="2022-07-12T11:29:28.483" v="352" actId="1036"/>
          <ac:spMkLst>
            <pc:docMk/>
            <pc:sldMk cId="202739375" sldId="2147468948"/>
            <ac:spMk id="117" creationId="{DE5FE1FE-7B24-4435-ABC2-EFB8DBB1DF36}"/>
          </ac:spMkLst>
        </pc:spChg>
        <pc:spChg chg="add mod">
          <ac:chgData name="Yu, Bing" userId="90a94cb0-8e9a-43a8-89bf-1b8017aa98de" providerId="ADAL" clId="{8ADC1E04-DD43-4149-B13C-6CDB73A6F761}" dt="2022-07-12T15:17:28.290" v="576" actId="113"/>
          <ac:spMkLst>
            <pc:docMk/>
            <pc:sldMk cId="202739375" sldId="2147468948"/>
            <ac:spMk id="118" creationId="{A9FDFF05-3D21-435E-B2B3-CC6DF61E7D0D}"/>
          </ac:spMkLst>
        </pc:spChg>
        <pc:graphicFrameChg chg="mod">
          <ac:chgData name="Yu, Bing" userId="90a94cb0-8e9a-43a8-89bf-1b8017aa98de" providerId="ADAL" clId="{8ADC1E04-DD43-4149-B13C-6CDB73A6F761}" dt="2022-07-12T12:11:59.025" v="386"/>
          <ac:graphicFrameMkLst>
            <pc:docMk/>
            <pc:sldMk cId="202739375" sldId="2147468948"/>
            <ac:graphicFrameMk id="88" creationId="{95DEC045-0FB3-45FF-A90F-C85217B6D8DF}"/>
          </ac:graphicFrameMkLst>
        </pc:graphicFrameChg>
        <pc:graphicFrameChg chg="add del mod">
          <ac:chgData name="Yu, Bing" userId="90a94cb0-8e9a-43a8-89bf-1b8017aa98de" providerId="ADAL" clId="{8ADC1E04-DD43-4149-B13C-6CDB73A6F761}" dt="2022-07-12T11:26:47.575" v="87"/>
          <ac:graphicFrameMkLst>
            <pc:docMk/>
            <pc:sldMk cId="202739375" sldId="2147468948"/>
            <ac:graphicFrameMk id="94" creationId="{9A4EF595-E91B-4B3C-BC03-9C45F77682FD}"/>
          </ac:graphicFrameMkLst>
        </pc:graphicFrameChg>
        <pc:graphicFrameChg chg="add mod">
          <ac:chgData name="Yu, Bing" userId="90a94cb0-8e9a-43a8-89bf-1b8017aa98de" providerId="ADAL" clId="{8ADC1E04-DD43-4149-B13C-6CDB73A6F761}" dt="2022-07-12T15:16:14.479" v="570" actId="2711"/>
          <ac:graphicFrameMkLst>
            <pc:docMk/>
            <pc:sldMk cId="202739375" sldId="2147468948"/>
            <ac:graphicFrameMk id="116" creationId="{7A18F7EF-FC81-43B2-8938-EA1C11DD6A4A}"/>
          </ac:graphicFrameMkLst>
        </pc:graphicFrameChg>
        <pc:picChg chg="del">
          <ac:chgData name="Yu, Bing" userId="90a94cb0-8e9a-43a8-89bf-1b8017aa98de" providerId="ADAL" clId="{8ADC1E04-DD43-4149-B13C-6CDB73A6F761}" dt="2022-07-12T11:26:49.712" v="88" actId="478"/>
          <ac:picMkLst>
            <pc:docMk/>
            <pc:sldMk cId="202739375" sldId="2147468948"/>
            <ac:picMk id="10" creationId="{38EDD6C6-5221-4A67-ACAF-21CA99345C06}"/>
          </ac:picMkLst>
        </pc:picChg>
        <pc:picChg chg="del">
          <ac:chgData name="Yu, Bing" userId="90a94cb0-8e9a-43a8-89bf-1b8017aa98de" providerId="ADAL" clId="{8ADC1E04-DD43-4149-B13C-6CDB73A6F761}" dt="2022-07-12T11:26:49.712" v="88" actId="478"/>
          <ac:picMkLst>
            <pc:docMk/>
            <pc:sldMk cId="202739375" sldId="2147468948"/>
            <ac:picMk id="12" creationId="{B0AD0AA0-6E41-4C9F-B46F-50AF081601E8}"/>
          </ac:picMkLst>
        </pc:picChg>
        <pc:picChg chg="del">
          <ac:chgData name="Yu, Bing" userId="90a94cb0-8e9a-43a8-89bf-1b8017aa98de" providerId="ADAL" clId="{8ADC1E04-DD43-4149-B13C-6CDB73A6F761}" dt="2022-07-12T11:26:49.712" v="88" actId="478"/>
          <ac:picMkLst>
            <pc:docMk/>
            <pc:sldMk cId="202739375" sldId="2147468948"/>
            <ac:picMk id="15" creationId="{4AE3E70A-7AC0-41A0-926E-7F825D2E1587}"/>
          </ac:picMkLst>
        </pc:picChg>
        <pc:picChg chg="del">
          <ac:chgData name="Yu, Bing" userId="90a94cb0-8e9a-43a8-89bf-1b8017aa98de" providerId="ADAL" clId="{8ADC1E04-DD43-4149-B13C-6CDB73A6F761}" dt="2022-07-12T11:26:49.712" v="88" actId="478"/>
          <ac:picMkLst>
            <pc:docMk/>
            <pc:sldMk cId="202739375" sldId="2147468948"/>
            <ac:picMk id="45" creationId="{5A3A0834-F34A-44F0-BE76-2F5A5DEA7A18}"/>
          </ac:picMkLst>
        </pc:picChg>
        <pc:picChg chg="del">
          <ac:chgData name="Yu, Bing" userId="90a94cb0-8e9a-43a8-89bf-1b8017aa98de" providerId="ADAL" clId="{8ADC1E04-DD43-4149-B13C-6CDB73A6F761}" dt="2022-07-12T11:26:49.712" v="88" actId="478"/>
          <ac:picMkLst>
            <pc:docMk/>
            <pc:sldMk cId="202739375" sldId="2147468948"/>
            <ac:picMk id="47" creationId="{FF3BBF9B-8EDF-44BD-A481-EF8E8544D99E}"/>
          </ac:picMkLst>
        </pc:picChg>
        <pc:picChg chg="del">
          <ac:chgData name="Yu, Bing" userId="90a94cb0-8e9a-43a8-89bf-1b8017aa98de" providerId="ADAL" clId="{8ADC1E04-DD43-4149-B13C-6CDB73A6F761}" dt="2022-07-12T11:26:49.712" v="88" actId="478"/>
          <ac:picMkLst>
            <pc:docMk/>
            <pc:sldMk cId="202739375" sldId="2147468948"/>
            <ac:picMk id="60" creationId="{ED80941F-C650-4F1C-8B9F-05C1E7D0B559}"/>
          </ac:picMkLst>
        </pc:picChg>
        <pc:picChg chg="del">
          <ac:chgData name="Yu, Bing" userId="90a94cb0-8e9a-43a8-89bf-1b8017aa98de" providerId="ADAL" clId="{8ADC1E04-DD43-4149-B13C-6CDB73A6F761}" dt="2022-07-12T11:26:49.712" v="88" actId="478"/>
          <ac:picMkLst>
            <pc:docMk/>
            <pc:sldMk cId="202739375" sldId="2147468948"/>
            <ac:picMk id="61" creationId="{7361BD52-3D82-4E07-A441-D45C6A04582F}"/>
          </ac:picMkLst>
        </pc:picChg>
        <pc:picChg chg="del">
          <ac:chgData name="Yu, Bing" userId="90a94cb0-8e9a-43a8-89bf-1b8017aa98de" providerId="ADAL" clId="{8ADC1E04-DD43-4149-B13C-6CDB73A6F761}" dt="2022-07-12T11:26:49.712" v="88" actId="478"/>
          <ac:picMkLst>
            <pc:docMk/>
            <pc:sldMk cId="202739375" sldId="2147468948"/>
            <ac:picMk id="63" creationId="{AFD7055E-4B63-4326-9758-13A62341ECF7}"/>
          </ac:picMkLst>
        </pc:picChg>
        <pc:picChg chg="del">
          <ac:chgData name="Yu, Bing" userId="90a94cb0-8e9a-43a8-89bf-1b8017aa98de" providerId="ADAL" clId="{8ADC1E04-DD43-4149-B13C-6CDB73A6F761}" dt="2022-07-12T11:26:49.712" v="88" actId="478"/>
          <ac:picMkLst>
            <pc:docMk/>
            <pc:sldMk cId="202739375" sldId="2147468948"/>
            <ac:picMk id="67" creationId="{6424E41B-6F82-4E3E-83A9-90061BCB6325}"/>
          </ac:picMkLst>
        </pc:picChg>
        <pc:picChg chg="del">
          <ac:chgData name="Yu, Bing" userId="90a94cb0-8e9a-43a8-89bf-1b8017aa98de" providerId="ADAL" clId="{8ADC1E04-DD43-4149-B13C-6CDB73A6F761}" dt="2022-07-12T11:26:49.712" v="88" actId="478"/>
          <ac:picMkLst>
            <pc:docMk/>
            <pc:sldMk cId="202739375" sldId="2147468948"/>
            <ac:picMk id="68" creationId="{955F615C-161E-4EEC-9515-14C6B07B70ED}"/>
          </ac:picMkLst>
        </pc:picChg>
        <pc:picChg chg="del">
          <ac:chgData name="Yu, Bing" userId="90a94cb0-8e9a-43a8-89bf-1b8017aa98de" providerId="ADAL" clId="{8ADC1E04-DD43-4149-B13C-6CDB73A6F761}" dt="2022-07-12T11:26:49.712" v="88" actId="478"/>
          <ac:picMkLst>
            <pc:docMk/>
            <pc:sldMk cId="202739375" sldId="2147468948"/>
            <ac:picMk id="70" creationId="{F8EB500D-193C-456A-9B46-D3EB1380C32A}"/>
          </ac:picMkLst>
        </pc:picChg>
        <pc:picChg chg="add del mod">
          <ac:chgData name="Yu, Bing" userId="90a94cb0-8e9a-43a8-89bf-1b8017aa98de" providerId="ADAL" clId="{8ADC1E04-DD43-4149-B13C-6CDB73A6F761}" dt="2022-07-12T11:26:47.575" v="87"/>
          <ac:picMkLst>
            <pc:docMk/>
            <pc:sldMk cId="202739375" sldId="2147468948"/>
            <ac:picMk id="71" creationId="{84D94FD3-A629-494B-BF69-D65016D930B5}"/>
          </ac:picMkLst>
        </pc:picChg>
        <pc:picChg chg="del">
          <ac:chgData name="Yu, Bing" userId="90a94cb0-8e9a-43a8-89bf-1b8017aa98de" providerId="ADAL" clId="{8ADC1E04-DD43-4149-B13C-6CDB73A6F761}" dt="2022-07-12T11:26:49.712" v="88" actId="478"/>
          <ac:picMkLst>
            <pc:docMk/>
            <pc:sldMk cId="202739375" sldId="2147468948"/>
            <ac:picMk id="72" creationId="{7AA990AB-2117-45AF-BD41-87AD33C28DF2}"/>
          </ac:picMkLst>
        </pc:picChg>
        <pc:picChg chg="add del mod">
          <ac:chgData name="Yu, Bing" userId="90a94cb0-8e9a-43a8-89bf-1b8017aa98de" providerId="ADAL" clId="{8ADC1E04-DD43-4149-B13C-6CDB73A6F761}" dt="2022-07-12T11:26:47.575" v="87"/>
          <ac:picMkLst>
            <pc:docMk/>
            <pc:sldMk cId="202739375" sldId="2147468948"/>
            <ac:picMk id="73" creationId="{F803C227-FFC6-497C-8D4B-A658438929CB}"/>
          </ac:picMkLst>
        </pc:picChg>
        <pc:picChg chg="del">
          <ac:chgData name="Yu, Bing" userId="90a94cb0-8e9a-43a8-89bf-1b8017aa98de" providerId="ADAL" clId="{8ADC1E04-DD43-4149-B13C-6CDB73A6F761}" dt="2022-07-12T11:26:49.712" v="88" actId="478"/>
          <ac:picMkLst>
            <pc:docMk/>
            <pc:sldMk cId="202739375" sldId="2147468948"/>
            <ac:picMk id="74" creationId="{DF2D7BCA-A4D1-4FA9-850A-A82D2C022575}"/>
          </ac:picMkLst>
        </pc:picChg>
        <pc:picChg chg="add del mod">
          <ac:chgData name="Yu, Bing" userId="90a94cb0-8e9a-43a8-89bf-1b8017aa98de" providerId="ADAL" clId="{8ADC1E04-DD43-4149-B13C-6CDB73A6F761}" dt="2022-07-12T11:26:47.575" v="87"/>
          <ac:picMkLst>
            <pc:docMk/>
            <pc:sldMk cId="202739375" sldId="2147468948"/>
            <ac:picMk id="75" creationId="{EE287B81-8978-41D2-9E6D-86C4B72ACA3C}"/>
          </ac:picMkLst>
        </pc:picChg>
        <pc:picChg chg="del">
          <ac:chgData name="Yu, Bing" userId="90a94cb0-8e9a-43a8-89bf-1b8017aa98de" providerId="ADAL" clId="{8ADC1E04-DD43-4149-B13C-6CDB73A6F761}" dt="2022-07-12T11:26:49.712" v="88" actId="478"/>
          <ac:picMkLst>
            <pc:docMk/>
            <pc:sldMk cId="202739375" sldId="2147468948"/>
            <ac:picMk id="76" creationId="{96C50623-EC53-4AC4-BEE4-E38346EDC6DD}"/>
          </ac:picMkLst>
        </pc:picChg>
        <pc:picChg chg="add del mod">
          <ac:chgData name="Yu, Bing" userId="90a94cb0-8e9a-43a8-89bf-1b8017aa98de" providerId="ADAL" clId="{8ADC1E04-DD43-4149-B13C-6CDB73A6F761}" dt="2022-07-12T11:26:47.575" v="87"/>
          <ac:picMkLst>
            <pc:docMk/>
            <pc:sldMk cId="202739375" sldId="2147468948"/>
            <ac:picMk id="77" creationId="{609BB40F-CFEE-486F-93FB-BE486B451A93}"/>
          </ac:picMkLst>
        </pc:picChg>
        <pc:picChg chg="add del mod">
          <ac:chgData name="Yu, Bing" userId="90a94cb0-8e9a-43a8-89bf-1b8017aa98de" providerId="ADAL" clId="{8ADC1E04-DD43-4149-B13C-6CDB73A6F761}" dt="2022-07-12T11:26:47.575" v="87"/>
          <ac:picMkLst>
            <pc:docMk/>
            <pc:sldMk cId="202739375" sldId="2147468948"/>
            <ac:picMk id="79" creationId="{4EFE61BF-7AE7-4A47-A127-C0B33B01ACBA}"/>
          </ac:picMkLst>
        </pc:picChg>
        <pc:picChg chg="add del mod">
          <ac:chgData name="Yu, Bing" userId="90a94cb0-8e9a-43a8-89bf-1b8017aa98de" providerId="ADAL" clId="{8ADC1E04-DD43-4149-B13C-6CDB73A6F761}" dt="2022-07-12T11:26:47.575" v="87"/>
          <ac:picMkLst>
            <pc:docMk/>
            <pc:sldMk cId="202739375" sldId="2147468948"/>
            <ac:picMk id="92" creationId="{5C2431B5-8CBE-4F19-9DB7-1204EF20618D}"/>
          </ac:picMkLst>
        </pc:picChg>
        <pc:picChg chg="add mod">
          <ac:chgData name="Yu, Bing" userId="90a94cb0-8e9a-43a8-89bf-1b8017aa98de" providerId="ADAL" clId="{8ADC1E04-DD43-4149-B13C-6CDB73A6F761}" dt="2022-07-12T11:29:28.483" v="352" actId="1036"/>
          <ac:picMkLst>
            <pc:docMk/>
            <pc:sldMk cId="202739375" sldId="2147468948"/>
            <ac:picMk id="102" creationId="{DD5699FD-3C9D-496A-A97E-A9EA864D687D}"/>
          </ac:picMkLst>
        </pc:picChg>
        <pc:picChg chg="add mod">
          <ac:chgData name="Yu, Bing" userId="90a94cb0-8e9a-43a8-89bf-1b8017aa98de" providerId="ADAL" clId="{8ADC1E04-DD43-4149-B13C-6CDB73A6F761}" dt="2022-07-12T11:29:28.483" v="352" actId="1036"/>
          <ac:picMkLst>
            <pc:docMk/>
            <pc:sldMk cId="202739375" sldId="2147468948"/>
            <ac:picMk id="103" creationId="{43ACDC1D-12E2-4D50-9B31-2759C3823311}"/>
          </ac:picMkLst>
        </pc:picChg>
        <pc:picChg chg="add mod">
          <ac:chgData name="Yu, Bing" userId="90a94cb0-8e9a-43a8-89bf-1b8017aa98de" providerId="ADAL" clId="{8ADC1E04-DD43-4149-B13C-6CDB73A6F761}" dt="2022-07-12T11:29:28.483" v="352" actId="1036"/>
          <ac:picMkLst>
            <pc:docMk/>
            <pc:sldMk cId="202739375" sldId="2147468948"/>
            <ac:picMk id="104" creationId="{13798453-9B23-4B64-8E64-D63A904690E0}"/>
          </ac:picMkLst>
        </pc:picChg>
        <pc:picChg chg="add mod">
          <ac:chgData name="Yu, Bing" userId="90a94cb0-8e9a-43a8-89bf-1b8017aa98de" providerId="ADAL" clId="{8ADC1E04-DD43-4149-B13C-6CDB73A6F761}" dt="2022-07-12T11:29:28.483" v="352" actId="1036"/>
          <ac:picMkLst>
            <pc:docMk/>
            <pc:sldMk cId="202739375" sldId="2147468948"/>
            <ac:picMk id="105" creationId="{4ED65056-2CFF-4009-8513-D7E7DFD55668}"/>
          </ac:picMkLst>
        </pc:picChg>
        <pc:picChg chg="add mod">
          <ac:chgData name="Yu, Bing" userId="90a94cb0-8e9a-43a8-89bf-1b8017aa98de" providerId="ADAL" clId="{8ADC1E04-DD43-4149-B13C-6CDB73A6F761}" dt="2022-07-12T11:29:28.483" v="352" actId="1036"/>
          <ac:picMkLst>
            <pc:docMk/>
            <pc:sldMk cId="202739375" sldId="2147468948"/>
            <ac:picMk id="106" creationId="{CEACF8AE-6343-4548-AE5B-B561EE8FB053}"/>
          </ac:picMkLst>
        </pc:picChg>
        <pc:picChg chg="add mod">
          <ac:chgData name="Yu, Bing" userId="90a94cb0-8e9a-43a8-89bf-1b8017aa98de" providerId="ADAL" clId="{8ADC1E04-DD43-4149-B13C-6CDB73A6F761}" dt="2022-07-12T11:29:28.483" v="352" actId="1036"/>
          <ac:picMkLst>
            <pc:docMk/>
            <pc:sldMk cId="202739375" sldId="2147468948"/>
            <ac:picMk id="114" creationId="{C9FD475D-7451-4DA3-AD0B-0C0F37960314}"/>
          </ac:picMkLst>
        </pc:picChg>
      </pc:sldChg>
      <pc:sldChg chg="addSp delSp modSp mod">
        <pc:chgData name="Yu, Bing" userId="90a94cb0-8e9a-43a8-89bf-1b8017aa98de" providerId="ADAL" clId="{8ADC1E04-DD43-4149-B13C-6CDB73A6F761}" dt="2022-07-12T13:31:11.948" v="432" actId="404"/>
        <pc:sldMkLst>
          <pc:docMk/>
          <pc:sldMk cId="3873352731" sldId="2147468955"/>
        </pc:sldMkLst>
        <pc:spChg chg="del mod">
          <ac:chgData name="Yu, Bing" userId="90a94cb0-8e9a-43a8-89bf-1b8017aa98de" providerId="ADAL" clId="{8ADC1E04-DD43-4149-B13C-6CDB73A6F761}" dt="2022-07-12T13:30:28.723" v="420" actId="478"/>
          <ac:spMkLst>
            <pc:docMk/>
            <pc:sldMk cId="3873352731" sldId="2147468955"/>
            <ac:spMk id="102" creationId="{40E36CDA-F985-45EF-A4CC-C22487C6C2C2}"/>
          </ac:spMkLst>
        </pc:spChg>
        <pc:spChg chg="add mod">
          <ac:chgData name="Yu, Bing" userId="90a94cb0-8e9a-43a8-89bf-1b8017aa98de" providerId="ADAL" clId="{8ADC1E04-DD43-4149-B13C-6CDB73A6F761}" dt="2022-07-12T13:31:11.948" v="432" actId="404"/>
          <ac:spMkLst>
            <pc:docMk/>
            <pc:sldMk cId="3873352731" sldId="2147468955"/>
            <ac:spMk id="104" creationId="{9FC29032-B2FD-40F4-A7DD-30AD3CD1846B}"/>
          </ac:spMkLst>
        </pc:spChg>
      </pc:sldChg>
      <pc:sldChg chg="modSp del mod">
        <pc:chgData name="Yu, Bing" userId="90a94cb0-8e9a-43a8-89bf-1b8017aa98de" providerId="ADAL" clId="{8ADC1E04-DD43-4149-B13C-6CDB73A6F761}" dt="2022-07-12T15:44:27.366" v="583" actId="47"/>
        <pc:sldMkLst>
          <pc:docMk/>
          <pc:sldMk cId="435332247" sldId="2147468956"/>
        </pc:sldMkLst>
        <pc:spChg chg="mod">
          <ac:chgData name="Yu, Bing" userId="90a94cb0-8e9a-43a8-89bf-1b8017aa98de" providerId="ADAL" clId="{8ADC1E04-DD43-4149-B13C-6CDB73A6F761}" dt="2022-07-12T15:24:15.208" v="578" actId="113"/>
          <ac:spMkLst>
            <pc:docMk/>
            <pc:sldMk cId="435332247" sldId="2147468956"/>
            <ac:spMk id="27" creationId="{00000000-0000-0000-0000-000000000000}"/>
          </ac:spMkLst>
        </pc:spChg>
        <pc:spChg chg="mod">
          <ac:chgData name="Yu, Bing" userId="90a94cb0-8e9a-43a8-89bf-1b8017aa98de" providerId="ADAL" clId="{8ADC1E04-DD43-4149-B13C-6CDB73A6F761}" dt="2022-07-12T11:21:15.453" v="27" actId="1036"/>
          <ac:spMkLst>
            <pc:docMk/>
            <pc:sldMk cId="435332247" sldId="2147468956"/>
            <ac:spMk id="33" creationId="{00000000-0000-0000-0000-000000000000}"/>
          </ac:spMkLst>
        </pc:spChg>
        <pc:spChg chg="mod">
          <ac:chgData name="Yu, Bing" userId="90a94cb0-8e9a-43a8-89bf-1b8017aa98de" providerId="ADAL" clId="{8ADC1E04-DD43-4149-B13C-6CDB73A6F761}" dt="2022-07-12T14:11:02.260" v="480" actId="20577"/>
          <ac:spMkLst>
            <pc:docMk/>
            <pc:sldMk cId="435332247" sldId="2147468956"/>
            <ac:spMk id="51" creationId="{9551664C-D0D8-4858-97B5-C06E36E66B8E}"/>
          </ac:spMkLst>
        </pc:spChg>
        <pc:spChg chg="mod">
          <ac:chgData name="Yu, Bing" userId="90a94cb0-8e9a-43a8-89bf-1b8017aa98de" providerId="ADAL" clId="{8ADC1E04-DD43-4149-B13C-6CDB73A6F761}" dt="2022-07-12T15:34:55.973" v="581" actId="20577"/>
          <ac:spMkLst>
            <pc:docMk/>
            <pc:sldMk cId="435332247" sldId="2147468956"/>
            <ac:spMk id="59" creationId="{6D1147C7-1370-42CC-BB3B-C367078F663A}"/>
          </ac:spMkLst>
        </pc:spChg>
      </pc:sldChg>
      <pc:sldChg chg="modSp add mod">
        <pc:chgData name="Yu, Bing" userId="90a94cb0-8e9a-43a8-89bf-1b8017aa98de" providerId="ADAL" clId="{8ADC1E04-DD43-4149-B13C-6CDB73A6F761}" dt="2022-07-12T16:22:41.463" v="588" actId="20577"/>
        <pc:sldMkLst>
          <pc:docMk/>
          <pc:sldMk cId="3518572906" sldId="2147468957"/>
        </pc:sldMkLst>
        <pc:spChg chg="mod">
          <ac:chgData name="Yu, Bing" userId="90a94cb0-8e9a-43a8-89bf-1b8017aa98de" providerId="ADAL" clId="{8ADC1E04-DD43-4149-B13C-6CDB73A6F761}" dt="2022-07-12T16:22:41.463" v="588" actId="20577"/>
          <ac:spMkLst>
            <pc:docMk/>
            <pc:sldMk cId="3518572906" sldId="2147468957"/>
            <ac:spMk id="59" creationId="{6D1147C7-1370-42CC-BB3B-C367078F663A}"/>
          </ac:spMkLst>
        </pc:spChg>
      </pc:sldChg>
    </pc:docChg>
  </pc:docChgLst>
  <pc:docChgLst>
    <pc:chgData name="Hu, Xue" userId="b705685b-88d2-4eae-a369-da764440a623" providerId="ADAL" clId="{2A11670A-85E8-462C-8043-5619E3ED55AE}"/>
    <pc:docChg chg="custSel delSld modSld">
      <pc:chgData name="Hu, Xue" userId="b705685b-88d2-4eae-a369-da764440a623" providerId="ADAL" clId="{2A11670A-85E8-462C-8043-5619E3ED55AE}" dt="2022-07-13T02:10:33.267" v="154" actId="20577"/>
      <pc:docMkLst>
        <pc:docMk/>
      </pc:docMkLst>
      <pc:sldChg chg="del">
        <pc:chgData name="Hu, Xue" userId="b705685b-88d2-4eae-a369-da764440a623" providerId="ADAL" clId="{2A11670A-85E8-462C-8043-5619E3ED55AE}" dt="2022-07-13T02:10:06.956" v="150" actId="47"/>
        <pc:sldMkLst>
          <pc:docMk/>
          <pc:sldMk cId="202739375" sldId="2147468948"/>
        </pc:sldMkLst>
      </pc:sldChg>
      <pc:sldChg chg="delSp modSp mod">
        <pc:chgData name="Hu, Xue" userId="b705685b-88d2-4eae-a369-da764440a623" providerId="ADAL" clId="{2A11670A-85E8-462C-8043-5619E3ED55AE}" dt="2022-07-13T02:09:43.508" v="149" actId="1036"/>
        <pc:sldMkLst>
          <pc:docMk/>
          <pc:sldMk cId="3075227333" sldId="2147468950"/>
        </pc:sldMkLst>
        <pc:spChg chg="del mod">
          <ac:chgData name="Hu, Xue" userId="b705685b-88d2-4eae-a369-da764440a623" providerId="ADAL" clId="{2A11670A-85E8-462C-8043-5619E3ED55AE}" dt="2022-07-13T02:07:54.496" v="103" actId="478"/>
          <ac:spMkLst>
            <pc:docMk/>
            <pc:sldMk cId="3075227333" sldId="2147468950"/>
            <ac:spMk id="15" creationId="{CE41862F-6DE9-CF35-D98F-93CB8ADEBEB1}"/>
          </ac:spMkLst>
        </pc:spChg>
        <pc:spChg chg="mod">
          <ac:chgData name="Hu, Xue" userId="b705685b-88d2-4eae-a369-da764440a623" providerId="ADAL" clId="{2A11670A-85E8-462C-8043-5619E3ED55AE}" dt="2022-07-13T02:09:04.293" v="144" actId="1038"/>
          <ac:spMkLst>
            <pc:docMk/>
            <pc:sldMk cId="3075227333" sldId="2147468950"/>
            <ac:spMk id="19" creationId="{2605C8FC-FCE3-5597-76CA-69D909366910}"/>
          </ac:spMkLst>
        </pc:spChg>
        <pc:spChg chg="mod">
          <ac:chgData name="Hu, Xue" userId="b705685b-88d2-4eae-a369-da764440a623" providerId="ADAL" clId="{2A11670A-85E8-462C-8043-5619E3ED55AE}" dt="2022-07-13T02:09:43.508" v="149" actId="1036"/>
          <ac:spMkLst>
            <pc:docMk/>
            <pc:sldMk cId="3075227333" sldId="2147468950"/>
            <ac:spMk id="23" creationId="{43399C76-F837-F928-F3E8-208FBC0630DA}"/>
          </ac:spMkLst>
        </pc:spChg>
        <pc:spChg chg="del">
          <ac:chgData name="Hu, Xue" userId="b705685b-88d2-4eae-a369-da764440a623" providerId="ADAL" clId="{2A11670A-85E8-462C-8043-5619E3ED55AE}" dt="2022-07-13T02:07:19.119" v="0" actId="478"/>
          <ac:spMkLst>
            <pc:docMk/>
            <pc:sldMk cId="3075227333" sldId="2147468950"/>
            <ac:spMk id="43" creationId="{B08A811D-B9F3-A9AD-F3CC-A4003E84A3DB}"/>
          </ac:spMkLst>
        </pc:spChg>
        <pc:spChg chg="del">
          <ac:chgData name="Hu, Xue" userId="b705685b-88d2-4eae-a369-da764440a623" providerId="ADAL" clId="{2A11670A-85E8-462C-8043-5619E3ED55AE}" dt="2022-07-13T02:07:19.119" v="0" actId="478"/>
          <ac:spMkLst>
            <pc:docMk/>
            <pc:sldMk cId="3075227333" sldId="2147468950"/>
            <ac:spMk id="45" creationId="{D1EC9C5D-F7D2-B56B-213B-962117643A4D}"/>
          </ac:spMkLst>
        </pc:spChg>
        <pc:spChg chg="mod">
          <ac:chgData name="Hu, Xue" userId="b705685b-88d2-4eae-a369-da764440a623" providerId="ADAL" clId="{2A11670A-85E8-462C-8043-5619E3ED55AE}" dt="2022-07-13T02:07:26.425" v="33" actId="1037"/>
          <ac:spMkLst>
            <pc:docMk/>
            <pc:sldMk cId="3075227333" sldId="2147468950"/>
            <ac:spMk id="46" creationId="{B08A811D-B9F3-A9AD-F3CC-A4003E84A3DB}"/>
          </ac:spMkLst>
        </pc:spChg>
        <pc:spChg chg="mod">
          <ac:chgData name="Hu, Xue" userId="b705685b-88d2-4eae-a369-da764440a623" providerId="ADAL" clId="{2A11670A-85E8-462C-8043-5619E3ED55AE}" dt="2022-07-13T02:07:26.425" v="33" actId="1037"/>
          <ac:spMkLst>
            <pc:docMk/>
            <pc:sldMk cId="3075227333" sldId="2147468950"/>
            <ac:spMk id="49" creationId="{D1EC9C5D-F7D2-B56B-213B-962117643A4D}"/>
          </ac:spMkLst>
        </pc:spChg>
        <pc:spChg chg="mod">
          <ac:chgData name="Hu, Xue" userId="b705685b-88d2-4eae-a369-da764440a623" providerId="ADAL" clId="{2A11670A-85E8-462C-8043-5619E3ED55AE}" dt="2022-07-13T02:07:45.368" v="102" actId="1037"/>
          <ac:spMkLst>
            <pc:docMk/>
            <pc:sldMk cId="3075227333" sldId="2147468950"/>
            <ac:spMk id="50" creationId="{B08A811D-B9F3-A9AD-F3CC-A4003E84A3DB}"/>
          </ac:spMkLst>
        </pc:spChg>
        <pc:spChg chg="mod">
          <ac:chgData name="Hu, Xue" userId="b705685b-88d2-4eae-a369-da764440a623" providerId="ADAL" clId="{2A11670A-85E8-462C-8043-5619E3ED55AE}" dt="2022-07-13T02:07:45.368" v="102" actId="1037"/>
          <ac:spMkLst>
            <pc:docMk/>
            <pc:sldMk cId="3075227333" sldId="2147468950"/>
            <ac:spMk id="52" creationId="{D1EC9C5D-F7D2-B56B-213B-962117643A4D}"/>
          </ac:spMkLst>
        </pc:spChg>
      </pc:sldChg>
      <pc:sldChg chg="modSp mod">
        <pc:chgData name="Hu, Xue" userId="b705685b-88d2-4eae-a369-da764440a623" providerId="ADAL" clId="{2A11670A-85E8-462C-8043-5619E3ED55AE}" dt="2022-07-13T02:10:14.001" v="152" actId="20577"/>
        <pc:sldMkLst>
          <pc:docMk/>
          <pc:sldMk cId="2725222057" sldId="2147468954"/>
        </pc:sldMkLst>
        <pc:spChg chg="mod">
          <ac:chgData name="Hu, Xue" userId="b705685b-88d2-4eae-a369-da764440a623" providerId="ADAL" clId="{2A11670A-85E8-462C-8043-5619E3ED55AE}" dt="2022-07-13T02:10:14.001" v="152" actId="20577"/>
          <ac:spMkLst>
            <pc:docMk/>
            <pc:sldMk cId="2725222057" sldId="2147468954"/>
            <ac:spMk id="5" creationId="{30F158DB-5F0E-D38C-1941-8719C050D5BA}"/>
          </ac:spMkLst>
        </pc:spChg>
      </pc:sldChg>
      <pc:sldChg chg="modSp mod">
        <pc:chgData name="Hu, Xue" userId="b705685b-88d2-4eae-a369-da764440a623" providerId="ADAL" clId="{2A11670A-85E8-462C-8043-5619E3ED55AE}" dt="2022-07-13T02:10:33.267" v="154" actId="20577"/>
        <pc:sldMkLst>
          <pc:docMk/>
          <pc:sldMk cId="3518572906" sldId="2147468957"/>
        </pc:sldMkLst>
        <pc:spChg chg="mod">
          <ac:chgData name="Hu, Xue" userId="b705685b-88d2-4eae-a369-da764440a623" providerId="ADAL" clId="{2A11670A-85E8-462C-8043-5619E3ED55AE}" dt="2022-07-13T02:10:33.267" v="154" actId="20577"/>
          <ac:spMkLst>
            <pc:docMk/>
            <pc:sldMk cId="3518572906" sldId="2147468957"/>
            <ac:spMk id="2" creationId="{A9A2216D-055E-4D50-A8E2-813E94E54BEC}"/>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ln>
              <a:noFill/>
            </a:ln>
          </c:spPr>
          <c:dPt>
            <c:idx val="0"/>
            <c:bubble3D val="0"/>
            <c:spPr>
              <a:noFill/>
              <a:ln w="19050">
                <a:noFill/>
              </a:ln>
              <a:effectLst/>
            </c:spPr>
            <c:extLst>
              <c:ext xmlns:c16="http://schemas.microsoft.com/office/drawing/2014/chart" uri="{C3380CC4-5D6E-409C-BE32-E72D297353CC}">
                <c16:uniqueId val="{00000001-CFD6-4AC2-A8C6-43B49CBCC57A}"/>
              </c:ext>
            </c:extLst>
          </c:dPt>
          <c:dPt>
            <c:idx val="1"/>
            <c:bubble3D val="0"/>
            <c:spPr>
              <a:solidFill>
                <a:schemeClr val="accent1"/>
              </a:solidFill>
              <a:ln w="19050">
                <a:noFill/>
              </a:ln>
              <a:effectLst/>
            </c:spPr>
            <c:extLst>
              <c:ext xmlns:c16="http://schemas.microsoft.com/office/drawing/2014/chart" uri="{C3380CC4-5D6E-409C-BE32-E72D297353CC}">
                <c16:uniqueId val="{00000003-CFD6-4AC2-A8C6-43B49CBCC57A}"/>
              </c:ext>
            </c:extLst>
          </c:dPt>
          <c:cat>
            <c:strRef>
              <c:f>Sheet1!$A$2:$A$3</c:f>
              <c:strCache>
                <c:ptCount val="2"/>
                <c:pt idx="0">
                  <c:v>未感染</c:v>
                </c:pt>
                <c:pt idx="1">
                  <c:v>CMV感染</c:v>
                </c:pt>
              </c:strCache>
            </c:strRef>
          </c:cat>
          <c:val>
            <c:numRef>
              <c:f>Sheet1!$B$2:$B$3</c:f>
              <c:numCache>
                <c:formatCode>0%</c:formatCode>
                <c:ptCount val="2"/>
                <c:pt idx="0">
                  <c:v>0.08</c:v>
                </c:pt>
                <c:pt idx="1">
                  <c:v>0.92</c:v>
                </c:pt>
              </c:numCache>
            </c:numRef>
          </c:val>
          <c:extLst>
            <c:ext xmlns:c16="http://schemas.microsoft.com/office/drawing/2014/chart" uri="{C3380CC4-5D6E-409C-BE32-E72D297353CC}">
              <c16:uniqueId val="{00000004-CFD6-4AC2-A8C6-43B49CBCC57A}"/>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algn="ctr" defTabSz="914400" rtl="0" eaLnBrk="1" latinLnBrk="0" hangingPunct="1">
              <a:defRPr lang="zh-CN" sz="1860" b="0" i="0" u="none" strike="noStrike" kern="1200" spc="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r>
              <a:rPr lang="en-US" sz="1400" b="1" kern="1200" dirty="0">
                <a:solidFill>
                  <a:schemeClr val="tx1"/>
                </a:solidFill>
                <a:latin typeface="Arial" panose="020B0604020202020204" pitchFamily="34" charset="0"/>
                <a:ea typeface="微软雅黑" panose="020B0503020204020204" pitchFamily="34" charset="-122"/>
                <a:cs typeface="+mn-cs"/>
              </a:rPr>
              <a:t>3</a:t>
            </a:r>
            <a:r>
              <a:rPr lang="zh-CN" sz="1400" b="1" kern="1200" dirty="0">
                <a:solidFill>
                  <a:schemeClr val="tx1"/>
                </a:solidFill>
                <a:latin typeface="Arial" panose="020B0604020202020204" pitchFamily="34" charset="0"/>
                <a:ea typeface="微软雅黑" panose="020B0503020204020204" pitchFamily="34" charset="-122"/>
                <a:cs typeface="+mn-cs"/>
              </a:rPr>
              <a:t>期试验中报告的</a:t>
            </a:r>
            <a:endParaRPr lang="en-US" altLang="zh-CN" sz="1400" b="1" kern="1200" dirty="0">
              <a:solidFill>
                <a:schemeClr val="tx1"/>
              </a:solidFill>
              <a:latin typeface="Arial" panose="020B0604020202020204" pitchFamily="34" charset="0"/>
              <a:ea typeface="微软雅黑" panose="020B0503020204020204" pitchFamily="34" charset="-122"/>
              <a:cs typeface="+mn-cs"/>
            </a:endParaRPr>
          </a:p>
          <a:p>
            <a:pPr marL="0" algn="ctr" defTabSz="914400" rtl="0" eaLnBrk="1" latinLnBrk="0" hangingPunct="1">
              <a:defRPr/>
            </a:pPr>
            <a:r>
              <a:rPr lang="zh-CN" sz="1400" b="1" kern="1200" dirty="0">
                <a:solidFill>
                  <a:schemeClr val="tx1"/>
                </a:solidFill>
                <a:latin typeface="Arial" panose="020B0604020202020204" pitchFamily="34" charset="0"/>
                <a:ea typeface="微软雅黑" panose="020B0503020204020204" pitchFamily="34" charset="-122"/>
                <a:cs typeface="+mn-cs"/>
              </a:rPr>
              <a:t>来特莫韦 </a:t>
            </a:r>
            <a:r>
              <a:rPr lang="en-US" sz="1400" b="1" kern="1200" dirty="0">
                <a:solidFill>
                  <a:schemeClr val="tx1"/>
                </a:solidFill>
                <a:latin typeface="Arial" panose="020B0604020202020204" pitchFamily="34" charset="0"/>
                <a:ea typeface="微软雅黑" panose="020B0503020204020204" pitchFamily="34" charset="-122"/>
                <a:cs typeface="+mn-cs"/>
              </a:rPr>
              <a:t>vs </a:t>
            </a:r>
            <a:r>
              <a:rPr lang="zh-CN" sz="1400" b="1" kern="1200" dirty="0">
                <a:solidFill>
                  <a:schemeClr val="tx1"/>
                </a:solidFill>
                <a:latin typeface="Arial" panose="020B0604020202020204" pitchFamily="34" charset="0"/>
                <a:ea typeface="微软雅黑" panose="020B0503020204020204" pitchFamily="34" charset="-122"/>
                <a:cs typeface="+mn-cs"/>
              </a:rPr>
              <a:t>安慰剂不良事件</a:t>
            </a:r>
            <a:r>
              <a:rPr lang="en-US" altLang="zh-CN" sz="1400" b="1" kern="1200" baseline="30000" dirty="0">
                <a:solidFill>
                  <a:schemeClr val="tx1"/>
                </a:solidFill>
                <a:latin typeface="Arial" panose="020B0604020202020204" pitchFamily="34" charset="0"/>
                <a:ea typeface="微软雅黑" panose="020B0503020204020204" pitchFamily="34" charset="-122"/>
                <a:cs typeface="+mn-cs"/>
              </a:rPr>
              <a:t>3</a:t>
            </a:r>
            <a:endParaRPr lang="zh-CN" sz="1400" b="1" kern="1200" baseline="30000" dirty="0">
              <a:solidFill>
                <a:schemeClr val="tx1"/>
              </a:solidFill>
              <a:latin typeface="Arial" panose="020B0604020202020204" pitchFamily="34" charset="0"/>
              <a:ea typeface="微软雅黑" panose="020B0503020204020204" pitchFamily="34" charset="-122"/>
              <a:cs typeface="+mn-cs"/>
            </a:endParaRPr>
          </a:p>
        </c:rich>
      </c:tx>
      <c:layout>
        <c:manualLayout>
          <c:xMode val="edge"/>
          <c:yMode val="edge"/>
          <c:x val="0.30335627653241326"/>
          <c:y val="1.2926202568378866E-2"/>
        </c:manualLayout>
      </c:layout>
      <c:overlay val="0"/>
      <c:spPr>
        <a:noFill/>
        <a:ln>
          <a:noFill/>
        </a:ln>
        <a:effectLst/>
      </c:spPr>
      <c:txPr>
        <a:bodyPr rot="0" spcFirstLastPara="1" vertOverflow="ellipsis" vert="horz" wrap="square" anchor="ctr" anchorCtr="1"/>
        <a:lstStyle/>
        <a:p>
          <a:pPr marL="0" algn="ctr" defTabSz="914400" rtl="0" eaLnBrk="1" latinLnBrk="0" hangingPunct="1">
            <a:defRPr lang="zh-CN" sz="1860" b="0" i="0" u="none" strike="noStrike" kern="1200" spc="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title>
    <c:autoTitleDeleted val="0"/>
    <c:plotArea>
      <c:layout>
        <c:manualLayout>
          <c:layoutTarget val="inner"/>
          <c:xMode val="edge"/>
          <c:yMode val="edge"/>
          <c:x val="0.2050222220027805"/>
          <c:y val="0.19736762868198046"/>
          <c:w val="0.79497777799721947"/>
          <c:h val="0.63811654943428264"/>
        </c:manualLayout>
      </c:layout>
      <c:barChart>
        <c:barDir val="col"/>
        <c:grouping val="clustered"/>
        <c:varyColors val="0"/>
        <c:ser>
          <c:idx val="0"/>
          <c:order val="0"/>
          <c:tx>
            <c:strRef>
              <c:f>Sheet1!$B$1</c:f>
              <c:strCache>
                <c:ptCount val="1"/>
                <c:pt idx="0">
                  <c:v>来特莫韦
(N=37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中性粒细胞
减少症</c:v>
                </c:pt>
                <c:pt idx="1">
                  <c:v>血小板
减少症</c:v>
                </c:pt>
                <c:pt idx="2">
                  <c:v>急性肾损伤</c:v>
                </c:pt>
              </c:strCache>
            </c:strRef>
          </c:cat>
          <c:val>
            <c:numRef>
              <c:f>Sheet1!$B$2:$B$4</c:f>
              <c:numCache>
                <c:formatCode>0.0%</c:formatCode>
                <c:ptCount val="3"/>
                <c:pt idx="0">
                  <c:v>3.7999999999999999E-2</c:v>
                </c:pt>
                <c:pt idx="1">
                  <c:v>6.7000000000000004E-2</c:v>
                </c:pt>
                <c:pt idx="2">
                  <c:v>9.7000000000000003E-2</c:v>
                </c:pt>
              </c:numCache>
            </c:numRef>
          </c:val>
          <c:extLst>
            <c:ext xmlns:c16="http://schemas.microsoft.com/office/drawing/2014/chart" uri="{C3380CC4-5D6E-409C-BE32-E72D297353CC}">
              <c16:uniqueId val="{00000000-9FF0-49FC-8DB2-56FB7CD25426}"/>
            </c:ext>
          </c:extLst>
        </c:ser>
        <c:ser>
          <c:idx val="1"/>
          <c:order val="1"/>
          <c:tx>
            <c:strRef>
              <c:f>Sheet1!$C$1</c:f>
              <c:strCache>
                <c:ptCount val="1"/>
                <c:pt idx="0">
                  <c:v>安慰剂
(N=192)</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195" b="0" i="0" u="none" strike="noStrike" kern="1200" baseline="0">
                    <a:solidFill>
                      <a:schemeClr val="tx1">
                        <a:lumMod val="75000"/>
                        <a:lumOff val="2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中性粒细胞
减少症</c:v>
                </c:pt>
                <c:pt idx="1">
                  <c:v>血小板
减少症</c:v>
                </c:pt>
                <c:pt idx="2">
                  <c:v>急性肾损伤</c:v>
                </c:pt>
              </c:strCache>
            </c:strRef>
          </c:cat>
          <c:val>
            <c:numRef>
              <c:f>Sheet1!$C$2:$C$4</c:f>
              <c:numCache>
                <c:formatCode>0.0%</c:formatCode>
                <c:ptCount val="3"/>
                <c:pt idx="0">
                  <c:v>3.5999999999999997E-2</c:v>
                </c:pt>
                <c:pt idx="1">
                  <c:v>5.7000000000000002E-2</c:v>
                </c:pt>
                <c:pt idx="2">
                  <c:v>0.13</c:v>
                </c:pt>
              </c:numCache>
            </c:numRef>
          </c:val>
          <c:extLst>
            <c:ext xmlns:c16="http://schemas.microsoft.com/office/drawing/2014/chart" uri="{C3380CC4-5D6E-409C-BE32-E72D297353CC}">
              <c16:uniqueId val="{00000001-9FF0-49FC-8DB2-56FB7CD25426}"/>
            </c:ext>
          </c:extLst>
        </c:ser>
        <c:dLbls>
          <c:showLegendKey val="0"/>
          <c:showVal val="1"/>
          <c:showCatName val="0"/>
          <c:showSerName val="0"/>
          <c:showPercent val="0"/>
          <c:showBubbleSize val="0"/>
        </c:dLbls>
        <c:gapWidth val="219"/>
        <c:overlap val="-27"/>
        <c:axId val="638765328"/>
        <c:axId val="630633488"/>
      </c:barChart>
      <c:catAx>
        <c:axId val="6387653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630633488"/>
        <c:crosses val="autoZero"/>
        <c:auto val="1"/>
        <c:lblAlgn val="ctr"/>
        <c:lblOffset val="100"/>
        <c:noMultiLvlLbl val="0"/>
      </c:catAx>
      <c:valAx>
        <c:axId val="630633488"/>
        <c:scaling>
          <c:orientation val="minMax"/>
          <c:max val="1"/>
        </c:scaling>
        <c:delete val="0"/>
        <c:axPos val="l"/>
        <c:title>
          <c:tx>
            <c:rich>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r>
                  <a:rPr lang="zh-CN" altLang="en-US" dirty="0"/>
                  <a:t>患者比例</a:t>
                </a:r>
              </a:p>
            </c:rich>
          </c:tx>
          <c:overlay val="0"/>
          <c:spPr>
            <a:noFill/>
            <a:ln>
              <a:noFill/>
            </a:ln>
            <a:effectLst/>
          </c:spPr>
          <c:txPr>
            <a:bodyPr rot="-5400000" spcFirstLastPara="1" vertOverflow="ellipsis" vert="horz" wrap="square" anchor="ctr" anchorCtr="1"/>
            <a:lstStyle/>
            <a:p>
              <a:pPr>
                <a:defRPr lang="zh-CN" sz="1330"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title>
        <c:numFmt formatCode="0.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crossAx val="638765328"/>
        <c:crosses val="autoZero"/>
        <c:crossBetween val="between"/>
      </c:valAx>
      <c:spPr>
        <a:noFill/>
        <a:ln>
          <a:noFill/>
        </a:ln>
        <a:effectLst/>
      </c:spPr>
    </c:plotArea>
    <c:legend>
      <c:legendPos val="b"/>
      <c:layout>
        <c:manualLayout>
          <c:xMode val="edge"/>
          <c:yMode val="edge"/>
          <c:x val="0.22899278358005246"/>
          <c:y val="0.1989819837160117"/>
          <c:w val="0.24426434172526806"/>
          <c:h val="0.26467037183568576"/>
        </c:manualLayout>
      </c:layout>
      <c:overlay val="0"/>
      <c:spPr>
        <a:noFill/>
        <a:ln>
          <a:noFill/>
        </a:ln>
        <a:effectLst/>
      </c:spPr>
      <c:txPr>
        <a:bodyPr rot="0" spcFirstLastPara="1" vertOverflow="ellipsis" vert="horz" wrap="square" anchor="ctr" anchorCtr="1"/>
        <a:lstStyle/>
        <a:p>
          <a:pPr>
            <a:defRPr lang="zh-CN" sz="1195" b="0" i="0" u="none" strike="noStrike" kern="1200" baseline="0">
              <a:solidFill>
                <a:schemeClr val="tx1">
                  <a:lumMod val="65000"/>
                  <a:lumOff val="35000"/>
                </a:schemeClr>
              </a:solidFill>
              <a:latin typeface="Arial" panose="020B0604020202020204" pitchFamily="34" charset="0"/>
              <a:ea typeface="微软雅黑" panose="020B0503020204020204" pitchFamily="34" charset="-122"/>
              <a:cs typeface="+mn-cs"/>
              <a:sym typeface="Arial" panose="020B0604020202020204" pitchFamily="34" charset="0"/>
            </a:defRPr>
          </a:pPr>
          <a:endParaRPr lang="zh-CN"/>
        </a:p>
      </c:txPr>
    </c:legend>
    <c:plotVisOnly val="1"/>
    <c:dispBlanksAs val="gap"/>
    <c:showDLblsOverMax val="0"/>
  </c:chart>
  <c:spPr>
    <a:noFill/>
    <a:ln>
      <a:noFill/>
    </a:ln>
    <a:effectLst/>
  </c:spPr>
  <c:txPr>
    <a:bodyPr/>
    <a:lstStyle/>
    <a:p>
      <a:pPr>
        <a:defRPr lang="zh-CN">
          <a:latin typeface="Arial" panose="020B0604020202020204" pitchFamily="34" charset="0"/>
          <a:ea typeface="微软雅黑" panose="020B0503020204020204" pitchFamily="34" charset="-122"/>
          <a:sym typeface="Arial" panose="020B0604020202020204" pitchFamily="34" charset="0"/>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558959426078003"/>
          <c:y val="8.3755378177439846E-2"/>
          <c:w val="0.78167219199038451"/>
          <c:h val="0.74960707379434799"/>
        </c:manualLayout>
      </c:layout>
      <c:barChart>
        <c:barDir val="col"/>
        <c:grouping val="clustered"/>
        <c:varyColors val="0"/>
        <c:ser>
          <c:idx val="0"/>
          <c:order val="0"/>
          <c:tx>
            <c:strRef>
              <c:f>Sheet1!$B$1</c:f>
              <c:strCache>
                <c:ptCount val="1"/>
                <c:pt idx="0">
                  <c:v>来特莫韦（N=325）</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0450-4F2F-B3D6-E3254BECF89C}"/>
              </c:ext>
            </c:extLst>
          </c:dPt>
          <c:dLbls>
            <c:dLbl>
              <c:idx val="0"/>
              <c:layout>
                <c:manualLayout>
                  <c:x val="-3.3574630057806526E-3"/>
                  <c:y val="0"/>
                </c:manualLayout>
              </c:layout>
              <c:tx>
                <c:rich>
                  <a:bodyPr/>
                  <a:lstStyle/>
                  <a:p>
                    <a:fld id="{F2EAD313-7EF1-4D75-B372-365C9A6C655A}" type="VALUE">
                      <a:rPr lang="en-US" altLang="zh-CN" sz="1000" b="1">
                        <a:solidFill>
                          <a:srgbClr val="FF0000"/>
                        </a:solidFill>
                      </a:rPr>
                      <a:pPr/>
                      <a:t>[值]</a:t>
                    </a:fld>
                    <a:endParaRPr lang="zh-CN" alt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450-4F2F-B3D6-E3254BECF89C}"/>
                </c:ext>
              </c:extLst>
            </c:dLbl>
            <c:spPr>
              <a:noFill/>
              <a:ln>
                <a:noFill/>
              </a:ln>
              <a:effectLst/>
            </c:spPr>
            <c:txPr>
              <a:bodyPr rot="0" spcFirstLastPara="1" vertOverflow="ellipsis" vert="horz" wrap="square" anchor="ctr" anchorCtr="1"/>
              <a:lstStyle/>
              <a:p>
                <a:pPr>
                  <a:defRPr lang="zh-CN" sz="8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有临床意义
的CMV感染</c:v>
                </c:pt>
                <c:pt idx="1">
                  <c:v>24周前
退出研究</c:v>
                </c:pt>
                <c:pt idx="2">
                  <c:v>24周时
缺失结果</c:v>
                </c:pt>
                <c:pt idx="3">
                  <c:v>总计</c:v>
                </c:pt>
              </c:strCache>
            </c:strRef>
          </c:cat>
          <c:val>
            <c:numRef>
              <c:f>Sheet1!$B$2:$B$5</c:f>
              <c:numCache>
                <c:formatCode>0.0%</c:formatCode>
                <c:ptCount val="4"/>
                <c:pt idx="0">
                  <c:v>0.17499999999999999</c:v>
                </c:pt>
                <c:pt idx="1">
                  <c:v>0.17199999999999999</c:v>
                </c:pt>
                <c:pt idx="2">
                  <c:v>2.8000000000000001E-2</c:v>
                </c:pt>
                <c:pt idx="3">
                  <c:v>0.375</c:v>
                </c:pt>
              </c:numCache>
            </c:numRef>
          </c:val>
          <c:extLst>
            <c:ext xmlns:c16="http://schemas.microsoft.com/office/drawing/2014/chart" uri="{C3380CC4-5D6E-409C-BE32-E72D297353CC}">
              <c16:uniqueId val="{00000000-D137-40F6-AF67-D37DE96FD7F4}"/>
            </c:ext>
          </c:extLst>
        </c:ser>
        <c:ser>
          <c:idx val="1"/>
          <c:order val="1"/>
          <c:tx>
            <c:strRef>
              <c:f>Sheet1!$C$1</c:f>
              <c:strCache>
                <c:ptCount val="1"/>
                <c:pt idx="0">
                  <c:v>安慰剂（N=170）</c:v>
                </c:pt>
              </c:strCache>
            </c:strRef>
          </c:tx>
          <c:spPr>
            <a:solidFill>
              <a:schemeClr val="bg1">
                <a:lumMod val="75000"/>
              </a:schemeClr>
            </a:solidFill>
            <a:ln>
              <a:noFill/>
            </a:ln>
            <a:effectLst/>
          </c:spPr>
          <c:invertIfNegative val="0"/>
          <c:dLbls>
            <c:dLbl>
              <c:idx val="0"/>
              <c:spPr>
                <a:noFill/>
                <a:ln>
                  <a:noFill/>
                </a:ln>
                <a:effectLst/>
              </c:spPr>
              <c:txPr>
                <a:bodyPr rot="0" spcFirstLastPara="1" vertOverflow="ellipsis" vert="horz" wrap="square" anchor="ctr" anchorCtr="1"/>
                <a:lstStyle/>
                <a:p>
                  <a:pPr>
                    <a:defRPr lang="zh-CN" sz="800" b="1"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dLblPos val="outEnd"/>
              <c:showLegendKey val="0"/>
              <c:showVal val="1"/>
              <c:showCatName val="0"/>
              <c:showSerName val="0"/>
              <c:showPercent val="0"/>
              <c:showBubbleSize val="0"/>
              <c:extLst>
                <c:ext xmlns:c16="http://schemas.microsoft.com/office/drawing/2014/chart" uri="{C3380CC4-5D6E-409C-BE32-E72D297353CC}">
                  <c16:uniqueId val="{00000000-22BB-4785-93E2-75AF0DC478F4}"/>
                </c:ext>
              </c:extLst>
            </c:dLbl>
            <c:dLbl>
              <c:idx val="3"/>
              <c:tx>
                <c:rich>
                  <a:bodyPr/>
                  <a:lstStyle/>
                  <a:p>
                    <a:r>
                      <a:rPr lang="en-US" altLang="zh-CN"/>
                      <a:t>60.6</a:t>
                    </a:r>
                    <a:endParaRPr lang="en-US" altLang="zh-CN" dirty="0"/>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A108-4AF5-BD29-1C7210C934FD}"/>
                </c:ext>
              </c:extLst>
            </c:dLbl>
            <c:spPr>
              <a:noFill/>
              <a:ln>
                <a:noFill/>
              </a:ln>
              <a:effectLst/>
            </c:spPr>
            <c:txPr>
              <a:bodyPr rot="0" spcFirstLastPara="1" vertOverflow="ellipsis" vert="horz" wrap="square" anchor="ctr" anchorCtr="1"/>
              <a:lstStyle/>
              <a:p>
                <a:pPr>
                  <a:defRPr lang="zh-CN" sz="8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有临床意义
的CMV感染</c:v>
                </c:pt>
                <c:pt idx="1">
                  <c:v>24周前
退出研究</c:v>
                </c:pt>
                <c:pt idx="2">
                  <c:v>24周时
缺失结果</c:v>
                </c:pt>
                <c:pt idx="3">
                  <c:v>总计</c:v>
                </c:pt>
              </c:strCache>
            </c:strRef>
          </c:cat>
          <c:val>
            <c:numRef>
              <c:f>Sheet1!$C$2:$C$5</c:f>
              <c:numCache>
                <c:formatCode>0.0%</c:formatCode>
                <c:ptCount val="4"/>
                <c:pt idx="0">
                  <c:v>0.41799999999999998</c:v>
                </c:pt>
                <c:pt idx="1">
                  <c:v>0.159</c:v>
                </c:pt>
                <c:pt idx="2">
                  <c:v>2.9000000000000001E-2</c:v>
                </c:pt>
                <c:pt idx="3">
                  <c:v>0.65600000000000003</c:v>
                </c:pt>
              </c:numCache>
            </c:numRef>
          </c:val>
          <c:extLst>
            <c:ext xmlns:c16="http://schemas.microsoft.com/office/drawing/2014/chart" uri="{C3380CC4-5D6E-409C-BE32-E72D297353CC}">
              <c16:uniqueId val="{00000001-D137-40F6-AF67-D37DE96FD7F4}"/>
            </c:ext>
          </c:extLst>
        </c:ser>
        <c:dLbls>
          <c:dLblPos val="outEnd"/>
          <c:showLegendKey val="0"/>
          <c:showVal val="1"/>
          <c:showCatName val="0"/>
          <c:showSerName val="0"/>
          <c:showPercent val="0"/>
          <c:showBubbleSize val="0"/>
        </c:dLbls>
        <c:gapWidth val="80"/>
        <c:axId val="734212112"/>
        <c:axId val="734231664"/>
      </c:barChart>
      <c:catAx>
        <c:axId val="734212112"/>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crossAx val="734231664"/>
        <c:crosses val="autoZero"/>
        <c:auto val="1"/>
        <c:lblAlgn val="ctr"/>
        <c:lblOffset val="100"/>
        <c:noMultiLvlLbl val="0"/>
      </c:catAx>
      <c:valAx>
        <c:axId val="734231664"/>
        <c:scaling>
          <c:orientation val="minMax"/>
          <c:max val="0.8"/>
        </c:scaling>
        <c:delete val="0"/>
        <c:axPos val="l"/>
        <c:title>
          <c:tx>
            <c:rich>
              <a:bodyPr rot="-540000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r>
                  <a:rPr lang="zh-CN"/>
                  <a:t>患者比例，</a:t>
                </a:r>
                <a:r>
                  <a:rPr lang="en-US"/>
                  <a:t>%</a:t>
                </a:r>
                <a:endParaRPr lang="zh-CN"/>
              </a:p>
            </c:rich>
          </c:tx>
          <c:layout>
            <c:manualLayout>
              <c:xMode val="edge"/>
              <c:yMode val="edge"/>
              <c:x val="9.4096730924759422E-3"/>
              <c:y val="0.3717200623231029"/>
            </c:manualLayout>
          </c:layout>
          <c:overlay val="0"/>
          <c:spPr>
            <a:noFill/>
            <a:ln>
              <a:noFill/>
            </a:ln>
            <a:effectLst/>
          </c:spPr>
          <c:txPr>
            <a:bodyPr rot="-540000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lang="zh-CN"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crossAx val="734212112"/>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legendEntry>
      <c:legendEntry>
        <c:idx val="1"/>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legendEntry>
      <c:layout>
        <c:manualLayout>
          <c:xMode val="edge"/>
          <c:yMode val="edge"/>
          <c:x val="0.2442609853810245"/>
          <c:y val="0.13280625089460876"/>
          <c:w val="0.32628495393328516"/>
          <c:h val="0.15548370619223634"/>
        </c:manualLayout>
      </c:layout>
      <c:overlay val="0"/>
      <c:spPr>
        <a:noFill/>
        <a:ln>
          <a:noFill/>
        </a:ln>
        <a:effectLst/>
      </c:spPr>
      <c:txPr>
        <a:bodyPr rot="0" spcFirstLastPara="1" vertOverflow="ellipsis" vert="horz" wrap="square" anchor="ctr" anchorCtr="1"/>
        <a:lstStyle/>
        <a:p>
          <a:pPr>
            <a:defRPr lang="zh-CN"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sym typeface="微软雅黑" panose="020B0503020204020204" pitchFamily="34" charset="-122"/>
            </a:defRPr>
          </a:pPr>
          <a:endParaRPr lang="zh-CN"/>
        </a:p>
      </c:txPr>
    </c:legend>
    <c:plotVisOnly val="1"/>
    <c:dispBlanksAs val="gap"/>
    <c:showDLblsOverMax val="0"/>
  </c:chart>
  <c:spPr>
    <a:noFill/>
    <a:ln>
      <a:noFill/>
    </a:ln>
    <a:effectLst/>
  </c:spPr>
  <c:txPr>
    <a:bodyPr/>
    <a:lstStyle/>
    <a:p>
      <a:pPr>
        <a:defRPr lang="zh-CN" sz="800" b="0">
          <a:latin typeface="微软雅黑" panose="020B0503020204020204" pitchFamily="34" charset="-122"/>
          <a:ea typeface="微软雅黑" panose="020B0503020204020204" pitchFamily="34" charset="-122"/>
          <a:sym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F703E24B-0045-4DB1-9F01-4C036B8E6C4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a:extLst>
              <a:ext uri="{FF2B5EF4-FFF2-40B4-BE49-F238E27FC236}">
                <a16:creationId xmlns:a16="http://schemas.microsoft.com/office/drawing/2014/main" id="{502A85BA-E093-443B-8E8D-2A19E01A3B7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903B8C8-75F4-4592-8DA5-43A811D24C01}" type="datetimeFigureOut">
              <a:rPr lang="zh-CN" altLang="en-US" smtClean="0"/>
              <a:t>以零售价计</a:t>
            </a:fld>
            <a:endParaRPr lang="zh-CN" altLang="en-US"/>
          </a:p>
        </p:txBody>
      </p:sp>
      <p:sp>
        <p:nvSpPr>
          <p:cNvPr id="4" name="页脚占位符 3">
            <a:extLst>
              <a:ext uri="{FF2B5EF4-FFF2-40B4-BE49-F238E27FC236}">
                <a16:creationId xmlns:a16="http://schemas.microsoft.com/office/drawing/2014/main" id="{37F5E480-1301-4C17-8DD4-123D24E9D5F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a:extLst>
              <a:ext uri="{FF2B5EF4-FFF2-40B4-BE49-F238E27FC236}">
                <a16:creationId xmlns:a16="http://schemas.microsoft.com/office/drawing/2014/main" id="{D6312111-32DE-475F-9C17-70192D47EC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AA4F044-D9A3-42F4-8F29-BAFEB25CDB14}" type="slidenum">
              <a:rPr lang="zh-CN" altLang="en-US" smtClean="0"/>
              <a:t>‹#›</a:t>
            </a:fld>
            <a:endParaRPr lang="zh-CN" altLang="en-US"/>
          </a:p>
        </p:txBody>
      </p:sp>
    </p:spTree>
    <p:extLst>
      <p:ext uri="{BB962C8B-B14F-4D97-AF65-F5344CB8AC3E}">
        <p14:creationId xmlns:p14="http://schemas.microsoft.com/office/powerpoint/2010/main" val="29949804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7CB02E-2A7D-4402-BEE3-C115291C3E44}" type="datetimeFigureOut">
              <a:rPr lang="en-US" smtClean="0"/>
              <a:t>7/13/2022</a:t>
            </a:fld>
            <a:endParaRPr 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6A36B74-9565-43C9-81B8-09483DEA8466}" type="slidenum">
              <a:rPr lang="en-US" smtClean="0"/>
              <a:t>‹#›</a:t>
            </a:fld>
            <a:endParaRPr lang="en-US"/>
          </a:p>
        </p:txBody>
      </p:sp>
    </p:spTree>
    <p:extLst>
      <p:ext uri="{BB962C8B-B14F-4D97-AF65-F5344CB8AC3E}">
        <p14:creationId xmlns:p14="http://schemas.microsoft.com/office/powerpoint/2010/main" val="2937467308"/>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1</a:t>
            </a:fld>
            <a:endParaRPr lang="en-US"/>
          </a:p>
        </p:txBody>
      </p:sp>
    </p:spTree>
    <p:extLst>
      <p:ext uri="{BB962C8B-B14F-4D97-AF65-F5344CB8AC3E}">
        <p14:creationId xmlns:p14="http://schemas.microsoft.com/office/powerpoint/2010/main" val="4193419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2</a:t>
            </a:fld>
            <a:endParaRPr lang="en-US"/>
          </a:p>
        </p:txBody>
      </p:sp>
    </p:spTree>
    <p:extLst>
      <p:ext uri="{BB962C8B-B14F-4D97-AF65-F5344CB8AC3E}">
        <p14:creationId xmlns:p14="http://schemas.microsoft.com/office/powerpoint/2010/main" val="22296129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Font typeface="+mj-lt"/>
              <a:buNone/>
            </a:pPr>
            <a:endParaRPr lang="zh-CN" altLang="en-US" dirty="0"/>
          </a:p>
        </p:txBody>
      </p:sp>
      <p:sp>
        <p:nvSpPr>
          <p:cNvPr id="4" name="灯片编号占位符 3"/>
          <p:cNvSpPr>
            <a:spLocks noGrp="1"/>
          </p:cNvSpPr>
          <p:nvPr>
            <p:ph type="sldNum" sz="quarter" idx="10"/>
          </p:nvPr>
        </p:nvSpPr>
        <p:spPr/>
        <p:txBody>
          <a:bodyPr/>
          <a:lstStyle/>
          <a:p>
            <a:fld id="{46A36B74-9565-43C9-81B8-09483DEA8466}" type="slidenum">
              <a:rPr lang="en-US" smtClean="0"/>
              <a:t>3</a:t>
            </a:fld>
            <a:endParaRPr lang="en-US"/>
          </a:p>
        </p:txBody>
      </p:sp>
    </p:spTree>
    <p:extLst>
      <p:ext uri="{BB962C8B-B14F-4D97-AF65-F5344CB8AC3E}">
        <p14:creationId xmlns:p14="http://schemas.microsoft.com/office/powerpoint/2010/main" val="2518705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46A36B74-9565-43C9-81B8-09483DEA8466}" type="slidenum">
              <a:rPr lang="en-US" smtClean="0"/>
              <a:t>4</a:t>
            </a:fld>
            <a:endParaRPr lang="en-US"/>
          </a:p>
        </p:txBody>
      </p:sp>
    </p:spTree>
    <p:extLst>
      <p:ext uri="{BB962C8B-B14F-4D97-AF65-F5344CB8AC3E}">
        <p14:creationId xmlns:p14="http://schemas.microsoft.com/office/powerpoint/2010/main" val="3890500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5</a:t>
            </a:fld>
            <a:endParaRPr lang="en-US"/>
          </a:p>
        </p:txBody>
      </p:sp>
    </p:spTree>
    <p:extLst>
      <p:ext uri="{BB962C8B-B14F-4D97-AF65-F5344CB8AC3E}">
        <p14:creationId xmlns:p14="http://schemas.microsoft.com/office/powerpoint/2010/main" val="36185621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zh-CN" altLang="en-US" sz="1200" b="1" dirty="0">
              <a:solidFill>
                <a:srgbClr val="2E3033"/>
              </a:solidFill>
              <a:latin typeface="Arial" panose="020B0604020202020204" pitchFamily="34" charset="0"/>
              <a:ea typeface="微软雅黑" panose="020B0503020204020204" pitchFamily="34" charset="-122"/>
              <a:cs typeface="+mn-ea"/>
              <a:sym typeface="Arial" panose="020B0604020202020204" pitchFamily="34" charset="0"/>
            </a:endParaRPr>
          </a:p>
          <a:p>
            <a:endParaRPr lang="zh-CN" altLang="en-US" dirty="0"/>
          </a:p>
        </p:txBody>
      </p:sp>
      <p:sp>
        <p:nvSpPr>
          <p:cNvPr id="4" name="灯片编号占位符 3"/>
          <p:cNvSpPr>
            <a:spLocks noGrp="1"/>
          </p:cNvSpPr>
          <p:nvPr>
            <p:ph type="sldNum" sz="quarter" idx="10"/>
          </p:nvPr>
        </p:nvSpPr>
        <p:spPr/>
        <p:txBody>
          <a:bodyPr/>
          <a:lstStyle/>
          <a:p>
            <a:fld id="{46A36B74-9565-43C9-81B8-09483DEA8466}" type="slidenum">
              <a:rPr lang="en-US" smtClean="0"/>
              <a:t>6</a:t>
            </a:fld>
            <a:endParaRPr lang="en-US"/>
          </a:p>
        </p:txBody>
      </p:sp>
    </p:spTree>
    <p:extLst>
      <p:ext uri="{BB962C8B-B14F-4D97-AF65-F5344CB8AC3E}">
        <p14:creationId xmlns:p14="http://schemas.microsoft.com/office/powerpoint/2010/main" val="2185139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页眉占位符 3"/>
          <p:cNvSpPr>
            <a:spLocks noGrp="1"/>
          </p:cNvSpPr>
          <p:nvPr>
            <p:ph type="hdr" sz="quarter"/>
          </p:nvPr>
        </p:nvSpPr>
        <p:spPr/>
        <p:txBody>
          <a:bodyPr/>
          <a:lstStyle/>
          <a:p>
            <a:endParaRPr lang="en-US"/>
          </a:p>
        </p:txBody>
      </p:sp>
      <p:sp>
        <p:nvSpPr>
          <p:cNvPr id="5" name="页脚占位符 4"/>
          <p:cNvSpPr>
            <a:spLocks noGrp="1"/>
          </p:cNvSpPr>
          <p:nvPr>
            <p:ph type="ftr" sz="quarter" idx="4"/>
          </p:nvPr>
        </p:nvSpPr>
        <p:spPr/>
        <p:txBody>
          <a:bodyPr/>
          <a:lstStyle/>
          <a:p>
            <a:endParaRPr lang="en-US"/>
          </a:p>
        </p:txBody>
      </p:sp>
      <p:sp>
        <p:nvSpPr>
          <p:cNvPr id="6" name="灯片编号占位符 5"/>
          <p:cNvSpPr>
            <a:spLocks noGrp="1"/>
          </p:cNvSpPr>
          <p:nvPr>
            <p:ph type="sldNum" sz="quarter" idx="5"/>
          </p:nvPr>
        </p:nvSpPr>
        <p:spPr/>
        <p:txBody>
          <a:bodyPr/>
          <a:lstStyle/>
          <a:p>
            <a:fld id="{46A36B74-9565-43C9-81B8-09483DEA8466}" type="slidenum">
              <a:rPr lang="en-US" smtClean="0"/>
              <a:t>7</a:t>
            </a:fld>
            <a:endParaRPr lang="en-US"/>
          </a:p>
        </p:txBody>
      </p:sp>
    </p:spTree>
    <p:extLst>
      <p:ext uri="{BB962C8B-B14F-4D97-AF65-F5344CB8AC3E}">
        <p14:creationId xmlns:p14="http://schemas.microsoft.com/office/powerpoint/2010/main" val="32477093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6A36B74-9565-43C9-81B8-09483DEA8466}" type="slidenum">
              <a:rPr lang="en-US" smtClean="0"/>
              <a:t>8</a:t>
            </a:fld>
            <a:endParaRPr lang="en-US"/>
          </a:p>
        </p:txBody>
      </p:sp>
    </p:spTree>
    <p:extLst>
      <p:ext uri="{BB962C8B-B14F-4D97-AF65-F5344CB8AC3E}">
        <p14:creationId xmlns:p14="http://schemas.microsoft.com/office/powerpoint/2010/main" val="2209489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46A36B74-9565-43C9-81B8-09483DEA8466}" type="slidenum">
              <a:rPr lang="en-US" smtClean="0"/>
              <a:t>9</a:t>
            </a:fld>
            <a:endParaRPr lang="en-US"/>
          </a:p>
        </p:txBody>
      </p:sp>
    </p:spTree>
    <p:extLst>
      <p:ext uri="{BB962C8B-B14F-4D97-AF65-F5344CB8AC3E}">
        <p14:creationId xmlns:p14="http://schemas.microsoft.com/office/powerpoint/2010/main" val="13027962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3" name="图片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607556" y="9266"/>
            <a:ext cx="1584444" cy="1121034"/>
          </a:xfrm>
          <a:prstGeom prst="rect">
            <a:avLst/>
          </a:prstGeom>
        </p:spPr>
      </p:pic>
      <p:sp>
        <p:nvSpPr>
          <p:cNvPr id="2" name="Title 1"/>
          <p:cNvSpPr>
            <a:spLocks noGrp="1"/>
          </p:cNvSpPr>
          <p:nvPr>
            <p:ph type="title"/>
          </p:nvPr>
        </p:nvSpPr>
        <p:spPr>
          <a:xfrm>
            <a:off x="482600" y="280193"/>
            <a:ext cx="11214100" cy="850107"/>
          </a:xfrm>
        </p:spPr>
        <p:txBody>
          <a:bodyPr/>
          <a:lstStyle>
            <a:lvl1pPr>
              <a:defRPr b="1">
                <a:solidFill>
                  <a:schemeClr val="accent1">
                    <a:lumMod val="75000"/>
                  </a:schemeClr>
                </a:solidFill>
                <a:latin typeface="微软雅黑" panose="020B0503020204020204" pitchFamily="34" charset="-122"/>
                <a:ea typeface="微软雅黑" panose="020B0503020204020204" pitchFamily="34" charset="-122"/>
              </a:defRPr>
            </a:lvl1pPr>
          </a:lstStyle>
          <a:p>
            <a:r>
              <a:rPr lang="zh-CN" altLang="en-US" dirty="0"/>
              <a:t>单击此处编辑母版标题样式</a:t>
            </a:r>
            <a:endParaRPr lang="en-US" dirty="0"/>
          </a:p>
        </p:txBody>
      </p:sp>
    </p:spTree>
    <p:extLst>
      <p:ext uri="{BB962C8B-B14F-4D97-AF65-F5344CB8AC3E}">
        <p14:creationId xmlns:p14="http://schemas.microsoft.com/office/powerpoint/2010/main" val="233469948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pic>
        <p:nvPicPr>
          <p:cNvPr id="5" name="内容占位符 5" descr="背景图案&#10;&#10;描述已自动生成">
            <a:extLst>
              <a:ext uri="{FF2B5EF4-FFF2-40B4-BE49-F238E27FC236}">
                <a16:creationId xmlns:a16="http://schemas.microsoft.com/office/drawing/2014/main" id="{646F9B45-6C69-A8ED-C33A-AC630BC85E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1"/>
          </a:xfrm>
          <a:prstGeom prst="rect">
            <a:avLst/>
          </a:prstGeom>
        </p:spPr>
      </p:pic>
      <p:pic>
        <p:nvPicPr>
          <p:cNvPr id="8" name="bjClassifierImageBottom">
            <a:extLst>
              <a:ext uri="{FF2B5EF4-FFF2-40B4-BE49-F238E27FC236}">
                <a16:creationId xmlns:a16="http://schemas.microsoft.com/office/drawing/2014/main" id="{1DDF4E91-8CCE-4D13-A8A0-314EAD1D7B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3500" y="6468336"/>
            <a:ext cx="792549" cy="326164"/>
          </a:xfrm>
          <a:prstGeom prst="rect">
            <a:avLst/>
          </a:prstGeom>
        </p:spPr>
      </p:pic>
    </p:spTree>
    <p:extLst>
      <p:ext uri="{BB962C8B-B14F-4D97-AF65-F5344CB8AC3E}">
        <p14:creationId xmlns:p14="http://schemas.microsoft.com/office/powerpoint/2010/main" val="304382356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FC4DA23-4C8A-4C1D-B2D9-1845BFBE8809}"/>
              </a:ext>
            </a:extLst>
          </p:cNvPr>
          <p:cNvGraphicFramePr>
            <a:graphicFrameLocks noChangeAspect="1"/>
          </p:cNvGraphicFramePr>
          <p:nvPr userDrawn="1">
            <p:custDataLst>
              <p:tags r:id="rId4"/>
            </p:custDataLst>
            <p:extLst>
              <p:ext uri="{D42A27DB-BD31-4B8C-83A1-F6EECF244321}">
                <p14:modId xmlns:p14="http://schemas.microsoft.com/office/powerpoint/2010/main" val="1490884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16" imgH="416" progId="TCLayout.ActiveDocument.1">
                  <p:embed/>
                </p:oleObj>
              </mc:Choice>
              <mc:Fallback>
                <p:oleObj name="think-cell 幻灯片" r:id="rId5" imgW="416" imgH="416" progId="TCLayout.ActiveDocument.1">
                  <p:embed/>
                  <p:pic>
                    <p:nvPicPr>
                      <p:cNvPr id="7" name="对象 6" hidden="1">
                        <a:extLst>
                          <a:ext uri="{FF2B5EF4-FFF2-40B4-BE49-F238E27FC236}">
                            <a16:creationId xmlns:a16="http://schemas.microsoft.com/office/drawing/2014/main" id="{FFC4DA23-4C8A-4C1D-B2D9-1845BFBE88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2600" y="270976"/>
            <a:ext cx="7523163" cy="850107"/>
          </a:xfrm>
          <a:prstGeom prst="rect">
            <a:avLst/>
          </a:prstGeom>
        </p:spPr>
        <p:txBody>
          <a:bodyPr vert="horz" lIns="0" tIns="0" rIns="0" bIns="0" rtlCol="0" anchor="ctr">
            <a:noAutofit/>
          </a:bodyPr>
          <a:lstStyle/>
          <a:p>
            <a:r>
              <a:rPr lang="zh-CN" altLang="en-US" dirty="0"/>
              <a:t>单击此处编辑母版标题样式</a:t>
            </a:r>
            <a:endParaRPr lang="en-US" dirty="0"/>
          </a:p>
        </p:txBody>
      </p:sp>
      <p:sp>
        <p:nvSpPr>
          <p:cNvPr id="3" name="Text Placeholder 2"/>
          <p:cNvSpPr>
            <a:spLocks noGrp="1"/>
          </p:cNvSpPr>
          <p:nvPr>
            <p:ph type="body" idx="1"/>
          </p:nvPr>
        </p:nvSpPr>
        <p:spPr>
          <a:xfrm>
            <a:off x="482600" y="1280806"/>
            <a:ext cx="11214100" cy="4456111"/>
          </a:xfrm>
          <a:prstGeom prst="rect">
            <a:avLst/>
          </a:prstGeom>
        </p:spPr>
        <p:txBody>
          <a:bodyPr vert="horz" lIns="0" tIns="0" rIns="0" bIns="0" rtlCol="0" anchor="t">
            <a:no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endParaRPr lang="en-US" dirty="0"/>
          </a:p>
        </p:txBody>
      </p:sp>
      <p:sp>
        <p:nvSpPr>
          <p:cNvPr id="4" name="Date Placeholder 3"/>
          <p:cNvSpPr>
            <a:spLocks noGrp="1"/>
          </p:cNvSpPr>
          <p:nvPr>
            <p:ph type="dt" sz="half" idx="2"/>
          </p:nvPr>
        </p:nvSpPr>
        <p:spPr>
          <a:xfrm>
            <a:off x="8217755" y="6480175"/>
            <a:ext cx="722264" cy="216000"/>
          </a:xfrm>
          <a:prstGeom prst="rect">
            <a:avLst/>
          </a:prstGeom>
        </p:spPr>
        <p:txBody>
          <a:bodyPr vert="horz" lIns="0" tIns="0" rIns="0" bIns="0" rtlCol="0" anchor="ctr">
            <a:noAutofit/>
          </a:bodyPr>
          <a:lstStyle>
            <a:lvl1pPr algn="l">
              <a:defRPr sz="700">
                <a:solidFill>
                  <a:srgbClr val="9EA7B3"/>
                </a:solidFill>
              </a:defRPr>
            </a:lvl1pPr>
          </a:lstStyle>
          <a:p>
            <a:endParaRPr lang="en-GB" dirty="0"/>
          </a:p>
        </p:txBody>
      </p:sp>
      <p:sp>
        <p:nvSpPr>
          <p:cNvPr id="5" name="Footer Placeholder 4"/>
          <p:cNvSpPr>
            <a:spLocks noGrp="1"/>
          </p:cNvSpPr>
          <p:nvPr>
            <p:ph type="ftr" sz="quarter" idx="3"/>
          </p:nvPr>
        </p:nvSpPr>
        <p:spPr>
          <a:xfrm>
            <a:off x="378619" y="6480175"/>
            <a:ext cx="4114844" cy="214158"/>
          </a:xfrm>
          <a:prstGeom prst="rect">
            <a:avLst/>
          </a:prstGeom>
        </p:spPr>
        <p:txBody>
          <a:bodyPr vert="horz" lIns="0" tIns="0" rIns="0" bIns="0" rtlCol="0" anchor="ctr">
            <a:noAutofit/>
          </a:bodyPr>
          <a:lstStyle>
            <a:lvl1pPr algn="l">
              <a:defRPr sz="700" cap="all" baseline="0">
                <a:solidFill>
                  <a:srgbClr val="9EA7B3"/>
                </a:solidFill>
              </a:defRPr>
            </a:lvl1pPr>
          </a:lstStyle>
          <a:p>
            <a:endParaRPr lang="en-GB" dirty="0"/>
          </a:p>
        </p:txBody>
      </p:sp>
      <p:sp>
        <p:nvSpPr>
          <p:cNvPr id="6" name="Slide Number Placeholder 5"/>
          <p:cNvSpPr>
            <a:spLocks noGrp="1"/>
          </p:cNvSpPr>
          <p:nvPr>
            <p:ph type="sldNum" sz="quarter" idx="4"/>
          </p:nvPr>
        </p:nvSpPr>
        <p:spPr>
          <a:xfrm>
            <a:off x="11584744" y="6480175"/>
            <a:ext cx="229431" cy="216000"/>
          </a:xfrm>
          <a:prstGeom prst="rect">
            <a:avLst/>
          </a:prstGeom>
        </p:spPr>
        <p:txBody>
          <a:bodyPr vert="horz" lIns="0" tIns="0" rIns="0" bIns="0" rtlCol="0" anchor="ctr">
            <a:noAutofit/>
          </a:bodyPr>
          <a:lstStyle>
            <a:lvl1pPr algn="r">
              <a:defRPr sz="700">
                <a:solidFill>
                  <a:srgbClr val="9EA7B3"/>
                </a:solidFill>
              </a:defRPr>
            </a:lvl1pPr>
          </a:lstStyle>
          <a:p>
            <a:fld id="{29CC380D-5F44-41E8-971E-CDD19ED6F8E3}" type="slidenum">
              <a:rPr lang="en-GB" smtClean="0"/>
              <a:pPr/>
              <a:t>‹#›</a:t>
            </a:fld>
            <a:endParaRPr lang="en-GB" dirty="0"/>
          </a:p>
        </p:txBody>
      </p:sp>
      <p:cxnSp>
        <p:nvCxnSpPr>
          <p:cNvPr id="8" name="Straight Connector 7">
            <a:extLst>
              <a:ext uri="{FF2B5EF4-FFF2-40B4-BE49-F238E27FC236}">
                <a16:creationId xmlns:a16="http://schemas.microsoft.com/office/drawing/2014/main" id="{EA4A57FA-CBE0-4527-848B-CD3B986A4345}"/>
              </a:ext>
            </a:extLst>
          </p:cNvPr>
          <p:cNvCxnSpPr/>
          <p:nvPr userDrawn="1"/>
        </p:nvCxnSpPr>
        <p:spPr>
          <a:xfrm>
            <a:off x="371475" y="1136101"/>
            <a:ext cx="11436350" cy="0"/>
          </a:xfrm>
          <a:prstGeom prst="line">
            <a:avLst/>
          </a:prstGeom>
          <a:ln w="317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D66206D-F5D5-4F9C-AAB1-32FBC26BE269}"/>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p:blipFill>
        <p:spPr>
          <a:xfrm>
            <a:off x="10821600" y="6478419"/>
            <a:ext cx="581849" cy="217577"/>
          </a:xfrm>
          <a:prstGeom prst="rect">
            <a:avLst/>
          </a:prstGeom>
        </p:spPr>
      </p:pic>
    </p:spTree>
    <p:extLst>
      <p:ext uri="{BB962C8B-B14F-4D97-AF65-F5344CB8AC3E}">
        <p14:creationId xmlns:p14="http://schemas.microsoft.com/office/powerpoint/2010/main" val="2591711165"/>
      </p:ext>
    </p:extLst>
  </p:cSld>
  <p:clrMap bg1="lt1" tx1="dk1" bg2="lt2" tx2="dk2" accent1="accent1" accent2="accent2" accent3="accent3" accent4="accent4" accent5="accent5" accent6="accent6" hlink="hlink" folHlink="folHlink"/>
  <p:sldLayoutIdLst>
    <p:sldLayoutId id="2147483662" r:id="rId1"/>
    <p:sldLayoutId id="2147483663" r:id="rId2"/>
  </p:sldLayoutIdLst>
  <p:transition>
    <p:fade/>
  </p:transition>
  <p:hf hdr="0" ftr="0" dt="0"/>
  <p:txStyles>
    <p:titleStyle>
      <a:lvl1pPr algn="l" defTabSz="914400" rtl="0" eaLnBrk="1" latinLnBrk="0" hangingPunct="1">
        <a:lnSpc>
          <a:spcPct val="90000"/>
        </a:lnSpc>
        <a:spcBef>
          <a:spcPct val="0"/>
        </a:spcBef>
        <a:buNone/>
        <a:defRPr sz="2750" kern="1200">
          <a:solidFill>
            <a:schemeClr val="accent4"/>
          </a:solidFill>
          <a:latin typeface="微软雅黑" panose="020B0503020204020204" pitchFamily="34" charset="-122"/>
          <a:ea typeface="微软雅黑" panose="020B0503020204020204" pitchFamily="34" charset="-122"/>
          <a:cs typeface="+mj-cs"/>
        </a:defRPr>
      </a:lvl1pPr>
    </p:titleStyle>
    <p:bodyStyle>
      <a:lvl1pPr marL="0" indent="0" algn="l" defTabSz="914400" rtl="0" eaLnBrk="1" latinLnBrk="0" hangingPunct="1">
        <a:lnSpc>
          <a:spcPct val="100000"/>
        </a:lnSpc>
        <a:spcBef>
          <a:spcPts val="0"/>
        </a:spcBef>
        <a:spcAft>
          <a:spcPts val="1600"/>
        </a:spcAft>
        <a:buFont typeface="Arial" panose="020B0604020202020204" pitchFamily="34" charset="0"/>
        <a:buNone/>
        <a:defRPr sz="1200" kern="1200">
          <a:solidFill>
            <a:schemeClr val="accent4"/>
          </a:solidFill>
          <a:latin typeface="微软雅黑" panose="020B0503020204020204" pitchFamily="34" charset="-122"/>
          <a:ea typeface="微软雅黑" panose="020B0503020204020204" pitchFamily="34" charset="-122"/>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b="0" kern="1200">
          <a:solidFill>
            <a:schemeClr val="accent4"/>
          </a:solidFill>
          <a:latin typeface="微软雅黑" panose="020B0503020204020204" pitchFamily="34" charset="-122"/>
          <a:ea typeface="微软雅黑" panose="020B0503020204020204" pitchFamily="34" charset="-122"/>
          <a:cs typeface="+mn-cs"/>
        </a:defRPr>
      </a:lvl2pPr>
      <a:lvl3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微软雅黑" panose="020B0503020204020204" pitchFamily="34" charset="-122"/>
          <a:ea typeface="微软雅黑" panose="020B0503020204020204" pitchFamily="34" charset="-122"/>
          <a:cs typeface="+mn-cs"/>
        </a:defRPr>
      </a:lvl3pPr>
      <a:lvl4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微软雅黑" panose="020B0503020204020204" pitchFamily="34" charset="-122"/>
          <a:ea typeface="微软雅黑" panose="020B0503020204020204" pitchFamily="34" charset="-122"/>
          <a:cs typeface="+mn-cs"/>
        </a:defRPr>
      </a:lvl4pPr>
      <a:lvl5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kern="1200">
          <a:solidFill>
            <a:schemeClr val="accent4"/>
          </a:solidFill>
          <a:latin typeface="微软雅黑" panose="020B0503020204020204" pitchFamily="34" charset="-122"/>
          <a:ea typeface="微软雅黑" panose="020B0503020204020204" pitchFamily="34" charset="-122"/>
          <a:cs typeface="+mn-cs"/>
        </a:defRPr>
      </a:lvl5pPr>
      <a:lvl6pPr marL="216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6pPr>
      <a:lvl7pPr marL="324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4" userDrawn="1">
          <p15:clr>
            <a:srgbClr val="F26B43"/>
          </p15:clr>
        </p15:guide>
        <p15:guide id="2" pos="7368" userDrawn="1">
          <p15:clr>
            <a:srgbClr val="F26B43"/>
          </p15:clr>
        </p15:guide>
        <p15:guide id="3" orient="horz" pos="648" userDrawn="1">
          <p15:clr>
            <a:srgbClr val="F26B43"/>
          </p15:clr>
        </p15:guide>
        <p15:guide id="4" orient="horz" pos="712" userDrawn="1">
          <p15:clr>
            <a:srgbClr val="F26B43"/>
          </p15:clr>
        </p15:guide>
        <p15:guide id="5" orient="horz" pos="4056" userDrawn="1">
          <p15:clr>
            <a:srgbClr val="F26B43"/>
          </p15:clr>
        </p15:guide>
        <p15:guide id="6" orient="horz" pos="39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1.xml"/><Relationship Id="rId7" Type="http://schemas.openxmlformats.org/officeDocument/2006/relationships/chart" Target="../charts/chart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10.pn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4.bin"/><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microsoft.com/office/2007/relationships/hdphoto" Target="../media/hdphoto1.wdp"/><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a:extLst>
              <a:ext uri="{FF2B5EF4-FFF2-40B4-BE49-F238E27FC236}">
                <a16:creationId xmlns:a16="http://schemas.microsoft.com/office/drawing/2014/main" id="{FEE656D2-9694-47FF-8190-742B3348674B}"/>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1</a:t>
            </a:fld>
            <a:endParaRPr lang="en-GB" dirty="0">
              <a:latin typeface="Arial" panose="020B0604020202020204" pitchFamily="34" charset="0"/>
              <a:ea typeface="微软雅黑" panose="020B0503020204020204" pitchFamily="34" charset="-122"/>
              <a:sym typeface="Arial" panose="020B0604020202020204" pitchFamily="34" charset="0"/>
            </a:endParaRPr>
          </a:p>
        </p:txBody>
      </p:sp>
      <p:sp>
        <p:nvSpPr>
          <p:cNvPr id="10" name="文本框 9">
            <a:extLst>
              <a:ext uri="{FF2B5EF4-FFF2-40B4-BE49-F238E27FC236}">
                <a16:creationId xmlns:a16="http://schemas.microsoft.com/office/drawing/2014/main" id="{C25033A0-FC7C-B653-E7AF-A4FBF5BB4599}"/>
              </a:ext>
            </a:extLst>
          </p:cNvPr>
          <p:cNvSpPr txBox="1"/>
          <p:nvPr/>
        </p:nvSpPr>
        <p:spPr>
          <a:xfrm>
            <a:off x="3154333" y="1456975"/>
            <a:ext cx="8204063" cy="830997"/>
          </a:xfrm>
          <a:prstGeom prst="rect">
            <a:avLst/>
          </a:prstGeom>
          <a:noFill/>
        </p:spPr>
        <p:txBody>
          <a:bodyPr wrap="square">
            <a:spAutoFit/>
          </a:bodyPr>
          <a:lstStyle/>
          <a:p>
            <a:pPr algn="ctr"/>
            <a:r>
              <a:rPr lang="zh-CN" altLang="en-US" sz="48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来特莫韦片</a:t>
            </a:r>
          </a:p>
        </p:txBody>
      </p:sp>
      <p:sp>
        <p:nvSpPr>
          <p:cNvPr id="11" name="文本框 10">
            <a:extLst>
              <a:ext uri="{FF2B5EF4-FFF2-40B4-BE49-F238E27FC236}">
                <a16:creationId xmlns:a16="http://schemas.microsoft.com/office/drawing/2014/main" id="{90CB0220-C132-EEB4-0DF2-2C7ECD456459}"/>
              </a:ext>
            </a:extLst>
          </p:cNvPr>
          <p:cNvSpPr txBox="1"/>
          <p:nvPr/>
        </p:nvSpPr>
        <p:spPr>
          <a:xfrm>
            <a:off x="3436234" y="3483586"/>
            <a:ext cx="7640262" cy="1077218"/>
          </a:xfrm>
          <a:prstGeom prst="rect">
            <a:avLst/>
          </a:prstGeom>
          <a:noFill/>
        </p:spPr>
        <p:txBody>
          <a:bodyPr wrap="square">
            <a:spAutoFit/>
          </a:bodyPr>
          <a:lstStyle/>
          <a:p>
            <a:pPr algn="ctr"/>
            <a:r>
              <a:rPr lang="zh-CN" altLang="en-US" sz="24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全球首个且目前唯一</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获批用于接受异基因造血干细胞移植</a:t>
            </a:r>
            <a:r>
              <a:rPr lang="en-US" altLang="zh-CN" sz="2000" dirty="0">
                <a:solidFill>
                  <a:schemeClr val="bg1"/>
                </a:solidFill>
                <a:latin typeface="Arial" panose="020B0604020202020204" pitchFamily="34" charset="0"/>
                <a:ea typeface="微软雅黑" panose="020B0503020204020204" pitchFamily="34" charset="-122"/>
                <a:sym typeface="Arial" panose="020B0604020202020204" pitchFamily="34" charset="0"/>
              </a:rPr>
              <a:t>(HSCT)</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的巨细胞病毒</a:t>
            </a:r>
            <a:r>
              <a:rPr lang="en-US" altLang="zh-CN" sz="2000" dirty="0">
                <a:solidFill>
                  <a:schemeClr val="bg1"/>
                </a:solidFill>
                <a:latin typeface="Arial" panose="020B0604020202020204" pitchFamily="34" charset="0"/>
                <a:ea typeface="微软雅黑" panose="020B0503020204020204" pitchFamily="34" charset="-122"/>
                <a:sym typeface="Arial" panose="020B0604020202020204" pitchFamily="34" charset="0"/>
              </a:rPr>
              <a:t>(CMV)</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血清学阳性的成人受者</a:t>
            </a:r>
            <a:r>
              <a:rPr lang="en-US" altLang="zh-CN" sz="2000" dirty="0">
                <a:solidFill>
                  <a:schemeClr val="bg1"/>
                </a:solidFill>
                <a:latin typeface="Arial" panose="020B0604020202020204" pitchFamily="34" charset="0"/>
                <a:ea typeface="微软雅黑" panose="020B0503020204020204" pitchFamily="34" charset="-122"/>
                <a:sym typeface="Arial" panose="020B0604020202020204" pitchFamily="34" charset="0"/>
              </a:rPr>
              <a:t>[R+]</a:t>
            </a:r>
            <a:r>
              <a:rPr lang="zh-CN" altLang="en-US" sz="2000" dirty="0">
                <a:solidFill>
                  <a:schemeClr val="bg1"/>
                </a:solidFill>
                <a:latin typeface="Arial" panose="020B0604020202020204" pitchFamily="34" charset="0"/>
                <a:ea typeface="微软雅黑" panose="020B0503020204020204" pitchFamily="34" charset="-122"/>
                <a:sym typeface="Arial" panose="020B0604020202020204" pitchFamily="34" charset="0"/>
              </a:rPr>
              <a:t>预防巨细胞病毒感染和巨细胞病毒病</a:t>
            </a:r>
            <a:r>
              <a:rPr lang="zh-CN" altLang="en-US" sz="2000" baseline="30000" dirty="0">
                <a:solidFill>
                  <a:schemeClr val="bg1"/>
                </a:solidFill>
                <a:latin typeface="Arial" panose="020B0604020202020204" pitchFamily="34" charset="0"/>
                <a:ea typeface="微软雅黑" panose="020B0503020204020204" pitchFamily="34" charset="-122"/>
                <a:sym typeface="Arial" panose="020B0604020202020204" pitchFamily="34" charset="0"/>
              </a:rPr>
              <a:t>1-</a:t>
            </a:r>
            <a:r>
              <a:rPr lang="en-US" altLang="zh-CN" sz="2000" baseline="30000" dirty="0">
                <a:solidFill>
                  <a:schemeClr val="bg1"/>
                </a:solidFill>
                <a:latin typeface="Arial" panose="020B0604020202020204" pitchFamily="34" charset="0"/>
                <a:ea typeface="微软雅黑" panose="020B0503020204020204" pitchFamily="34" charset="-122"/>
                <a:sym typeface="Arial" panose="020B0604020202020204" pitchFamily="34" charset="0"/>
              </a:rPr>
              <a:t>2</a:t>
            </a:r>
            <a:endParaRPr lang="zh-CN" altLang="en-US" sz="2000" baseline="30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2" name="文本框 11">
            <a:extLst>
              <a:ext uri="{FF2B5EF4-FFF2-40B4-BE49-F238E27FC236}">
                <a16:creationId xmlns:a16="http://schemas.microsoft.com/office/drawing/2014/main" id="{043086E8-B964-D860-81E5-D76144351E34}"/>
              </a:ext>
            </a:extLst>
          </p:cNvPr>
          <p:cNvSpPr txBox="1"/>
          <p:nvPr/>
        </p:nvSpPr>
        <p:spPr>
          <a:xfrm>
            <a:off x="3215139" y="2652589"/>
            <a:ext cx="8082452" cy="369332"/>
          </a:xfrm>
          <a:prstGeom prst="rect">
            <a:avLst/>
          </a:prstGeom>
          <a:noFill/>
        </p:spPr>
        <p:txBody>
          <a:bodyPr wrap="square">
            <a:spAutoFit/>
          </a:bodyPr>
          <a:lstStyle/>
          <a:p>
            <a:pPr algn="dist"/>
            <a:r>
              <a:rPr lang="zh-CN" altLang="en-US" dirty="0">
                <a:solidFill>
                  <a:schemeClr val="bg1"/>
                </a:solidFill>
                <a:latin typeface="Arial" panose="020B0604020202020204" pitchFamily="34" charset="0"/>
                <a:ea typeface="微软雅黑" panose="020B0503020204020204" pitchFamily="34" charset="-122"/>
                <a:sym typeface="Arial" panose="020B0604020202020204" pitchFamily="34" charset="0"/>
              </a:rPr>
              <a:t>改变巨细胞病毒(CMV)管理格局，从被动治疗前移至主动预防</a:t>
            </a:r>
            <a:endParaRPr lang="en-US" altLang="zh-CN"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7" name="图片 6"/>
          <p:cNvPicPr>
            <a:picLocks noChangeAspect="1"/>
          </p:cNvPicPr>
          <p:nvPr/>
        </p:nvPicPr>
        <p:blipFill>
          <a:blip r:embed="rId3" cstate="hqprint">
            <a:biLevel thresh="25000"/>
            <a:extLst>
              <a:ext uri="{28A0092B-C50C-407E-A947-70E740481C1C}">
                <a14:useLocalDpi xmlns:a14="http://schemas.microsoft.com/office/drawing/2010/main" val="0"/>
              </a:ext>
            </a:extLst>
          </a:blip>
          <a:stretch>
            <a:fillRect/>
          </a:stretch>
        </p:blipFill>
        <p:spPr>
          <a:xfrm>
            <a:off x="10505369" y="0"/>
            <a:ext cx="1584444" cy="1121034"/>
          </a:xfrm>
          <a:prstGeom prst="rect">
            <a:avLst/>
          </a:prstGeom>
        </p:spPr>
      </p:pic>
      <p:sp>
        <p:nvSpPr>
          <p:cNvPr id="8" name="矩形 7">
            <a:extLst>
              <a:ext uri="{FF2B5EF4-FFF2-40B4-BE49-F238E27FC236}">
                <a16:creationId xmlns:a16="http://schemas.microsoft.com/office/drawing/2014/main" id="{D14C43A5-CE68-4276-98B6-F56F5F4C2974}"/>
              </a:ext>
            </a:extLst>
          </p:cNvPr>
          <p:cNvSpPr/>
          <p:nvPr/>
        </p:nvSpPr>
        <p:spPr>
          <a:xfrm>
            <a:off x="6929771" y="5355798"/>
            <a:ext cx="4544704" cy="6414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a:solidFill>
                  <a:schemeClr val="bg1"/>
                </a:solidFill>
              </a:rPr>
              <a:t>默沙东（中国）投资有限公司</a:t>
            </a:r>
            <a:endParaRPr lang="en-US" b="1" dirty="0">
              <a:solidFill>
                <a:schemeClr val="bg1"/>
              </a:solidFill>
            </a:endParaRPr>
          </a:p>
        </p:txBody>
      </p:sp>
      <p:pic>
        <p:nvPicPr>
          <p:cNvPr id="3" name="图片 2">
            <a:extLst>
              <a:ext uri="{FF2B5EF4-FFF2-40B4-BE49-F238E27FC236}">
                <a16:creationId xmlns:a16="http://schemas.microsoft.com/office/drawing/2014/main" id="{6BE8269B-472A-4C5C-BB14-6760C10F9E3A}"/>
              </a:ext>
            </a:extLst>
          </p:cNvPr>
          <p:cNvPicPr>
            <a:picLocks noChangeAspect="1"/>
          </p:cNvPicPr>
          <p:nvPr/>
        </p:nvPicPr>
        <p:blipFill>
          <a:blip r:embed="rId4"/>
          <a:stretch>
            <a:fillRect/>
          </a:stretch>
        </p:blipFill>
        <p:spPr>
          <a:xfrm>
            <a:off x="0" y="6408655"/>
            <a:ext cx="926432" cy="449346"/>
          </a:xfrm>
          <a:prstGeom prst="rect">
            <a:avLst/>
          </a:prstGeom>
        </p:spPr>
      </p:pic>
      <p:sp>
        <p:nvSpPr>
          <p:cNvPr id="13" name="文本框 12">
            <a:extLst>
              <a:ext uri="{FF2B5EF4-FFF2-40B4-BE49-F238E27FC236}">
                <a16:creationId xmlns:a16="http://schemas.microsoft.com/office/drawing/2014/main" id="{5DDFD40E-0575-DCB3-8466-DA94069F7278}"/>
              </a:ext>
            </a:extLst>
          </p:cNvPr>
          <p:cNvSpPr txBox="1"/>
          <p:nvPr/>
        </p:nvSpPr>
        <p:spPr>
          <a:xfrm>
            <a:off x="84841" y="6227567"/>
            <a:ext cx="8533010" cy="400110"/>
          </a:xfrm>
          <a:prstGeom prst="rect">
            <a:avLst/>
          </a:prstGeom>
          <a:noFill/>
        </p:spPr>
        <p:txBody>
          <a:bodyPr wrap="square">
            <a:spAutoFit/>
          </a:bodyPr>
          <a:lstStyle/>
          <a:p>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1</a:t>
            </a:r>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  </a:t>
            </a:r>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Food and Drug Administration Center for Drug Evaluation and research FDA Briefing Document. 2021.</a:t>
            </a:r>
            <a:endPar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a:p>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2. </a:t>
            </a:r>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普瑞明</a:t>
            </a:r>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a:t>
            </a:r>
            <a:r>
              <a:rPr lang="zh-CN" altLang="en-US" sz="1000" dirty="0">
                <a:solidFill>
                  <a:schemeClr val="bg1"/>
                </a:solidFill>
                <a:latin typeface="Arial" panose="020B0604020202020204" pitchFamily="34" charset="0"/>
                <a:ea typeface="微软雅黑" panose="020B0503020204020204" pitchFamily="34" charset="-122"/>
                <a:sym typeface="Arial" panose="020B0604020202020204" pitchFamily="34" charset="0"/>
              </a:rPr>
              <a:t>（来特莫韦）片剂说明书</a:t>
            </a:r>
            <a:r>
              <a:rPr lang="en-US" altLang="zh-CN" sz="1000" dirty="0">
                <a:solidFill>
                  <a:schemeClr val="bg1"/>
                </a:solidFill>
                <a:latin typeface="Arial" panose="020B0604020202020204" pitchFamily="34" charset="0"/>
                <a:ea typeface="微软雅黑" panose="020B0503020204020204" pitchFamily="34" charset="-122"/>
                <a:sym typeface="Arial" panose="020B0604020202020204" pitchFamily="34" charset="0"/>
              </a:rPr>
              <a:t>.2021</a:t>
            </a:r>
          </a:p>
        </p:txBody>
      </p:sp>
    </p:spTree>
    <p:extLst>
      <p:ext uri="{BB962C8B-B14F-4D97-AF65-F5344CB8AC3E}">
        <p14:creationId xmlns:p14="http://schemas.microsoft.com/office/powerpoint/2010/main" val="233253208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标题 38">
            <a:extLst>
              <a:ext uri="{FF2B5EF4-FFF2-40B4-BE49-F238E27FC236}">
                <a16:creationId xmlns:a16="http://schemas.microsoft.com/office/drawing/2014/main" id="{808AC09C-641C-0233-C0C2-3F6A23800E1A}"/>
              </a:ext>
            </a:extLst>
          </p:cNvPr>
          <p:cNvSpPr>
            <a:spLocks noGrp="1"/>
          </p:cNvSpPr>
          <p:nvPr>
            <p:ph type="title"/>
          </p:nvPr>
        </p:nvSpPr>
        <p:spPr/>
        <p:txBody>
          <a:bodyPr/>
          <a:lstStyle/>
          <a:p>
            <a:r>
              <a:rPr lang="zh-CN" altLang="en-US" dirty="0">
                <a:latin typeface="Arial" panose="020B0604020202020204" pitchFamily="34" charset="0"/>
                <a:sym typeface="Arial" panose="020B0604020202020204" pitchFamily="34" charset="0"/>
              </a:rPr>
              <a:t>目录</a:t>
            </a:r>
          </a:p>
        </p:txBody>
      </p:sp>
      <p:sp>
        <p:nvSpPr>
          <p:cNvPr id="3" name="灯片编号占位符 2">
            <a:extLst>
              <a:ext uri="{FF2B5EF4-FFF2-40B4-BE49-F238E27FC236}">
                <a16:creationId xmlns:a16="http://schemas.microsoft.com/office/drawing/2014/main" id="{D60B4A1A-6211-2DA7-E637-710F0B8D45D2}"/>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pPr/>
              <a:t>2</a:t>
            </a:fld>
            <a:endParaRPr lang="en-GB" dirty="0">
              <a:latin typeface="Arial" panose="020B0604020202020204" pitchFamily="34" charset="0"/>
              <a:ea typeface="微软雅黑" panose="020B0503020204020204" pitchFamily="34" charset="-122"/>
              <a:sym typeface="Arial" panose="020B0604020202020204" pitchFamily="34" charset="0"/>
            </a:endParaRPr>
          </a:p>
        </p:txBody>
      </p:sp>
      <p:grpSp>
        <p:nvGrpSpPr>
          <p:cNvPr id="2" name="组合 1"/>
          <p:cNvGrpSpPr/>
          <p:nvPr/>
        </p:nvGrpSpPr>
        <p:grpSpPr>
          <a:xfrm>
            <a:off x="1095619" y="1406542"/>
            <a:ext cx="9855245" cy="4240569"/>
            <a:chOff x="543169" y="1101742"/>
            <a:chExt cx="9855245" cy="4240569"/>
          </a:xfrm>
        </p:grpSpPr>
        <p:sp>
          <p:nvSpPr>
            <p:cNvPr id="35" name="ïśḷîḓé">
              <a:extLst>
                <a:ext uri="{FF2B5EF4-FFF2-40B4-BE49-F238E27FC236}">
                  <a16:creationId xmlns:a16="http://schemas.microsoft.com/office/drawing/2014/main" id="{66142C40-5D6B-8ECF-6AF0-F33CC9F71AA5}"/>
                </a:ext>
              </a:extLst>
            </p:cNvPr>
            <p:cNvSpPr txBox="1"/>
            <p:nvPr/>
          </p:nvSpPr>
          <p:spPr>
            <a:xfrm>
              <a:off x="543169" y="1130300"/>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1</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37" name="ïśḷiďê">
              <a:extLst>
                <a:ext uri="{FF2B5EF4-FFF2-40B4-BE49-F238E27FC236}">
                  <a16:creationId xmlns:a16="http://schemas.microsoft.com/office/drawing/2014/main" id="{B08A811D-B9F3-A9AD-F3CC-A4003E84A3DB}"/>
                </a:ext>
              </a:extLst>
            </p:cNvPr>
            <p:cNvSpPr txBox="1"/>
            <p:nvPr/>
          </p:nvSpPr>
          <p:spPr>
            <a:xfrm>
              <a:off x="1761343" y="2222498"/>
              <a:ext cx="2149943" cy="1077218"/>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药品基本信息</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31" name="ïşḷiḓe">
              <a:extLst>
                <a:ext uri="{FF2B5EF4-FFF2-40B4-BE49-F238E27FC236}">
                  <a16:creationId xmlns:a16="http://schemas.microsoft.com/office/drawing/2014/main" id="{E4DF264D-4D64-54DC-CE15-727D966D37A9}"/>
                </a:ext>
              </a:extLst>
            </p:cNvPr>
            <p:cNvSpPr txBox="1"/>
            <p:nvPr/>
          </p:nvSpPr>
          <p:spPr>
            <a:xfrm>
              <a:off x="3911286" y="1101742"/>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2</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27" name="ïšļîḑê">
              <a:extLst>
                <a:ext uri="{FF2B5EF4-FFF2-40B4-BE49-F238E27FC236}">
                  <a16:creationId xmlns:a16="http://schemas.microsoft.com/office/drawing/2014/main" id="{99A6E019-3EA6-1686-50ED-51F2AE5C368E}"/>
                </a:ext>
              </a:extLst>
            </p:cNvPr>
            <p:cNvSpPr txBox="1"/>
            <p:nvPr/>
          </p:nvSpPr>
          <p:spPr>
            <a:xfrm>
              <a:off x="7265935" y="1118885"/>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3</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23" name="í$lîḑê">
              <a:extLst>
                <a:ext uri="{FF2B5EF4-FFF2-40B4-BE49-F238E27FC236}">
                  <a16:creationId xmlns:a16="http://schemas.microsoft.com/office/drawing/2014/main" id="{43399C76-F837-F928-F3E8-208FBC0630DA}"/>
                </a:ext>
              </a:extLst>
            </p:cNvPr>
            <p:cNvSpPr txBox="1"/>
            <p:nvPr/>
          </p:nvSpPr>
          <p:spPr>
            <a:xfrm>
              <a:off x="1774587" y="3264819"/>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4</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19" name="ïṣḷïdé">
              <a:extLst>
                <a:ext uri="{FF2B5EF4-FFF2-40B4-BE49-F238E27FC236}">
                  <a16:creationId xmlns:a16="http://schemas.microsoft.com/office/drawing/2014/main" id="{2605C8FC-FCE3-5597-76CA-69D909366910}"/>
                </a:ext>
              </a:extLst>
            </p:cNvPr>
            <p:cNvSpPr txBox="1"/>
            <p:nvPr/>
          </p:nvSpPr>
          <p:spPr>
            <a:xfrm>
              <a:off x="5453610" y="3259231"/>
              <a:ext cx="2024913" cy="2077492"/>
            </a:xfrm>
            <a:prstGeom prst="rect">
              <a:avLst/>
            </a:prstGeom>
            <a:noFill/>
          </p:spPr>
          <p:txBody>
            <a:bodyPr wrap="none">
              <a:spAutoFit/>
            </a:bodyPr>
            <a:lstStyle>
              <a:defPPr>
                <a:defRPr lang="zh-CN"/>
              </a:defPPr>
              <a:lvl1pPr marR="0" lvl="0" indent="0" defTabSz="913765" fontAlgn="auto">
                <a:lnSpc>
                  <a:spcPct val="100000"/>
                </a:lnSpc>
                <a:spcBef>
                  <a:spcPts val="0"/>
                </a:spcBef>
                <a:spcAft>
                  <a:spcPts val="0"/>
                </a:spcAft>
                <a:buClrTx/>
                <a:buSzPct val="25000"/>
                <a:buFontTx/>
                <a:buNone/>
                <a:defRPr kumimoji="0" sz="15500" b="1" i="0" u="none" strike="noStrike" cap="none" spc="0" normalizeH="0" baseline="0">
                  <a:ln>
                    <a:noFill/>
                  </a:ln>
                  <a:solidFill>
                    <a:schemeClr val="tx1">
                      <a:lumMod val="95000"/>
                      <a:lumOff val="5000"/>
                      <a:alpha val="4000"/>
                    </a:schemeClr>
                  </a:solidFill>
                  <a:effectLst/>
                  <a:uLnTx/>
                  <a:uFillTx/>
                </a:defRPr>
              </a:lvl1pPr>
            </a:lstStyle>
            <a:p>
              <a:r>
                <a:rPr lang="en-US" altLang="zh-CN" sz="12900" dirty="0">
                  <a:latin typeface="Arial" panose="020B0604020202020204" pitchFamily="34" charset="0"/>
                  <a:ea typeface="微软雅黑" panose="020B0503020204020204" pitchFamily="34" charset="-122"/>
                  <a:sym typeface="Arial" panose="020B0604020202020204" pitchFamily="34" charset="0"/>
                </a:rPr>
                <a:t>05</a:t>
              </a:r>
              <a:endParaRPr lang="zh-CN" altLang="en-US" sz="12900" dirty="0">
                <a:latin typeface="Arial" panose="020B0604020202020204" pitchFamily="34" charset="0"/>
                <a:ea typeface="微软雅黑" panose="020B0503020204020204" pitchFamily="34" charset="-122"/>
                <a:sym typeface="Arial" panose="020B0604020202020204" pitchFamily="34" charset="0"/>
              </a:endParaRPr>
            </a:p>
          </p:txBody>
        </p:sp>
        <p:sp>
          <p:nvSpPr>
            <p:cNvPr id="28" name="ïśḷiďê">
              <a:extLst>
                <a:ext uri="{FF2B5EF4-FFF2-40B4-BE49-F238E27FC236}">
                  <a16:creationId xmlns:a16="http://schemas.microsoft.com/office/drawing/2014/main" id="{B08A811D-B9F3-A9AD-F3CC-A4003E84A3DB}"/>
                </a:ext>
              </a:extLst>
            </p:cNvPr>
            <p:cNvSpPr txBox="1"/>
            <p:nvPr/>
          </p:nvSpPr>
          <p:spPr>
            <a:xfrm>
              <a:off x="5514443" y="2211759"/>
              <a:ext cx="1475622"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安全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38" name="ïśḷiďê">
              <a:extLst>
                <a:ext uri="{FF2B5EF4-FFF2-40B4-BE49-F238E27FC236}">
                  <a16:creationId xmlns:a16="http://schemas.microsoft.com/office/drawing/2014/main" id="{B08A811D-B9F3-A9AD-F3CC-A4003E84A3DB}"/>
                </a:ext>
              </a:extLst>
            </p:cNvPr>
            <p:cNvSpPr txBox="1"/>
            <p:nvPr/>
          </p:nvSpPr>
          <p:spPr>
            <a:xfrm>
              <a:off x="8819751" y="2222498"/>
              <a:ext cx="1578663"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有效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41" name="iś1îḍê">
              <a:extLst>
                <a:ext uri="{FF2B5EF4-FFF2-40B4-BE49-F238E27FC236}">
                  <a16:creationId xmlns:a16="http://schemas.microsoft.com/office/drawing/2014/main" id="{D1EC9C5D-F7D2-B56B-213B-962117643A4D}"/>
                </a:ext>
              </a:extLst>
            </p:cNvPr>
            <p:cNvSpPr/>
            <p:nvPr/>
          </p:nvSpPr>
          <p:spPr>
            <a:xfrm>
              <a:off x="8143168" y="2119159"/>
              <a:ext cx="556758" cy="730802"/>
            </a:xfrm>
            <a:custGeom>
              <a:avLst/>
              <a:gdLst>
                <a:gd name="T0" fmla="*/ 7331 w 9142"/>
                <a:gd name="T1" fmla="*/ 3286 h 12000"/>
                <a:gd name="T2" fmla="*/ 4087 w 9142"/>
                <a:gd name="T3" fmla="*/ 7251 h 12000"/>
                <a:gd name="T4" fmla="*/ 3312 w 9142"/>
                <a:gd name="T5" fmla="*/ 5788 h 12000"/>
                <a:gd name="T6" fmla="*/ 1714 w 9142"/>
                <a:gd name="T7" fmla="*/ 6732 h 12000"/>
                <a:gd name="T8" fmla="*/ 4184 w 9142"/>
                <a:gd name="T9" fmla="*/ 8714 h 12000"/>
                <a:gd name="T10" fmla="*/ 7428 w 9142"/>
                <a:gd name="T11" fmla="*/ 5363 h 12000"/>
                <a:gd name="T12" fmla="*/ 7331 w 9142"/>
                <a:gd name="T13" fmla="*/ 3286 h 12000"/>
                <a:gd name="T14" fmla="*/ 7857 w 9142"/>
                <a:gd name="T15" fmla="*/ 1429 h 12000"/>
                <a:gd name="T16" fmla="*/ 6571 w 9142"/>
                <a:gd name="T17" fmla="*/ 1286 h 12000"/>
                <a:gd name="T18" fmla="*/ 4571 w 9142"/>
                <a:gd name="T19" fmla="*/ 0 h 12000"/>
                <a:gd name="T20" fmla="*/ 2571 w 9142"/>
                <a:gd name="T21" fmla="*/ 1286 h 12000"/>
                <a:gd name="T22" fmla="*/ 1285 w 9142"/>
                <a:gd name="T23" fmla="*/ 1429 h 12000"/>
                <a:gd name="T24" fmla="*/ 0 w 9142"/>
                <a:gd name="T25" fmla="*/ 1429 h 12000"/>
                <a:gd name="T26" fmla="*/ 0 w 9142"/>
                <a:gd name="T27" fmla="*/ 7571 h 12000"/>
                <a:gd name="T28" fmla="*/ 1285 w 9142"/>
                <a:gd name="T29" fmla="*/ 10143 h 12000"/>
                <a:gd name="T30" fmla="*/ 4571 w 9142"/>
                <a:gd name="T31" fmla="*/ 12000 h 12000"/>
                <a:gd name="T32" fmla="*/ 7857 w 9142"/>
                <a:gd name="T33" fmla="*/ 10143 h 12000"/>
                <a:gd name="T34" fmla="*/ 9142 w 9142"/>
                <a:gd name="T35" fmla="*/ 7571 h 12000"/>
                <a:gd name="T36" fmla="*/ 9142 w 9142"/>
                <a:gd name="T37" fmla="*/ 1429 h 12000"/>
                <a:gd name="T38" fmla="*/ 7857 w 9142"/>
                <a:gd name="T39" fmla="*/ 1429 h 12000"/>
                <a:gd name="T40" fmla="*/ 8428 w 9142"/>
                <a:gd name="T41" fmla="*/ 7571 h 12000"/>
                <a:gd name="T42" fmla="*/ 6857 w 9142"/>
                <a:gd name="T43" fmla="*/ 9857 h 12000"/>
                <a:gd name="T44" fmla="*/ 4571 w 9142"/>
                <a:gd name="T45" fmla="*/ 11286 h 12000"/>
                <a:gd name="T46" fmla="*/ 2285 w 9142"/>
                <a:gd name="T47" fmla="*/ 9857 h 12000"/>
                <a:gd name="T48" fmla="*/ 714 w 9142"/>
                <a:gd name="T49" fmla="*/ 7571 h 12000"/>
                <a:gd name="T50" fmla="*/ 714 w 9142"/>
                <a:gd name="T51" fmla="*/ 2143 h 12000"/>
                <a:gd name="T52" fmla="*/ 1285 w 9142"/>
                <a:gd name="T53" fmla="*/ 2143 h 12000"/>
                <a:gd name="T54" fmla="*/ 2571 w 9142"/>
                <a:gd name="T55" fmla="*/ 2000 h 12000"/>
                <a:gd name="T56" fmla="*/ 4571 w 9142"/>
                <a:gd name="T57" fmla="*/ 1000 h 12000"/>
                <a:gd name="T58" fmla="*/ 6571 w 9142"/>
                <a:gd name="T59" fmla="*/ 2000 h 12000"/>
                <a:gd name="T60" fmla="*/ 7857 w 9142"/>
                <a:gd name="T61" fmla="*/ 2143 h 12000"/>
                <a:gd name="T62" fmla="*/ 8428 w 9142"/>
                <a:gd name="T63" fmla="*/ 2143 h 12000"/>
                <a:gd name="T64" fmla="*/ 8428 w 9142"/>
                <a:gd name="T65" fmla="*/ 7571 h 1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42" h="12000">
                  <a:moveTo>
                    <a:pt x="7331" y="3286"/>
                  </a:moveTo>
                  <a:cubicBezTo>
                    <a:pt x="5346" y="4277"/>
                    <a:pt x="4087" y="7251"/>
                    <a:pt x="4087" y="7251"/>
                  </a:cubicBezTo>
                  <a:lnTo>
                    <a:pt x="3312" y="5788"/>
                  </a:lnTo>
                  <a:lnTo>
                    <a:pt x="1714" y="6732"/>
                  </a:lnTo>
                  <a:cubicBezTo>
                    <a:pt x="2392" y="6968"/>
                    <a:pt x="3360" y="7723"/>
                    <a:pt x="4184" y="8714"/>
                  </a:cubicBezTo>
                  <a:cubicBezTo>
                    <a:pt x="4765" y="7676"/>
                    <a:pt x="6556" y="5551"/>
                    <a:pt x="7428" y="5363"/>
                  </a:cubicBezTo>
                  <a:cubicBezTo>
                    <a:pt x="7089" y="4607"/>
                    <a:pt x="7283" y="3994"/>
                    <a:pt x="7331" y="3286"/>
                  </a:cubicBezTo>
                  <a:close/>
                  <a:moveTo>
                    <a:pt x="7857" y="1429"/>
                  </a:moveTo>
                  <a:cubicBezTo>
                    <a:pt x="7433" y="1429"/>
                    <a:pt x="7125" y="1406"/>
                    <a:pt x="6571" y="1286"/>
                  </a:cubicBezTo>
                  <a:cubicBezTo>
                    <a:pt x="5512" y="1056"/>
                    <a:pt x="4571" y="0"/>
                    <a:pt x="4571" y="0"/>
                  </a:cubicBezTo>
                  <a:cubicBezTo>
                    <a:pt x="4571" y="0"/>
                    <a:pt x="3630" y="1056"/>
                    <a:pt x="2571" y="1286"/>
                  </a:cubicBezTo>
                  <a:cubicBezTo>
                    <a:pt x="2017" y="1406"/>
                    <a:pt x="1709" y="1429"/>
                    <a:pt x="1285" y="1429"/>
                  </a:cubicBezTo>
                  <a:lnTo>
                    <a:pt x="0" y="1429"/>
                  </a:lnTo>
                  <a:lnTo>
                    <a:pt x="0" y="7571"/>
                  </a:lnTo>
                  <a:cubicBezTo>
                    <a:pt x="0" y="7571"/>
                    <a:pt x="188" y="9123"/>
                    <a:pt x="1285" y="10143"/>
                  </a:cubicBezTo>
                  <a:cubicBezTo>
                    <a:pt x="2284" y="11072"/>
                    <a:pt x="4571" y="12000"/>
                    <a:pt x="4571" y="12000"/>
                  </a:cubicBezTo>
                  <a:cubicBezTo>
                    <a:pt x="4571" y="12000"/>
                    <a:pt x="6858" y="11072"/>
                    <a:pt x="7857" y="10143"/>
                  </a:cubicBezTo>
                  <a:cubicBezTo>
                    <a:pt x="8954" y="9123"/>
                    <a:pt x="9142" y="7571"/>
                    <a:pt x="9142" y="7571"/>
                  </a:cubicBezTo>
                  <a:lnTo>
                    <a:pt x="9142" y="1429"/>
                  </a:lnTo>
                  <a:lnTo>
                    <a:pt x="7857" y="1429"/>
                  </a:lnTo>
                  <a:close/>
                  <a:moveTo>
                    <a:pt x="8428" y="7571"/>
                  </a:moveTo>
                  <a:cubicBezTo>
                    <a:pt x="8428" y="7571"/>
                    <a:pt x="8099" y="8955"/>
                    <a:pt x="6857" y="9857"/>
                  </a:cubicBezTo>
                  <a:cubicBezTo>
                    <a:pt x="5717" y="10685"/>
                    <a:pt x="4571" y="11286"/>
                    <a:pt x="4571" y="11286"/>
                  </a:cubicBezTo>
                  <a:cubicBezTo>
                    <a:pt x="4571" y="11286"/>
                    <a:pt x="3425" y="10685"/>
                    <a:pt x="2285" y="9857"/>
                  </a:cubicBezTo>
                  <a:cubicBezTo>
                    <a:pt x="1043" y="8955"/>
                    <a:pt x="714" y="7571"/>
                    <a:pt x="714" y="7571"/>
                  </a:cubicBezTo>
                  <a:lnTo>
                    <a:pt x="714" y="2143"/>
                  </a:lnTo>
                  <a:lnTo>
                    <a:pt x="1285" y="2143"/>
                  </a:lnTo>
                  <a:cubicBezTo>
                    <a:pt x="1611" y="2143"/>
                    <a:pt x="2275" y="2068"/>
                    <a:pt x="2571" y="2000"/>
                  </a:cubicBezTo>
                  <a:cubicBezTo>
                    <a:pt x="3659" y="1749"/>
                    <a:pt x="4571" y="1000"/>
                    <a:pt x="4571" y="1000"/>
                  </a:cubicBezTo>
                  <a:cubicBezTo>
                    <a:pt x="4571" y="1000"/>
                    <a:pt x="5483" y="1749"/>
                    <a:pt x="6571" y="2000"/>
                  </a:cubicBezTo>
                  <a:cubicBezTo>
                    <a:pt x="6867" y="2068"/>
                    <a:pt x="7531" y="2143"/>
                    <a:pt x="7857" y="2143"/>
                  </a:cubicBezTo>
                  <a:lnTo>
                    <a:pt x="8428" y="2143"/>
                  </a:lnTo>
                  <a:lnTo>
                    <a:pt x="8428" y="7571"/>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46" name="ïśḷiďê">
              <a:extLst>
                <a:ext uri="{FF2B5EF4-FFF2-40B4-BE49-F238E27FC236}">
                  <a16:creationId xmlns:a16="http://schemas.microsoft.com/office/drawing/2014/main" id="{B08A811D-B9F3-A9AD-F3CC-A4003E84A3DB}"/>
                </a:ext>
              </a:extLst>
            </p:cNvPr>
            <p:cNvSpPr txBox="1"/>
            <p:nvPr/>
          </p:nvSpPr>
          <p:spPr>
            <a:xfrm>
              <a:off x="3227549" y="4480179"/>
              <a:ext cx="1570795"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创新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49" name="iś1îḍê">
              <a:extLst>
                <a:ext uri="{FF2B5EF4-FFF2-40B4-BE49-F238E27FC236}">
                  <a16:creationId xmlns:a16="http://schemas.microsoft.com/office/drawing/2014/main" id="{D1EC9C5D-F7D2-B56B-213B-962117643A4D}"/>
                </a:ext>
              </a:extLst>
            </p:cNvPr>
            <p:cNvSpPr/>
            <p:nvPr/>
          </p:nvSpPr>
          <p:spPr>
            <a:xfrm>
              <a:off x="2539305" y="4369269"/>
              <a:ext cx="730802" cy="716878"/>
            </a:xfrm>
            <a:custGeom>
              <a:avLst/>
              <a:gdLst>
                <a:gd name="T0" fmla="*/ 455839 w 606244"/>
                <a:gd name="T1" fmla="*/ 455839 w 606244"/>
                <a:gd name="T2" fmla="*/ 600116 w 606244"/>
                <a:gd name="T3" fmla="*/ 600116 w 606244"/>
                <a:gd name="T4" fmla="*/ 600116 w 606244"/>
                <a:gd name="T5" fmla="*/ 600116 w 606244"/>
                <a:gd name="T6" fmla="*/ 600116 w 606244"/>
                <a:gd name="T7" fmla="*/ 600116 w 606244"/>
                <a:gd name="T8" fmla="*/ 600116 w 606244"/>
                <a:gd name="T9" fmla="*/ 600116 w 606244"/>
                <a:gd name="T10" fmla="*/ 600116 w 606244"/>
                <a:gd name="T11" fmla="*/ 600116 w 606244"/>
                <a:gd name="T12" fmla="*/ 600116 w 606244"/>
                <a:gd name="T13" fmla="*/ 600116 w 606244"/>
                <a:gd name="T14" fmla="*/ 600116 w 606244"/>
                <a:gd name="T15" fmla="*/ 600116 w 606244"/>
                <a:gd name="T16" fmla="*/ 600116 w 606244"/>
                <a:gd name="T17" fmla="*/ 600116 w 606244"/>
                <a:gd name="T18" fmla="*/ 600116 w 606244"/>
                <a:gd name="T19" fmla="*/ 600116 w 606244"/>
                <a:gd name="T20" fmla="*/ 600116 w 606244"/>
                <a:gd name="T21" fmla="*/ 600116 w 606244"/>
                <a:gd name="T22" fmla="*/ 600116 w 606244"/>
                <a:gd name="T23" fmla="*/ 600116 w 606244"/>
                <a:gd name="T24" fmla="*/ 600116 w 606244"/>
                <a:gd name="T25" fmla="*/ 600116 w 606244"/>
                <a:gd name="T26" fmla="*/ 600116 w 606244"/>
                <a:gd name="T27" fmla="*/ 600116 w 606244"/>
                <a:gd name="T28" fmla="*/ 600116 w 606244"/>
                <a:gd name="T29" fmla="*/ 600116 w 606244"/>
                <a:gd name="T30" fmla="*/ 600116 w 606244"/>
                <a:gd name="T31" fmla="*/ 600116 w 606244"/>
                <a:gd name="T32" fmla="*/ 600116 w 606244"/>
                <a:gd name="T33" fmla="*/ 600116 w 606244"/>
                <a:gd name="T34" fmla="*/ 600116 w 606244"/>
                <a:gd name="T35" fmla="*/ 600116 w 606244"/>
                <a:gd name="T36" fmla="*/ 600116 w 606244"/>
                <a:gd name="T37" fmla="*/ 600116 w 606244"/>
                <a:gd name="T38" fmla="*/ 600116 w 606244"/>
                <a:gd name="T39" fmla="*/ 600116 w 606244"/>
                <a:gd name="T40" fmla="*/ 600116 w 606244"/>
                <a:gd name="T41" fmla="*/ 600116 w 606244"/>
                <a:gd name="T42" fmla="*/ 600116 w 606244"/>
                <a:gd name="T43" fmla="*/ 600116 w 606244"/>
                <a:gd name="T44" fmla="*/ 600116 w 606244"/>
                <a:gd name="T45" fmla="*/ 600116 w 606244"/>
                <a:gd name="T46" fmla="*/ 600116 w 606244"/>
                <a:gd name="T47" fmla="*/ 600116 w 606244"/>
                <a:gd name="T48" fmla="*/ 455839 w 606244"/>
                <a:gd name="T49" fmla="*/ 455839 w 606244"/>
                <a:gd name="T50" fmla="*/ 600116 w 606244"/>
                <a:gd name="T51" fmla="*/ 600116 w 606244"/>
                <a:gd name="T52" fmla="*/ 600116 w 606244"/>
                <a:gd name="T53" fmla="*/ 600116 w 606244"/>
                <a:gd name="T54" fmla="*/ 600116 w 606244"/>
                <a:gd name="T55" fmla="*/ 600116 w 606244"/>
                <a:gd name="T56" fmla="*/ 600116 w 606244"/>
                <a:gd name="T57" fmla="*/ 600116 w 606244"/>
                <a:gd name="T58" fmla="*/ 600116 w 606244"/>
                <a:gd name="T59" fmla="*/ 600116 w 606244"/>
                <a:gd name="T60" fmla="*/ 600116 w 606244"/>
                <a:gd name="T61" fmla="*/ 600116 w 606244"/>
                <a:gd name="T62" fmla="*/ 600116 w 606244"/>
                <a:gd name="T63" fmla="*/ 600116 w 606244"/>
                <a:gd name="T64" fmla="*/ 600116 w 606244"/>
                <a:gd name="T65" fmla="*/ 600116 w 606244"/>
                <a:gd name="T66" fmla="*/ 600116 w 606244"/>
                <a:gd name="T67" fmla="*/ 600116 w 606244"/>
                <a:gd name="T68" fmla="*/ 600116 w 606244"/>
                <a:gd name="T69" fmla="*/ 600116 w 606244"/>
                <a:gd name="T70" fmla="*/ 600116 w 606244"/>
                <a:gd name="T71" fmla="*/ 600116 w 606244"/>
                <a:gd name="T72" fmla="*/ 455839 w 606244"/>
                <a:gd name="T73" fmla="*/ 455839 w 606244"/>
                <a:gd name="T74" fmla="*/ 600116 w 606244"/>
                <a:gd name="T75" fmla="*/ 600116 w 606244"/>
                <a:gd name="T76" fmla="*/ 600116 w 606244"/>
                <a:gd name="T77" fmla="*/ 600116 w 606244"/>
                <a:gd name="T78" fmla="*/ 600116 w 606244"/>
                <a:gd name="T79" fmla="*/ 600116 w 606244"/>
                <a:gd name="T80" fmla="*/ 600116 w 606244"/>
                <a:gd name="T81" fmla="*/ 600116 w 606244"/>
                <a:gd name="T82" fmla="*/ 600116 w 606244"/>
                <a:gd name="T83" fmla="*/ 600116 w 606244"/>
                <a:gd name="T84" fmla="*/ 600116 w 606244"/>
                <a:gd name="T85" fmla="*/ 600116 w 606244"/>
                <a:gd name="T86" fmla="*/ 600116 w 606244"/>
                <a:gd name="T87" fmla="*/ 600116 w 606244"/>
                <a:gd name="T88" fmla="*/ 600116 w 606244"/>
                <a:gd name="T89" fmla="*/ 600116 w 606244"/>
                <a:gd name="T90" fmla="*/ 600116 w 606244"/>
                <a:gd name="T91" fmla="*/ 600116 w 606244"/>
                <a:gd name="T92" fmla="*/ 600116 w 606244"/>
                <a:gd name="T93" fmla="*/ 600116 w 606244"/>
                <a:gd name="T94" fmla="*/ 600116 w 606244"/>
                <a:gd name="T95" fmla="*/ 600116 w 606244"/>
                <a:gd name="T96" fmla="*/ 600116 w 606244"/>
                <a:gd name="T97" fmla="*/ 600116 w 606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89" h="5687">
                  <a:moveTo>
                    <a:pt x="5779" y="760"/>
                  </a:moveTo>
                  <a:cubicBezTo>
                    <a:pt x="5769" y="724"/>
                    <a:pt x="5740" y="698"/>
                    <a:pt x="5699" y="688"/>
                  </a:cubicBezTo>
                  <a:lnTo>
                    <a:pt x="5242" y="572"/>
                  </a:lnTo>
                  <a:cubicBezTo>
                    <a:pt x="5231" y="569"/>
                    <a:pt x="5213" y="551"/>
                    <a:pt x="5210" y="539"/>
                  </a:cubicBezTo>
                  <a:lnTo>
                    <a:pt x="5094" y="83"/>
                  </a:lnTo>
                  <a:cubicBezTo>
                    <a:pt x="5082" y="32"/>
                    <a:pt x="5043" y="0"/>
                    <a:pt x="4997" y="0"/>
                  </a:cubicBezTo>
                  <a:cubicBezTo>
                    <a:pt x="4969" y="0"/>
                    <a:pt x="4941" y="12"/>
                    <a:pt x="4919" y="34"/>
                  </a:cubicBezTo>
                  <a:lnTo>
                    <a:pt x="4510" y="444"/>
                  </a:lnTo>
                  <a:cubicBezTo>
                    <a:pt x="4475" y="479"/>
                    <a:pt x="4441" y="542"/>
                    <a:pt x="4432" y="591"/>
                  </a:cubicBezTo>
                  <a:lnTo>
                    <a:pt x="4335" y="1092"/>
                  </a:lnTo>
                  <a:cubicBezTo>
                    <a:pt x="4330" y="1114"/>
                    <a:pt x="4331" y="1139"/>
                    <a:pt x="4335" y="1162"/>
                  </a:cubicBezTo>
                  <a:lnTo>
                    <a:pt x="4066" y="1431"/>
                  </a:lnTo>
                  <a:cubicBezTo>
                    <a:pt x="3634" y="1044"/>
                    <a:pt x="3064" y="808"/>
                    <a:pt x="2439" y="808"/>
                  </a:cubicBezTo>
                  <a:cubicBezTo>
                    <a:pt x="1094" y="808"/>
                    <a:pt x="0" y="1902"/>
                    <a:pt x="0" y="3247"/>
                  </a:cubicBezTo>
                  <a:cubicBezTo>
                    <a:pt x="0" y="4592"/>
                    <a:pt x="1094" y="5687"/>
                    <a:pt x="2439" y="5687"/>
                  </a:cubicBezTo>
                  <a:cubicBezTo>
                    <a:pt x="3785" y="5687"/>
                    <a:pt x="4879" y="4592"/>
                    <a:pt x="4879" y="3247"/>
                  </a:cubicBezTo>
                  <a:cubicBezTo>
                    <a:pt x="4879" y="2670"/>
                    <a:pt x="4677" y="2140"/>
                    <a:pt x="4341" y="1721"/>
                  </a:cubicBezTo>
                  <a:lnTo>
                    <a:pt x="4618" y="1446"/>
                  </a:lnTo>
                  <a:cubicBezTo>
                    <a:pt x="4631" y="1449"/>
                    <a:pt x="4645" y="1450"/>
                    <a:pt x="4658" y="1450"/>
                  </a:cubicBezTo>
                  <a:cubicBezTo>
                    <a:pt x="4669" y="1450"/>
                    <a:pt x="4680" y="1449"/>
                    <a:pt x="4690" y="1447"/>
                  </a:cubicBezTo>
                  <a:lnTo>
                    <a:pt x="5191" y="1350"/>
                  </a:lnTo>
                  <a:cubicBezTo>
                    <a:pt x="5240" y="1341"/>
                    <a:pt x="5303" y="1307"/>
                    <a:pt x="5338" y="1272"/>
                  </a:cubicBezTo>
                  <a:lnTo>
                    <a:pt x="5747" y="863"/>
                  </a:lnTo>
                  <a:cubicBezTo>
                    <a:pt x="5777" y="833"/>
                    <a:pt x="5789" y="796"/>
                    <a:pt x="5779" y="760"/>
                  </a:cubicBezTo>
                  <a:close/>
                  <a:moveTo>
                    <a:pt x="3225" y="3247"/>
                  </a:moveTo>
                  <a:cubicBezTo>
                    <a:pt x="3225" y="3681"/>
                    <a:pt x="2873" y="4033"/>
                    <a:pt x="2439" y="4033"/>
                  </a:cubicBezTo>
                  <a:cubicBezTo>
                    <a:pt x="2006" y="4033"/>
                    <a:pt x="1654" y="3681"/>
                    <a:pt x="1654" y="3247"/>
                  </a:cubicBezTo>
                  <a:cubicBezTo>
                    <a:pt x="1654" y="2814"/>
                    <a:pt x="2006" y="2462"/>
                    <a:pt x="2439" y="2462"/>
                  </a:cubicBezTo>
                  <a:cubicBezTo>
                    <a:pt x="2513" y="2462"/>
                    <a:pt x="2585" y="2472"/>
                    <a:pt x="2653" y="2491"/>
                  </a:cubicBezTo>
                  <a:lnTo>
                    <a:pt x="2543" y="2824"/>
                  </a:lnTo>
                  <a:cubicBezTo>
                    <a:pt x="2510" y="2816"/>
                    <a:pt x="2475" y="2811"/>
                    <a:pt x="2439" y="2811"/>
                  </a:cubicBezTo>
                  <a:cubicBezTo>
                    <a:pt x="2199" y="2811"/>
                    <a:pt x="2003" y="3007"/>
                    <a:pt x="2003" y="3247"/>
                  </a:cubicBezTo>
                  <a:cubicBezTo>
                    <a:pt x="2003" y="3488"/>
                    <a:pt x="2199" y="3683"/>
                    <a:pt x="2439" y="3683"/>
                  </a:cubicBezTo>
                  <a:cubicBezTo>
                    <a:pt x="2673" y="3683"/>
                    <a:pt x="2864" y="3499"/>
                    <a:pt x="2875" y="3269"/>
                  </a:cubicBezTo>
                  <a:lnTo>
                    <a:pt x="3219" y="3148"/>
                  </a:lnTo>
                  <a:cubicBezTo>
                    <a:pt x="3223" y="3180"/>
                    <a:pt x="3225" y="3214"/>
                    <a:pt x="3225" y="3247"/>
                  </a:cubicBezTo>
                  <a:close/>
                  <a:moveTo>
                    <a:pt x="3362" y="2133"/>
                  </a:moveTo>
                  <a:cubicBezTo>
                    <a:pt x="3111" y="1925"/>
                    <a:pt x="2790" y="1800"/>
                    <a:pt x="2439" y="1800"/>
                  </a:cubicBezTo>
                  <a:cubicBezTo>
                    <a:pt x="1641" y="1800"/>
                    <a:pt x="992" y="2449"/>
                    <a:pt x="992" y="3247"/>
                  </a:cubicBezTo>
                  <a:cubicBezTo>
                    <a:pt x="992" y="4045"/>
                    <a:pt x="1641" y="4695"/>
                    <a:pt x="2439" y="4695"/>
                  </a:cubicBezTo>
                  <a:cubicBezTo>
                    <a:pt x="3237" y="4695"/>
                    <a:pt x="3887" y="4045"/>
                    <a:pt x="3887" y="3247"/>
                  </a:cubicBezTo>
                  <a:cubicBezTo>
                    <a:pt x="3887" y="2944"/>
                    <a:pt x="3793" y="2661"/>
                    <a:pt x="3632" y="2428"/>
                  </a:cubicBezTo>
                  <a:lnTo>
                    <a:pt x="3903" y="2158"/>
                  </a:lnTo>
                  <a:cubicBezTo>
                    <a:pt x="4130" y="2462"/>
                    <a:pt x="4265" y="2839"/>
                    <a:pt x="4265" y="3247"/>
                  </a:cubicBezTo>
                  <a:cubicBezTo>
                    <a:pt x="4265" y="4254"/>
                    <a:pt x="3446" y="5073"/>
                    <a:pt x="2439" y="5073"/>
                  </a:cubicBezTo>
                  <a:cubicBezTo>
                    <a:pt x="1433" y="5073"/>
                    <a:pt x="614" y="4254"/>
                    <a:pt x="614" y="3247"/>
                  </a:cubicBezTo>
                  <a:cubicBezTo>
                    <a:pt x="614" y="2241"/>
                    <a:pt x="1433" y="1422"/>
                    <a:pt x="2439" y="1422"/>
                  </a:cubicBezTo>
                  <a:cubicBezTo>
                    <a:pt x="2894" y="1422"/>
                    <a:pt x="3311" y="1589"/>
                    <a:pt x="3631" y="1865"/>
                  </a:cubicBezTo>
                  <a:lnTo>
                    <a:pt x="3362" y="2133"/>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ïśḷiďê">
              <a:extLst>
                <a:ext uri="{FF2B5EF4-FFF2-40B4-BE49-F238E27FC236}">
                  <a16:creationId xmlns:a16="http://schemas.microsoft.com/office/drawing/2014/main" id="{B08A811D-B9F3-A9AD-F3CC-A4003E84A3DB}"/>
                </a:ext>
              </a:extLst>
            </p:cNvPr>
            <p:cNvSpPr txBox="1"/>
            <p:nvPr/>
          </p:nvSpPr>
          <p:spPr>
            <a:xfrm>
              <a:off x="6960983" y="4547676"/>
              <a:ext cx="1578663" cy="584775"/>
            </a:xfrm>
            <a:prstGeom prst="rect">
              <a:avLst/>
            </a:prstGeom>
            <a:noFill/>
            <a:effectLst/>
          </p:spPr>
          <p:txBody>
            <a:bodyPr wrap="square" rtlCol="0">
              <a:spAutoFit/>
            </a:bodyPr>
            <a:lstStyle>
              <a:defPPr>
                <a:defRPr lang="zh-CN"/>
              </a:defPPr>
              <a:lvl1pPr>
                <a:defRPr sz="2000" b="1" i="0">
                  <a:gradFill>
                    <a:gsLst>
                      <a:gs pos="0">
                        <a:schemeClr val="accent1">
                          <a:lumMod val="60000"/>
                          <a:lumOff val="40000"/>
                        </a:schemeClr>
                      </a:gs>
                      <a:gs pos="60000">
                        <a:schemeClr val="accent1"/>
                      </a:gs>
                    </a:gsLst>
                    <a:lin ang="2700000" scaled="0"/>
                  </a:gradFill>
                  <a:effectLst>
                    <a:outerShdw blurRad="76200" dist="50800" dir="5400000" algn="ctr" rotWithShape="0">
                      <a:schemeClr val="accent1">
                        <a:alpha val="20000"/>
                      </a:schemeClr>
                    </a:outerShdw>
                  </a:effectLst>
                </a:defRPr>
              </a:lvl1pPr>
            </a:lstStyle>
            <a:p>
              <a:pPr>
                <a:buSzPct val="25000"/>
              </a:pPr>
              <a:r>
                <a:rPr lang="zh-CN" altLang="en-US"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rPr>
                <a:t>公平性</a:t>
              </a:r>
              <a:endParaRPr lang="en-US" altLang="zh-CN" sz="3200" dirty="0">
                <a:solidFill>
                  <a:schemeClr val="accent1">
                    <a:lumMod val="75000"/>
                  </a:schemeClr>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52" name="iś1îḍê">
              <a:extLst>
                <a:ext uri="{FF2B5EF4-FFF2-40B4-BE49-F238E27FC236}">
                  <a16:creationId xmlns:a16="http://schemas.microsoft.com/office/drawing/2014/main" id="{D1EC9C5D-F7D2-B56B-213B-962117643A4D}"/>
                </a:ext>
              </a:extLst>
            </p:cNvPr>
            <p:cNvSpPr/>
            <p:nvPr/>
          </p:nvSpPr>
          <p:spPr>
            <a:xfrm>
              <a:off x="6189473" y="4369269"/>
              <a:ext cx="730649" cy="730802"/>
            </a:xfrm>
            <a:custGeom>
              <a:avLst/>
              <a:gdLst>
                <a:gd name="T0" fmla="*/ 4993 w 9984"/>
                <a:gd name="T1" fmla="*/ 2140 h 9986"/>
                <a:gd name="T2" fmla="*/ 3923 w 9984"/>
                <a:gd name="T3" fmla="*/ 1071 h 9986"/>
                <a:gd name="T4" fmla="*/ 4993 w 9984"/>
                <a:gd name="T5" fmla="*/ 0 h 9986"/>
                <a:gd name="T6" fmla="*/ 6063 w 9984"/>
                <a:gd name="T7" fmla="*/ 1071 h 9986"/>
                <a:gd name="T8" fmla="*/ 4993 w 9984"/>
                <a:gd name="T9" fmla="*/ 2140 h 9986"/>
                <a:gd name="T10" fmla="*/ 9984 w 9984"/>
                <a:gd name="T11" fmla="*/ 6419 h 9986"/>
                <a:gd name="T12" fmla="*/ 8558 w 9984"/>
                <a:gd name="T13" fmla="*/ 7846 h 9986"/>
                <a:gd name="T14" fmla="*/ 7845 w 9984"/>
                <a:gd name="T15" fmla="*/ 7846 h 9986"/>
                <a:gd name="T16" fmla="*/ 6419 w 9984"/>
                <a:gd name="T17" fmla="*/ 6419 h 9986"/>
                <a:gd name="T18" fmla="*/ 7845 w 9984"/>
                <a:gd name="T19" fmla="*/ 3567 h 9986"/>
                <a:gd name="T20" fmla="*/ 7133 w 9984"/>
                <a:gd name="T21" fmla="*/ 3567 h 9986"/>
                <a:gd name="T22" fmla="*/ 6420 w 9984"/>
                <a:gd name="T23" fmla="*/ 2854 h 9986"/>
                <a:gd name="T24" fmla="*/ 5708 w 9984"/>
                <a:gd name="T25" fmla="*/ 2854 h 9986"/>
                <a:gd name="T26" fmla="*/ 5708 w 9984"/>
                <a:gd name="T27" fmla="*/ 8559 h 9986"/>
                <a:gd name="T28" fmla="*/ 6420 w 9984"/>
                <a:gd name="T29" fmla="*/ 9273 h 9986"/>
                <a:gd name="T30" fmla="*/ 7133 w 9984"/>
                <a:gd name="T31" fmla="*/ 9273 h 9986"/>
                <a:gd name="T32" fmla="*/ 7845 w 9984"/>
                <a:gd name="T33" fmla="*/ 9986 h 9986"/>
                <a:gd name="T34" fmla="*/ 2140 w 9984"/>
                <a:gd name="T35" fmla="*/ 9986 h 9986"/>
                <a:gd name="T36" fmla="*/ 2853 w 9984"/>
                <a:gd name="T37" fmla="*/ 9273 h 9986"/>
                <a:gd name="T38" fmla="*/ 3565 w 9984"/>
                <a:gd name="T39" fmla="*/ 9273 h 9986"/>
                <a:gd name="T40" fmla="*/ 4278 w 9984"/>
                <a:gd name="T41" fmla="*/ 8559 h 9986"/>
                <a:gd name="T42" fmla="*/ 4299 w 9984"/>
                <a:gd name="T43" fmla="*/ 8559 h 9986"/>
                <a:gd name="T44" fmla="*/ 4278 w 9984"/>
                <a:gd name="T45" fmla="*/ 2854 h 9986"/>
                <a:gd name="T46" fmla="*/ 3565 w 9984"/>
                <a:gd name="T47" fmla="*/ 2854 h 9986"/>
                <a:gd name="T48" fmla="*/ 2853 w 9984"/>
                <a:gd name="T49" fmla="*/ 3567 h 9986"/>
                <a:gd name="T50" fmla="*/ 2140 w 9984"/>
                <a:gd name="T51" fmla="*/ 3567 h 9986"/>
                <a:gd name="T52" fmla="*/ 3566 w 9984"/>
                <a:gd name="T53" fmla="*/ 6419 h 9986"/>
                <a:gd name="T54" fmla="*/ 2140 w 9984"/>
                <a:gd name="T55" fmla="*/ 7846 h 9986"/>
                <a:gd name="T56" fmla="*/ 1426 w 9984"/>
                <a:gd name="T57" fmla="*/ 7846 h 9986"/>
                <a:gd name="T58" fmla="*/ 0 w 9984"/>
                <a:gd name="T59" fmla="*/ 6419 h 9986"/>
                <a:gd name="T60" fmla="*/ 1426 w 9984"/>
                <a:gd name="T61" fmla="*/ 3567 h 9986"/>
                <a:gd name="T62" fmla="*/ 714 w 9984"/>
                <a:gd name="T63" fmla="*/ 3567 h 9986"/>
                <a:gd name="T64" fmla="*/ 714 w 9984"/>
                <a:gd name="T65" fmla="*/ 2854 h 9986"/>
                <a:gd name="T66" fmla="*/ 2853 w 9984"/>
                <a:gd name="T67" fmla="*/ 2854 h 9986"/>
                <a:gd name="T68" fmla="*/ 3565 w 9984"/>
                <a:gd name="T69" fmla="*/ 2142 h 9986"/>
                <a:gd name="T70" fmla="*/ 6419 w 9984"/>
                <a:gd name="T71" fmla="*/ 2142 h 9986"/>
                <a:gd name="T72" fmla="*/ 7132 w 9984"/>
                <a:gd name="T73" fmla="*/ 2854 h 9986"/>
                <a:gd name="T74" fmla="*/ 9270 w 9984"/>
                <a:gd name="T75" fmla="*/ 2854 h 9986"/>
                <a:gd name="T76" fmla="*/ 9270 w 9984"/>
                <a:gd name="T77" fmla="*/ 3567 h 9986"/>
                <a:gd name="T78" fmla="*/ 8557 w 9984"/>
                <a:gd name="T79" fmla="*/ 3567 h 9986"/>
                <a:gd name="T80" fmla="*/ 9984 w 9984"/>
                <a:gd name="T81" fmla="*/ 6419 h 9986"/>
                <a:gd name="T82" fmla="*/ 1784 w 9984"/>
                <a:gd name="T83" fmla="*/ 4279 h 9986"/>
                <a:gd name="T84" fmla="*/ 714 w 9984"/>
                <a:gd name="T85" fmla="*/ 6418 h 9986"/>
                <a:gd name="T86" fmla="*/ 2853 w 9984"/>
                <a:gd name="T87" fmla="*/ 6418 h 9986"/>
                <a:gd name="T88" fmla="*/ 1784 w 9984"/>
                <a:gd name="T89" fmla="*/ 4279 h 9986"/>
                <a:gd name="T90" fmla="*/ 9272 w 9984"/>
                <a:gd name="T91" fmla="*/ 6419 h 9986"/>
                <a:gd name="T92" fmla="*/ 8202 w 9984"/>
                <a:gd name="T93" fmla="*/ 4281 h 9986"/>
                <a:gd name="T94" fmla="*/ 7132 w 9984"/>
                <a:gd name="T95" fmla="*/ 6419 h 9986"/>
                <a:gd name="T96" fmla="*/ 9272 w 9984"/>
                <a:gd name="T97" fmla="*/ 6419 h 9986"/>
                <a:gd name="T98" fmla="*/ 9272 w 9984"/>
                <a:gd name="T99" fmla="*/ 6419 h 9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984" h="9986">
                  <a:moveTo>
                    <a:pt x="4993" y="2140"/>
                  </a:moveTo>
                  <a:cubicBezTo>
                    <a:pt x="4402" y="2140"/>
                    <a:pt x="3923" y="1663"/>
                    <a:pt x="3923" y="1071"/>
                  </a:cubicBezTo>
                  <a:cubicBezTo>
                    <a:pt x="3923" y="479"/>
                    <a:pt x="4400" y="0"/>
                    <a:pt x="4993" y="0"/>
                  </a:cubicBezTo>
                  <a:cubicBezTo>
                    <a:pt x="5585" y="0"/>
                    <a:pt x="6063" y="478"/>
                    <a:pt x="6063" y="1071"/>
                  </a:cubicBezTo>
                  <a:cubicBezTo>
                    <a:pt x="6063" y="1662"/>
                    <a:pt x="5584" y="2140"/>
                    <a:pt x="4993" y="2140"/>
                  </a:cubicBezTo>
                  <a:close/>
                  <a:moveTo>
                    <a:pt x="9984" y="6419"/>
                  </a:moveTo>
                  <a:cubicBezTo>
                    <a:pt x="9984" y="7211"/>
                    <a:pt x="9349" y="7846"/>
                    <a:pt x="8558" y="7846"/>
                  </a:cubicBezTo>
                  <a:lnTo>
                    <a:pt x="7845" y="7846"/>
                  </a:lnTo>
                  <a:cubicBezTo>
                    <a:pt x="7054" y="7844"/>
                    <a:pt x="6419" y="7211"/>
                    <a:pt x="6419" y="6419"/>
                  </a:cubicBezTo>
                  <a:lnTo>
                    <a:pt x="7845" y="3567"/>
                  </a:lnTo>
                  <a:lnTo>
                    <a:pt x="7133" y="3567"/>
                  </a:lnTo>
                  <a:cubicBezTo>
                    <a:pt x="6740" y="3567"/>
                    <a:pt x="6420" y="3246"/>
                    <a:pt x="6420" y="2854"/>
                  </a:cubicBezTo>
                  <a:lnTo>
                    <a:pt x="5708" y="2854"/>
                  </a:lnTo>
                  <a:lnTo>
                    <a:pt x="5708" y="8559"/>
                  </a:lnTo>
                  <a:cubicBezTo>
                    <a:pt x="6008" y="8559"/>
                    <a:pt x="6420" y="8881"/>
                    <a:pt x="6420" y="9273"/>
                  </a:cubicBezTo>
                  <a:lnTo>
                    <a:pt x="7133" y="9273"/>
                  </a:lnTo>
                  <a:cubicBezTo>
                    <a:pt x="7433" y="9273"/>
                    <a:pt x="7845" y="9594"/>
                    <a:pt x="7845" y="9986"/>
                  </a:cubicBezTo>
                  <a:lnTo>
                    <a:pt x="2140" y="9986"/>
                  </a:lnTo>
                  <a:cubicBezTo>
                    <a:pt x="2140" y="9593"/>
                    <a:pt x="2554" y="9273"/>
                    <a:pt x="2853" y="9273"/>
                  </a:cubicBezTo>
                  <a:lnTo>
                    <a:pt x="3565" y="9273"/>
                  </a:lnTo>
                  <a:cubicBezTo>
                    <a:pt x="3565" y="8881"/>
                    <a:pt x="3979" y="8559"/>
                    <a:pt x="4278" y="8559"/>
                  </a:cubicBezTo>
                  <a:lnTo>
                    <a:pt x="4299" y="8559"/>
                  </a:lnTo>
                  <a:lnTo>
                    <a:pt x="4278" y="2854"/>
                  </a:lnTo>
                  <a:lnTo>
                    <a:pt x="3565" y="2854"/>
                  </a:lnTo>
                  <a:cubicBezTo>
                    <a:pt x="3565" y="3247"/>
                    <a:pt x="3244" y="3567"/>
                    <a:pt x="2853" y="3567"/>
                  </a:cubicBezTo>
                  <a:lnTo>
                    <a:pt x="2140" y="3567"/>
                  </a:lnTo>
                  <a:lnTo>
                    <a:pt x="3566" y="6419"/>
                  </a:lnTo>
                  <a:cubicBezTo>
                    <a:pt x="3566" y="7211"/>
                    <a:pt x="2931" y="7846"/>
                    <a:pt x="2140" y="7846"/>
                  </a:cubicBezTo>
                  <a:lnTo>
                    <a:pt x="1426" y="7846"/>
                  </a:lnTo>
                  <a:cubicBezTo>
                    <a:pt x="635" y="7846"/>
                    <a:pt x="0" y="7211"/>
                    <a:pt x="0" y="6419"/>
                  </a:cubicBezTo>
                  <a:lnTo>
                    <a:pt x="1426" y="3567"/>
                  </a:lnTo>
                  <a:lnTo>
                    <a:pt x="714" y="3567"/>
                  </a:lnTo>
                  <a:lnTo>
                    <a:pt x="714" y="2854"/>
                  </a:lnTo>
                  <a:lnTo>
                    <a:pt x="2853" y="2854"/>
                  </a:lnTo>
                  <a:cubicBezTo>
                    <a:pt x="2853" y="2462"/>
                    <a:pt x="3174" y="2142"/>
                    <a:pt x="3565" y="2142"/>
                  </a:cubicBezTo>
                  <a:lnTo>
                    <a:pt x="6419" y="2142"/>
                  </a:lnTo>
                  <a:cubicBezTo>
                    <a:pt x="6812" y="2142"/>
                    <a:pt x="7132" y="2463"/>
                    <a:pt x="7132" y="2854"/>
                  </a:cubicBezTo>
                  <a:lnTo>
                    <a:pt x="9270" y="2854"/>
                  </a:lnTo>
                  <a:lnTo>
                    <a:pt x="9270" y="3567"/>
                  </a:lnTo>
                  <a:lnTo>
                    <a:pt x="8557" y="3567"/>
                  </a:lnTo>
                  <a:lnTo>
                    <a:pt x="9984" y="6419"/>
                  </a:lnTo>
                  <a:close/>
                  <a:moveTo>
                    <a:pt x="1784" y="4279"/>
                  </a:moveTo>
                  <a:lnTo>
                    <a:pt x="714" y="6418"/>
                  </a:lnTo>
                  <a:lnTo>
                    <a:pt x="2853" y="6418"/>
                  </a:lnTo>
                  <a:lnTo>
                    <a:pt x="1784" y="4279"/>
                  </a:lnTo>
                  <a:close/>
                  <a:moveTo>
                    <a:pt x="9272" y="6419"/>
                  </a:moveTo>
                  <a:lnTo>
                    <a:pt x="8202" y="4281"/>
                  </a:lnTo>
                  <a:lnTo>
                    <a:pt x="7132" y="6419"/>
                  </a:lnTo>
                  <a:lnTo>
                    <a:pt x="9272" y="6419"/>
                  </a:lnTo>
                  <a:close/>
                  <a:moveTo>
                    <a:pt x="9272" y="6419"/>
                  </a:move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53" name="pills_375929">
            <a:extLst>
              <a:ext uri="{FF2B5EF4-FFF2-40B4-BE49-F238E27FC236}">
                <a16:creationId xmlns:a16="http://schemas.microsoft.com/office/drawing/2014/main" id="{D58C5DA8-EF83-488B-81FA-3C6DA1757806}"/>
              </a:ext>
            </a:extLst>
          </p:cNvPr>
          <p:cNvSpPr/>
          <p:nvPr/>
        </p:nvSpPr>
        <p:spPr>
          <a:xfrm>
            <a:off x="1498161" y="2486024"/>
            <a:ext cx="675920" cy="615309"/>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639" h="562689">
                <a:moveTo>
                  <a:pt x="381759" y="298139"/>
                </a:moveTo>
                <a:lnTo>
                  <a:pt x="475208" y="298139"/>
                </a:lnTo>
                <a:cubicBezTo>
                  <a:pt x="548277" y="298139"/>
                  <a:pt x="607639" y="357412"/>
                  <a:pt x="607639" y="430458"/>
                </a:cubicBezTo>
                <a:cubicBezTo>
                  <a:pt x="607639" y="503416"/>
                  <a:pt x="548277" y="562689"/>
                  <a:pt x="475208" y="562689"/>
                </a:cubicBezTo>
                <a:lnTo>
                  <a:pt x="381759" y="562689"/>
                </a:lnTo>
                <a:close/>
                <a:moveTo>
                  <a:pt x="245900" y="298139"/>
                </a:moveTo>
                <a:lnTo>
                  <a:pt x="339349" y="298139"/>
                </a:lnTo>
                <a:lnTo>
                  <a:pt x="339349" y="562689"/>
                </a:lnTo>
                <a:lnTo>
                  <a:pt x="245900" y="562689"/>
                </a:lnTo>
                <a:cubicBezTo>
                  <a:pt x="172831" y="562689"/>
                  <a:pt x="113469" y="503416"/>
                  <a:pt x="113469" y="430458"/>
                </a:cubicBezTo>
                <a:cubicBezTo>
                  <a:pt x="113469" y="357412"/>
                  <a:pt x="172831" y="298139"/>
                  <a:pt x="245900" y="298139"/>
                </a:cubicBezTo>
                <a:close/>
                <a:moveTo>
                  <a:pt x="0" y="267866"/>
                </a:moveTo>
                <a:lnTo>
                  <a:pt x="181847" y="267866"/>
                </a:lnTo>
                <a:cubicBezTo>
                  <a:pt x="159862" y="276488"/>
                  <a:pt x="139567" y="289732"/>
                  <a:pt x="122299" y="306887"/>
                </a:cubicBezTo>
                <a:cubicBezTo>
                  <a:pt x="89277" y="339865"/>
                  <a:pt x="71119" y="383775"/>
                  <a:pt x="71119" y="430352"/>
                </a:cubicBezTo>
                <a:cubicBezTo>
                  <a:pt x="71119" y="448218"/>
                  <a:pt x="73789" y="465551"/>
                  <a:pt x="78863" y="482173"/>
                </a:cubicBezTo>
                <a:cubicBezTo>
                  <a:pt x="32400" y="461551"/>
                  <a:pt x="0" y="415152"/>
                  <a:pt x="0" y="361109"/>
                </a:cubicBezTo>
                <a:close/>
                <a:moveTo>
                  <a:pt x="132452" y="0"/>
                </a:moveTo>
                <a:cubicBezTo>
                  <a:pt x="205620" y="0"/>
                  <a:pt x="264903" y="59199"/>
                  <a:pt x="264903" y="132265"/>
                </a:cubicBezTo>
                <a:lnTo>
                  <a:pt x="264903" y="225598"/>
                </a:lnTo>
                <a:lnTo>
                  <a:pt x="0" y="225598"/>
                </a:lnTo>
                <a:lnTo>
                  <a:pt x="0" y="132265"/>
                </a:lnTo>
                <a:cubicBezTo>
                  <a:pt x="0" y="59199"/>
                  <a:pt x="59283" y="0"/>
                  <a:pt x="13245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24" name="shield-variant-with-white-and-black-borders_31837">
            <a:extLst>
              <a:ext uri="{FF2B5EF4-FFF2-40B4-BE49-F238E27FC236}">
                <a16:creationId xmlns:a16="http://schemas.microsoft.com/office/drawing/2014/main" id="{D9219407-F9E3-F74A-1138-7006887DFC58}"/>
              </a:ext>
            </a:extLst>
          </p:cNvPr>
          <p:cNvSpPr/>
          <p:nvPr/>
        </p:nvSpPr>
        <p:spPr>
          <a:xfrm>
            <a:off x="5369022" y="2423959"/>
            <a:ext cx="578046" cy="671193"/>
          </a:xfrm>
          <a:custGeom>
            <a:avLst/>
            <a:gdLst>
              <a:gd name="connsiteX0" fmla="*/ 262063 w 524032"/>
              <a:gd name="connsiteY0" fmla="*/ 77611 h 608475"/>
              <a:gd name="connsiteX1" fmla="*/ 454868 w 524032"/>
              <a:gd name="connsiteY1" fmla="*/ 163964 h 608475"/>
              <a:gd name="connsiteX2" fmla="*/ 262063 w 524032"/>
              <a:gd name="connsiteY2" fmla="*/ 531109 h 608475"/>
              <a:gd name="connsiteX3" fmla="*/ 69162 w 524032"/>
              <a:gd name="connsiteY3" fmla="*/ 163964 h 608475"/>
              <a:gd name="connsiteX4" fmla="*/ 262063 w 524032"/>
              <a:gd name="connsiteY4" fmla="*/ 77611 h 608475"/>
              <a:gd name="connsiteX5" fmla="*/ 262069 w 524032"/>
              <a:gd name="connsiteY5" fmla="*/ 36054 h 608475"/>
              <a:gd name="connsiteX6" fmla="*/ 32655 w 524032"/>
              <a:gd name="connsiteY6" fmla="*/ 139055 h 608475"/>
              <a:gd name="connsiteX7" fmla="*/ 142739 w 524032"/>
              <a:gd name="connsiteY7" fmla="*/ 460754 h 608475"/>
              <a:gd name="connsiteX8" fmla="*/ 262069 w 524032"/>
              <a:gd name="connsiteY8" fmla="*/ 572987 h 608475"/>
              <a:gd name="connsiteX9" fmla="*/ 381303 w 524032"/>
              <a:gd name="connsiteY9" fmla="*/ 460850 h 608475"/>
              <a:gd name="connsiteX10" fmla="*/ 491387 w 524032"/>
              <a:gd name="connsiteY10" fmla="*/ 139055 h 608475"/>
              <a:gd name="connsiteX11" fmla="*/ 262069 w 524032"/>
              <a:gd name="connsiteY11" fmla="*/ 36054 h 608475"/>
              <a:gd name="connsiteX12" fmla="*/ 271700 w 524032"/>
              <a:gd name="connsiteY12" fmla="*/ 3163 h 608475"/>
              <a:gd name="connsiteX13" fmla="*/ 510168 w 524032"/>
              <a:gd name="connsiteY13" fmla="*/ 110011 h 608475"/>
              <a:gd name="connsiteX14" fmla="*/ 523170 w 524032"/>
              <a:gd name="connsiteY14" fmla="*/ 124918 h 608475"/>
              <a:gd name="connsiteX15" fmla="*/ 475303 w 524032"/>
              <a:gd name="connsiteY15" fmla="*/ 371697 h 608475"/>
              <a:gd name="connsiteX16" fmla="*/ 361944 w 524032"/>
              <a:gd name="connsiteY16" fmla="*/ 530960 h 608475"/>
              <a:gd name="connsiteX17" fmla="*/ 298090 w 524032"/>
              <a:gd name="connsiteY17" fmla="*/ 586932 h 608475"/>
              <a:gd name="connsiteX18" fmla="*/ 278153 w 524032"/>
              <a:gd name="connsiteY18" fmla="*/ 601166 h 608475"/>
              <a:gd name="connsiteX19" fmla="*/ 262262 w 524032"/>
              <a:gd name="connsiteY19" fmla="*/ 608475 h 608475"/>
              <a:gd name="connsiteX20" fmla="*/ 261588 w 524032"/>
              <a:gd name="connsiteY20" fmla="*/ 608475 h 608475"/>
              <a:gd name="connsiteX21" fmla="*/ 244829 w 524032"/>
              <a:gd name="connsiteY21" fmla="*/ 600397 h 608475"/>
              <a:gd name="connsiteX22" fmla="*/ 222196 w 524032"/>
              <a:gd name="connsiteY22" fmla="*/ 584047 h 608475"/>
              <a:gd name="connsiteX23" fmla="*/ 151118 w 524032"/>
              <a:gd name="connsiteY23" fmla="*/ 519708 h 608475"/>
              <a:gd name="connsiteX24" fmla="*/ 872 w 524032"/>
              <a:gd name="connsiteY24" fmla="*/ 124918 h 608475"/>
              <a:gd name="connsiteX25" fmla="*/ 13874 w 524032"/>
              <a:gd name="connsiteY25" fmla="*/ 110011 h 608475"/>
              <a:gd name="connsiteX26" fmla="*/ 252245 w 524032"/>
              <a:gd name="connsiteY26" fmla="*/ 3259 h 608475"/>
              <a:gd name="connsiteX27" fmla="*/ 271700 w 524032"/>
              <a:gd name="connsiteY27" fmla="*/ 3163 h 60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24032" h="608475">
                <a:moveTo>
                  <a:pt x="262063" y="77611"/>
                </a:moveTo>
                <a:cubicBezTo>
                  <a:pt x="262063" y="77611"/>
                  <a:pt x="349894" y="142905"/>
                  <a:pt x="454868" y="163964"/>
                </a:cubicBezTo>
                <a:cubicBezTo>
                  <a:pt x="468736" y="405907"/>
                  <a:pt x="262159" y="531205"/>
                  <a:pt x="262063" y="531109"/>
                </a:cubicBezTo>
                <a:cubicBezTo>
                  <a:pt x="261871" y="531205"/>
                  <a:pt x="55294" y="405907"/>
                  <a:pt x="69162" y="163964"/>
                </a:cubicBezTo>
                <a:cubicBezTo>
                  <a:pt x="174136" y="142905"/>
                  <a:pt x="256092" y="82131"/>
                  <a:pt x="262063" y="77611"/>
                </a:cubicBezTo>
                <a:close/>
                <a:moveTo>
                  <a:pt x="262069" y="36054"/>
                </a:moveTo>
                <a:cubicBezTo>
                  <a:pt x="233176" y="56250"/>
                  <a:pt x="143510" y="114050"/>
                  <a:pt x="32655" y="139055"/>
                </a:cubicBezTo>
                <a:cubicBezTo>
                  <a:pt x="28802" y="256194"/>
                  <a:pt x="65786" y="364388"/>
                  <a:pt x="142739" y="460754"/>
                </a:cubicBezTo>
                <a:cubicBezTo>
                  <a:pt x="191954" y="522400"/>
                  <a:pt x="242711" y="559908"/>
                  <a:pt x="262069" y="572987"/>
                </a:cubicBezTo>
                <a:cubicBezTo>
                  <a:pt x="281332" y="559908"/>
                  <a:pt x="332184" y="522400"/>
                  <a:pt x="381303" y="460850"/>
                </a:cubicBezTo>
                <a:cubicBezTo>
                  <a:pt x="458256" y="364388"/>
                  <a:pt x="495240" y="256194"/>
                  <a:pt x="491387" y="139055"/>
                </a:cubicBezTo>
                <a:cubicBezTo>
                  <a:pt x="382651" y="114435"/>
                  <a:pt x="291444" y="56250"/>
                  <a:pt x="262069" y="36054"/>
                </a:cubicBezTo>
                <a:close/>
                <a:moveTo>
                  <a:pt x="271700" y="3163"/>
                </a:moveTo>
                <a:cubicBezTo>
                  <a:pt x="272760" y="4028"/>
                  <a:pt x="382074" y="84429"/>
                  <a:pt x="510168" y="110011"/>
                </a:cubicBezTo>
                <a:cubicBezTo>
                  <a:pt x="517391" y="111454"/>
                  <a:pt x="522785" y="117609"/>
                  <a:pt x="523170" y="124918"/>
                </a:cubicBezTo>
                <a:cubicBezTo>
                  <a:pt x="528082" y="211281"/>
                  <a:pt x="511998" y="294278"/>
                  <a:pt x="475303" y="371697"/>
                </a:cubicBezTo>
                <a:cubicBezTo>
                  <a:pt x="448047" y="429209"/>
                  <a:pt x="409908" y="482873"/>
                  <a:pt x="361944" y="530960"/>
                </a:cubicBezTo>
                <a:cubicBezTo>
                  <a:pt x="336518" y="556638"/>
                  <a:pt x="313114" y="575584"/>
                  <a:pt x="298090" y="586932"/>
                </a:cubicBezTo>
                <a:cubicBezTo>
                  <a:pt x="289422" y="593472"/>
                  <a:pt x="282487" y="598281"/>
                  <a:pt x="278153" y="601166"/>
                </a:cubicBezTo>
                <a:cubicBezTo>
                  <a:pt x="270256" y="606456"/>
                  <a:pt x="267270" y="608475"/>
                  <a:pt x="262262" y="608475"/>
                </a:cubicBezTo>
                <a:cubicBezTo>
                  <a:pt x="262069" y="608475"/>
                  <a:pt x="261877" y="608475"/>
                  <a:pt x="261588" y="608475"/>
                </a:cubicBezTo>
                <a:cubicBezTo>
                  <a:pt x="256579" y="608379"/>
                  <a:pt x="253979" y="606648"/>
                  <a:pt x="244829" y="600397"/>
                </a:cubicBezTo>
                <a:cubicBezTo>
                  <a:pt x="239918" y="597127"/>
                  <a:pt x="232020" y="591645"/>
                  <a:pt x="222196" y="584047"/>
                </a:cubicBezTo>
                <a:cubicBezTo>
                  <a:pt x="205149" y="570968"/>
                  <a:pt x="178952" y="549233"/>
                  <a:pt x="151118" y="519708"/>
                </a:cubicBezTo>
                <a:cubicBezTo>
                  <a:pt x="76766" y="441134"/>
                  <a:pt x="-9626" y="308800"/>
                  <a:pt x="872" y="124918"/>
                </a:cubicBezTo>
                <a:cubicBezTo>
                  <a:pt x="1257" y="117609"/>
                  <a:pt x="6651" y="111454"/>
                  <a:pt x="13874" y="110011"/>
                </a:cubicBezTo>
                <a:cubicBezTo>
                  <a:pt x="145147" y="83756"/>
                  <a:pt x="247911" y="6529"/>
                  <a:pt x="252245" y="3259"/>
                </a:cubicBezTo>
                <a:cubicBezTo>
                  <a:pt x="257928" y="-1069"/>
                  <a:pt x="265922" y="-1069"/>
                  <a:pt x="271700" y="316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Tree>
    <p:custDataLst>
      <p:tags r:id="rId1"/>
    </p:custDataLst>
    <p:extLst>
      <p:ext uri="{BB962C8B-B14F-4D97-AF65-F5344CB8AC3E}">
        <p14:creationId xmlns:p14="http://schemas.microsoft.com/office/powerpoint/2010/main" val="307522733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îṧlíďé"/>
        <p:cNvGrpSpPr/>
        <p:nvPr/>
      </p:nvGrpSpPr>
      <p:grpSpPr>
        <a:xfrm>
          <a:off x="0" y="0"/>
          <a:ext cx="0" cy="0"/>
          <a:chOff x="0" y="0"/>
          <a:chExt cx="0" cy="0"/>
        </a:xfrm>
      </p:grpSpPr>
      <p:sp>
        <p:nvSpPr>
          <p:cNvPr id="109" name="任意多边形 108"/>
          <p:cNvSpPr/>
          <p:nvPr/>
        </p:nvSpPr>
        <p:spPr>
          <a:xfrm>
            <a:off x="581331" y="1307888"/>
            <a:ext cx="10955695" cy="4606803"/>
          </a:xfrm>
          <a:custGeom>
            <a:avLst/>
            <a:gdLst>
              <a:gd name="connsiteX0" fmla="*/ 194776 w 10955695"/>
              <a:gd name="connsiteY0" fmla="*/ 0 h 4606803"/>
              <a:gd name="connsiteX1" fmla="*/ 6242304 w 10955695"/>
              <a:gd name="connsiteY1" fmla="*/ 0 h 4606803"/>
              <a:gd name="connsiteX2" fmla="*/ 6437080 w 10955695"/>
              <a:gd name="connsiteY2" fmla="*/ 194776 h 4606803"/>
              <a:gd name="connsiteX3" fmla="*/ 6437080 w 10955695"/>
              <a:gd name="connsiteY3" fmla="*/ 2260292 h 4606803"/>
              <a:gd name="connsiteX4" fmla="*/ 10856485 w 10955695"/>
              <a:gd name="connsiteY4" fmla="*/ 2260292 h 4606803"/>
              <a:gd name="connsiteX5" fmla="*/ 10955695 w 10955695"/>
              <a:gd name="connsiteY5" fmla="*/ 2359502 h 4606803"/>
              <a:gd name="connsiteX6" fmla="*/ 10955695 w 10955695"/>
              <a:gd name="connsiteY6" fmla="*/ 4507593 h 4606803"/>
              <a:gd name="connsiteX7" fmla="*/ 10856485 w 10955695"/>
              <a:gd name="connsiteY7" fmla="*/ 4606803 h 4606803"/>
              <a:gd name="connsiteX8" fmla="*/ 6242304 w 10955695"/>
              <a:gd name="connsiteY8" fmla="*/ 4606803 h 4606803"/>
              <a:gd name="connsiteX9" fmla="*/ 4617825 w 10955695"/>
              <a:gd name="connsiteY9" fmla="*/ 4606803 h 4606803"/>
              <a:gd name="connsiteX10" fmla="*/ 194776 w 10955695"/>
              <a:gd name="connsiteY10" fmla="*/ 4606803 h 4606803"/>
              <a:gd name="connsiteX11" fmla="*/ 0 w 10955695"/>
              <a:gd name="connsiteY11" fmla="*/ 4412027 h 4606803"/>
              <a:gd name="connsiteX12" fmla="*/ 0 w 10955695"/>
              <a:gd name="connsiteY12" fmla="*/ 194776 h 4606803"/>
              <a:gd name="connsiteX13" fmla="*/ 194776 w 10955695"/>
              <a:gd name="connsiteY13" fmla="*/ 0 h 460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55695" h="4606803">
                <a:moveTo>
                  <a:pt x="194776" y="0"/>
                </a:moveTo>
                <a:lnTo>
                  <a:pt x="6242304" y="0"/>
                </a:lnTo>
                <a:cubicBezTo>
                  <a:pt x="6349876" y="0"/>
                  <a:pt x="6437080" y="87204"/>
                  <a:pt x="6437080" y="194776"/>
                </a:cubicBezTo>
                <a:lnTo>
                  <a:pt x="6437080" y="2260292"/>
                </a:lnTo>
                <a:lnTo>
                  <a:pt x="10856485" y="2260292"/>
                </a:lnTo>
                <a:cubicBezTo>
                  <a:pt x="10911277" y="2260292"/>
                  <a:pt x="10955695" y="2304710"/>
                  <a:pt x="10955695" y="2359502"/>
                </a:cubicBezTo>
                <a:lnTo>
                  <a:pt x="10955695" y="4507593"/>
                </a:lnTo>
                <a:cubicBezTo>
                  <a:pt x="10955695" y="4562385"/>
                  <a:pt x="10911277" y="4606803"/>
                  <a:pt x="10856485" y="4606803"/>
                </a:cubicBezTo>
                <a:lnTo>
                  <a:pt x="6242304" y="4606803"/>
                </a:lnTo>
                <a:lnTo>
                  <a:pt x="4617825" y="4606803"/>
                </a:lnTo>
                <a:lnTo>
                  <a:pt x="194776" y="4606803"/>
                </a:lnTo>
                <a:cubicBezTo>
                  <a:pt x="87204" y="4606803"/>
                  <a:pt x="0" y="4519599"/>
                  <a:pt x="0" y="4412027"/>
                </a:cubicBezTo>
                <a:lnTo>
                  <a:pt x="0" y="194776"/>
                </a:lnTo>
                <a:cubicBezTo>
                  <a:pt x="0" y="87204"/>
                  <a:pt x="87204" y="0"/>
                  <a:pt x="194776" y="0"/>
                </a:cubicBezTo>
                <a:close/>
              </a:path>
            </a:pathLst>
          </a:cu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6" name="íṧľídê">
            <a:extLst>
              <a:ext uri="{FF2B5EF4-FFF2-40B4-BE49-F238E27FC236}">
                <a16:creationId xmlns:a16="http://schemas.microsoft.com/office/drawing/2014/main" id="{A0C390E4-31E8-42BB-BDAE-C2DCC080A79D}"/>
              </a:ext>
            </a:extLst>
          </p:cNvPr>
          <p:cNvSpPr/>
          <p:nvPr/>
        </p:nvSpPr>
        <p:spPr>
          <a:xfrm>
            <a:off x="7257334" y="1460245"/>
            <a:ext cx="4144926" cy="2284078"/>
          </a:xfrm>
          <a:custGeom>
            <a:avLst/>
            <a:gdLst>
              <a:gd name="connsiteX0" fmla="*/ 3474682 w 9310410"/>
              <a:gd name="connsiteY0" fmla="*/ 3391291 h 5296383"/>
              <a:gd name="connsiteX1" fmla="*/ 3448913 w 9310410"/>
              <a:gd name="connsiteY1" fmla="*/ 3377508 h 5296383"/>
              <a:gd name="connsiteX2" fmla="*/ 3431534 w 9310410"/>
              <a:gd name="connsiteY2" fmla="*/ 3375710 h 5296383"/>
              <a:gd name="connsiteX3" fmla="*/ 3423144 w 9310410"/>
              <a:gd name="connsiteY3" fmla="*/ 3378707 h 5296383"/>
              <a:gd name="connsiteX4" fmla="*/ 3398574 w 9310410"/>
              <a:gd name="connsiteY4" fmla="*/ 3375111 h 5296383"/>
              <a:gd name="connsiteX5" fmla="*/ 3378198 w 9310410"/>
              <a:gd name="connsiteY5" fmla="*/ 3372115 h 5296383"/>
              <a:gd name="connsiteX6" fmla="*/ 3364415 w 9310410"/>
              <a:gd name="connsiteY6" fmla="*/ 3367320 h 5296383"/>
              <a:gd name="connsiteX7" fmla="*/ 3345238 w 9310410"/>
              <a:gd name="connsiteY7" fmla="*/ 3360129 h 5296383"/>
              <a:gd name="connsiteX8" fmla="*/ 3329058 w 9310410"/>
              <a:gd name="connsiteY8" fmla="*/ 3354736 h 5296383"/>
              <a:gd name="connsiteX9" fmla="*/ 3318870 w 9310410"/>
              <a:gd name="connsiteY9" fmla="*/ 3352938 h 5296383"/>
              <a:gd name="connsiteX10" fmla="*/ 3309282 w 9310410"/>
              <a:gd name="connsiteY10" fmla="*/ 3354736 h 5296383"/>
              <a:gd name="connsiteX11" fmla="*/ 3302090 w 9310410"/>
              <a:gd name="connsiteY11" fmla="*/ 3357133 h 5296383"/>
              <a:gd name="connsiteX12" fmla="*/ 3290704 w 9310410"/>
              <a:gd name="connsiteY12" fmla="*/ 3356534 h 5296383"/>
              <a:gd name="connsiteX13" fmla="*/ 3274524 w 9310410"/>
              <a:gd name="connsiteY13" fmla="*/ 3348144 h 5296383"/>
              <a:gd name="connsiteX14" fmla="*/ 3260141 w 9310410"/>
              <a:gd name="connsiteY14" fmla="*/ 3345747 h 5296383"/>
              <a:gd name="connsiteX15" fmla="*/ 3242763 w 9310410"/>
              <a:gd name="connsiteY15" fmla="*/ 3337357 h 5296383"/>
              <a:gd name="connsiteX16" fmla="*/ 3240965 w 9310410"/>
              <a:gd name="connsiteY16" fmla="*/ 3328967 h 5296383"/>
              <a:gd name="connsiteX17" fmla="*/ 3218792 w 9310410"/>
              <a:gd name="connsiteY17" fmla="*/ 3328368 h 5296383"/>
              <a:gd name="connsiteX18" fmla="*/ 3205607 w 9310410"/>
              <a:gd name="connsiteY18" fmla="*/ 3325971 h 5296383"/>
              <a:gd name="connsiteX19" fmla="*/ 3211001 w 9310410"/>
              <a:gd name="connsiteY19" fmla="*/ 3323573 h 5296383"/>
              <a:gd name="connsiteX20" fmla="*/ 3222987 w 9310410"/>
              <a:gd name="connsiteY20" fmla="*/ 3312187 h 5296383"/>
              <a:gd name="connsiteX21" fmla="*/ 3231376 w 9310410"/>
              <a:gd name="connsiteY21" fmla="*/ 3293011 h 5296383"/>
              <a:gd name="connsiteX22" fmla="*/ 3248156 w 9310410"/>
              <a:gd name="connsiteY22" fmla="*/ 3293610 h 5296383"/>
              <a:gd name="connsiteX23" fmla="*/ 3270928 w 9310410"/>
              <a:gd name="connsiteY23" fmla="*/ 3295408 h 5296383"/>
              <a:gd name="connsiteX24" fmla="*/ 3281116 w 9310410"/>
              <a:gd name="connsiteY24" fmla="*/ 3300801 h 5296383"/>
              <a:gd name="connsiteX25" fmla="*/ 3288907 w 9310410"/>
              <a:gd name="connsiteY25" fmla="*/ 3306194 h 5296383"/>
              <a:gd name="connsiteX26" fmla="*/ 3293101 w 9310410"/>
              <a:gd name="connsiteY26" fmla="*/ 3303797 h 5296383"/>
              <a:gd name="connsiteX27" fmla="*/ 3296697 w 9310410"/>
              <a:gd name="connsiteY27" fmla="*/ 3302000 h 5296383"/>
              <a:gd name="connsiteX28" fmla="*/ 3304488 w 9310410"/>
              <a:gd name="connsiteY28" fmla="*/ 3312187 h 5296383"/>
              <a:gd name="connsiteX29" fmla="*/ 3319470 w 9310410"/>
              <a:gd name="connsiteY29" fmla="*/ 3320577 h 5296383"/>
              <a:gd name="connsiteX30" fmla="*/ 3335050 w 9310410"/>
              <a:gd name="connsiteY30" fmla="*/ 3322375 h 5296383"/>
              <a:gd name="connsiteX31" fmla="*/ 3347635 w 9310410"/>
              <a:gd name="connsiteY31" fmla="*/ 3320577 h 5296383"/>
              <a:gd name="connsiteX32" fmla="*/ 3356025 w 9310410"/>
              <a:gd name="connsiteY32" fmla="*/ 3319378 h 5296383"/>
              <a:gd name="connsiteX33" fmla="*/ 3361419 w 9310410"/>
              <a:gd name="connsiteY33" fmla="*/ 3312187 h 5296383"/>
              <a:gd name="connsiteX34" fmla="*/ 3377599 w 9310410"/>
              <a:gd name="connsiteY34" fmla="*/ 3310989 h 5296383"/>
              <a:gd name="connsiteX35" fmla="*/ 3387787 w 9310410"/>
              <a:gd name="connsiteY35" fmla="*/ 3315183 h 5296383"/>
              <a:gd name="connsiteX36" fmla="*/ 3397974 w 9310410"/>
              <a:gd name="connsiteY36" fmla="*/ 3316382 h 5296383"/>
              <a:gd name="connsiteX37" fmla="*/ 3417751 w 9310410"/>
              <a:gd name="connsiteY37" fmla="*/ 3324173 h 5296383"/>
              <a:gd name="connsiteX38" fmla="*/ 3423144 w 9310410"/>
              <a:gd name="connsiteY38" fmla="*/ 3335559 h 5296383"/>
              <a:gd name="connsiteX39" fmla="*/ 3423743 w 9310410"/>
              <a:gd name="connsiteY39" fmla="*/ 3346346 h 5296383"/>
              <a:gd name="connsiteX40" fmla="*/ 3438126 w 9310410"/>
              <a:gd name="connsiteY40" fmla="*/ 3349942 h 5296383"/>
              <a:gd name="connsiteX41" fmla="*/ 3447714 w 9310410"/>
              <a:gd name="connsiteY41" fmla="*/ 3352339 h 5296383"/>
              <a:gd name="connsiteX42" fmla="*/ 3462097 w 9310410"/>
              <a:gd name="connsiteY42" fmla="*/ 3351739 h 5296383"/>
              <a:gd name="connsiteX43" fmla="*/ 3475281 w 9310410"/>
              <a:gd name="connsiteY43" fmla="*/ 3363125 h 5296383"/>
              <a:gd name="connsiteX44" fmla="*/ 3477678 w 9310410"/>
              <a:gd name="connsiteY44" fmla="*/ 3381104 h 5296383"/>
              <a:gd name="connsiteX45" fmla="*/ 3474682 w 9310410"/>
              <a:gd name="connsiteY45" fmla="*/ 3391291 h 5296383"/>
              <a:gd name="connsiteX46" fmla="*/ 5341420 w 9310410"/>
              <a:gd name="connsiteY46" fmla="*/ 832392 h 5296383"/>
              <a:gd name="connsiteX47" fmla="*/ 5334229 w 9310410"/>
              <a:gd name="connsiteY47" fmla="*/ 838384 h 5296383"/>
              <a:gd name="connsiteX48" fmla="*/ 5327037 w 9310410"/>
              <a:gd name="connsiteY48" fmla="*/ 846774 h 5296383"/>
              <a:gd name="connsiteX49" fmla="*/ 5309059 w 9310410"/>
              <a:gd name="connsiteY49" fmla="*/ 844377 h 5296383"/>
              <a:gd name="connsiteX50" fmla="*/ 5310258 w 9310410"/>
              <a:gd name="connsiteY50" fmla="*/ 855763 h 5296383"/>
              <a:gd name="connsiteX51" fmla="*/ 5301868 w 9310410"/>
              <a:gd name="connsiteY51" fmla="*/ 856363 h 5296383"/>
              <a:gd name="connsiteX52" fmla="*/ 5292279 w 9310410"/>
              <a:gd name="connsiteY52" fmla="*/ 856363 h 5296383"/>
              <a:gd name="connsiteX53" fmla="*/ 5288684 w 9310410"/>
              <a:gd name="connsiteY53" fmla="*/ 859958 h 5296383"/>
              <a:gd name="connsiteX54" fmla="*/ 5291680 w 9310410"/>
              <a:gd name="connsiteY54" fmla="*/ 870745 h 5296383"/>
              <a:gd name="connsiteX55" fmla="*/ 5287485 w 9310410"/>
              <a:gd name="connsiteY55" fmla="*/ 882131 h 5296383"/>
              <a:gd name="connsiteX56" fmla="*/ 5270106 w 9310410"/>
              <a:gd name="connsiteY56" fmla="*/ 885128 h 5296383"/>
              <a:gd name="connsiteX57" fmla="*/ 5289283 w 9310410"/>
              <a:gd name="connsiteY57" fmla="*/ 888124 h 5296383"/>
              <a:gd name="connsiteX58" fmla="*/ 5300070 w 9310410"/>
              <a:gd name="connsiteY58" fmla="*/ 895915 h 5296383"/>
              <a:gd name="connsiteX59" fmla="*/ 5287485 w 9310410"/>
              <a:gd name="connsiteY59" fmla="*/ 898911 h 5296383"/>
              <a:gd name="connsiteX60" fmla="*/ 5255724 w 9310410"/>
              <a:gd name="connsiteY60" fmla="*/ 894716 h 5296383"/>
              <a:gd name="connsiteX61" fmla="*/ 5228756 w 9310410"/>
              <a:gd name="connsiteY61" fmla="*/ 886326 h 5296383"/>
              <a:gd name="connsiteX62" fmla="*/ 5214374 w 9310410"/>
              <a:gd name="connsiteY62" fmla="*/ 871344 h 5296383"/>
              <a:gd name="connsiteX63" fmla="*/ 5198193 w 9310410"/>
              <a:gd name="connsiteY63" fmla="*/ 858160 h 5296383"/>
              <a:gd name="connsiteX64" fmla="*/ 5176620 w 9310410"/>
              <a:gd name="connsiteY64" fmla="*/ 861157 h 5296383"/>
              <a:gd name="connsiteX65" fmla="*/ 5161638 w 9310410"/>
              <a:gd name="connsiteY65" fmla="*/ 860557 h 5296383"/>
              <a:gd name="connsiteX66" fmla="*/ 5150851 w 9310410"/>
              <a:gd name="connsiteY66" fmla="*/ 848572 h 5296383"/>
              <a:gd name="connsiteX67" fmla="*/ 5150251 w 9310410"/>
              <a:gd name="connsiteY67" fmla="*/ 837785 h 5296383"/>
              <a:gd name="connsiteX68" fmla="*/ 5133472 w 9310410"/>
              <a:gd name="connsiteY68" fmla="*/ 845576 h 5296383"/>
              <a:gd name="connsiteX69" fmla="*/ 5130475 w 9310410"/>
              <a:gd name="connsiteY69" fmla="*/ 856363 h 5296383"/>
              <a:gd name="connsiteX70" fmla="*/ 5128078 w 9310410"/>
              <a:gd name="connsiteY70" fmla="*/ 888124 h 5296383"/>
              <a:gd name="connsiteX71" fmla="*/ 5093920 w 9310410"/>
              <a:gd name="connsiteY71" fmla="*/ 898312 h 5296383"/>
              <a:gd name="connsiteX72" fmla="*/ 5075941 w 9310410"/>
              <a:gd name="connsiteY72" fmla="*/ 889323 h 5296383"/>
              <a:gd name="connsiteX73" fmla="*/ 5074144 w 9310410"/>
              <a:gd name="connsiteY73" fmla="*/ 892319 h 5296383"/>
              <a:gd name="connsiteX74" fmla="*/ 5068151 w 9310410"/>
              <a:gd name="connsiteY74" fmla="*/ 895315 h 5296383"/>
              <a:gd name="connsiteX75" fmla="*/ 5061559 w 9310410"/>
              <a:gd name="connsiteY75" fmla="*/ 903705 h 5296383"/>
              <a:gd name="connsiteX76" fmla="*/ 5076541 w 9310410"/>
              <a:gd name="connsiteY76" fmla="*/ 902507 h 5296383"/>
              <a:gd name="connsiteX77" fmla="*/ 5087328 w 9310410"/>
              <a:gd name="connsiteY77" fmla="*/ 906702 h 5296383"/>
              <a:gd name="connsiteX78" fmla="*/ 5096317 w 9310410"/>
              <a:gd name="connsiteY78" fmla="*/ 910896 h 5296383"/>
              <a:gd name="connsiteX79" fmla="*/ 5108901 w 9310410"/>
              <a:gd name="connsiteY79" fmla="*/ 920485 h 5296383"/>
              <a:gd name="connsiteX80" fmla="*/ 5108901 w 9310410"/>
              <a:gd name="connsiteY80" fmla="*/ 927077 h 5296383"/>
              <a:gd name="connsiteX81" fmla="*/ 5114295 w 9310410"/>
              <a:gd name="connsiteY81" fmla="*/ 930672 h 5296383"/>
              <a:gd name="connsiteX82" fmla="*/ 5116093 w 9310410"/>
              <a:gd name="connsiteY82" fmla="*/ 938463 h 5296383"/>
              <a:gd name="connsiteX83" fmla="*/ 5130475 w 9310410"/>
              <a:gd name="connsiteY83" fmla="*/ 949849 h 5296383"/>
              <a:gd name="connsiteX84" fmla="*/ 5142461 w 9310410"/>
              <a:gd name="connsiteY84" fmla="*/ 964232 h 5296383"/>
              <a:gd name="connsiteX85" fmla="*/ 5140663 w 9310410"/>
              <a:gd name="connsiteY85" fmla="*/ 972022 h 5296383"/>
              <a:gd name="connsiteX86" fmla="*/ 5129277 w 9310410"/>
              <a:gd name="connsiteY86" fmla="*/ 978015 h 5296383"/>
              <a:gd name="connsiteX87" fmla="*/ 5109501 w 9310410"/>
              <a:gd name="connsiteY87" fmla="*/ 972022 h 5296383"/>
              <a:gd name="connsiteX88" fmla="*/ 5101111 w 9310410"/>
              <a:gd name="connsiteY88" fmla="*/ 972022 h 5296383"/>
              <a:gd name="connsiteX89" fmla="*/ 5096916 w 9310410"/>
              <a:gd name="connsiteY89" fmla="*/ 967827 h 5296383"/>
              <a:gd name="connsiteX90" fmla="*/ 5092721 w 9310410"/>
              <a:gd name="connsiteY90" fmla="*/ 964232 h 5296383"/>
              <a:gd name="connsiteX91" fmla="*/ 5089725 w 9310410"/>
              <a:gd name="connsiteY91" fmla="*/ 969625 h 5296383"/>
              <a:gd name="connsiteX92" fmla="*/ 5084930 w 9310410"/>
              <a:gd name="connsiteY92" fmla="*/ 975618 h 5296383"/>
              <a:gd name="connsiteX93" fmla="*/ 5064555 w 9310410"/>
              <a:gd name="connsiteY93" fmla="*/ 987603 h 5296383"/>
              <a:gd name="connsiteX94" fmla="*/ 5029198 w 9310410"/>
              <a:gd name="connsiteY94" fmla="*/ 1007979 h 5296383"/>
              <a:gd name="connsiteX95" fmla="*/ 5013617 w 9310410"/>
              <a:gd name="connsiteY95" fmla="*/ 1019365 h 5296383"/>
              <a:gd name="connsiteX96" fmla="*/ 5002231 w 9310410"/>
              <a:gd name="connsiteY96" fmla="*/ 1027755 h 5296383"/>
              <a:gd name="connsiteX97" fmla="*/ 4972867 w 9310410"/>
              <a:gd name="connsiteY97" fmla="*/ 1052325 h 5296383"/>
              <a:gd name="connsiteX98" fmla="*/ 4969271 w 9310410"/>
              <a:gd name="connsiteY98" fmla="*/ 1052325 h 5296383"/>
              <a:gd name="connsiteX99" fmla="*/ 4960881 w 9310410"/>
              <a:gd name="connsiteY99" fmla="*/ 1067307 h 5296383"/>
              <a:gd name="connsiteX100" fmla="*/ 4953090 w 9310410"/>
              <a:gd name="connsiteY100" fmla="*/ 1064910 h 5296383"/>
              <a:gd name="connsiteX101" fmla="*/ 4938108 w 9310410"/>
              <a:gd name="connsiteY101" fmla="*/ 1048729 h 5296383"/>
              <a:gd name="connsiteX102" fmla="*/ 4910542 w 9310410"/>
              <a:gd name="connsiteY102" fmla="*/ 1046332 h 5296383"/>
              <a:gd name="connsiteX103" fmla="*/ 4881177 w 9310410"/>
              <a:gd name="connsiteY103" fmla="*/ 1059516 h 5296383"/>
              <a:gd name="connsiteX104" fmla="*/ 4866195 w 9310410"/>
              <a:gd name="connsiteY104" fmla="*/ 1060715 h 5296383"/>
              <a:gd name="connsiteX105" fmla="*/ 4849416 w 9310410"/>
              <a:gd name="connsiteY105" fmla="*/ 1058318 h 5296383"/>
              <a:gd name="connsiteX106" fmla="*/ 4840427 w 9310410"/>
              <a:gd name="connsiteY106" fmla="*/ 1076296 h 5296383"/>
              <a:gd name="connsiteX107" fmla="*/ 4831438 w 9310410"/>
              <a:gd name="connsiteY107" fmla="*/ 1078094 h 5296383"/>
              <a:gd name="connsiteX108" fmla="*/ 4823647 w 9310410"/>
              <a:gd name="connsiteY108" fmla="*/ 1078094 h 5296383"/>
              <a:gd name="connsiteX109" fmla="*/ 4814658 w 9310410"/>
              <a:gd name="connsiteY109" fmla="*/ 1076895 h 5296383"/>
              <a:gd name="connsiteX110" fmla="*/ 4803871 w 9310410"/>
              <a:gd name="connsiteY110" fmla="*/ 1087682 h 5296383"/>
              <a:gd name="connsiteX111" fmla="*/ 4798478 w 9310410"/>
              <a:gd name="connsiteY111" fmla="*/ 1105061 h 5296383"/>
              <a:gd name="connsiteX112" fmla="*/ 4794283 w 9310410"/>
              <a:gd name="connsiteY112" fmla="*/ 1111054 h 5296383"/>
              <a:gd name="connsiteX113" fmla="*/ 4782297 w 9310410"/>
              <a:gd name="connsiteY113" fmla="*/ 1131429 h 5296383"/>
              <a:gd name="connsiteX114" fmla="*/ 4778702 w 9310410"/>
              <a:gd name="connsiteY114" fmla="*/ 1151805 h 5296383"/>
              <a:gd name="connsiteX115" fmla="*/ 4790088 w 9310410"/>
              <a:gd name="connsiteY115" fmla="*/ 1149407 h 5296383"/>
              <a:gd name="connsiteX116" fmla="*/ 4800875 w 9310410"/>
              <a:gd name="connsiteY116" fmla="*/ 1159595 h 5296383"/>
              <a:gd name="connsiteX117" fmla="*/ 4797279 w 9310410"/>
              <a:gd name="connsiteY117" fmla="*/ 1173978 h 5296383"/>
              <a:gd name="connsiteX118" fmla="*/ 4804470 w 9310410"/>
              <a:gd name="connsiteY118" fmla="*/ 1185364 h 5296383"/>
              <a:gd name="connsiteX119" fmla="*/ 4810463 w 9310410"/>
              <a:gd name="connsiteY119" fmla="*/ 1199747 h 5296383"/>
              <a:gd name="connsiteX120" fmla="*/ 4801474 w 9310410"/>
              <a:gd name="connsiteY120" fmla="*/ 1200945 h 5296383"/>
              <a:gd name="connsiteX121" fmla="*/ 4791886 w 9310410"/>
              <a:gd name="connsiteY121" fmla="*/ 1199147 h 5296383"/>
              <a:gd name="connsiteX122" fmla="*/ 4788889 w 9310410"/>
              <a:gd name="connsiteY122" fmla="*/ 1206339 h 5296383"/>
              <a:gd name="connsiteX123" fmla="*/ 4783496 w 9310410"/>
              <a:gd name="connsiteY123" fmla="*/ 1211732 h 5296383"/>
              <a:gd name="connsiteX124" fmla="*/ 4779301 w 9310410"/>
              <a:gd name="connsiteY124" fmla="*/ 1240497 h 5296383"/>
              <a:gd name="connsiteX125" fmla="*/ 4777503 w 9310410"/>
              <a:gd name="connsiteY125" fmla="*/ 1260872 h 5296383"/>
              <a:gd name="connsiteX126" fmla="*/ 4764319 w 9310410"/>
              <a:gd name="connsiteY126" fmla="*/ 1259075 h 5296383"/>
              <a:gd name="connsiteX127" fmla="*/ 4751135 w 9310410"/>
              <a:gd name="connsiteY127" fmla="*/ 1265667 h 5296383"/>
              <a:gd name="connsiteX128" fmla="*/ 4741547 w 9310410"/>
              <a:gd name="connsiteY128" fmla="*/ 1277053 h 5296383"/>
              <a:gd name="connsiteX129" fmla="*/ 4739749 w 9310410"/>
              <a:gd name="connsiteY129" fmla="*/ 1299825 h 5296383"/>
              <a:gd name="connsiteX130" fmla="*/ 4737951 w 9310410"/>
              <a:gd name="connsiteY130" fmla="*/ 1308814 h 5296383"/>
              <a:gd name="connsiteX131" fmla="*/ 4721771 w 9310410"/>
              <a:gd name="connsiteY131" fmla="*/ 1311811 h 5296383"/>
              <a:gd name="connsiteX132" fmla="*/ 4711583 w 9310410"/>
              <a:gd name="connsiteY132" fmla="*/ 1315406 h 5296383"/>
              <a:gd name="connsiteX133" fmla="*/ 4706789 w 9310410"/>
              <a:gd name="connsiteY133" fmla="*/ 1319601 h 5296383"/>
              <a:gd name="connsiteX134" fmla="*/ 4704392 w 9310410"/>
              <a:gd name="connsiteY134" fmla="*/ 1343572 h 5296383"/>
              <a:gd name="connsiteX135" fmla="*/ 4691807 w 9310410"/>
              <a:gd name="connsiteY135" fmla="*/ 1363948 h 5296383"/>
              <a:gd name="connsiteX136" fmla="*/ 4665439 w 9310410"/>
              <a:gd name="connsiteY136" fmla="*/ 1378929 h 5296383"/>
              <a:gd name="connsiteX137" fmla="*/ 4654053 w 9310410"/>
              <a:gd name="connsiteY137" fmla="*/ 1332785 h 5296383"/>
              <a:gd name="connsiteX138" fmla="*/ 4637872 w 9310410"/>
              <a:gd name="connsiteY138" fmla="*/ 1253681 h 5296383"/>
              <a:gd name="connsiteX139" fmla="*/ 4645064 w 9310410"/>
              <a:gd name="connsiteY139" fmla="*/ 1181169 h 5296383"/>
              <a:gd name="connsiteX140" fmla="*/ 4657648 w 9310410"/>
              <a:gd name="connsiteY140" fmla="*/ 1172779 h 5296383"/>
              <a:gd name="connsiteX141" fmla="*/ 4660045 w 9310410"/>
              <a:gd name="connsiteY141" fmla="*/ 1159595 h 5296383"/>
              <a:gd name="connsiteX142" fmla="*/ 4663641 w 9310410"/>
              <a:gd name="connsiteY142" fmla="*/ 1148209 h 5296383"/>
              <a:gd name="connsiteX143" fmla="*/ 4678623 w 9310410"/>
              <a:gd name="connsiteY143" fmla="*/ 1141617 h 5296383"/>
              <a:gd name="connsiteX144" fmla="*/ 4706789 w 9310410"/>
              <a:gd name="connsiteY144" fmla="*/ 1135624 h 5296383"/>
              <a:gd name="connsiteX145" fmla="*/ 4734955 w 9310410"/>
              <a:gd name="connsiteY145" fmla="*/ 1102664 h 5296383"/>
              <a:gd name="connsiteX146" fmla="*/ 4757727 w 9310410"/>
              <a:gd name="connsiteY146" fmla="*/ 1078693 h 5296383"/>
              <a:gd name="connsiteX147" fmla="*/ 4764918 w 9310410"/>
              <a:gd name="connsiteY147" fmla="*/ 1070303 h 5296383"/>
              <a:gd name="connsiteX148" fmla="*/ 4765518 w 9310410"/>
              <a:gd name="connsiteY148" fmla="*/ 1060715 h 5296383"/>
              <a:gd name="connsiteX149" fmla="*/ 4776304 w 9310410"/>
              <a:gd name="connsiteY149" fmla="*/ 1051726 h 5296383"/>
              <a:gd name="connsiteX150" fmla="*/ 4787092 w 9310410"/>
              <a:gd name="connsiteY150" fmla="*/ 1045134 h 5296383"/>
              <a:gd name="connsiteX151" fmla="*/ 4800275 w 9310410"/>
              <a:gd name="connsiteY151" fmla="*/ 1042137 h 5296383"/>
              <a:gd name="connsiteX152" fmla="*/ 4808066 w 9310410"/>
              <a:gd name="connsiteY152" fmla="*/ 1034347 h 5296383"/>
              <a:gd name="connsiteX153" fmla="*/ 4808066 w 9310410"/>
              <a:gd name="connsiteY153" fmla="*/ 1019964 h 5296383"/>
              <a:gd name="connsiteX154" fmla="*/ 4810463 w 9310410"/>
              <a:gd name="connsiteY154" fmla="*/ 1003185 h 5296383"/>
              <a:gd name="connsiteX155" fmla="*/ 4826044 w 9310410"/>
              <a:gd name="connsiteY155" fmla="*/ 986405 h 5296383"/>
              <a:gd name="connsiteX156" fmla="*/ 4821250 w 9310410"/>
              <a:gd name="connsiteY156" fmla="*/ 978015 h 5296383"/>
              <a:gd name="connsiteX157" fmla="*/ 4803871 w 9310410"/>
              <a:gd name="connsiteY157" fmla="*/ 979813 h 5296383"/>
              <a:gd name="connsiteX158" fmla="*/ 4793683 w 9310410"/>
              <a:gd name="connsiteY158" fmla="*/ 984008 h 5296383"/>
              <a:gd name="connsiteX159" fmla="*/ 4791886 w 9310410"/>
              <a:gd name="connsiteY159" fmla="*/ 991199 h 5296383"/>
              <a:gd name="connsiteX160" fmla="*/ 4792485 w 9310410"/>
              <a:gd name="connsiteY160" fmla="*/ 1003185 h 5296383"/>
              <a:gd name="connsiteX161" fmla="*/ 4788889 w 9310410"/>
              <a:gd name="connsiteY161" fmla="*/ 1012174 h 5296383"/>
              <a:gd name="connsiteX162" fmla="*/ 4775705 w 9310410"/>
              <a:gd name="connsiteY162" fmla="*/ 1018166 h 5296383"/>
              <a:gd name="connsiteX163" fmla="*/ 4761323 w 9310410"/>
              <a:gd name="connsiteY163" fmla="*/ 1027156 h 5296383"/>
              <a:gd name="connsiteX164" fmla="*/ 4746341 w 9310410"/>
              <a:gd name="connsiteY164" fmla="*/ 1043935 h 5296383"/>
              <a:gd name="connsiteX165" fmla="*/ 4736752 w 9310410"/>
              <a:gd name="connsiteY165" fmla="*/ 1042137 h 5296383"/>
              <a:gd name="connsiteX166" fmla="*/ 4726565 w 9310410"/>
              <a:gd name="connsiteY166" fmla="*/ 1040340 h 5296383"/>
              <a:gd name="connsiteX167" fmla="*/ 4724767 w 9310410"/>
              <a:gd name="connsiteY167" fmla="*/ 1027755 h 5296383"/>
              <a:gd name="connsiteX168" fmla="*/ 4727164 w 9310410"/>
              <a:gd name="connsiteY168" fmla="*/ 1012773 h 5296383"/>
              <a:gd name="connsiteX169" fmla="*/ 4717576 w 9310410"/>
              <a:gd name="connsiteY169" fmla="*/ 1007979 h 5296383"/>
              <a:gd name="connsiteX170" fmla="*/ 4693605 w 9310410"/>
              <a:gd name="connsiteY170" fmla="*/ 1006780 h 5296383"/>
              <a:gd name="connsiteX171" fmla="*/ 4670832 w 9310410"/>
              <a:gd name="connsiteY171" fmla="*/ 1010975 h 5296383"/>
              <a:gd name="connsiteX172" fmla="*/ 4658847 w 9310410"/>
              <a:gd name="connsiteY172" fmla="*/ 1019365 h 5296383"/>
              <a:gd name="connsiteX173" fmla="*/ 4646861 w 9310410"/>
              <a:gd name="connsiteY173" fmla="*/ 1031351 h 5296383"/>
              <a:gd name="connsiteX174" fmla="*/ 4636674 w 9310410"/>
              <a:gd name="connsiteY174" fmla="*/ 1045134 h 5296383"/>
              <a:gd name="connsiteX175" fmla="*/ 4611504 w 9310410"/>
              <a:gd name="connsiteY175" fmla="*/ 1061914 h 5296383"/>
              <a:gd name="connsiteX176" fmla="*/ 4597122 w 9310410"/>
              <a:gd name="connsiteY176" fmla="*/ 1082888 h 5296383"/>
              <a:gd name="connsiteX177" fmla="*/ 4599519 w 9310410"/>
              <a:gd name="connsiteY177" fmla="*/ 1090679 h 5296383"/>
              <a:gd name="connsiteX178" fmla="*/ 4612104 w 9310410"/>
              <a:gd name="connsiteY178" fmla="*/ 1091278 h 5296383"/>
              <a:gd name="connsiteX179" fmla="*/ 4620493 w 9310410"/>
              <a:gd name="connsiteY179" fmla="*/ 1098469 h 5296383"/>
              <a:gd name="connsiteX180" fmla="*/ 4619894 w 9310410"/>
              <a:gd name="connsiteY180" fmla="*/ 1105061 h 5296383"/>
              <a:gd name="connsiteX181" fmla="*/ 4609107 w 9310410"/>
              <a:gd name="connsiteY181" fmla="*/ 1108058 h 5296383"/>
              <a:gd name="connsiteX182" fmla="*/ 4598919 w 9310410"/>
              <a:gd name="connsiteY182" fmla="*/ 1106260 h 5296383"/>
              <a:gd name="connsiteX183" fmla="*/ 4588732 w 9310410"/>
              <a:gd name="connsiteY183" fmla="*/ 1103863 h 5296383"/>
              <a:gd name="connsiteX184" fmla="*/ 4575548 w 9310410"/>
              <a:gd name="connsiteY184" fmla="*/ 1108058 h 5296383"/>
              <a:gd name="connsiteX185" fmla="*/ 4556970 w 9310410"/>
              <a:gd name="connsiteY185" fmla="*/ 1109256 h 5296383"/>
              <a:gd name="connsiteX186" fmla="*/ 4546783 w 9310410"/>
              <a:gd name="connsiteY186" fmla="*/ 1113451 h 5296383"/>
              <a:gd name="connsiteX187" fmla="*/ 4530003 w 9310410"/>
              <a:gd name="connsiteY187" fmla="*/ 1112253 h 5296383"/>
              <a:gd name="connsiteX188" fmla="*/ 4540191 w 9310410"/>
              <a:gd name="connsiteY188" fmla="*/ 1105061 h 5296383"/>
              <a:gd name="connsiteX189" fmla="*/ 4545584 w 9310410"/>
              <a:gd name="connsiteY189" fmla="*/ 1102664 h 5296383"/>
              <a:gd name="connsiteX190" fmla="*/ 4540191 w 9310410"/>
              <a:gd name="connsiteY190" fmla="*/ 1100866 h 5296383"/>
              <a:gd name="connsiteX191" fmla="*/ 4537194 w 9310410"/>
              <a:gd name="connsiteY191" fmla="*/ 1097870 h 5296383"/>
              <a:gd name="connsiteX192" fmla="*/ 4522812 w 9310410"/>
              <a:gd name="connsiteY192" fmla="*/ 1093675 h 5296383"/>
              <a:gd name="connsiteX193" fmla="*/ 4514422 w 9310410"/>
              <a:gd name="connsiteY193" fmla="*/ 1090079 h 5296383"/>
              <a:gd name="connsiteX194" fmla="*/ 4503635 w 9310410"/>
              <a:gd name="connsiteY194" fmla="*/ 1086484 h 5296383"/>
              <a:gd name="connsiteX195" fmla="*/ 4491050 w 9310410"/>
              <a:gd name="connsiteY195" fmla="*/ 1083487 h 5296383"/>
              <a:gd name="connsiteX196" fmla="*/ 4481462 w 9310410"/>
              <a:gd name="connsiteY196" fmla="*/ 1085285 h 5296383"/>
              <a:gd name="connsiteX197" fmla="*/ 4476068 w 9310410"/>
              <a:gd name="connsiteY197" fmla="*/ 1087682 h 5296383"/>
              <a:gd name="connsiteX198" fmla="*/ 4474870 w 9310410"/>
              <a:gd name="connsiteY198" fmla="*/ 1095473 h 5296383"/>
              <a:gd name="connsiteX199" fmla="*/ 4462884 w 9310410"/>
              <a:gd name="connsiteY199" fmla="*/ 1097870 h 5296383"/>
              <a:gd name="connsiteX200" fmla="*/ 4456292 w 9310410"/>
              <a:gd name="connsiteY200" fmla="*/ 1095473 h 5296383"/>
              <a:gd name="connsiteX201" fmla="*/ 4446105 w 9310410"/>
              <a:gd name="connsiteY201" fmla="*/ 1094874 h 5296383"/>
              <a:gd name="connsiteX202" fmla="*/ 4434718 w 9310410"/>
              <a:gd name="connsiteY202" fmla="*/ 1099069 h 5296383"/>
              <a:gd name="connsiteX203" fmla="*/ 4422134 w 9310410"/>
              <a:gd name="connsiteY203" fmla="*/ 1094874 h 5296383"/>
              <a:gd name="connsiteX204" fmla="*/ 4413744 w 9310410"/>
              <a:gd name="connsiteY204" fmla="*/ 1096072 h 5296383"/>
              <a:gd name="connsiteX205" fmla="*/ 4405354 w 9310410"/>
              <a:gd name="connsiteY205" fmla="*/ 1101466 h 5296383"/>
              <a:gd name="connsiteX206" fmla="*/ 4404755 w 9310410"/>
              <a:gd name="connsiteY206" fmla="*/ 1089480 h 5296383"/>
              <a:gd name="connsiteX207" fmla="*/ 4363405 w 9310410"/>
              <a:gd name="connsiteY207" fmla="*/ 1094874 h 5296383"/>
              <a:gd name="connsiteX208" fmla="*/ 4318459 w 9310410"/>
              <a:gd name="connsiteY208" fmla="*/ 1108058 h 5296383"/>
              <a:gd name="connsiteX209" fmla="*/ 4301680 w 9310410"/>
              <a:gd name="connsiteY209" fmla="*/ 1122440 h 5296383"/>
              <a:gd name="connsiteX210" fmla="*/ 4284900 w 9310410"/>
              <a:gd name="connsiteY210" fmla="*/ 1141018 h 5296383"/>
              <a:gd name="connsiteX211" fmla="*/ 4263925 w 9310410"/>
              <a:gd name="connsiteY211" fmla="*/ 1157797 h 5296383"/>
              <a:gd name="connsiteX212" fmla="*/ 4239355 w 9310410"/>
              <a:gd name="connsiteY212" fmla="*/ 1175176 h 5296383"/>
              <a:gd name="connsiteX213" fmla="*/ 4230366 w 9310410"/>
              <a:gd name="connsiteY213" fmla="*/ 1181768 h 5296383"/>
              <a:gd name="connsiteX214" fmla="*/ 4214785 w 9310410"/>
              <a:gd name="connsiteY214" fmla="*/ 1193754 h 5296383"/>
              <a:gd name="connsiteX215" fmla="*/ 4205196 w 9310410"/>
              <a:gd name="connsiteY215" fmla="*/ 1206938 h 5296383"/>
              <a:gd name="connsiteX216" fmla="*/ 4196207 w 9310410"/>
              <a:gd name="connsiteY216" fmla="*/ 1216526 h 5296383"/>
              <a:gd name="connsiteX217" fmla="*/ 4185420 w 9310410"/>
              <a:gd name="connsiteY217" fmla="*/ 1221320 h 5296383"/>
              <a:gd name="connsiteX218" fmla="*/ 4177030 w 9310410"/>
              <a:gd name="connsiteY218" fmla="*/ 1229111 h 5296383"/>
              <a:gd name="connsiteX219" fmla="*/ 4165644 w 9310410"/>
              <a:gd name="connsiteY219" fmla="*/ 1237501 h 5296383"/>
              <a:gd name="connsiteX220" fmla="*/ 4153659 w 9310410"/>
              <a:gd name="connsiteY220" fmla="*/ 1246490 h 5296383"/>
              <a:gd name="connsiteX221" fmla="*/ 4155457 w 9310410"/>
              <a:gd name="connsiteY221" fmla="*/ 1250685 h 5296383"/>
              <a:gd name="connsiteX222" fmla="*/ 4168641 w 9310410"/>
              <a:gd name="connsiteY222" fmla="*/ 1256678 h 5296383"/>
              <a:gd name="connsiteX223" fmla="*/ 4183623 w 9310410"/>
              <a:gd name="connsiteY223" fmla="*/ 1254880 h 5296383"/>
              <a:gd name="connsiteX224" fmla="*/ 4187818 w 9310410"/>
              <a:gd name="connsiteY224" fmla="*/ 1257277 h 5296383"/>
              <a:gd name="connsiteX225" fmla="*/ 4185420 w 9310410"/>
              <a:gd name="connsiteY225" fmla="*/ 1276454 h 5296383"/>
              <a:gd name="connsiteX226" fmla="*/ 4192012 w 9310410"/>
              <a:gd name="connsiteY226" fmla="*/ 1281248 h 5296383"/>
              <a:gd name="connsiteX227" fmla="*/ 4192612 w 9310410"/>
              <a:gd name="connsiteY227" fmla="*/ 1271060 h 5296383"/>
              <a:gd name="connsiteX228" fmla="*/ 4200402 w 9310410"/>
              <a:gd name="connsiteY228" fmla="*/ 1263869 h 5296383"/>
              <a:gd name="connsiteX229" fmla="*/ 4200402 w 9310410"/>
              <a:gd name="connsiteY229" fmla="*/ 1269262 h 5296383"/>
              <a:gd name="connsiteX230" fmla="*/ 4203998 w 9310410"/>
              <a:gd name="connsiteY230" fmla="*/ 1275854 h 5296383"/>
              <a:gd name="connsiteX231" fmla="*/ 4203998 w 9310410"/>
              <a:gd name="connsiteY231" fmla="*/ 1283046 h 5296383"/>
              <a:gd name="connsiteX232" fmla="*/ 4198005 w 9310410"/>
              <a:gd name="connsiteY232" fmla="*/ 1293833 h 5296383"/>
              <a:gd name="connsiteX233" fmla="*/ 4211189 w 9310410"/>
              <a:gd name="connsiteY233" fmla="*/ 1289638 h 5296383"/>
              <a:gd name="connsiteX234" fmla="*/ 4221377 w 9310410"/>
              <a:gd name="connsiteY234" fmla="*/ 1280649 h 5296383"/>
              <a:gd name="connsiteX235" fmla="*/ 4227969 w 9310410"/>
              <a:gd name="connsiteY235" fmla="*/ 1278251 h 5296383"/>
              <a:gd name="connsiteX236" fmla="*/ 4230366 w 9310410"/>
              <a:gd name="connsiteY236" fmla="*/ 1285443 h 5296383"/>
              <a:gd name="connsiteX237" fmla="*/ 4235760 w 9310410"/>
              <a:gd name="connsiteY237" fmla="*/ 1270461 h 5296383"/>
              <a:gd name="connsiteX238" fmla="*/ 4241153 w 9310410"/>
              <a:gd name="connsiteY238" fmla="*/ 1265067 h 5296383"/>
              <a:gd name="connsiteX239" fmla="*/ 4257932 w 9310410"/>
              <a:gd name="connsiteY239" fmla="*/ 1268663 h 5296383"/>
              <a:gd name="connsiteX240" fmla="*/ 4266322 w 9310410"/>
              <a:gd name="connsiteY240" fmla="*/ 1270461 h 5296383"/>
              <a:gd name="connsiteX241" fmla="*/ 4269918 w 9310410"/>
              <a:gd name="connsiteY241" fmla="*/ 1278251 h 5296383"/>
              <a:gd name="connsiteX242" fmla="*/ 4279507 w 9310410"/>
              <a:gd name="connsiteY242" fmla="*/ 1289038 h 5296383"/>
              <a:gd name="connsiteX243" fmla="*/ 4287297 w 9310410"/>
              <a:gd name="connsiteY243" fmla="*/ 1297428 h 5296383"/>
              <a:gd name="connsiteX244" fmla="*/ 4291492 w 9310410"/>
              <a:gd name="connsiteY244" fmla="*/ 1305219 h 5296383"/>
              <a:gd name="connsiteX245" fmla="*/ 4286098 w 9310410"/>
              <a:gd name="connsiteY245" fmla="*/ 1310612 h 5296383"/>
              <a:gd name="connsiteX246" fmla="*/ 4282503 w 9310410"/>
              <a:gd name="connsiteY246" fmla="*/ 1316006 h 5296383"/>
              <a:gd name="connsiteX247" fmla="*/ 4289694 w 9310410"/>
              <a:gd name="connsiteY247" fmla="*/ 1323796 h 5296383"/>
              <a:gd name="connsiteX248" fmla="*/ 4290293 w 9310410"/>
              <a:gd name="connsiteY248" fmla="*/ 1329190 h 5296383"/>
              <a:gd name="connsiteX249" fmla="*/ 4294488 w 9310410"/>
              <a:gd name="connsiteY249" fmla="*/ 1336381 h 5296383"/>
              <a:gd name="connsiteX250" fmla="*/ 4290293 w 9310410"/>
              <a:gd name="connsiteY250" fmla="*/ 1352561 h 5296383"/>
              <a:gd name="connsiteX251" fmla="*/ 4277109 w 9310410"/>
              <a:gd name="connsiteY251" fmla="*/ 1368742 h 5296383"/>
              <a:gd name="connsiteX252" fmla="*/ 4276510 w 9310410"/>
              <a:gd name="connsiteY252" fmla="*/ 1374135 h 5296383"/>
              <a:gd name="connsiteX253" fmla="*/ 4273514 w 9310410"/>
              <a:gd name="connsiteY253" fmla="*/ 1382525 h 5296383"/>
              <a:gd name="connsiteX254" fmla="*/ 4269319 w 9310410"/>
              <a:gd name="connsiteY254" fmla="*/ 1396308 h 5296383"/>
              <a:gd name="connsiteX255" fmla="*/ 4267521 w 9310410"/>
              <a:gd name="connsiteY255" fmla="*/ 1409492 h 5296383"/>
              <a:gd name="connsiteX256" fmla="*/ 4266922 w 9310410"/>
              <a:gd name="connsiteY256" fmla="*/ 1416684 h 5296383"/>
              <a:gd name="connsiteX257" fmla="*/ 4267521 w 9310410"/>
              <a:gd name="connsiteY257" fmla="*/ 1429868 h 5296383"/>
              <a:gd name="connsiteX258" fmla="*/ 4265124 w 9310410"/>
              <a:gd name="connsiteY258" fmla="*/ 1443651 h 5296383"/>
              <a:gd name="connsiteX259" fmla="*/ 4263326 w 9310410"/>
              <a:gd name="connsiteY259" fmla="*/ 1455637 h 5296383"/>
              <a:gd name="connsiteX260" fmla="*/ 4249543 w 9310410"/>
              <a:gd name="connsiteY260" fmla="*/ 1479607 h 5296383"/>
              <a:gd name="connsiteX261" fmla="*/ 4235160 w 9310410"/>
              <a:gd name="connsiteY261" fmla="*/ 1499384 h 5296383"/>
              <a:gd name="connsiteX262" fmla="*/ 4221976 w 9310410"/>
              <a:gd name="connsiteY262" fmla="*/ 1513167 h 5296383"/>
              <a:gd name="connsiteX263" fmla="*/ 4206994 w 9310410"/>
              <a:gd name="connsiteY263" fmla="*/ 1535939 h 5296383"/>
              <a:gd name="connsiteX264" fmla="*/ 4184821 w 9310410"/>
              <a:gd name="connsiteY264" fmla="*/ 1560509 h 5296383"/>
              <a:gd name="connsiteX265" fmla="*/ 4156056 w 9310410"/>
              <a:gd name="connsiteY265" fmla="*/ 1593469 h 5296383"/>
              <a:gd name="connsiteX266" fmla="*/ 4149464 w 9310410"/>
              <a:gd name="connsiteY266" fmla="*/ 1601260 h 5296383"/>
              <a:gd name="connsiteX267" fmla="*/ 4140475 w 9310410"/>
              <a:gd name="connsiteY267" fmla="*/ 1611448 h 5296383"/>
              <a:gd name="connsiteX268" fmla="*/ 4124894 w 9310410"/>
              <a:gd name="connsiteY268" fmla="*/ 1631224 h 5296383"/>
              <a:gd name="connsiteX269" fmla="*/ 4106316 w 9310410"/>
              <a:gd name="connsiteY269" fmla="*/ 1644408 h 5296383"/>
              <a:gd name="connsiteX270" fmla="*/ 4086540 w 9310410"/>
              <a:gd name="connsiteY270" fmla="*/ 1656393 h 5296383"/>
              <a:gd name="connsiteX271" fmla="*/ 4063168 w 9310410"/>
              <a:gd name="connsiteY271" fmla="*/ 1658191 h 5296383"/>
              <a:gd name="connsiteX272" fmla="*/ 4046389 w 9310410"/>
              <a:gd name="connsiteY272" fmla="*/ 1646206 h 5296383"/>
              <a:gd name="connsiteX273" fmla="*/ 4039797 w 9310410"/>
              <a:gd name="connsiteY273" fmla="*/ 1639614 h 5296383"/>
              <a:gd name="connsiteX274" fmla="*/ 4030208 w 9310410"/>
              <a:gd name="connsiteY274" fmla="*/ 1645606 h 5296383"/>
              <a:gd name="connsiteX275" fmla="*/ 4022418 w 9310410"/>
              <a:gd name="connsiteY275" fmla="*/ 1657592 h 5296383"/>
              <a:gd name="connsiteX276" fmla="*/ 4017024 w 9310410"/>
              <a:gd name="connsiteY276" fmla="*/ 1661187 h 5296383"/>
              <a:gd name="connsiteX277" fmla="*/ 4009234 w 9310410"/>
              <a:gd name="connsiteY277" fmla="*/ 1665982 h 5296383"/>
              <a:gd name="connsiteX278" fmla="*/ 4009833 w 9310410"/>
              <a:gd name="connsiteY278" fmla="*/ 1667180 h 5296383"/>
              <a:gd name="connsiteX279" fmla="*/ 4008635 w 9310410"/>
              <a:gd name="connsiteY279" fmla="*/ 1671375 h 5296383"/>
              <a:gd name="connsiteX280" fmla="*/ 4003241 w 9310410"/>
              <a:gd name="connsiteY280" fmla="*/ 1671375 h 5296383"/>
              <a:gd name="connsiteX281" fmla="*/ 3996050 w 9310410"/>
              <a:gd name="connsiteY281" fmla="*/ 1674371 h 5296383"/>
              <a:gd name="connsiteX282" fmla="*/ 3988859 w 9310410"/>
              <a:gd name="connsiteY282" fmla="*/ 1681563 h 5296383"/>
              <a:gd name="connsiteX283" fmla="*/ 3983465 w 9310410"/>
              <a:gd name="connsiteY283" fmla="*/ 1689953 h 5296383"/>
              <a:gd name="connsiteX284" fmla="*/ 3979270 w 9310410"/>
              <a:gd name="connsiteY284" fmla="*/ 1704934 h 5296383"/>
              <a:gd name="connsiteX285" fmla="*/ 3971479 w 9310410"/>
              <a:gd name="connsiteY285" fmla="*/ 1722913 h 5296383"/>
              <a:gd name="connsiteX286" fmla="*/ 3952303 w 9310410"/>
              <a:gd name="connsiteY286" fmla="*/ 1739692 h 5296383"/>
              <a:gd name="connsiteX287" fmla="*/ 3931928 w 9310410"/>
              <a:gd name="connsiteY287" fmla="*/ 1751079 h 5296383"/>
              <a:gd name="connsiteX288" fmla="*/ 3922339 w 9310410"/>
              <a:gd name="connsiteY288" fmla="*/ 1765461 h 5296383"/>
              <a:gd name="connsiteX289" fmla="*/ 3919343 w 9310410"/>
              <a:gd name="connsiteY289" fmla="*/ 1778046 h 5296383"/>
              <a:gd name="connsiteX290" fmla="*/ 3929530 w 9310410"/>
              <a:gd name="connsiteY290" fmla="*/ 1790031 h 5296383"/>
              <a:gd name="connsiteX291" fmla="*/ 3933725 w 9310410"/>
              <a:gd name="connsiteY291" fmla="*/ 1794226 h 5296383"/>
              <a:gd name="connsiteX292" fmla="*/ 3938519 w 9310410"/>
              <a:gd name="connsiteY292" fmla="*/ 1796623 h 5296383"/>
              <a:gd name="connsiteX293" fmla="*/ 3938519 w 9310410"/>
              <a:gd name="connsiteY293" fmla="*/ 1800818 h 5296383"/>
              <a:gd name="connsiteX294" fmla="*/ 3962490 w 9310410"/>
              <a:gd name="connsiteY294" fmla="*/ 1862544 h 5296383"/>
              <a:gd name="connsiteX295" fmla="*/ 3958295 w 9310410"/>
              <a:gd name="connsiteY295" fmla="*/ 1881121 h 5296383"/>
              <a:gd name="connsiteX296" fmla="*/ 3958295 w 9310410"/>
              <a:gd name="connsiteY296" fmla="*/ 1885316 h 5296383"/>
              <a:gd name="connsiteX297" fmla="*/ 3954101 w 9310410"/>
              <a:gd name="connsiteY297" fmla="*/ 1903294 h 5296383"/>
              <a:gd name="connsiteX298" fmla="*/ 3942115 w 9310410"/>
              <a:gd name="connsiteY298" fmla="*/ 1914081 h 5296383"/>
              <a:gd name="connsiteX299" fmla="*/ 3929530 w 9310410"/>
              <a:gd name="connsiteY299" fmla="*/ 1920673 h 5296383"/>
              <a:gd name="connsiteX300" fmla="*/ 3919942 w 9310410"/>
              <a:gd name="connsiteY300" fmla="*/ 1923070 h 5296383"/>
              <a:gd name="connsiteX301" fmla="*/ 3913350 w 9310410"/>
              <a:gd name="connsiteY301" fmla="*/ 1925467 h 5296383"/>
              <a:gd name="connsiteX302" fmla="*/ 3907357 w 9310410"/>
              <a:gd name="connsiteY302" fmla="*/ 1926066 h 5296383"/>
              <a:gd name="connsiteX303" fmla="*/ 3903162 w 9310410"/>
              <a:gd name="connsiteY303" fmla="*/ 1930261 h 5296383"/>
              <a:gd name="connsiteX304" fmla="*/ 3899567 w 9310410"/>
              <a:gd name="connsiteY304" fmla="*/ 1937453 h 5296383"/>
              <a:gd name="connsiteX305" fmla="*/ 3897170 w 9310410"/>
              <a:gd name="connsiteY305" fmla="*/ 1933857 h 5296383"/>
              <a:gd name="connsiteX306" fmla="*/ 3892375 w 9310410"/>
              <a:gd name="connsiteY306" fmla="*/ 1933258 h 5296383"/>
              <a:gd name="connsiteX307" fmla="*/ 3885783 w 9310410"/>
              <a:gd name="connsiteY307" fmla="*/ 1938651 h 5296383"/>
              <a:gd name="connsiteX308" fmla="*/ 3879191 w 9310410"/>
              <a:gd name="connsiteY308" fmla="*/ 1941048 h 5296383"/>
              <a:gd name="connsiteX309" fmla="*/ 3874997 w 9310410"/>
              <a:gd name="connsiteY309" fmla="*/ 1939850 h 5296383"/>
              <a:gd name="connsiteX310" fmla="*/ 3871401 w 9310410"/>
              <a:gd name="connsiteY310" fmla="*/ 1923070 h 5296383"/>
              <a:gd name="connsiteX311" fmla="*/ 3870802 w 9310410"/>
              <a:gd name="connsiteY311" fmla="*/ 1912883 h 5296383"/>
              <a:gd name="connsiteX312" fmla="*/ 3876195 w 9310410"/>
              <a:gd name="connsiteY312" fmla="*/ 1912283 h 5296383"/>
              <a:gd name="connsiteX313" fmla="*/ 3881588 w 9310410"/>
              <a:gd name="connsiteY313" fmla="*/ 1903893 h 5296383"/>
              <a:gd name="connsiteX314" fmla="*/ 3883386 w 9310410"/>
              <a:gd name="connsiteY314" fmla="*/ 1893706 h 5296383"/>
              <a:gd name="connsiteX315" fmla="*/ 3886382 w 9310410"/>
              <a:gd name="connsiteY315" fmla="*/ 1886515 h 5296383"/>
              <a:gd name="connsiteX316" fmla="*/ 3883986 w 9310410"/>
              <a:gd name="connsiteY316" fmla="*/ 1882320 h 5296383"/>
              <a:gd name="connsiteX317" fmla="*/ 3882188 w 9310410"/>
              <a:gd name="connsiteY317" fmla="*/ 1876926 h 5296383"/>
              <a:gd name="connsiteX318" fmla="*/ 3879791 w 9310410"/>
              <a:gd name="connsiteY318" fmla="*/ 1864941 h 5296383"/>
              <a:gd name="connsiteX319" fmla="*/ 3876794 w 9310410"/>
              <a:gd name="connsiteY319" fmla="*/ 1860146 h 5296383"/>
              <a:gd name="connsiteX320" fmla="*/ 3874397 w 9310410"/>
              <a:gd name="connsiteY320" fmla="*/ 1852356 h 5296383"/>
              <a:gd name="connsiteX321" fmla="*/ 3882787 w 9310410"/>
              <a:gd name="connsiteY321" fmla="*/ 1840370 h 5296383"/>
              <a:gd name="connsiteX322" fmla="*/ 3880989 w 9310410"/>
              <a:gd name="connsiteY322" fmla="*/ 1827186 h 5296383"/>
              <a:gd name="connsiteX323" fmla="*/ 3880989 w 9310410"/>
              <a:gd name="connsiteY323" fmla="*/ 1822392 h 5296383"/>
              <a:gd name="connsiteX324" fmla="*/ 3880989 w 9310410"/>
              <a:gd name="connsiteY324" fmla="*/ 1822392 h 5296383"/>
              <a:gd name="connsiteX325" fmla="*/ 3880390 w 9310410"/>
              <a:gd name="connsiteY325" fmla="*/ 1822392 h 5296383"/>
              <a:gd name="connsiteX326" fmla="*/ 3874397 w 9310410"/>
              <a:gd name="connsiteY326" fmla="*/ 1820594 h 5296383"/>
              <a:gd name="connsiteX327" fmla="*/ 3867206 w 9310410"/>
              <a:gd name="connsiteY327" fmla="*/ 1817598 h 5296383"/>
              <a:gd name="connsiteX328" fmla="*/ 3860614 w 9310410"/>
              <a:gd name="connsiteY328" fmla="*/ 1820594 h 5296383"/>
              <a:gd name="connsiteX329" fmla="*/ 3849228 w 9310410"/>
              <a:gd name="connsiteY329" fmla="*/ 1818796 h 5296383"/>
              <a:gd name="connsiteX330" fmla="*/ 3849228 w 9310410"/>
              <a:gd name="connsiteY330" fmla="*/ 1811605 h 5296383"/>
              <a:gd name="connsiteX331" fmla="*/ 3845632 w 9310410"/>
              <a:gd name="connsiteY331" fmla="*/ 1808609 h 5296383"/>
              <a:gd name="connsiteX332" fmla="*/ 3842636 w 9310410"/>
              <a:gd name="connsiteY332" fmla="*/ 1805013 h 5296383"/>
              <a:gd name="connsiteX333" fmla="*/ 3844433 w 9310410"/>
              <a:gd name="connsiteY333" fmla="*/ 1796024 h 5296383"/>
              <a:gd name="connsiteX334" fmla="*/ 3851026 w 9310410"/>
              <a:gd name="connsiteY334" fmla="*/ 1787634 h 5296383"/>
              <a:gd name="connsiteX335" fmla="*/ 3855820 w 9310410"/>
              <a:gd name="connsiteY335" fmla="*/ 1776248 h 5296383"/>
              <a:gd name="connsiteX336" fmla="*/ 3857018 w 9310410"/>
              <a:gd name="connsiteY336" fmla="*/ 1760667 h 5296383"/>
              <a:gd name="connsiteX337" fmla="*/ 3846231 w 9310410"/>
              <a:gd name="connsiteY337" fmla="*/ 1757071 h 5296383"/>
              <a:gd name="connsiteX338" fmla="*/ 3833646 w 9310410"/>
              <a:gd name="connsiteY338" fmla="*/ 1752277 h 5296383"/>
              <a:gd name="connsiteX339" fmla="*/ 3833646 w 9310410"/>
              <a:gd name="connsiteY339" fmla="*/ 1751678 h 5296383"/>
              <a:gd name="connsiteX340" fmla="*/ 3829451 w 9310410"/>
              <a:gd name="connsiteY340" fmla="*/ 1754075 h 5296383"/>
              <a:gd name="connsiteX341" fmla="*/ 3810275 w 9310410"/>
              <a:gd name="connsiteY341" fmla="*/ 1754674 h 5296383"/>
              <a:gd name="connsiteX342" fmla="*/ 3796491 w 9310410"/>
              <a:gd name="connsiteY342" fmla="*/ 1757071 h 5296383"/>
              <a:gd name="connsiteX343" fmla="*/ 3776715 w 9310410"/>
              <a:gd name="connsiteY343" fmla="*/ 1770255 h 5296383"/>
              <a:gd name="connsiteX344" fmla="*/ 3756939 w 9310410"/>
              <a:gd name="connsiteY344" fmla="*/ 1783439 h 5296383"/>
              <a:gd name="connsiteX345" fmla="*/ 3749748 w 9310410"/>
              <a:gd name="connsiteY345" fmla="*/ 1777447 h 5296383"/>
              <a:gd name="connsiteX346" fmla="*/ 3768326 w 9310410"/>
              <a:gd name="connsiteY346" fmla="*/ 1766060 h 5296383"/>
              <a:gd name="connsiteX347" fmla="*/ 3764131 w 9310410"/>
              <a:gd name="connsiteY347" fmla="*/ 1758869 h 5296383"/>
              <a:gd name="connsiteX348" fmla="*/ 3772520 w 9310410"/>
              <a:gd name="connsiteY348" fmla="*/ 1745685 h 5296383"/>
              <a:gd name="connsiteX349" fmla="*/ 3782708 w 9310410"/>
              <a:gd name="connsiteY349" fmla="*/ 1734299 h 5296383"/>
              <a:gd name="connsiteX350" fmla="*/ 3780910 w 9310410"/>
              <a:gd name="connsiteY350" fmla="*/ 1715122 h 5296383"/>
              <a:gd name="connsiteX351" fmla="*/ 3775517 w 9310410"/>
              <a:gd name="connsiteY351" fmla="*/ 1707931 h 5296383"/>
              <a:gd name="connsiteX352" fmla="*/ 3764131 w 9310410"/>
              <a:gd name="connsiteY352" fmla="*/ 1710927 h 5296383"/>
              <a:gd name="connsiteX353" fmla="*/ 3742557 w 9310410"/>
              <a:gd name="connsiteY353" fmla="*/ 1726508 h 5296383"/>
              <a:gd name="connsiteX354" fmla="*/ 3722781 w 9310410"/>
              <a:gd name="connsiteY354" fmla="*/ 1738494 h 5296383"/>
              <a:gd name="connsiteX355" fmla="*/ 3701806 w 9310410"/>
              <a:gd name="connsiteY355" fmla="*/ 1753476 h 5296383"/>
              <a:gd name="connsiteX356" fmla="*/ 3685626 w 9310410"/>
              <a:gd name="connsiteY356" fmla="*/ 1764263 h 5296383"/>
              <a:gd name="connsiteX357" fmla="*/ 3677236 w 9310410"/>
              <a:gd name="connsiteY357" fmla="*/ 1769656 h 5296383"/>
              <a:gd name="connsiteX358" fmla="*/ 3670644 w 9310410"/>
              <a:gd name="connsiteY358" fmla="*/ 1767259 h 5296383"/>
              <a:gd name="connsiteX359" fmla="*/ 3663453 w 9310410"/>
              <a:gd name="connsiteY359" fmla="*/ 1761266 h 5296383"/>
              <a:gd name="connsiteX360" fmla="*/ 3658658 w 9310410"/>
              <a:gd name="connsiteY360" fmla="*/ 1776847 h 5296383"/>
              <a:gd name="connsiteX361" fmla="*/ 3657460 w 9310410"/>
              <a:gd name="connsiteY361" fmla="*/ 1798421 h 5296383"/>
              <a:gd name="connsiteX362" fmla="*/ 3670644 w 9310410"/>
              <a:gd name="connsiteY362" fmla="*/ 1804414 h 5296383"/>
              <a:gd name="connsiteX363" fmla="*/ 3684427 w 9310410"/>
              <a:gd name="connsiteY363" fmla="*/ 1809807 h 5296383"/>
              <a:gd name="connsiteX364" fmla="*/ 3688023 w 9310410"/>
              <a:gd name="connsiteY364" fmla="*/ 1819995 h 5296383"/>
              <a:gd name="connsiteX365" fmla="*/ 3689222 w 9310410"/>
              <a:gd name="connsiteY365" fmla="*/ 1836775 h 5296383"/>
              <a:gd name="connsiteX366" fmla="*/ 3710795 w 9310410"/>
              <a:gd name="connsiteY366" fmla="*/ 1831981 h 5296383"/>
              <a:gd name="connsiteX367" fmla="*/ 3723380 w 9310410"/>
              <a:gd name="connsiteY367" fmla="*/ 1824190 h 5296383"/>
              <a:gd name="connsiteX368" fmla="*/ 3735366 w 9310410"/>
              <a:gd name="connsiteY368" fmla="*/ 1816399 h 5296383"/>
              <a:gd name="connsiteX369" fmla="*/ 3742557 w 9310410"/>
              <a:gd name="connsiteY369" fmla="*/ 1818796 h 5296383"/>
              <a:gd name="connsiteX370" fmla="*/ 3749149 w 9310410"/>
              <a:gd name="connsiteY370" fmla="*/ 1820594 h 5296383"/>
              <a:gd name="connsiteX371" fmla="*/ 3753344 w 9310410"/>
              <a:gd name="connsiteY371" fmla="*/ 1823591 h 5296383"/>
              <a:gd name="connsiteX372" fmla="*/ 3760535 w 9310410"/>
              <a:gd name="connsiteY372" fmla="*/ 1825988 h 5296383"/>
              <a:gd name="connsiteX373" fmla="*/ 3772520 w 9310410"/>
              <a:gd name="connsiteY373" fmla="*/ 1826587 h 5296383"/>
              <a:gd name="connsiteX374" fmla="*/ 3780910 w 9310410"/>
              <a:gd name="connsiteY374" fmla="*/ 1830183 h 5296383"/>
              <a:gd name="connsiteX375" fmla="*/ 3775517 w 9310410"/>
              <a:gd name="connsiteY375" fmla="*/ 1840970 h 5296383"/>
              <a:gd name="connsiteX376" fmla="*/ 3776116 w 9310410"/>
              <a:gd name="connsiteY376" fmla="*/ 1844565 h 5296383"/>
              <a:gd name="connsiteX377" fmla="*/ 3775517 w 9310410"/>
              <a:gd name="connsiteY377" fmla="*/ 1848760 h 5296383"/>
              <a:gd name="connsiteX378" fmla="*/ 3767127 w 9310410"/>
              <a:gd name="connsiteY378" fmla="*/ 1849359 h 5296383"/>
              <a:gd name="connsiteX379" fmla="*/ 3758138 w 9310410"/>
              <a:gd name="connsiteY379" fmla="*/ 1851157 h 5296383"/>
              <a:gd name="connsiteX380" fmla="*/ 3747351 w 9310410"/>
              <a:gd name="connsiteY380" fmla="*/ 1854154 h 5296383"/>
              <a:gd name="connsiteX381" fmla="*/ 3736564 w 9310410"/>
              <a:gd name="connsiteY381" fmla="*/ 1853554 h 5296383"/>
              <a:gd name="connsiteX382" fmla="*/ 3720384 w 9310410"/>
              <a:gd name="connsiteY382" fmla="*/ 1862544 h 5296383"/>
              <a:gd name="connsiteX383" fmla="*/ 3717987 w 9310410"/>
              <a:gd name="connsiteY383" fmla="*/ 1877525 h 5296383"/>
              <a:gd name="connsiteX384" fmla="*/ 3707200 w 9310410"/>
              <a:gd name="connsiteY384" fmla="*/ 1882919 h 5296383"/>
              <a:gd name="connsiteX385" fmla="*/ 3701207 w 9310410"/>
              <a:gd name="connsiteY385" fmla="*/ 1885316 h 5296383"/>
              <a:gd name="connsiteX386" fmla="*/ 3689222 w 9310410"/>
              <a:gd name="connsiteY386" fmla="*/ 1895504 h 5296383"/>
              <a:gd name="connsiteX387" fmla="*/ 3683828 w 9310410"/>
              <a:gd name="connsiteY387" fmla="*/ 1907489 h 5296383"/>
              <a:gd name="connsiteX388" fmla="*/ 3692218 w 9310410"/>
              <a:gd name="connsiteY388" fmla="*/ 1928464 h 5296383"/>
              <a:gd name="connsiteX389" fmla="*/ 3719185 w 9310410"/>
              <a:gd name="connsiteY389" fmla="*/ 1975207 h 5296383"/>
              <a:gd name="connsiteX390" fmla="*/ 3720983 w 9310410"/>
              <a:gd name="connsiteY390" fmla="*/ 1996182 h 5296383"/>
              <a:gd name="connsiteX391" fmla="*/ 3729373 w 9310410"/>
              <a:gd name="connsiteY391" fmla="*/ 2008167 h 5296383"/>
              <a:gd name="connsiteX392" fmla="*/ 3737763 w 9310410"/>
              <a:gd name="connsiteY392" fmla="*/ 2016557 h 5296383"/>
              <a:gd name="connsiteX393" fmla="*/ 3735366 w 9310410"/>
              <a:gd name="connsiteY393" fmla="*/ 2024947 h 5296383"/>
              <a:gd name="connsiteX394" fmla="*/ 3717987 w 9310410"/>
              <a:gd name="connsiteY394" fmla="*/ 2018355 h 5296383"/>
              <a:gd name="connsiteX395" fmla="*/ 3712593 w 9310410"/>
              <a:gd name="connsiteY395" fmla="*/ 2022550 h 5296383"/>
              <a:gd name="connsiteX396" fmla="*/ 3729972 w 9310410"/>
              <a:gd name="connsiteY396" fmla="*/ 2035734 h 5296383"/>
              <a:gd name="connsiteX397" fmla="*/ 3735366 w 9310410"/>
              <a:gd name="connsiteY397" fmla="*/ 2050716 h 5296383"/>
              <a:gd name="connsiteX398" fmla="*/ 3729972 w 9310410"/>
              <a:gd name="connsiteY398" fmla="*/ 2056109 h 5296383"/>
              <a:gd name="connsiteX399" fmla="*/ 3725178 w 9310410"/>
              <a:gd name="connsiteY399" fmla="*/ 2057907 h 5296383"/>
              <a:gd name="connsiteX400" fmla="*/ 3718586 w 9310410"/>
              <a:gd name="connsiteY400" fmla="*/ 2059105 h 5296383"/>
              <a:gd name="connsiteX401" fmla="*/ 3713193 w 9310410"/>
              <a:gd name="connsiteY401" fmla="*/ 2062701 h 5296383"/>
              <a:gd name="connsiteX402" fmla="*/ 3706600 w 9310410"/>
              <a:gd name="connsiteY402" fmla="*/ 2063899 h 5296383"/>
              <a:gd name="connsiteX403" fmla="*/ 3702406 w 9310410"/>
              <a:gd name="connsiteY403" fmla="*/ 2067495 h 5296383"/>
              <a:gd name="connsiteX404" fmla="*/ 3703604 w 9310410"/>
              <a:gd name="connsiteY404" fmla="*/ 2071690 h 5296383"/>
              <a:gd name="connsiteX405" fmla="*/ 3708998 w 9310410"/>
              <a:gd name="connsiteY405" fmla="*/ 2072289 h 5296383"/>
              <a:gd name="connsiteX406" fmla="*/ 3723380 w 9310410"/>
              <a:gd name="connsiteY406" fmla="*/ 2074687 h 5296383"/>
              <a:gd name="connsiteX407" fmla="*/ 3731770 w 9310410"/>
              <a:gd name="connsiteY407" fmla="*/ 2084874 h 5296383"/>
              <a:gd name="connsiteX408" fmla="*/ 3732969 w 9310410"/>
              <a:gd name="connsiteY408" fmla="*/ 2089069 h 5296383"/>
              <a:gd name="connsiteX409" fmla="*/ 3731770 w 9310410"/>
              <a:gd name="connsiteY409" fmla="*/ 2095062 h 5296383"/>
              <a:gd name="connsiteX410" fmla="*/ 3731770 w 9310410"/>
              <a:gd name="connsiteY410" fmla="*/ 2102253 h 5296383"/>
              <a:gd name="connsiteX411" fmla="*/ 3725178 w 9310410"/>
              <a:gd name="connsiteY411" fmla="*/ 2107047 h 5296383"/>
              <a:gd name="connsiteX412" fmla="*/ 3723380 w 9310410"/>
              <a:gd name="connsiteY412" fmla="*/ 2111242 h 5296383"/>
              <a:gd name="connsiteX413" fmla="*/ 3719784 w 9310410"/>
              <a:gd name="connsiteY413" fmla="*/ 2120831 h 5296383"/>
              <a:gd name="connsiteX414" fmla="*/ 3716189 w 9310410"/>
              <a:gd name="connsiteY414" fmla="*/ 2126224 h 5296383"/>
              <a:gd name="connsiteX415" fmla="*/ 3721582 w 9310410"/>
              <a:gd name="connsiteY415" fmla="*/ 2136412 h 5296383"/>
              <a:gd name="connsiteX416" fmla="*/ 3713193 w 9310410"/>
              <a:gd name="connsiteY416" fmla="*/ 2138210 h 5296383"/>
              <a:gd name="connsiteX417" fmla="*/ 3707799 w 9310410"/>
              <a:gd name="connsiteY417" fmla="*/ 2137610 h 5296383"/>
              <a:gd name="connsiteX418" fmla="*/ 3701207 w 9310410"/>
              <a:gd name="connsiteY418" fmla="*/ 2143004 h 5296383"/>
              <a:gd name="connsiteX419" fmla="*/ 3697012 w 9310410"/>
              <a:gd name="connsiteY419" fmla="*/ 2147798 h 5296383"/>
              <a:gd name="connsiteX420" fmla="*/ 3695214 w 9310410"/>
              <a:gd name="connsiteY420" fmla="*/ 2157986 h 5296383"/>
              <a:gd name="connsiteX421" fmla="*/ 3694016 w 9310410"/>
              <a:gd name="connsiteY421" fmla="*/ 2163379 h 5296383"/>
              <a:gd name="connsiteX422" fmla="*/ 3690420 w 9310410"/>
              <a:gd name="connsiteY422" fmla="*/ 2168173 h 5296383"/>
              <a:gd name="connsiteX423" fmla="*/ 3679034 w 9310410"/>
              <a:gd name="connsiteY423" fmla="*/ 2180159 h 5296383"/>
              <a:gd name="connsiteX424" fmla="*/ 3674240 w 9310410"/>
              <a:gd name="connsiteY424" fmla="*/ 2189148 h 5296383"/>
              <a:gd name="connsiteX425" fmla="*/ 3670644 w 9310410"/>
              <a:gd name="connsiteY425" fmla="*/ 2187949 h 5296383"/>
              <a:gd name="connsiteX426" fmla="*/ 3665850 w 9310410"/>
              <a:gd name="connsiteY426" fmla="*/ 2187350 h 5296383"/>
              <a:gd name="connsiteX427" fmla="*/ 3663453 w 9310410"/>
              <a:gd name="connsiteY427" fmla="*/ 2192743 h 5296383"/>
              <a:gd name="connsiteX428" fmla="*/ 3664052 w 9310410"/>
              <a:gd name="connsiteY428" fmla="*/ 2196938 h 5296383"/>
              <a:gd name="connsiteX429" fmla="*/ 3664651 w 9310410"/>
              <a:gd name="connsiteY429" fmla="*/ 2202332 h 5296383"/>
              <a:gd name="connsiteX430" fmla="*/ 3665251 w 9310410"/>
              <a:gd name="connsiteY430" fmla="*/ 2205928 h 5296383"/>
              <a:gd name="connsiteX431" fmla="*/ 3662853 w 9310410"/>
              <a:gd name="connsiteY431" fmla="*/ 2211920 h 5296383"/>
              <a:gd name="connsiteX432" fmla="*/ 3662853 w 9310410"/>
              <a:gd name="connsiteY432" fmla="*/ 2219112 h 5296383"/>
              <a:gd name="connsiteX433" fmla="*/ 3662254 w 9310410"/>
              <a:gd name="connsiteY433" fmla="*/ 2229899 h 5296383"/>
              <a:gd name="connsiteX434" fmla="*/ 3661056 w 9310410"/>
              <a:gd name="connsiteY434" fmla="*/ 2235891 h 5296383"/>
              <a:gd name="connsiteX435" fmla="*/ 3656861 w 9310410"/>
              <a:gd name="connsiteY435" fmla="*/ 2231696 h 5296383"/>
              <a:gd name="connsiteX436" fmla="*/ 3648471 w 9310410"/>
              <a:gd name="connsiteY436" fmla="*/ 2237689 h 5296383"/>
              <a:gd name="connsiteX437" fmla="*/ 3649669 w 9310410"/>
              <a:gd name="connsiteY437" fmla="*/ 2242483 h 5296383"/>
              <a:gd name="connsiteX438" fmla="*/ 3644276 w 9310410"/>
              <a:gd name="connsiteY438" fmla="*/ 2240086 h 5296383"/>
              <a:gd name="connsiteX439" fmla="*/ 3640081 w 9310410"/>
              <a:gd name="connsiteY439" fmla="*/ 2240685 h 5296383"/>
              <a:gd name="connsiteX440" fmla="*/ 3639482 w 9310410"/>
              <a:gd name="connsiteY440" fmla="*/ 2244880 h 5296383"/>
              <a:gd name="connsiteX441" fmla="*/ 3642478 w 9310410"/>
              <a:gd name="connsiteY441" fmla="*/ 2249674 h 5296383"/>
              <a:gd name="connsiteX442" fmla="*/ 3637085 w 9310410"/>
              <a:gd name="connsiteY442" fmla="*/ 2253270 h 5296383"/>
              <a:gd name="connsiteX443" fmla="*/ 3631691 w 9310410"/>
              <a:gd name="connsiteY443" fmla="*/ 2255667 h 5296383"/>
              <a:gd name="connsiteX444" fmla="*/ 3636486 w 9310410"/>
              <a:gd name="connsiteY444" fmla="*/ 2260462 h 5296383"/>
              <a:gd name="connsiteX445" fmla="*/ 3630493 w 9310410"/>
              <a:gd name="connsiteY445" fmla="*/ 2262259 h 5296383"/>
              <a:gd name="connsiteX446" fmla="*/ 3619706 w 9310410"/>
              <a:gd name="connsiteY446" fmla="*/ 2265256 h 5296383"/>
              <a:gd name="connsiteX447" fmla="*/ 3611316 w 9310410"/>
              <a:gd name="connsiteY447" fmla="*/ 2277840 h 5296383"/>
              <a:gd name="connsiteX448" fmla="*/ 3595735 w 9310410"/>
              <a:gd name="connsiteY448" fmla="*/ 2289826 h 5296383"/>
              <a:gd name="connsiteX449" fmla="*/ 3582551 w 9310410"/>
              <a:gd name="connsiteY449" fmla="*/ 2295819 h 5296383"/>
              <a:gd name="connsiteX450" fmla="*/ 3576558 w 9310410"/>
              <a:gd name="connsiteY450" fmla="*/ 2296418 h 5296383"/>
              <a:gd name="connsiteX451" fmla="*/ 3570565 w 9310410"/>
              <a:gd name="connsiteY451" fmla="*/ 2308403 h 5296383"/>
              <a:gd name="connsiteX452" fmla="*/ 3564573 w 9310410"/>
              <a:gd name="connsiteY452" fmla="*/ 2316194 h 5296383"/>
              <a:gd name="connsiteX453" fmla="*/ 3558580 w 9310410"/>
              <a:gd name="connsiteY453" fmla="*/ 2319790 h 5296383"/>
              <a:gd name="connsiteX454" fmla="*/ 3548392 w 9310410"/>
              <a:gd name="connsiteY454" fmla="*/ 2323985 h 5296383"/>
              <a:gd name="connsiteX455" fmla="*/ 3540602 w 9310410"/>
              <a:gd name="connsiteY455" fmla="*/ 2327580 h 5296383"/>
              <a:gd name="connsiteX456" fmla="*/ 3532811 w 9310410"/>
              <a:gd name="connsiteY456" fmla="*/ 2323385 h 5296383"/>
              <a:gd name="connsiteX457" fmla="*/ 3529215 w 9310410"/>
              <a:gd name="connsiteY457" fmla="*/ 2323985 h 5296383"/>
              <a:gd name="connsiteX458" fmla="*/ 3524421 w 9310410"/>
              <a:gd name="connsiteY458" fmla="*/ 2324584 h 5296383"/>
              <a:gd name="connsiteX459" fmla="*/ 3520226 w 9310410"/>
              <a:gd name="connsiteY459" fmla="*/ 2329378 h 5296383"/>
              <a:gd name="connsiteX460" fmla="*/ 3517829 w 9310410"/>
              <a:gd name="connsiteY460" fmla="*/ 2325183 h 5296383"/>
              <a:gd name="connsiteX461" fmla="*/ 3511237 w 9310410"/>
              <a:gd name="connsiteY461" fmla="*/ 2325183 h 5296383"/>
              <a:gd name="connsiteX462" fmla="*/ 3510638 w 9310410"/>
              <a:gd name="connsiteY462" fmla="*/ 2332374 h 5296383"/>
              <a:gd name="connsiteX463" fmla="*/ 3505244 w 9310410"/>
              <a:gd name="connsiteY463" fmla="*/ 2343161 h 5296383"/>
              <a:gd name="connsiteX464" fmla="*/ 3493259 w 9310410"/>
              <a:gd name="connsiteY464" fmla="*/ 2347356 h 5296383"/>
              <a:gd name="connsiteX465" fmla="*/ 3482472 w 9310410"/>
              <a:gd name="connsiteY465" fmla="*/ 2345558 h 5296383"/>
              <a:gd name="connsiteX466" fmla="*/ 3471086 w 9310410"/>
              <a:gd name="connsiteY466" fmla="*/ 2344959 h 5296383"/>
              <a:gd name="connsiteX467" fmla="*/ 3466292 w 9310410"/>
              <a:gd name="connsiteY467" fmla="*/ 2342562 h 5296383"/>
              <a:gd name="connsiteX468" fmla="*/ 3463894 w 9310410"/>
              <a:gd name="connsiteY468" fmla="*/ 2349753 h 5296383"/>
              <a:gd name="connsiteX469" fmla="*/ 3459100 w 9310410"/>
              <a:gd name="connsiteY469" fmla="*/ 2356945 h 5296383"/>
              <a:gd name="connsiteX470" fmla="*/ 3451310 w 9310410"/>
              <a:gd name="connsiteY470" fmla="*/ 2355147 h 5296383"/>
              <a:gd name="connsiteX471" fmla="*/ 3447115 w 9310410"/>
              <a:gd name="connsiteY471" fmla="*/ 2355746 h 5296383"/>
              <a:gd name="connsiteX472" fmla="*/ 3435129 w 9310410"/>
              <a:gd name="connsiteY472" fmla="*/ 2354547 h 5296383"/>
              <a:gd name="connsiteX473" fmla="*/ 3429736 w 9310410"/>
              <a:gd name="connsiteY473" fmla="*/ 2355746 h 5296383"/>
              <a:gd name="connsiteX474" fmla="*/ 3419548 w 9310410"/>
              <a:gd name="connsiteY474" fmla="*/ 2361139 h 5296383"/>
              <a:gd name="connsiteX475" fmla="*/ 3410559 w 9310410"/>
              <a:gd name="connsiteY475" fmla="*/ 2361739 h 5296383"/>
              <a:gd name="connsiteX476" fmla="*/ 3403368 w 9310410"/>
              <a:gd name="connsiteY476" fmla="*/ 2366533 h 5296383"/>
              <a:gd name="connsiteX477" fmla="*/ 3395577 w 9310410"/>
              <a:gd name="connsiteY477" fmla="*/ 2371327 h 5296383"/>
              <a:gd name="connsiteX478" fmla="*/ 3382992 w 9310410"/>
              <a:gd name="connsiteY478" fmla="*/ 2379118 h 5296383"/>
              <a:gd name="connsiteX479" fmla="*/ 3384191 w 9310410"/>
              <a:gd name="connsiteY479" fmla="*/ 2388107 h 5296383"/>
              <a:gd name="connsiteX480" fmla="*/ 3384191 w 9310410"/>
              <a:gd name="connsiteY480" fmla="*/ 2392901 h 5296383"/>
              <a:gd name="connsiteX481" fmla="*/ 3385390 w 9310410"/>
              <a:gd name="connsiteY481" fmla="*/ 2396497 h 5296383"/>
              <a:gd name="connsiteX482" fmla="*/ 3386588 w 9310410"/>
              <a:gd name="connsiteY482" fmla="*/ 2404287 h 5296383"/>
              <a:gd name="connsiteX483" fmla="*/ 3374603 w 9310410"/>
              <a:gd name="connsiteY483" fmla="*/ 2407883 h 5296383"/>
              <a:gd name="connsiteX484" fmla="*/ 3371007 w 9310410"/>
              <a:gd name="connsiteY484" fmla="*/ 2403688 h 5296383"/>
              <a:gd name="connsiteX485" fmla="*/ 3368011 w 9310410"/>
              <a:gd name="connsiteY485" fmla="*/ 2392302 h 5296383"/>
              <a:gd name="connsiteX486" fmla="*/ 3366213 w 9310410"/>
              <a:gd name="connsiteY486" fmla="*/ 2379118 h 5296383"/>
              <a:gd name="connsiteX487" fmla="*/ 3373404 w 9310410"/>
              <a:gd name="connsiteY487" fmla="*/ 2367132 h 5296383"/>
              <a:gd name="connsiteX488" fmla="*/ 3374603 w 9310410"/>
              <a:gd name="connsiteY488" fmla="*/ 2362937 h 5296383"/>
              <a:gd name="connsiteX489" fmla="*/ 3370408 w 9310410"/>
              <a:gd name="connsiteY489" fmla="*/ 2359342 h 5296383"/>
              <a:gd name="connsiteX490" fmla="*/ 3366213 w 9310410"/>
              <a:gd name="connsiteY490" fmla="*/ 2360540 h 5296383"/>
              <a:gd name="connsiteX491" fmla="*/ 3357823 w 9310410"/>
              <a:gd name="connsiteY491" fmla="*/ 2364735 h 5296383"/>
              <a:gd name="connsiteX492" fmla="*/ 3354227 w 9310410"/>
              <a:gd name="connsiteY492" fmla="*/ 2362937 h 5296383"/>
              <a:gd name="connsiteX493" fmla="*/ 3348834 w 9310410"/>
              <a:gd name="connsiteY493" fmla="*/ 2358742 h 5296383"/>
              <a:gd name="connsiteX494" fmla="*/ 3341643 w 9310410"/>
              <a:gd name="connsiteY494" fmla="*/ 2356345 h 5296383"/>
              <a:gd name="connsiteX495" fmla="*/ 3339245 w 9310410"/>
              <a:gd name="connsiteY495" fmla="*/ 2353948 h 5296383"/>
              <a:gd name="connsiteX496" fmla="*/ 3334451 w 9310410"/>
              <a:gd name="connsiteY496" fmla="*/ 2358143 h 5296383"/>
              <a:gd name="connsiteX497" fmla="*/ 3324264 w 9310410"/>
              <a:gd name="connsiteY497" fmla="*/ 2360540 h 5296383"/>
              <a:gd name="connsiteX498" fmla="*/ 3317072 w 9310410"/>
              <a:gd name="connsiteY498" fmla="*/ 2362937 h 5296383"/>
              <a:gd name="connsiteX499" fmla="*/ 3303889 w 9310410"/>
              <a:gd name="connsiteY499" fmla="*/ 2367732 h 5296383"/>
              <a:gd name="connsiteX500" fmla="*/ 3295499 w 9310410"/>
              <a:gd name="connsiteY500" fmla="*/ 2379118 h 5296383"/>
              <a:gd name="connsiteX501" fmla="*/ 3278719 w 9310410"/>
              <a:gd name="connsiteY501" fmla="*/ 2383912 h 5296383"/>
              <a:gd name="connsiteX502" fmla="*/ 3277520 w 9310410"/>
              <a:gd name="connsiteY502" fmla="*/ 2396497 h 5296383"/>
              <a:gd name="connsiteX503" fmla="*/ 3273325 w 9310410"/>
              <a:gd name="connsiteY503" fmla="*/ 2402489 h 5296383"/>
              <a:gd name="connsiteX504" fmla="*/ 3268531 w 9310410"/>
              <a:gd name="connsiteY504" fmla="*/ 2407883 h 5296383"/>
              <a:gd name="connsiteX505" fmla="*/ 3262538 w 9310410"/>
              <a:gd name="connsiteY505" fmla="*/ 2415074 h 5296383"/>
              <a:gd name="connsiteX506" fmla="*/ 3246958 w 9310410"/>
              <a:gd name="connsiteY506" fmla="*/ 2434850 h 5296383"/>
              <a:gd name="connsiteX507" fmla="*/ 3244560 w 9310410"/>
              <a:gd name="connsiteY507" fmla="*/ 2450431 h 5296383"/>
              <a:gd name="connsiteX508" fmla="*/ 3246958 w 9310410"/>
              <a:gd name="connsiteY508" fmla="*/ 2454626 h 5296383"/>
              <a:gd name="connsiteX509" fmla="*/ 3249354 w 9310410"/>
              <a:gd name="connsiteY509" fmla="*/ 2461818 h 5296383"/>
              <a:gd name="connsiteX510" fmla="*/ 3254748 w 9310410"/>
              <a:gd name="connsiteY510" fmla="*/ 2474402 h 5296383"/>
              <a:gd name="connsiteX511" fmla="*/ 3258943 w 9310410"/>
              <a:gd name="connsiteY511" fmla="*/ 2478597 h 5296383"/>
              <a:gd name="connsiteX512" fmla="*/ 3263138 w 9310410"/>
              <a:gd name="connsiteY512" fmla="*/ 2492980 h 5296383"/>
              <a:gd name="connsiteX513" fmla="*/ 3278119 w 9310410"/>
              <a:gd name="connsiteY513" fmla="*/ 2506763 h 5296383"/>
              <a:gd name="connsiteX514" fmla="*/ 3282914 w 9310410"/>
              <a:gd name="connsiteY514" fmla="*/ 2515153 h 5296383"/>
              <a:gd name="connsiteX515" fmla="*/ 3286509 w 9310410"/>
              <a:gd name="connsiteY515" fmla="*/ 2524741 h 5296383"/>
              <a:gd name="connsiteX516" fmla="*/ 3294899 w 9310410"/>
              <a:gd name="connsiteY516" fmla="*/ 2537925 h 5296383"/>
              <a:gd name="connsiteX517" fmla="*/ 3302690 w 9310410"/>
              <a:gd name="connsiteY517" fmla="*/ 2539723 h 5296383"/>
              <a:gd name="connsiteX518" fmla="*/ 3309282 w 9310410"/>
              <a:gd name="connsiteY518" fmla="*/ 2547514 h 5296383"/>
              <a:gd name="connsiteX519" fmla="*/ 3311679 w 9310410"/>
              <a:gd name="connsiteY519" fmla="*/ 2551709 h 5296383"/>
              <a:gd name="connsiteX520" fmla="*/ 3318870 w 9310410"/>
              <a:gd name="connsiteY520" fmla="*/ 2569687 h 5296383"/>
              <a:gd name="connsiteX521" fmla="*/ 3321267 w 9310410"/>
              <a:gd name="connsiteY521" fmla="*/ 2576878 h 5296383"/>
              <a:gd name="connsiteX522" fmla="*/ 3323664 w 9310410"/>
              <a:gd name="connsiteY522" fmla="*/ 2585867 h 5296383"/>
              <a:gd name="connsiteX523" fmla="*/ 3326061 w 9310410"/>
              <a:gd name="connsiteY523" fmla="*/ 2593059 h 5296383"/>
              <a:gd name="connsiteX524" fmla="*/ 3326061 w 9310410"/>
              <a:gd name="connsiteY524" fmla="*/ 2605044 h 5296383"/>
              <a:gd name="connsiteX525" fmla="*/ 3330256 w 9310410"/>
              <a:gd name="connsiteY525" fmla="*/ 2619427 h 5296383"/>
              <a:gd name="connsiteX526" fmla="*/ 3330856 w 9310410"/>
              <a:gd name="connsiteY526" fmla="*/ 2626618 h 5296383"/>
              <a:gd name="connsiteX527" fmla="*/ 3328459 w 9310410"/>
              <a:gd name="connsiteY527" fmla="*/ 2633210 h 5296383"/>
              <a:gd name="connsiteX528" fmla="*/ 3327859 w 9310410"/>
              <a:gd name="connsiteY528" fmla="*/ 2638004 h 5296383"/>
              <a:gd name="connsiteX529" fmla="*/ 3329657 w 9310410"/>
              <a:gd name="connsiteY529" fmla="*/ 2645195 h 5296383"/>
              <a:gd name="connsiteX530" fmla="*/ 3331455 w 9310410"/>
              <a:gd name="connsiteY530" fmla="*/ 2652387 h 5296383"/>
              <a:gd name="connsiteX531" fmla="*/ 3330856 w 9310410"/>
              <a:gd name="connsiteY531" fmla="*/ 2658979 h 5296383"/>
              <a:gd name="connsiteX532" fmla="*/ 3328459 w 9310410"/>
              <a:gd name="connsiteY532" fmla="*/ 2663173 h 5296383"/>
              <a:gd name="connsiteX533" fmla="*/ 3326061 w 9310410"/>
              <a:gd name="connsiteY533" fmla="*/ 2664971 h 5296383"/>
              <a:gd name="connsiteX534" fmla="*/ 3323664 w 9310410"/>
              <a:gd name="connsiteY534" fmla="*/ 2669166 h 5296383"/>
              <a:gd name="connsiteX535" fmla="*/ 3323065 w 9310410"/>
              <a:gd name="connsiteY535" fmla="*/ 2676358 h 5296383"/>
              <a:gd name="connsiteX536" fmla="*/ 3323664 w 9310410"/>
              <a:gd name="connsiteY536" fmla="*/ 2682350 h 5296383"/>
              <a:gd name="connsiteX537" fmla="*/ 3323065 w 9310410"/>
              <a:gd name="connsiteY537" fmla="*/ 2686545 h 5296383"/>
              <a:gd name="connsiteX538" fmla="*/ 3322466 w 9310410"/>
              <a:gd name="connsiteY538" fmla="*/ 2691939 h 5296383"/>
              <a:gd name="connsiteX539" fmla="*/ 3324264 w 9310410"/>
              <a:gd name="connsiteY539" fmla="*/ 2696733 h 5296383"/>
              <a:gd name="connsiteX540" fmla="*/ 3318870 w 9310410"/>
              <a:gd name="connsiteY540" fmla="*/ 2698531 h 5296383"/>
              <a:gd name="connsiteX541" fmla="*/ 3316473 w 9310410"/>
              <a:gd name="connsiteY541" fmla="*/ 2704524 h 5296383"/>
              <a:gd name="connsiteX542" fmla="*/ 3312278 w 9310410"/>
              <a:gd name="connsiteY542" fmla="*/ 2714711 h 5296383"/>
              <a:gd name="connsiteX543" fmla="*/ 3294300 w 9310410"/>
              <a:gd name="connsiteY543" fmla="*/ 2723101 h 5296383"/>
              <a:gd name="connsiteX544" fmla="*/ 3283513 w 9310410"/>
              <a:gd name="connsiteY544" fmla="*/ 2729693 h 5296383"/>
              <a:gd name="connsiteX545" fmla="*/ 3275123 w 9310410"/>
              <a:gd name="connsiteY545" fmla="*/ 2734487 h 5296383"/>
              <a:gd name="connsiteX546" fmla="*/ 3261340 w 9310410"/>
              <a:gd name="connsiteY546" fmla="*/ 2739881 h 5296383"/>
              <a:gd name="connsiteX547" fmla="*/ 3251152 w 9310410"/>
              <a:gd name="connsiteY547" fmla="*/ 2735686 h 5296383"/>
              <a:gd name="connsiteX548" fmla="*/ 3247557 w 9310410"/>
              <a:gd name="connsiteY548" fmla="*/ 2738083 h 5296383"/>
              <a:gd name="connsiteX549" fmla="*/ 3243362 w 9310410"/>
              <a:gd name="connsiteY549" fmla="*/ 2742278 h 5296383"/>
              <a:gd name="connsiteX550" fmla="*/ 3242763 w 9310410"/>
              <a:gd name="connsiteY550" fmla="*/ 2742278 h 5296383"/>
              <a:gd name="connsiteX551" fmla="*/ 3243362 w 9310410"/>
              <a:gd name="connsiteY551" fmla="*/ 2747671 h 5296383"/>
              <a:gd name="connsiteX552" fmla="*/ 3248755 w 9310410"/>
              <a:gd name="connsiteY552" fmla="*/ 2753065 h 5296383"/>
              <a:gd name="connsiteX553" fmla="*/ 3236170 w 9310410"/>
              <a:gd name="connsiteY553" fmla="*/ 2766249 h 5296383"/>
              <a:gd name="connsiteX554" fmla="*/ 3231976 w 9310410"/>
              <a:gd name="connsiteY554" fmla="*/ 2769245 h 5296383"/>
              <a:gd name="connsiteX555" fmla="*/ 3224784 w 9310410"/>
              <a:gd name="connsiteY555" fmla="*/ 2776436 h 5296383"/>
              <a:gd name="connsiteX556" fmla="*/ 3206806 w 9310410"/>
              <a:gd name="connsiteY556" fmla="*/ 2788422 h 5296383"/>
              <a:gd name="connsiteX557" fmla="*/ 3194221 w 9310410"/>
              <a:gd name="connsiteY557" fmla="*/ 2798609 h 5296383"/>
              <a:gd name="connsiteX558" fmla="*/ 3192423 w 9310410"/>
              <a:gd name="connsiteY558" fmla="*/ 2795014 h 5296383"/>
              <a:gd name="connsiteX559" fmla="*/ 3192423 w 9310410"/>
              <a:gd name="connsiteY559" fmla="*/ 2790819 h 5296383"/>
              <a:gd name="connsiteX560" fmla="*/ 3191225 w 9310410"/>
              <a:gd name="connsiteY560" fmla="*/ 2784826 h 5296383"/>
              <a:gd name="connsiteX561" fmla="*/ 3192423 w 9310410"/>
              <a:gd name="connsiteY561" fmla="*/ 2772841 h 5296383"/>
              <a:gd name="connsiteX562" fmla="*/ 3196618 w 9310410"/>
              <a:gd name="connsiteY562" fmla="*/ 2758458 h 5296383"/>
              <a:gd name="connsiteX563" fmla="*/ 3199016 w 9310410"/>
              <a:gd name="connsiteY563" fmla="*/ 2744675 h 5296383"/>
              <a:gd name="connsiteX564" fmla="*/ 3190626 w 9310410"/>
              <a:gd name="connsiteY564" fmla="*/ 2745274 h 5296383"/>
              <a:gd name="connsiteX565" fmla="*/ 3185831 w 9310410"/>
              <a:gd name="connsiteY565" fmla="*/ 2742877 h 5296383"/>
              <a:gd name="connsiteX566" fmla="*/ 3181037 w 9310410"/>
              <a:gd name="connsiteY566" fmla="*/ 2735086 h 5296383"/>
              <a:gd name="connsiteX567" fmla="*/ 3172647 w 9310410"/>
              <a:gd name="connsiteY567" fmla="*/ 2727895 h 5296383"/>
              <a:gd name="connsiteX568" fmla="*/ 3164857 w 9310410"/>
              <a:gd name="connsiteY568" fmla="*/ 2720704 h 5296383"/>
              <a:gd name="connsiteX569" fmla="*/ 3164257 w 9310410"/>
              <a:gd name="connsiteY569" fmla="*/ 2712314 h 5296383"/>
              <a:gd name="connsiteX570" fmla="*/ 3158265 w 9310410"/>
              <a:gd name="connsiteY570" fmla="*/ 2714711 h 5296383"/>
              <a:gd name="connsiteX571" fmla="*/ 3151673 w 9310410"/>
              <a:gd name="connsiteY571" fmla="*/ 2720105 h 5296383"/>
              <a:gd name="connsiteX572" fmla="*/ 3149276 w 9310410"/>
              <a:gd name="connsiteY572" fmla="*/ 2713513 h 5296383"/>
              <a:gd name="connsiteX573" fmla="*/ 3146879 w 9310410"/>
              <a:gd name="connsiteY573" fmla="*/ 2704524 h 5296383"/>
              <a:gd name="connsiteX574" fmla="*/ 3143882 w 9310410"/>
              <a:gd name="connsiteY574" fmla="*/ 2694336 h 5296383"/>
              <a:gd name="connsiteX575" fmla="*/ 3139687 w 9310410"/>
              <a:gd name="connsiteY575" fmla="*/ 2679354 h 5296383"/>
              <a:gd name="connsiteX576" fmla="*/ 3135492 w 9310410"/>
              <a:gd name="connsiteY576" fmla="*/ 2676358 h 5296383"/>
              <a:gd name="connsiteX577" fmla="*/ 3130099 w 9310410"/>
              <a:gd name="connsiteY577" fmla="*/ 2675758 h 5296383"/>
              <a:gd name="connsiteX578" fmla="*/ 3125904 w 9310410"/>
              <a:gd name="connsiteY578" fmla="*/ 2663773 h 5296383"/>
              <a:gd name="connsiteX579" fmla="*/ 3116315 w 9310410"/>
              <a:gd name="connsiteY579" fmla="*/ 2659578 h 5296383"/>
              <a:gd name="connsiteX580" fmla="*/ 3109724 w 9310410"/>
              <a:gd name="connsiteY580" fmla="*/ 2657181 h 5296383"/>
              <a:gd name="connsiteX581" fmla="*/ 3103132 w 9310410"/>
              <a:gd name="connsiteY581" fmla="*/ 2657181 h 5296383"/>
              <a:gd name="connsiteX582" fmla="*/ 3093543 w 9310410"/>
              <a:gd name="connsiteY582" fmla="*/ 2657780 h 5296383"/>
              <a:gd name="connsiteX583" fmla="*/ 3089348 w 9310410"/>
              <a:gd name="connsiteY583" fmla="*/ 2651188 h 5296383"/>
              <a:gd name="connsiteX584" fmla="*/ 3088749 w 9310410"/>
              <a:gd name="connsiteY584" fmla="*/ 2633210 h 5296383"/>
              <a:gd name="connsiteX585" fmla="*/ 3086352 w 9310410"/>
              <a:gd name="connsiteY585" fmla="*/ 2626019 h 5296383"/>
              <a:gd name="connsiteX586" fmla="*/ 3078561 w 9310410"/>
              <a:gd name="connsiteY586" fmla="*/ 2623622 h 5296383"/>
              <a:gd name="connsiteX587" fmla="*/ 3065377 w 9310410"/>
              <a:gd name="connsiteY587" fmla="*/ 2629015 h 5296383"/>
              <a:gd name="connsiteX588" fmla="*/ 3065977 w 9310410"/>
              <a:gd name="connsiteY588" fmla="*/ 2649990 h 5296383"/>
              <a:gd name="connsiteX589" fmla="*/ 3062381 w 9310410"/>
              <a:gd name="connsiteY589" fmla="*/ 2661975 h 5296383"/>
              <a:gd name="connsiteX590" fmla="*/ 3056988 w 9310410"/>
              <a:gd name="connsiteY590" fmla="*/ 2676957 h 5296383"/>
              <a:gd name="connsiteX591" fmla="*/ 3056388 w 9310410"/>
              <a:gd name="connsiteY591" fmla="*/ 2684148 h 5296383"/>
              <a:gd name="connsiteX592" fmla="*/ 3054590 w 9310410"/>
              <a:gd name="connsiteY592" fmla="*/ 2693737 h 5296383"/>
              <a:gd name="connsiteX593" fmla="*/ 3046201 w 9310410"/>
              <a:gd name="connsiteY593" fmla="*/ 2713513 h 5296383"/>
              <a:gd name="connsiteX594" fmla="*/ 3039609 w 9310410"/>
              <a:gd name="connsiteY594" fmla="*/ 2730292 h 5296383"/>
              <a:gd name="connsiteX595" fmla="*/ 3035414 w 9310410"/>
              <a:gd name="connsiteY595" fmla="*/ 2740480 h 5296383"/>
              <a:gd name="connsiteX596" fmla="*/ 3033017 w 9310410"/>
              <a:gd name="connsiteY596" fmla="*/ 2756061 h 5296383"/>
              <a:gd name="connsiteX597" fmla="*/ 3035414 w 9310410"/>
              <a:gd name="connsiteY597" fmla="*/ 2774039 h 5296383"/>
              <a:gd name="connsiteX598" fmla="*/ 3046201 w 9310410"/>
              <a:gd name="connsiteY598" fmla="*/ 2774039 h 5296383"/>
              <a:gd name="connsiteX599" fmla="*/ 3053392 w 9310410"/>
              <a:gd name="connsiteY599" fmla="*/ 2778833 h 5296383"/>
              <a:gd name="connsiteX600" fmla="*/ 3053392 w 9310410"/>
              <a:gd name="connsiteY600" fmla="*/ 2792617 h 5296383"/>
              <a:gd name="connsiteX601" fmla="*/ 3061782 w 9310410"/>
              <a:gd name="connsiteY601" fmla="*/ 2798609 h 5296383"/>
              <a:gd name="connsiteX602" fmla="*/ 3064778 w 9310410"/>
              <a:gd name="connsiteY602" fmla="*/ 2805801 h 5296383"/>
              <a:gd name="connsiteX603" fmla="*/ 3065377 w 9310410"/>
              <a:gd name="connsiteY603" fmla="*/ 2830970 h 5296383"/>
              <a:gd name="connsiteX604" fmla="*/ 3065977 w 9310410"/>
              <a:gd name="connsiteY604" fmla="*/ 2841158 h 5296383"/>
              <a:gd name="connsiteX605" fmla="*/ 3061782 w 9310410"/>
              <a:gd name="connsiteY605" fmla="*/ 2833967 h 5296383"/>
              <a:gd name="connsiteX606" fmla="*/ 3059385 w 9310410"/>
              <a:gd name="connsiteY606" fmla="*/ 2826775 h 5296383"/>
              <a:gd name="connsiteX607" fmla="*/ 3062980 w 9310410"/>
              <a:gd name="connsiteY607" fmla="*/ 2843555 h 5296383"/>
              <a:gd name="connsiteX608" fmla="*/ 3070771 w 9310410"/>
              <a:gd name="connsiteY608" fmla="*/ 2848349 h 5296383"/>
              <a:gd name="connsiteX609" fmla="*/ 3082756 w 9310410"/>
              <a:gd name="connsiteY609" fmla="*/ 2856739 h 5296383"/>
              <a:gd name="connsiteX610" fmla="*/ 3095940 w 9310410"/>
              <a:gd name="connsiteY610" fmla="*/ 2861533 h 5296383"/>
              <a:gd name="connsiteX611" fmla="*/ 3106128 w 9310410"/>
              <a:gd name="connsiteY611" fmla="*/ 2880710 h 5296383"/>
              <a:gd name="connsiteX612" fmla="*/ 3116915 w 9310410"/>
              <a:gd name="connsiteY612" fmla="*/ 2890898 h 5296383"/>
              <a:gd name="connsiteX613" fmla="*/ 3130099 w 9310410"/>
              <a:gd name="connsiteY613" fmla="*/ 2907078 h 5296383"/>
              <a:gd name="connsiteX614" fmla="*/ 3143882 w 9310410"/>
              <a:gd name="connsiteY614" fmla="*/ 2923858 h 5296383"/>
              <a:gd name="connsiteX615" fmla="*/ 3143283 w 9310410"/>
              <a:gd name="connsiteY615" fmla="*/ 2981388 h 5296383"/>
              <a:gd name="connsiteX616" fmla="*/ 3149276 w 9310410"/>
              <a:gd name="connsiteY616" fmla="*/ 3003561 h 5296383"/>
              <a:gd name="connsiteX617" fmla="*/ 3161261 w 9310410"/>
              <a:gd name="connsiteY617" fmla="*/ 3023337 h 5296383"/>
              <a:gd name="connsiteX618" fmla="*/ 3168452 w 9310410"/>
              <a:gd name="connsiteY618" fmla="*/ 3042514 h 5296383"/>
              <a:gd name="connsiteX619" fmla="*/ 3159463 w 9310410"/>
              <a:gd name="connsiteY619" fmla="*/ 3038319 h 5296383"/>
              <a:gd name="connsiteX620" fmla="*/ 3143283 w 9310410"/>
              <a:gd name="connsiteY620" fmla="*/ 3043712 h 5296383"/>
              <a:gd name="connsiteX621" fmla="*/ 3134893 w 9310410"/>
              <a:gd name="connsiteY621" fmla="*/ 3040117 h 5296383"/>
              <a:gd name="connsiteX622" fmla="*/ 3119911 w 9310410"/>
              <a:gd name="connsiteY622" fmla="*/ 3030529 h 5296383"/>
              <a:gd name="connsiteX623" fmla="*/ 3113319 w 9310410"/>
              <a:gd name="connsiteY623" fmla="*/ 3025734 h 5296383"/>
              <a:gd name="connsiteX624" fmla="*/ 3107926 w 9310410"/>
              <a:gd name="connsiteY624" fmla="*/ 3023337 h 5296383"/>
              <a:gd name="connsiteX625" fmla="*/ 3098937 w 9310410"/>
              <a:gd name="connsiteY625" fmla="*/ 3020341 h 5296383"/>
              <a:gd name="connsiteX626" fmla="*/ 3095940 w 9310410"/>
              <a:gd name="connsiteY626" fmla="*/ 3013150 h 5296383"/>
              <a:gd name="connsiteX627" fmla="*/ 3092944 w 9310410"/>
              <a:gd name="connsiteY627" fmla="*/ 3007756 h 5296383"/>
              <a:gd name="connsiteX628" fmla="*/ 3083955 w 9310410"/>
              <a:gd name="connsiteY628" fmla="*/ 2996370 h 5296383"/>
              <a:gd name="connsiteX629" fmla="*/ 3082157 w 9310410"/>
              <a:gd name="connsiteY629" fmla="*/ 2983186 h 5296383"/>
              <a:gd name="connsiteX630" fmla="*/ 3067175 w 9310410"/>
              <a:gd name="connsiteY630" fmla="*/ 2967005 h 5296383"/>
              <a:gd name="connsiteX631" fmla="*/ 3067774 w 9310410"/>
              <a:gd name="connsiteY631" fmla="*/ 2955619 h 5296383"/>
              <a:gd name="connsiteX632" fmla="*/ 3066576 w 9310410"/>
              <a:gd name="connsiteY632" fmla="*/ 2951424 h 5296383"/>
              <a:gd name="connsiteX633" fmla="*/ 3063579 w 9310410"/>
              <a:gd name="connsiteY633" fmla="*/ 2938840 h 5296383"/>
              <a:gd name="connsiteX634" fmla="*/ 3062381 w 9310410"/>
              <a:gd name="connsiteY634" fmla="*/ 2929251 h 5296383"/>
              <a:gd name="connsiteX635" fmla="*/ 3062381 w 9310410"/>
              <a:gd name="connsiteY635" fmla="*/ 2913071 h 5296383"/>
              <a:gd name="connsiteX636" fmla="*/ 3061182 w 9310410"/>
              <a:gd name="connsiteY636" fmla="*/ 2898089 h 5296383"/>
              <a:gd name="connsiteX637" fmla="*/ 3060583 w 9310410"/>
              <a:gd name="connsiteY637" fmla="*/ 2890898 h 5296383"/>
              <a:gd name="connsiteX638" fmla="*/ 3058186 w 9310410"/>
              <a:gd name="connsiteY638" fmla="*/ 2877714 h 5296383"/>
              <a:gd name="connsiteX639" fmla="*/ 3057587 w 9310410"/>
              <a:gd name="connsiteY639" fmla="*/ 2865728 h 5296383"/>
              <a:gd name="connsiteX640" fmla="*/ 3056988 w 9310410"/>
              <a:gd name="connsiteY640" fmla="*/ 2865728 h 5296383"/>
              <a:gd name="connsiteX641" fmla="*/ 3055789 w 9310410"/>
              <a:gd name="connsiteY641" fmla="*/ 2863930 h 5296383"/>
              <a:gd name="connsiteX642" fmla="*/ 3040807 w 9310410"/>
              <a:gd name="connsiteY642" fmla="*/ 2853143 h 5296383"/>
              <a:gd name="connsiteX643" fmla="*/ 3036013 w 9310410"/>
              <a:gd name="connsiteY643" fmla="*/ 2838162 h 5296383"/>
              <a:gd name="connsiteX644" fmla="*/ 3033616 w 9310410"/>
              <a:gd name="connsiteY644" fmla="*/ 2831570 h 5296383"/>
              <a:gd name="connsiteX645" fmla="*/ 3026425 w 9310410"/>
              <a:gd name="connsiteY645" fmla="*/ 2819584 h 5296383"/>
              <a:gd name="connsiteX646" fmla="*/ 3021031 w 9310410"/>
              <a:gd name="connsiteY646" fmla="*/ 2811794 h 5296383"/>
              <a:gd name="connsiteX647" fmla="*/ 3017435 w 9310410"/>
              <a:gd name="connsiteY647" fmla="*/ 2806400 h 5296383"/>
              <a:gd name="connsiteX648" fmla="*/ 3012042 w 9310410"/>
              <a:gd name="connsiteY648" fmla="*/ 2804003 h 5296383"/>
              <a:gd name="connsiteX649" fmla="*/ 3006648 w 9310410"/>
              <a:gd name="connsiteY649" fmla="*/ 2808198 h 5296383"/>
              <a:gd name="connsiteX650" fmla="*/ 3004251 w 9310410"/>
              <a:gd name="connsiteY650" fmla="*/ 2796212 h 5296383"/>
              <a:gd name="connsiteX651" fmla="*/ 3009645 w 9310410"/>
              <a:gd name="connsiteY651" fmla="*/ 2783028 h 5296383"/>
              <a:gd name="connsiteX652" fmla="*/ 3012641 w 9310410"/>
              <a:gd name="connsiteY652" fmla="*/ 2767447 h 5296383"/>
              <a:gd name="connsiteX653" fmla="*/ 3016237 w 9310410"/>
              <a:gd name="connsiteY653" fmla="*/ 2755462 h 5296383"/>
              <a:gd name="connsiteX654" fmla="*/ 3022829 w 9310410"/>
              <a:gd name="connsiteY654" fmla="*/ 2736285 h 5296383"/>
              <a:gd name="connsiteX655" fmla="*/ 3022230 w 9310410"/>
              <a:gd name="connsiteY655" fmla="*/ 2736285 h 5296383"/>
              <a:gd name="connsiteX656" fmla="*/ 3016836 w 9310410"/>
              <a:gd name="connsiteY656" fmla="*/ 2742278 h 5296383"/>
              <a:gd name="connsiteX657" fmla="*/ 3016237 w 9310410"/>
              <a:gd name="connsiteY657" fmla="*/ 2730292 h 5296383"/>
              <a:gd name="connsiteX658" fmla="*/ 3022230 w 9310410"/>
              <a:gd name="connsiteY658" fmla="*/ 2720105 h 5296383"/>
              <a:gd name="connsiteX659" fmla="*/ 3027623 w 9310410"/>
              <a:gd name="connsiteY659" fmla="*/ 2693137 h 5296383"/>
              <a:gd name="connsiteX660" fmla="*/ 3028822 w 9310410"/>
              <a:gd name="connsiteY660" fmla="*/ 2682950 h 5296383"/>
              <a:gd name="connsiteX661" fmla="*/ 3025825 w 9310410"/>
              <a:gd name="connsiteY661" fmla="*/ 2667968 h 5296383"/>
              <a:gd name="connsiteX662" fmla="*/ 3029421 w 9310410"/>
              <a:gd name="connsiteY662" fmla="*/ 2653585 h 5296383"/>
              <a:gd name="connsiteX663" fmla="*/ 3025825 w 9310410"/>
              <a:gd name="connsiteY663" fmla="*/ 2633809 h 5296383"/>
              <a:gd name="connsiteX664" fmla="*/ 3024028 w 9310410"/>
              <a:gd name="connsiteY664" fmla="*/ 2621224 h 5296383"/>
              <a:gd name="connsiteX665" fmla="*/ 3021031 w 9310410"/>
              <a:gd name="connsiteY665" fmla="*/ 2618228 h 5296383"/>
              <a:gd name="connsiteX666" fmla="*/ 3016836 w 9310410"/>
              <a:gd name="connsiteY666" fmla="*/ 2625419 h 5296383"/>
              <a:gd name="connsiteX667" fmla="*/ 3016237 w 9310410"/>
              <a:gd name="connsiteY667" fmla="*/ 2597853 h 5296383"/>
              <a:gd name="connsiteX668" fmla="*/ 3016836 w 9310410"/>
              <a:gd name="connsiteY668" fmla="*/ 2589463 h 5296383"/>
              <a:gd name="connsiteX669" fmla="*/ 3016237 w 9310410"/>
              <a:gd name="connsiteY669" fmla="*/ 2581073 h 5296383"/>
              <a:gd name="connsiteX670" fmla="*/ 3015638 w 9310410"/>
              <a:gd name="connsiteY670" fmla="*/ 2557701 h 5296383"/>
              <a:gd name="connsiteX671" fmla="*/ 3012641 w 9310410"/>
              <a:gd name="connsiteY671" fmla="*/ 2544517 h 5296383"/>
              <a:gd name="connsiteX672" fmla="*/ 3013240 w 9310410"/>
              <a:gd name="connsiteY672" fmla="*/ 2534330 h 5296383"/>
              <a:gd name="connsiteX673" fmla="*/ 3011443 w 9310410"/>
              <a:gd name="connsiteY673" fmla="*/ 2523543 h 5296383"/>
              <a:gd name="connsiteX674" fmla="*/ 3006648 w 9310410"/>
              <a:gd name="connsiteY674" fmla="*/ 2504965 h 5296383"/>
              <a:gd name="connsiteX675" fmla="*/ 2995262 w 9310410"/>
              <a:gd name="connsiteY675" fmla="*/ 2491182 h 5296383"/>
              <a:gd name="connsiteX676" fmla="*/ 2981479 w 9310410"/>
              <a:gd name="connsiteY676" fmla="*/ 2515752 h 5296383"/>
              <a:gd name="connsiteX677" fmla="*/ 2958707 w 9310410"/>
              <a:gd name="connsiteY677" fmla="*/ 2534929 h 5296383"/>
              <a:gd name="connsiteX678" fmla="*/ 2953313 w 9310410"/>
              <a:gd name="connsiteY678" fmla="*/ 2541521 h 5296383"/>
              <a:gd name="connsiteX679" fmla="*/ 2946721 w 9310410"/>
              <a:gd name="connsiteY679" fmla="*/ 2539124 h 5296383"/>
              <a:gd name="connsiteX680" fmla="*/ 2944324 w 9310410"/>
              <a:gd name="connsiteY680" fmla="*/ 2537326 h 5296383"/>
              <a:gd name="connsiteX681" fmla="*/ 2939530 w 9310410"/>
              <a:gd name="connsiteY681" fmla="*/ 2540322 h 5296383"/>
              <a:gd name="connsiteX682" fmla="*/ 2934136 w 9310410"/>
              <a:gd name="connsiteY682" fmla="*/ 2544517 h 5296383"/>
              <a:gd name="connsiteX683" fmla="*/ 2932339 w 9310410"/>
              <a:gd name="connsiteY683" fmla="*/ 2534929 h 5296383"/>
              <a:gd name="connsiteX684" fmla="*/ 2928144 w 9310410"/>
              <a:gd name="connsiteY684" fmla="*/ 2532532 h 5296383"/>
              <a:gd name="connsiteX685" fmla="*/ 2920952 w 9310410"/>
              <a:gd name="connsiteY685" fmla="*/ 2536727 h 5296383"/>
              <a:gd name="connsiteX686" fmla="*/ 2916757 w 9310410"/>
              <a:gd name="connsiteY686" fmla="*/ 2536727 h 5296383"/>
              <a:gd name="connsiteX687" fmla="*/ 2919754 w 9310410"/>
              <a:gd name="connsiteY687" fmla="*/ 2523543 h 5296383"/>
              <a:gd name="connsiteX688" fmla="*/ 2925147 w 9310410"/>
              <a:gd name="connsiteY688" fmla="*/ 2512157 h 5296383"/>
              <a:gd name="connsiteX689" fmla="*/ 2932339 w 9310410"/>
              <a:gd name="connsiteY689" fmla="*/ 2496575 h 5296383"/>
              <a:gd name="connsiteX690" fmla="*/ 2935335 w 9310410"/>
              <a:gd name="connsiteY690" fmla="*/ 2491182 h 5296383"/>
              <a:gd name="connsiteX691" fmla="*/ 2934736 w 9310410"/>
              <a:gd name="connsiteY691" fmla="*/ 2458821 h 5296383"/>
              <a:gd name="connsiteX692" fmla="*/ 2933537 w 9310410"/>
              <a:gd name="connsiteY692" fmla="*/ 2444439 h 5296383"/>
              <a:gd name="connsiteX693" fmla="*/ 2932938 w 9310410"/>
              <a:gd name="connsiteY693" fmla="*/ 2429457 h 5296383"/>
              <a:gd name="connsiteX694" fmla="*/ 2928144 w 9310410"/>
              <a:gd name="connsiteY694" fmla="*/ 2416273 h 5296383"/>
              <a:gd name="connsiteX695" fmla="*/ 2925746 w 9310410"/>
              <a:gd name="connsiteY695" fmla="*/ 2409681 h 5296383"/>
              <a:gd name="connsiteX696" fmla="*/ 2920952 w 9310410"/>
              <a:gd name="connsiteY696" fmla="*/ 2396497 h 5296383"/>
              <a:gd name="connsiteX697" fmla="*/ 2913761 w 9310410"/>
              <a:gd name="connsiteY697" fmla="*/ 2390504 h 5296383"/>
              <a:gd name="connsiteX698" fmla="*/ 2896981 w 9310410"/>
              <a:gd name="connsiteY698" fmla="*/ 2385710 h 5296383"/>
              <a:gd name="connsiteX699" fmla="*/ 2890989 w 9310410"/>
              <a:gd name="connsiteY699" fmla="*/ 2368930 h 5296383"/>
              <a:gd name="connsiteX700" fmla="*/ 2891588 w 9310410"/>
              <a:gd name="connsiteY700" fmla="*/ 2358143 h 5296383"/>
              <a:gd name="connsiteX701" fmla="*/ 2889790 w 9310410"/>
              <a:gd name="connsiteY701" fmla="*/ 2358143 h 5296383"/>
              <a:gd name="connsiteX702" fmla="*/ 2886794 w 9310410"/>
              <a:gd name="connsiteY702" fmla="*/ 2362937 h 5296383"/>
              <a:gd name="connsiteX703" fmla="*/ 2884397 w 9310410"/>
              <a:gd name="connsiteY703" fmla="*/ 2357544 h 5296383"/>
              <a:gd name="connsiteX704" fmla="*/ 2882599 w 9310410"/>
              <a:gd name="connsiteY704" fmla="*/ 2340165 h 5296383"/>
              <a:gd name="connsiteX705" fmla="*/ 2884996 w 9310410"/>
              <a:gd name="connsiteY705" fmla="*/ 2329977 h 5296383"/>
              <a:gd name="connsiteX706" fmla="*/ 2877805 w 9310410"/>
              <a:gd name="connsiteY706" fmla="*/ 2298216 h 5296383"/>
              <a:gd name="connsiteX707" fmla="*/ 2857429 w 9310410"/>
              <a:gd name="connsiteY707" fmla="*/ 2289227 h 5296383"/>
              <a:gd name="connsiteX708" fmla="*/ 2856830 w 9310410"/>
              <a:gd name="connsiteY708" fmla="*/ 2271248 h 5296383"/>
              <a:gd name="connsiteX709" fmla="*/ 2855632 w 9310410"/>
              <a:gd name="connsiteY709" fmla="*/ 2265855 h 5296383"/>
              <a:gd name="connsiteX710" fmla="*/ 2852036 w 9310410"/>
              <a:gd name="connsiteY710" fmla="*/ 2268851 h 5296383"/>
              <a:gd name="connsiteX711" fmla="*/ 2851437 w 9310410"/>
              <a:gd name="connsiteY711" fmla="*/ 2268252 h 5296383"/>
              <a:gd name="connsiteX712" fmla="*/ 2851437 w 9310410"/>
              <a:gd name="connsiteY712" fmla="*/ 2277840 h 5296383"/>
              <a:gd name="connsiteX713" fmla="*/ 2849039 w 9310410"/>
              <a:gd name="connsiteY713" fmla="*/ 2291624 h 5296383"/>
              <a:gd name="connsiteX714" fmla="*/ 2849639 w 9310410"/>
              <a:gd name="connsiteY714" fmla="*/ 2303010 h 5296383"/>
              <a:gd name="connsiteX715" fmla="*/ 2849639 w 9310410"/>
              <a:gd name="connsiteY715" fmla="*/ 2316194 h 5296383"/>
              <a:gd name="connsiteX716" fmla="*/ 2844844 w 9310410"/>
              <a:gd name="connsiteY716" fmla="*/ 2325183 h 5296383"/>
              <a:gd name="connsiteX717" fmla="*/ 2838852 w 9310410"/>
              <a:gd name="connsiteY717" fmla="*/ 2328779 h 5296383"/>
              <a:gd name="connsiteX718" fmla="*/ 2833458 w 9310410"/>
              <a:gd name="connsiteY718" fmla="*/ 2316793 h 5296383"/>
              <a:gd name="connsiteX719" fmla="*/ 2829264 w 9310410"/>
              <a:gd name="connsiteY719" fmla="*/ 2311400 h 5296383"/>
              <a:gd name="connsiteX720" fmla="*/ 2822072 w 9310410"/>
              <a:gd name="connsiteY720" fmla="*/ 2324584 h 5296383"/>
              <a:gd name="connsiteX721" fmla="*/ 2817877 w 9310410"/>
              <a:gd name="connsiteY721" fmla="*/ 2328779 h 5296383"/>
              <a:gd name="connsiteX722" fmla="*/ 2813682 w 9310410"/>
              <a:gd name="connsiteY722" fmla="*/ 2328179 h 5296383"/>
              <a:gd name="connsiteX723" fmla="*/ 2808888 w 9310410"/>
              <a:gd name="connsiteY723" fmla="*/ 2324584 h 5296383"/>
              <a:gd name="connsiteX724" fmla="*/ 2802296 w 9310410"/>
              <a:gd name="connsiteY724" fmla="*/ 2322187 h 5296383"/>
              <a:gd name="connsiteX725" fmla="*/ 2796303 w 9310410"/>
              <a:gd name="connsiteY725" fmla="*/ 2326981 h 5296383"/>
              <a:gd name="connsiteX726" fmla="*/ 2791509 w 9310410"/>
              <a:gd name="connsiteY726" fmla="*/ 2331176 h 5296383"/>
              <a:gd name="connsiteX727" fmla="*/ 2784318 w 9310410"/>
              <a:gd name="connsiteY727" fmla="*/ 2320988 h 5296383"/>
              <a:gd name="connsiteX728" fmla="*/ 2778924 w 9310410"/>
              <a:gd name="connsiteY728" fmla="*/ 2319190 h 5296383"/>
              <a:gd name="connsiteX729" fmla="*/ 2769336 w 9310410"/>
              <a:gd name="connsiteY729" fmla="*/ 2329977 h 5296383"/>
              <a:gd name="connsiteX730" fmla="*/ 2748362 w 9310410"/>
              <a:gd name="connsiteY730" fmla="*/ 2337169 h 5296383"/>
              <a:gd name="connsiteX731" fmla="*/ 2738773 w 9310410"/>
              <a:gd name="connsiteY731" fmla="*/ 2350952 h 5296383"/>
              <a:gd name="connsiteX732" fmla="*/ 2739372 w 9310410"/>
              <a:gd name="connsiteY732" fmla="*/ 2364735 h 5296383"/>
              <a:gd name="connsiteX733" fmla="*/ 2735177 w 9310410"/>
              <a:gd name="connsiteY733" fmla="*/ 2374923 h 5296383"/>
              <a:gd name="connsiteX734" fmla="*/ 2714203 w 9310410"/>
              <a:gd name="connsiteY734" fmla="*/ 2392901 h 5296383"/>
              <a:gd name="connsiteX735" fmla="*/ 2696824 w 9310410"/>
              <a:gd name="connsiteY735" fmla="*/ 2396497 h 5296383"/>
              <a:gd name="connsiteX736" fmla="*/ 2685438 w 9310410"/>
              <a:gd name="connsiteY736" fmla="*/ 2396497 h 5296383"/>
              <a:gd name="connsiteX737" fmla="*/ 2685438 w 9310410"/>
              <a:gd name="connsiteY737" fmla="*/ 2400692 h 5296383"/>
              <a:gd name="connsiteX738" fmla="*/ 2687236 w 9310410"/>
              <a:gd name="connsiteY738" fmla="*/ 2403688 h 5296383"/>
              <a:gd name="connsiteX739" fmla="*/ 2672254 w 9310410"/>
              <a:gd name="connsiteY739" fmla="*/ 2413876 h 5296383"/>
              <a:gd name="connsiteX740" fmla="*/ 2666860 w 9310410"/>
              <a:gd name="connsiteY740" fmla="*/ 2418670 h 5296383"/>
              <a:gd name="connsiteX741" fmla="*/ 2662665 w 9310410"/>
              <a:gd name="connsiteY741" fmla="*/ 2424663 h 5296383"/>
              <a:gd name="connsiteX742" fmla="*/ 2652478 w 9310410"/>
              <a:gd name="connsiteY742" fmla="*/ 2438446 h 5296383"/>
              <a:gd name="connsiteX743" fmla="*/ 2644088 w 9310410"/>
              <a:gd name="connsiteY743" fmla="*/ 2446236 h 5296383"/>
              <a:gd name="connsiteX744" fmla="*/ 2632102 w 9310410"/>
              <a:gd name="connsiteY744" fmla="*/ 2456424 h 5296383"/>
              <a:gd name="connsiteX745" fmla="*/ 2618918 w 9310410"/>
              <a:gd name="connsiteY745" fmla="*/ 2467211 h 5296383"/>
              <a:gd name="connsiteX746" fmla="*/ 2597344 w 9310410"/>
              <a:gd name="connsiteY746" fmla="*/ 2480395 h 5296383"/>
              <a:gd name="connsiteX747" fmla="*/ 2593149 w 9310410"/>
              <a:gd name="connsiteY747" fmla="*/ 2488785 h 5296383"/>
              <a:gd name="connsiteX748" fmla="*/ 2591951 w 9310410"/>
              <a:gd name="connsiteY748" fmla="*/ 2499572 h 5296383"/>
              <a:gd name="connsiteX749" fmla="*/ 2575171 w 9310410"/>
              <a:gd name="connsiteY749" fmla="*/ 2516351 h 5296383"/>
              <a:gd name="connsiteX750" fmla="*/ 2557792 w 9310410"/>
              <a:gd name="connsiteY750" fmla="*/ 2519348 h 5296383"/>
              <a:gd name="connsiteX751" fmla="*/ 2545208 w 9310410"/>
              <a:gd name="connsiteY751" fmla="*/ 2530135 h 5296383"/>
              <a:gd name="connsiteX752" fmla="*/ 2527229 w 9310410"/>
              <a:gd name="connsiteY752" fmla="*/ 2540922 h 5296383"/>
              <a:gd name="connsiteX753" fmla="*/ 2521836 w 9310410"/>
              <a:gd name="connsiteY753" fmla="*/ 2573282 h 5296383"/>
              <a:gd name="connsiteX754" fmla="*/ 2518840 w 9310410"/>
              <a:gd name="connsiteY754" fmla="*/ 2593059 h 5296383"/>
              <a:gd name="connsiteX755" fmla="*/ 2520038 w 9310410"/>
              <a:gd name="connsiteY755" fmla="*/ 2603845 h 5296383"/>
              <a:gd name="connsiteX756" fmla="*/ 2515843 w 9310410"/>
              <a:gd name="connsiteY756" fmla="*/ 2600250 h 5296383"/>
              <a:gd name="connsiteX757" fmla="*/ 2513446 w 9310410"/>
              <a:gd name="connsiteY757" fmla="*/ 2603246 h 5296383"/>
              <a:gd name="connsiteX758" fmla="*/ 2521237 w 9310410"/>
              <a:gd name="connsiteY758" fmla="*/ 2612235 h 5296383"/>
              <a:gd name="connsiteX759" fmla="*/ 2522435 w 9310410"/>
              <a:gd name="connsiteY759" fmla="*/ 2630213 h 5296383"/>
              <a:gd name="connsiteX760" fmla="*/ 2505656 w 9310410"/>
              <a:gd name="connsiteY760" fmla="*/ 2654784 h 5296383"/>
              <a:gd name="connsiteX761" fmla="*/ 2497266 w 9310410"/>
              <a:gd name="connsiteY761" fmla="*/ 2684747 h 5296383"/>
              <a:gd name="connsiteX762" fmla="*/ 2496666 w 9310410"/>
              <a:gd name="connsiteY762" fmla="*/ 2706921 h 5296383"/>
              <a:gd name="connsiteX763" fmla="*/ 2494269 w 9310410"/>
              <a:gd name="connsiteY763" fmla="*/ 2720105 h 5296383"/>
              <a:gd name="connsiteX764" fmla="*/ 2485879 w 9310410"/>
              <a:gd name="connsiteY764" fmla="*/ 2724300 h 5296383"/>
              <a:gd name="connsiteX765" fmla="*/ 2475692 w 9310410"/>
              <a:gd name="connsiteY765" fmla="*/ 2735686 h 5296383"/>
              <a:gd name="connsiteX766" fmla="*/ 2473894 w 9310410"/>
              <a:gd name="connsiteY766" fmla="*/ 2753664 h 5296383"/>
              <a:gd name="connsiteX767" fmla="*/ 2474493 w 9310410"/>
              <a:gd name="connsiteY767" fmla="*/ 2762054 h 5296383"/>
              <a:gd name="connsiteX768" fmla="*/ 2459511 w 9310410"/>
              <a:gd name="connsiteY768" fmla="*/ 2759657 h 5296383"/>
              <a:gd name="connsiteX769" fmla="*/ 2446327 w 9310410"/>
              <a:gd name="connsiteY769" fmla="*/ 2772841 h 5296383"/>
              <a:gd name="connsiteX770" fmla="*/ 2438537 w 9310410"/>
              <a:gd name="connsiteY770" fmla="*/ 2789620 h 5296383"/>
              <a:gd name="connsiteX771" fmla="*/ 2417562 w 9310410"/>
              <a:gd name="connsiteY771" fmla="*/ 2795613 h 5296383"/>
              <a:gd name="connsiteX772" fmla="*/ 2403779 w 9310410"/>
              <a:gd name="connsiteY772" fmla="*/ 2772241 h 5296383"/>
              <a:gd name="connsiteX773" fmla="*/ 2401981 w 9310410"/>
              <a:gd name="connsiteY773" fmla="*/ 2766848 h 5296383"/>
              <a:gd name="connsiteX774" fmla="*/ 2397187 w 9310410"/>
              <a:gd name="connsiteY774" fmla="*/ 2758458 h 5296383"/>
              <a:gd name="connsiteX775" fmla="*/ 2390595 w 9310410"/>
              <a:gd name="connsiteY775" fmla="*/ 2703924 h 5296383"/>
              <a:gd name="connsiteX776" fmla="*/ 2385201 w 9310410"/>
              <a:gd name="connsiteY776" fmla="*/ 2679354 h 5296383"/>
              <a:gd name="connsiteX777" fmla="*/ 2379808 w 9310410"/>
              <a:gd name="connsiteY777" fmla="*/ 2657181 h 5296383"/>
              <a:gd name="connsiteX778" fmla="*/ 2370819 w 9310410"/>
              <a:gd name="connsiteY778" fmla="*/ 2632611 h 5296383"/>
              <a:gd name="connsiteX779" fmla="*/ 2370220 w 9310410"/>
              <a:gd name="connsiteY779" fmla="*/ 2599051 h 5296383"/>
              <a:gd name="connsiteX780" fmla="*/ 2370819 w 9310410"/>
              <a:gd name="connsiteY780" fmla="*/ 2591860 h 5296383"/>
              <a:gd name="connsiteX781" fmla="*/ 2367223 w 9310410"/>
              <a:gd name="connsiteY781" fmla="*/ 2565492 h 5296383"/>
              <a:gd name="connsiteX782" fmla="*/ 2360631 w 9310410"/>
              <a:gd name="connsiteY782" fmla="*/ 2540322 h 5296383"/>
              <a:gd name="connsiteX783" fmla="*/ 2350443 w 9310410"/>
              <a:gd name="connsiteY783" fmla="*/ 2495976 h 5296383"/>
              <a:gd name="connsiteX784" fmla="*/ 2353440 w 9310410"/>
              <a:gd name="connsiteY784" fmla="*/ 2449832 h 5296383"/>
              <a:gd name="connsiteX785" fmla="*/ 2354039 w 9310410"/>
              <a:gd name="connsiteY785" fmla="*/ 2434850 h 5296383"/>
              <a:gd name="connsiteX786" fmla="*/ 2352241 w 9310410"/>
              <a:gd name="connsiteY786" fmla="*/ 2427659 h 5296383"/>
              <a:gd name="connsiteX787" fmla="*/ 2353440 w 9310410"/>
              <a:gd name="connsiteY787" fmla="*/ 2420468 h 5296383"/>
              <a:gd name="connsiteX788" fmla="*/ 2355238 w 9310410"/>
              <a:gd name="connsiteY788" fmla="*/ 2415673 h 5296383"/>
              <a:gd name="connsiteX789" fmla="*/ 2340256 w 9310410"/>
              <a:gd name="connsiteY789" fmla="*/ 2403688 h 5296383"/>
              <a:gd name="connsiteX790" fmla="*/ 2348646 w 9310410"/>
              <a:gd name="connsiteY790" fmla="*/ 2394100 h 5296383"/>
              <a:gd name="connsiteX791" fmla="*/ 2355837 w 9310410"/>
              <a:gd name="connsiteY791" fmla="*/ 2386908 h 5296383"/>
              <a:gd name="connsiteX792" fmla="*/ 2356436 w 9310410"/>
              <a:gd name="connsiteY792" fmla="*/ 2375522 h 5296383"/>
              <a:gd name="connsiteX793" fmla="*/ 2357635 w 9310410"/>
              <a:gd name="connsiteY793" fmla="*/ 2362937 h 5296383"/>
              <a:gd name="connsiteX794" fmla="*/ 2359433 w 9310410"/>
              <a:gd name="connsiteY794" fmla="*/ 2354547 h 5296383"/>
              <a:gd name="connsiteX795" fmla="*/ 2363628 w 9310410"/>
              <a:gd name="connsiteY795" fmla="*/ 2343161 h 5296383"/>
              <a:gd name="connsiteX796" fmla="*/ 2364227 w 9310410"/>
              <a:gd name="connsiteY796" fmla="*/ 2327580 h 5296383"/>
              <a:gd name="connsiteX797" fmla="*/ 2366624 w 9310410"/>
              <a:gd name="connsiteY797" fmla="*/ 2310800 h 5296383"/>
              <a:gd name="connsiteX798" fmla="*/ 2367823 w 9310410"/>
              <a:gd name="connsiteY798" fmla="*/ 2301212 h 5296383"/>
              <a:gd name="connsiteX799" fmla="*/ 2368422 w 9310410"/>
              <a:gd name="connsiteY799" fmla="*/ 2289227 h 5296383"/>
              <a:gd name="connsiteX800" fmla="*/ 2370819 w 9310410"/>
              <a:gd name="connsiteY800" fmla="*/ 2279638 h 5296383"/>
              <a:gd name="connsiteX801" fmla="*/ 2360631 w 9310410"/>
              <a:gd name="connsiteY801" fmla="*/ 2277840 h 5296383"/>
              <a:gd name="connsiteX802" fmla="*/ 2356436 w 9310410"/>
              <a:gd name="connsiteY802" fmla="*/ 2292822 h 5296383"/>
              <a:gd name="connsiteX803" fmla="*/ 2351043 w 9310410"/>
              <a:gd name="connsiteY803" fmla="*/ 2313198 h 5296383"/>
              <a:gd name="connsiteX804" fmla="*/ 2332465 w 9310410"/>
              <a:gd name="connsiteY804" fmla="*/ 2330576 h 5296383"/>
              <a:gd name="connsiteX805" fmla="*/ 2303101 w 9310410"/>
              <a:gd name="connsiteY805" fmla="*/ 2334771 h 5296383"/>
              <a:gd name="connsiteX806" fmla="*/ 2283924 w 9310410"/>
              <a:gd name="connsiteY806" fmla="*/ 2303010 h 5296383"/>
              <a:gd name="connsiteX807" fmla="*/ 2274935 w 9310410"/>
              <a:gd name="connsiteY807" fmla="*/ 2285631 h 5296383"/>
              <a:gd name="connsiteX808" fmla="*/ 2273737 w 9310410"/>
              <a:gd name="connsiteY808" fmla="*/ 2275443 h 5296383"/>
              <a:gd name="connsiteX809" fmla="*/ 2280928 w 9310410"/>
              <a:gd name="connsiteY809" fmla="*/ 2279638 h 5296383"/>
              <a:gd name="connsiteX810" fmla="*/ 2288718 w 9310410"/>
              <a:gd name="connsiteY810" fmla="*/ 2279039 h 5296383"/>
              <a:gd name="connsiteX811" fmla="*/ 2294112 w 9310410"/>
              <a:gd name="connsiteY811" fmla="*/ 2273645 h 5296383"/>
              <a:gd name="connsiteX812" fmla="*/ 2303101 w 9310410"/>
              <a:gd name="connsiteY812" fmla="*/ 2270050 h 5296383"/>
              <a:gd name="connsiteX813" fmla="*/ 2310892 w 9310410"/>
              <a:gd name="connsiteY813" fmla="*/ 2267653 h 5296383"/>
              <a:gd name="connsiteX814" fmla="*/ 2316285 w 9310410"/>
              <a:gd name="connsiteY814" fmla="*/ 2260462 h 5296383"/>
              <a:gd name="connsiteX815" fmla="*/ 2321678 w 9310410"/>
              <a:gd name="connsiteY815" fmla="*/ 2256267 h 5296383"/>
              <a:gd name="connsiteX816" fmla="*/ 2318083 w 9310410"/>
              <a:gd name="connsiteY816" fmla="*/ 2252072 h 5296383"/>
              <a:gd name="connsiteX817" fmla="*/ 2285722 w 9310410"/>
              <a:gd name="connsiteY817" fmla="*/ 2254469 h 5296383"/>
              <a:gd name="connsiteX818" fmla="*/ 2273737 w 9310410"/>
              <a:gd name="connsiteY818" fmla="*/ 2232296 h 5296383"/>
              <a:gd name="connsiteX819" fmla="*/ 2274935 w 9310410"/>
              <a:gd name="connsiteY819" fmla="*/ 2224505 h 5296383"/>
              <a:gd name="connsiteX820" fmla="*/ 2266545 w 9310410"/>
              <a:gd name="connsiteY820" fmla="*/ 2225104 h 5296383"/>
              <a:gd name="connsiteX821" fmla="*/ 2264747 w 9310410"/>
              <a:gd name="connsiteY821" fmla="*/ 2222707 h 5296383"/>
              <a:gd name="connsiteX822" fmla="*/ 2264747 w 9310410"/>
              <a:gd name="connsiteY822" fmla="*/ 2222707 h 5296383"/>
              <a:gd name="connsiteX823" fmla="*/ 2263549 w 9310410"/>
              <a:gd name="connsiteY823" fmla="*/ 2221509 h 5296383"/>
              <a:gd name="connsiteX824" fmla="*/ 2258755 w 9310410"/>
              <a:gd name="connsiteY824" fmla="*/ 2217913 h 5296383"/>
              <a:gd name="connsiteX825" fmla="*/ 2258755 w 9310410"/>
              <a:gd name="connsiteY825" fmla="*/ 2217314 h 5296383"/>
              <a:gd name="connsiteX826" fmla="*/ 2252163 w 9310410"/>
              <a:gd name="connsiteY826" fmla="*/ 2215516 h 5296383"/>
              <a:gd name="connsiteX827" fmla="*/ 2247968 w 9310410"/>
              <a:gd name="connsiteY827" fmla="*/ 2211321 h 5296383"/>
              <a:gd name="connsiteX828" fmla="*/ 2248567 w 9310410"/>
              <a:gd name="connsiteY828" fmla="*/ 2195740 h 5296383"/>
              <a:gd name="connsiteX829" fmla="*/ 2244971 w 9310410"/>
              <a:gd name="connsiteY829" fmla="*/ 2184953 h 5296383"/>
              <a:gd name="connsiteX830" fmla="*/ 2239578 w 9310410"/>
              <a:gd name="connsiteY830" fmla="*/ 2177762 h 5296383"/>
              <a:gd name="connsiteX831" fmla="*/ 2236581 w 9310410"/>
              <a:gd name="connsiteY831" fmla="*/ 2165776 h 5296383"/>
              <a:gd name="connsiteX832" fmla="*/ 2218603 w 9310410"/>
              <a:gd name="connsiteY832" fmla="*/ 2162780 h 5296383"/>
              <a:gd name="connsiteX833" fmla="*/ 2195831 w 9310410"/>
              <a:gd name="connsiteY833" fmla="*/ 2160982 h 5296383"/>
              <a:gd name="connsiteX834" fmla="*/ 2177853 w 9310410"/>
              <a:gd name="connsiteY834" fmla="*/ 2162181 h 5296383"/>
              <a:gd name="connsiteX835" fmla="*/ 2170661 w 9310410"/>
              <a:gd name="connsiteY835" fmla="*/ 2162181 h 5296383"/>
              <a:gd name="connsiteX836" fmla="*/ 2141896 w 9310410"/>
              <a:gd name="connsiteY836" fmla="*/ 2162780 h 5296383"/>
              <a:gd name="connsiteX837" fmla="*/ 2124517 w 9310410"/>
              <a:gd name="connsiteY837" fmla="*/ 2163379 h 5296383"/>
              <a:gd name="connsiteX838" fmla="*/ 2114330 w 9310410"/>
              <a:gd name="connsiteY838" fmla="*/ 2160383 h 5296383"/>
              <a:gd name="connsiteX839" fmla="*/ 2111933 w 9310410"/>
              <a:gd name="connsiteY839" fmla="*/ 2157386 h 5296383"/>
              <a:gd name="connsiteX840" fmla="*/ 2106539 w 9310410"/>
              <a:gd name="connsiteY840" fmla="*/ 2158585 h 5296383"/>
              <a:gd name="connsiteX841" fmla="*/ 2096351 w 9310410"/>
              <a:gd name="connsiteY841" fmla="*/ 2157986 h 5296383"/>
              <a:gd name="connsiteX842" fmla="*/ 2084366 w 9310410"/>
              <a:gd name="connsiteY842" fmla="*/ 2152592 h 5296383"/>
              <a:gd name="connsiteX843" fmla="*/ 2077175 w 9310410"/>
              <a:gd name="connsiteY843" fmla="*/ 2152592 h 5296383"/>
              <a:gd name="connsiteX844" fmla="*/ 2062193 w 9310410"/>
              <a:gd name="connsiteY844" fmla="*/ 2150195 h 5296383"/>
              <a:gd name="connsiteX845" fmla="*/ 2047810 w 9310410"/>
              <a:gd name="connsiteY845" fmla="*/ 2146000 h 5296383"/>
              <a:gd name="connsiteX846" fmla="*/ 2041817 w 9310410"/>
              <a:gd name="connsiteY846" fmla="*/ 2143603 h 5296383"/>
              <a:gd name="connsiteX847" fmla="*/ 2028633 w 9310410"/>
              <a:gd name="connsiteY847" fmla="*/ 2135213 h 5296383"/>
              <a:gd name="connsiteX848" fmla="*/ 2016648 w 9310410"/>
              <a:gd name="connsiteY848" fmla="*/ 2132217 h 5296383"/>
              <a:gd name="connsiteX849" fmla="*/ 2010056 w 9310410"/>
              <a:gd name="connsiteY849" fmla="*/ 2129221 h 5296383"/>
              <a:gd name="connsiteX850" fmla="*/ 2007659 w 9310410"/>
              <a:gd name="connsiteY850" fmla="*/ 2102852 h 5296383"/>
              <a:gd name="connsiteX851" fmla="*/ 2008258 w 9310410"/>
              <a:gd name="connsiteY851" fmla="*/ 2078881 h 5296383"/>
              <a:gd name="connsiteX852" fmla="*/ 1996273 w 9310410"/>
              <a:gd name="connsiteY852" fmla="*/ 2078282 h 5296383"/>
              <a:gd name="connsiteX853" fmla="*/ 1978294 w 9310410"/>
              <a:gd name="connsiteY853" fmla="*/ 2078282 h 5296383"/>
              <a:gd name="connsiteX854" fmla="*/ 1957320 w 9310410"/>
              <a:gd name="connsiteY854" fmla="*/ 2086672 h 5296383"/>
              <a:gd name="connsiteX855" fmla="*/ 1942937 w 9310410"/>
              <a:gd name="connsiteY855" fmla="*/ 2086073 h 5296383"/>
              <a:gd name="connsiteX856" fmla="*/ 1924959 w 9310410"/>
              <a:gd name="connsiteY856" fmla="*/ 2081878 h 5296383"/>
              <a:gd name="connsiteX857" fmla="*/ 1912374 w 9310410"/>
              <a:gd name="connsiteY857" fmla="*/ 2069892 h 5296383"/>
              <a:gd name="connsiteX858" fmla="*/ 1903984 w 9310410"/>
              <a:gd name="connsiteY858" fmla="*/ 2056708 h 5296383"/>
              <a:gd name="connsiteX859" fmla="*/ 1903385 w 9310410"/>
              <a:gd name="connsiteY859" fmla="*/ 2050116 h 5296383"/>
              <a:gd name="connsiteX860" fmla="*/ 1889602 w 9310410"/>
              <a:gd name="connsiteY860" fmla="*/ 2038131 h 5296383"/>
              <a:gd name="connsiteX861" fmla="*/ 1879414 w 9310410"/>
              <a:gd name="connsiteY861" fmla="*/ 2030340 h 5296383"/>
              <a:gd name="connsiteX862" fmla="*/ 1878815 w 9310410"/>
              <a:gd name="connsiteY862" fmla="*/ 2015358 h 5296383"/>
              <a:gd name="connsiteX863" fmla="*/ 1880013 w 9310410"/>
              <a:gd name="connsiteY863" fmla="*/ 2002174 h 5296383"/>
              <a:gd name="connsiteX864" fmla="*/ 1877616 w 9310410"/>
              <a:gd name="connsiteY864" fmla="*/ 1993185 h 5296383"/>
              <a:gd name="connsiteX865" fmla="*/ 1874620 w 9310410"/>
              <a:gd name="connsiteY865" fmla="*/ 1987192 h 5296383"/>
              <a:gd name="connsiteX866" fmla="*/ 1873422 w 9310410"/>
              <a:gd name="connsiteY866" fmla="*/ 1982398 h 5296383"/>
              <a:gd name="connsiteX867" fmla="*/ 1874021 w 9310410"/>
              <a:gd name="connsiteY867" fmla="*/ 1967417 h 5296383"/>
              <a:gd name="connsiteX868" fmla="*/ 1871624 w 9310410"/>
              <a:gd name="connsiteY868" fmla="*/ 1955431 h 5296383"/>
              <a:gd name="connsiteX869" fmla="*/ 1867429 w 9310410"/>
              <a:gd name="connsiteY869" fmla="*/ 1949438 h 5296383"/>
              <a:gd name="connsiteX870" fmla="*/ 1857241 w 9310410"/>
              <a:gd name="connsiteY870" fmla="*/ 1942846 h 5296383"/>
              <a:gd name="connsiteX871" fmla="*/ 1853645 w 9310410"/>
              <a:gd name="connsiteY871" fmla="*/ 1938052 h 5296383"/>
              <a:gd name="connsiteX872" fmla="*/ 1848851 w 9310410"/>
              <a:gd name="connsiteY872" fmla="*/ 1950637 h 5296383"/>
              <a:gd name="connsiteX873" fmla="*/ 1836866 w 9310410"/>
              <a:gd name="connsiteY873" fmla="*/ 1953633 h 5296383"/>
              <a:gd name="connsiteX874" fmla="*/ 1832671 w 9310410"/>
              <a:gd name="connsiteY874" fmla="*/ 1953633 h 5296383"/>
              <a:gd name="connsiteX875" fmla="*/ 1830873 w 9310410"/>
              <a:gd name="connsiteY875" fmla="*/ 1954232 h 5296383"/>
              <a:gd name="connsiteX876" fmla="*/ 1828476 w 9310410"/>
              <a:gd name="connsiteY876" fmla="*/ 1956629 h 5296383"/>
              <a:gd name="connsiteX877" fmla="*/ 1824281 w 9310410"/>
              <a:gd name="connsiteY877" fmla="*/ 1956030 h 5296383"/>
              <a:gd name="connsiteX878" fmla="*/ 1824880 w 9310410"/>
              <a:gd name="connsiteY878" fmla="*/ 1951835 h 5296383"/>
              <a:gd name="connsiteX879" fmla="*/ 1824281 w 9310410"/>
              <a:gd name="connsiteY879" fmla="*/ 1951236 h 5296383"/>
              <a:gd name="connsiteX880" fmla="*/ 1821884 w 9310410"/>
              <a:gd name="connsiteY880" fmla="*/ 1950637 h 5296383"/>
              <a:gd name="connsiteX881" fmla="*/ 1820086 w 9310410"/>
              <a:gd name="connsiteY881" fmla="*/ 1956629 h 5296383"/>
              <a:gd name="connsiteX882" fmla="*/ 1813494 w 9310410"/>
              <a:gd name="connsiteY882" fmla="*/ 1961424 h 5296383"/>
              <a:gd name="connsiteX883" fmla="*/ 1811097 w 9310410"/>
              <a:gd name="connsiteY883" fmla="*/ 1964420 h 5296383"/>
              <a:gd name="connsiteX884" fmla="*/ 1816491 w 9310410"/>
              <a:gd name="connsiteY884" fmla="*/ 1979402 h 5296383"/>
              <a:gd name="connsiteX885" fmla="*/ 1813494 w 9310410"/>
              <a:gd name="connsiteY885" fmla="*/ 2002174 h 5296383"/>
              <a:gd name="connsiteX886" fmla="*/ 1811696 w 9310410"/>
              <a:gd name="connsiteY886" fmla="*/ 2006369 h 5296383"/>
              <a:gd name="connsiteX887" fmla="*/ 1812296 w 9310410"/>
              <a:gd name="connsiteY887" fmla="*/ 2006968 h 5296383"/>
              <a:gd name="connsiteX888" fmla="*/ 1811696 w 9310410"/>
              <a:gd name="connsiteY888" fmla="*/ 2015358 h 5296383"/>
              <a:gd name="connsiteX889" fmla="*/ 1812296 w 9310410"/>
              <a:gd name="connsiteY889" fmla="*/ 2028542 h 5296383"/>
              <a:gd name="connsiteX890" fmla="*/ 1814693 w 9310410"/>
              <a:gd name="connsiteY890" fmla="*/ 2038730 h 5296383"/>
              <a:gd name="connsiteX891" fmla="*/ 1824281 w 9310410"/>
              <a:gd name="connsiteY891" fmla="*/ 2045322 h 5296383"/>
              <a:gd name="connsiteX892" fmla="*/ 1824281 w 9310410"/>
              <a:gd name="connsiteY892" fmla="*/ 2052513 h 5296383"/>
              <a:gd name="connsiteX893" fmla="*/ 1827877 w 9310410"/>
              <a:gd name="connsiteY893" fmla="*/ 2062701 h 5296383"/>
              <a:gd name="connsiteX894" fmla="*/ 1830873 w 9310410"/>
              <a:gd name="connsiteY894" fmla="*/ 2072889 h 5296383"/>
              <a:gd name="connsiteX895" fmla="*/ 1830274 w 9310410"/>
              <a:gd name="connsiteY895" fmla="*/ 2080080 h 5296383"/>
              <a:gd name="connsiteX896" fmla="*/ 1827877 w 9310410"/>
              <a:gd name="connsiteY896" fmla="*/ 2095661 h 5296383"/>
              <a:gd name="connsiteX897" fmla="*/ 1825480 w 9310410"/>
              <a:gd name="connsiteY897" fmla="*/ 2102253 h 5296383"/>
              <a:gd name="connsiteX898" fmla="*/ 1823682 w 9310410"/>
              <a:gd name="connsiteY898" fmla="*/ 2110643 h 5296383"/>
              <a:gd name="connsiteX899" fmla="*/ 1824281 w 9310410"/>
              <a:gd name="connsiteY899" fmla="*/ 2114239 h 5296383"/>
              <a:gd name="connsiteX900" fmla="*/ 1828476 w 9310410"/>
              <a:gd name="connsiteY900" fmla="*/ 2124426 h 5296383"/>
              <a:gd name="connsiteX901" fmla="*/ 1829075 w 9310410"/>
              <a:gd name="connsiteY901" fmla="*/ 2134015 h 5296383"/>
              <a:gd name="connsiteX902" fmla="*/ 1829674 w 9310410"/>
              <a:gd name="connsiteY902" fmla="*/ 2143603 h 5296383"/>
              <a:gd name="connsiteX903" fmla="*/ 1829674 w 9310410"/>
              <a:gd name="connsiteY903" fmla="*/ 2147199 h 5296383"/>
              <a:gd name="connsiteX904" fmla="*/ 1832671 w 9310410"/>
              <a:gd name="connsiteY904" fmla="*/ 2146599 h 5296383"/>
              <a:gd name="connsiteX905" fmla="*/ 1833270 w 9310410"/>
              <a:gd name="connsiteY905" fmla="*/ 2129820 h 5296383"/>
              <a:gd name="connsiteX906" fmla="*/ 1841061 w 9310410"/>
              <a:gd name="connsiteY906" fmla="*/ 2110643 h 5296383"/>
              <a:gd name="connsiteX907" fmla="*/ 1854245 w 9310410"/>
              <a:gd name="connsiteY907" fmla="*/ 2101654 h 5296383"/>
              <a:gd name="connsiteX908" fmla="*/ 1861436 w 9310410"/>
              <a:gd name="connsiteY908" fmla="*/ 2111841 h 5296383"/>
              <a:gd name="connsiteX909" fmla="*/ 1857241 w 9310410"/>
              <a:gd name="connsiteY909" fmla="*/ 2122629 h 5296383"/>
              <a:gd name="connsiteX910" fmla="*/ 1856642 w 9310410"/>
              <a:gd name="connsiteY910" fmla="*/ 2131018 h 5296383"/>
              <a:gd name="connsiteX911" fmla="*/ 1850649 w 9310410"/>
              <a:gd name="connsiteY911" fmla="*/ 2144202 h 5296383"/>
              <a:gd name="connsiteX912" fmla="*/ 1841061 w 9310410"/>
              <a:gd name="connsiteY912" fmla="*/ 2157386 h 5296383"/>
              <a:gd name="connsiteX913" fmla="*/ 1841061 w 9310410"/>
              <a:gd name="connsiteY913" fmla="*/ 2162780 h 5296383"/>
              <a:gd name="connsiteX914" fmla="*/ 1839263 w 9310410"/>
              <a:gd name="connsiteY914" fmla="*/ 2169971 h 5296383"/>
              <a:gd name="connsiteX915" fmla="*/ 1845855 w 9310410"/>
              <a:gd name="connsiteY915" fmla="*/ 2174166 h 5296383"/>
              <a:gd name="connsiteX916" fmla="*/ 1850649 w 9310410"/>
              <a:gd name="connsiteY916" fmla="*/ 2179560 h 5296383"/>
              <a:gd name="connsiteX917" fmla="*/ 1865032 w 9310410"/>
              <a:gd name="connsiteY917" fmla="*/ 2179560 h 5296383"/>
              <a:gd name="connsiteX918" fmla="*/ 1874620 w 9310410"/>
              <a:gd name="connsiteY918" fmla="*/ 2175964 h 5296383"/>
              <a:gd name="connsiteX919" fmla="*/ 1881811 w 9310410"/>
              <a:gd name="connsiteY919" fmla="*/ 2175365 h 5296383"/>
              <a:gd name="connsiteX920" fmla="*/ 1889602 w 9310410"/>
              <a:gd name="connsiteY920" fmla="*/ 2177762 h 5296383"/>
              <a:gd name="connsiteX921" fmla="*/ 1903385 w 9310410"/>
              <a:gd name="connsiteY921" fmla="*/ 2179560 h 5296383"/>
              <a:gd name="connsiteX922" fmla="*/ 1909977 w 9310410"/>
              <a:gd name="connsiteY922" fmla="*/ 2178960 h 5296383"/>
              <a:gd name="connsiteX923" fmla="*/ 1912374 w 9310410"/>
              <a:gd name="connsiteY923" fmla="*/ 2177162 h 5296383"/>
              <a:gd name="connsiteX924" fmla="*/ 1917768 w 9310410"/>
              <a:gd name="connsiteY924" fmla="*/ 2175365 h 5296383"/>
              <a:gd name="connsiteX925" fmla="*/ 1921363 w 9310410"/>
              <a:gd name="connsiteY925" fmla="*/ 2172967 h 5296383"/>
              <a:gd name="connsiteX926" fmla="*/ 1927955 w 9310410"/>
              <a:gd name="connsiteY926" fmla="*/ 2160982 h 5296383"/>
              <a:gd name="connsiteX927" fmla="*/ 1960316 w 9310410"/>
              <a:gd name="connsiteY927" fmla="*/ 2130419 h 5296383"/>
              <a:gd name="connsiteX928" fmla="*/ 1973500 w 9310410"/>
              <a:gd name="connsiteY928" fmla="*/ 2118434 h 5296383"/>
              <a:gd name="connsiteX929" fmla="*/ 1975897 w 9310410"/>
              <a:gd name="connsiteY929" fmla="*/ 2114239 h 5296383"/>
              <a:gd name="connsiteX930" fmla="*/ 1975897 w 9310410"/>
              <a:gd name="connsiteY930" fmla="*/ 2114838 h 5296383"/>
              <a:gd name="connsiteX931" fmla="*/ 1985486 w 9310410"/>
              <a:gd name="connsiteY931" fmla="*/ 2104051 h 5296383"/>
              <a:gd name="connsiteX932" fmla="*/ 1987883 w 9310410"/>
              <a:gd name="connsiteY932" fmla="*/ 2108246 h 5296383"/>
              <a:gd name="connsiteX933" fmla="*/ 1980092 w 9310410"/>
              <a:gd name="connsiteY933" fmla="*/ 2126224 h 5296383"/>
              <a:gd name="connsiteX934" fmla="*/ 1978894 w 9310410"/>
              <a:gd name="connsiteY934" fmla="*/ 2130419 h 5296383"/>
              <a:gd name="connsiteX935" fmla="*/ 1978894 w 9310410"/>
              <a:gd name="connsiteY935" fmla="*/ 2131018 h 5296383"/>
              <a:gd name="connsiteX936" fmla="*/ 1975298 w 9310410"/>
              <a:gd name="connsiteY936" fmla="*/ 2143004 h 5296383"/>
              <a:gd name="connsiteX937" fmla="*/ 1973500 w 9310410"/>
              <a:gd name="connsiteY937" fmla="*/ 2155589 h 5296383"/>
              <a:gd name="connsiteX938" fmla="*/ 1975897 w 9310410"/>
              <a:gd name="connsiteY938" fmla="*/ 2169971 h 5296383"/>
              <a:gd name="connsiteX939" fmla="*/ 1992677 w 9310410"/>
              <a:gd name="connsiteY939" fmla="*/ 2200534 h 5296383"/>
              <a:gd name="connsiteX940" fmla="*/ 2020244 w 9310410"/>
              <a:gd name="connsiteY940" fmla="*/ 2212520 h 5296383"/>
              <a:gd name="connsiteX941" fmla="*/ 2030431 w 9310410"/>
              <a:gd name="connsiteY941" fmla="*/ 2244880 h 5296383"/>
              <a:gd name="connsiteX942" fmla="*/ 2035825 w 9310410"/>
              <a:gd name="connsiteY942" fmla="*/ 2256267 h 5296383"/>
              <a:gd name="connsiteX943" fmla="*/ 2026836 w 9310410"/>
              <a:gd name="connsiteY943" fmla="*/ 2274844 h 5296383"/>
              <a:gd name="connsiteX944" fmla="*/ 2005861 w 9310410"/>
              <a:gd name="connsiteY944" fmla="*/ 2294620 h 5296383"/>
              <a:gd name="connsiteX945" fmla="*/ 1995673 w 9310410"/>
              <a:gd name="connsiteY945" fmla="*/ 2307804 h 5296383"/>
              <a:gd name="connsiteX946" fmla="*/ 1989081 w 9310410"/>
              <a:gd name="connsiteY946" fmla="*/ 2316793 h 5296383"/>
              <a:gd name="connsiteX947" fmla="*/ 1983688 w 9310410"/>
              <a:gd name="connsiteY947" fmla="*/ 2323985 h 5296383"/>
              <a:gd name="connsiteX948" fmla="*/ 1976497 w 9310410"/>
              <a:gd name="connsiteY948" fmla="*/ 2323985 h 5296383"/>
              <a:gd name="connsiteX949" fmla="*/ 1974699 w 9310410"/>
              <a:gd name="connsiteY949" fmla="*/ 2318591 h 5296383"/>
              <a:gd name="connsiteX950" fmla="*/ 1969904 w 9310410"/>
              <a:gd name="connsiteY950" fmla="*/ 2326981 h 5296383"/>
              <a:gd name="connsiteX951" fmla="*/ 1965710 w 9310410"/>
              <a:gd name="connsiteY951" fmla="*/ 2335371 h 5296383"/>
              <a:gd name="connsiteX952" fmla="*/ 1958518 w 9310410"/>
              <a:gd name="connsiteY952" fmla="*/ 2353349 h 5296383"/>
              <a:gd name="connsiteX953" fmla="*/ 1954923 w 9310410"/>
              <a:gd name="connsiteY953" fmla="*/ 2366533 h 5296383"/>
              <a:gd name="connsiteX954" fmla="*/ 1954923 w 9310410"/>
              <a:gd name="connsiteY954" fmla="*/ 2373724 h 5296383"/>
              <a:gd name="connsiteX955" fmla="*/ 1948331 w 9310410"/>
              <a:gd name="connsiteY955" fmla="*/ 2380916 h 5296383"/>
              <a:gd name="connsiteX956" fmla="*/ 1917768 w 9310410"/>
              <a:gd name="connsiteY956" fmla="*/ 2397096 h 5296383"/>
              <a:gd name="connsiteX957" fmla="*/ 1914771 w 9310410"/>
              <a:gd name="connsiteY957" fmla="*/ 2412677 h 5296383"/>
              <a:gd name="connsiteX958" fmla="*/ 1905782 w 9310410"/>
              <a:gd name="connsiteY958" fmla="*/ 2420468 h 5296383"/>
              <a:gd name="connsiteX959" fmla="*/ 1881212 w 9310410"/>
              <a:gd name="connsiteY959" fmla="*/ 2419868 h 5296383"/>
              <a:gd name="connsiteX960" fmla="*/ 1871624 w 9310410"/>
              <a:gd name="connsiteY960" fmla="*/ 2433052 h 5296383"/>
              <a:gd name="connsiteX961" fmla="*/ 1867429 w 9310410"/>
              <a:gd name="connsiteY961" fmla="*/ 2443839 h 5296383"/>
              <a:gd name="connsiteX962" fmla="*/ 1857840 w 9310410"/>
              <a:gd name="connsiteY962" fmla="*/ 2451031 h 5296383"/>
              <a:gd name="connsiteX963" fmla="*/ 1842259 w 9310410"/>
              <a:gd name="connsiteY963" fmla="*/ 2451630 h 5296383"/>
              <a:gd name="connsiteX964" fmla="*/ 1832071 w 9310410"/>
              <a:gd name="connsiteY964" fmla="*/ 2455226 h 5296383"/>
              <a:gd name="connsiteX965" fmla="*/ 1823682 w 9310410"/>
              <a:gd name="connsiteY965" fmla="*/ 2458821 h 5296383"/>
              <a:gd name="connsiteX966" fmla="*/ 1815292 w 9310410"/>
              <a:gd name="connsiteY966" fmla="*/ 2460020 h 5296383"/>
              <a:gd name="connsiteX967" fmla="*/ 1808700 w 9310410"/>
              <a:gd name="connsiteY967" fmla="*/ 2461218 h 5296383"/>
              <a:gd name="connsiteX968" fmla="*/ 1787725 w 9310410"/>
              <a:gd name="connsiteY968" fmla="*/ 2472604 h 5296383"/>
              <a:gd name="connsiteX969" fmla="*/ 1783530 w 9310410"/>
              <a:gd name="connsiteY969" fmla="*/ 2486388 h 5296383"/>
              <a:gd name="connsiteX970" fmla="*/ 1783530 w 9310410"/>
              <a:gd name="connsiteY970" fmla="*/ 2501370 h 5296383"/>
              <a:gd name="connsiteX971" fmla="*/ 1767949 w 9310410"/>
              <a:gd name="connsiteY971" fmla="*/ 2506763 h 5296383"/>
              <a:gd name="connsiteX972" fmla="*/ 1749372 w 9310410"/>
              <a:gd name="connsiteY972" fmla="*/ 2516951 h 5296383"/>
              <a:gd name="connsiteX973" fmla="*/ 1726599 w 9310410"/>
              <a:gd name="connsiteY973" fmla="*/ 2521745 h 5296383"/>
              <a:gd name="connsiteX974" fmla="*/ 1710419 w 9310410"/>
              <a:gd name="connsiteY974" fmla="*/ 2526539 h 5296383"/>
              <a:gd name="connsiteX975" fmla="*/ 1682852 w 9310410"/>
              <a:gd name="connsiteY975" fmla="*/ 2544517 h 5296383"/>
              <a:gd name="connsiteX976" fmla="*/ 1668470 w 9310410"/>
              <a:gd name="connsiteY976" fmla="*/ 2555304 h 5296383"/>
              <a:gd name="connsiteX977" fmla="*/ 1656484 w 9310410"/>
              <a:gd name="connsiteY977" fmla="*/ 2555304 h 5296383"/>
              <a:gd name="connsiteX978" fmla="*/ 1640903 w 9310410"/>
              <a:gd name="connsiteY978" fmla="*/ 2562496 h 5296383"/>
              <a:gd name="connsiteX979" fmla="*/ 1618131 w 9310410"/>
              <a:gd name="connsiteY979" fmla="*/ 2574481 h 5296383"/>
              <a:gd name="connsiteX980" fmla="*/ 1592362 w 9310410"/>
              <a:gd name="connsiteY980" fmla="*/ 2576878 h 5296383"/>
              <a:gd name="connsiteX981" fmla="*/ 1576182 w 9310410"/>
              <a:gd name="connsiteY981" fmla="*/ 2588864 h 5296383"/>
              <a:gd name="connsiteX982" fmla="*/ 1562398 w 9310410"/>
              <a:gd name="connsiteY982" fmla="*/ 2599051 h 5296383"/>
              <a:gd name="connsiteX983" fmla="*/ 1552810 w 9310410"/>
              <a:gd name="connsiteY983" fmla="*/ 2599651 h 5296383"/>
              <a:gd name="connsiteX984" fmla="*/ 1535431 w 9310410"/>
              <a:gd name="connsiteY984" fmla="*/ 2599051 h 5296383"/>
              <a:gd name="connsiteX985" fmla="*/ 1527041 w 9310410"/>
              <a:gd name="connsiteY985" fmla="*/ 2589463 h 5296383"/>
              <a:gd name="connsiteX986" fmla="*/ 1524644 w 9310410"/>
              <a:gd name="connsiteY986" fmla="*/ 2577477 h 5296383"/>
              <a:gd name="connsiteX987" fmla="*/ 1527041 w 9310410"/>
              <a:gd name="connsiteY987" fmla="*/ 2564293 h 5296383"/>
              <a:gd name="connsiteX988" fmla="*/ 1526442 w 9310410"/>
              <a:gd name="connsiteY988" fmla="*/ 2548712 h 5296383"/>
              <a:gd name="connsiteX989" fmla="*/ 1522247 w 9310410"/>
              <a:gd name="connsiteY989" fmla="*/ 2539124 h 5296383"/>
              <a:gd name="connsiteX990" fmla="*/ 1524644 w 9310410"/>
              <a:gd name="connsiteY990" fmla="*/ 2531333 h 5296383"/>
              <a:gd name="connsiteX991" fmla="*/ 1527041 w 9310410"/>
              <a:gd name="connsiteY991" fmla="*/ 2524142 h 5296383"/>
              <a:gd name="connsiteX992" fmla="*/ 1527640 w 9310410"/>
              <a:gd name="connsiteY992" fmla="*/ 2509760 h 5296383"/>
              <a:gd name="connsiteX993" fmla="*/ 1529438 w 9310410"/>
              <a:gd name="connsiteY993" fmla="*/ 2501969 h 5296383"/>
              <a:gd name="connsiteX994" fmla="*/ 1527041 w 9310410"/>
              <a:gd name="connsiteY994" fmla="*/ 2497774 h 5296383"/>
              <a:gd name="connsiteX995" fmla="*/ 1529438 w 9310410"/>
              <a:gd name="connsiteY995" fmla="*/ 2494778 h 5296383"/>
              <a:gd name="connsiteX996" fmla="*/ 1533633 w 9310410"/>
              <a:gd name="connsiteY996" fmla="*/ 2484590 h 5296383"/>
              <a:gd name="connsiteX997" fmla="*/ 1534232 w 9310410"/>
              <a:gd name="connsiteY997" fmla="*/ 2476200 h 5296383"/>
              <a:gd name="connsiteX998" fmla="*/ 1538427 w 9310410"/>
              <a:gd name="connsiteY998" fmla="*/ 2461218 h 5296383"/>
              <a:gd name="connsiteX999" fmla="*/ 1539027 w 9310410"/>
              <a:gd name="connsiteY999" fmla="*/ 2448633 h 5296383"/>
              <a:gd name="connsiteX1000" fmla="*/ 1537828 w 9310410"/>
              <a:gd name="connsiteY1000" fmla="*/ 2441442 h 5296383"/>
              <a:gd name="connsiteX1001" fmla="*/ 1534232 w 9310410"/>
              <a:gd name="connsiteY1001" fmla="*/ 2424063 h 5296383"/>
              <a:gd name="connsiteX1002" fmla="*/ 1530037 w 9310410"/>
              <a:gd name="connsiteY1002" fmla="*/ 2411478 h 5296383"/>
              <a:gd name="connsiteX1003" fmla="*/ 1528240 w 9310410"/>
              <a:gd name="connsiteY1003" fmla="*/ 2400092 h 5296383"/>
              <a:gd name="connsiteX1004" fmla="*/ 1521048 w 9310410"/>
              <a:gd name="connsiteY1004" fmla="*/ 2381515 h 5296383"/>
              <a:gd name="connsiteX1005" fmla="*/ 1516853 w 9310410"/>
              <a:gd name="connsiteY1005" fmla="*/ 2349154 h 5296383"/>
              <a:gd name="connsiteX1006" fmla="*/ 1515056 w 9310410"/>
              <a:gd name="connsiteY1006" fmla="*/ 2319190 h 5296383"/>
              <a:gd name="connsiteX1007" fmla="*/ 1509662 w 9310410"/>
              <a:gd name="connsiteY1007" fmla="*/ 2306605 h 5296383"/>
              <a:gd name="connsiteX1008" fmla="*/ 1502471 w 9310410"/>
              <a:gd name="connsiteY1008" fmla="*/ 2295819 h 5296383"/>
              <a:gd name="connsiteX1009" fmla="*/ 1495280 w 9310410"/>
              <a:gd name="connsiteY1009" fmla="*/ 2280837 h 5296383"/>
              <a:gd name="connsiteX1010" fmla="*/ 1492283 w 9310410"/>
              <a:gd name="connsiteY1010" fmla="*/ 2266454 h 5296383"/>
              <a:gd name="connsiteX1011" fmla="*/ 1493482 w 9310410"/>
              <a:gd name="connsiteY1011" fmla="*/ 2253869 h 5296383"/>
              <a:gd name="connsiteX1012" fmla="*/ 1496478 w 9310410"/>
              <a:gd name="connsiteY1012" fmla="*/ 2234693 h 5296383"/>
              <a:gd name="connsiteX1013" fmla="*/ 1497077 w 9310410"/>
              <a:gd name="connsiteY1013" fmla="*/ 2222707 h 5296383"/>
              <a:gd name="connsiteX1014" fmla="*/ 1499475 w 9310410"/>
              <a:gd name="connsiteY1014" fmla="*/ 2202332 h 5296383"/>
              <a:gd name="connsiteX1015" fmla="*/ 1500673 w 9310410"/>
              <a:gd name="connsiteY1015" fmla="*/ 2185552 h 5296383"/>
              <a:gd name="connsiteX1016" fmla="*/ 1501872 w 9310410"/>
              <a:gd name="connsiteY1016" fmla="*/ 2170570 h 5296383"/>
              <a:gd name="connsiteX1017" fmla="*/ 1497677 w 9310410"/>
              <a:gd name="connsiteY1017" fmla="*/ 2160383 h 5296383"/>
              <a:gd name="connsiteX1018" fmla="*/ 1495879 w 9310410"/>
              <a:gd name="connsiteY1018" fmla="*/ 2148397 h 5296383"/>
              <a:gd name="connsiteX1019" fmla="*/ 1488088 w 9310410"/>
              <a:gd name="connsiteY1019" fmla="*/ 2135812 h 5296383"/>
              <a:gd name="connsiteX1020" fmla="*/ 1480897 w 9310410"/>
              <a:gd name="connsiteY1020" fmla="*/ 2125625 h 5296383"/>
              <a:gd name="connsiteX1021" fmla="*/ 1483893 w 9310410"/>
              <a:gd name="connsiteY1021" fmla="*/ 2107647 h 5296383"/>
              <a:gd name="connsiteX1022" fmla="*/ 1482096 w 9310410"/>
              <a:gd name="connsiteY1022" fmla="*/ 2087870 h 5296383"/>
              <a:gd name="connsiteX1023" fmla="*/ 1480298 w 9310410"/>
              <a:gd name="connsiteY1023" fmla="*/ 2071690 h 5296383"/>
              <a:gd name="connsiteX1024" fmla="*/ 1480298 w 9310410"/>
              <a:gd name="connsiteY1024" fmla="*/ 2062701 h 5296383"/>
              <a:gd name="connsiteX1025" fmla="*/ 1477901 w 9310410"/>
              <a:gd name="connsiteY1025" fmla="*/ 2055510 h 5296383"/>
              <a:gd name="connsiteX1026" fmla="*/ 1478500 w 9310410"/>
              <a:gd name="connsiteY1026" fmla="*/ 2049517 h 5296383"/>
              <a:gd name="connsiteX1027" fmla="*/ 1477901 w 9310410"/>
              <a:gd name="connsiteY1027" fmla="*/ 2039929 h 5296383"/>
              <a:gd name="connsiteX1028" fmla="*/ 1477301 w 9310410"/>
              <a:gd name="connsiteY1028" fmla="*/ 2032138 h 5296383"/>
              <a:gd name="connsiteX1029" fmla="*/ 1477301 w 9310410"/>
              <a:gd name="connsiteY1029" fmla="*/ 2023748 h 5296383"/>
              <a:gd name="connsiteX1030" fmla="*/ 1477301 w 9310410"/>
              <a:gd name="connsiteY1030" fmla="*/ 2007568 h 5296383"/>
              <a:gd name="connsiteX1031" fmla="*/ 1474904 w 9310410"/>
              <a:gd name="connsiteY1031" fmla="*/ 1989590 h 5296383"/>
              <a:gd name="connsiteX1032" fmla="*/ 1469511 w 9310410"/>
              <a:gd name="connsiteY1032" fmla="*/ 1985395 h 5296383"/>
              <a:gd name="connsiteX1033" fmla="*/ 1464117 w 9310410"/>
              <a:gd name="connsiteY1033" fmla="*/ 1982997 h 5296383"/>
              <a:gd name="connsiteX1034" fmla="*/ 1462320 w 9310410"/>
              <a:gd name="connsiteY1034" fmla="*/ 1979402 h 5296383"/>
              <a:gd name="connsiteX1035" fmla="*/ 1467713 w 9310410"/>
              <a:gd name="connsiteY1035" fmla="*/ 1967417 h 5296383"/>
              <a:gd name="connsiteX1036" fmla="*/ 1484493 w 9310410"/>
              <a:gd name="connsiteY1036" fmla="*/ 1936854 h 5296383"/>
              <a:gd name="connsiteX1037" fmla="*/ 1488688 w 9310410"/>
              <a:gd name="connsiteY1037" fmla="*/ 1928464 h 5296383"/>
              <a:gd name="connsiteX1038" fmla="*/ 1488688 w 9310410"/>
              <a:gd name="connsiteY1038" fmla="*/ 1927265 h 5296383"/>
              <a:gd name="connsiteX1039" fmla="*/ 1488688 w 9310410"/>
              <a:gd name="connsiteY1039" fmla="*/ 1927265 h 5296383"/>
              <a:gd name="connsiteX1040" fmla="*/ 1488688 w 9310410"/>
              <a:gd name="connsiteY1040" fmla="*/ 1927265 h 5296383"/>
              <a:gd name="connsiteX1041" fmla="*/ 1489287 w 9310410"/>
              <a:gd name="connsiteY1041" fmla="*/ 1927265 h 5296383"/>
              <a:gd name="connsiteX1042" fmla="*/ 1492283 w 9310410"/>
              <a:gd name="connsiteY1042" fmla="*/ 1922471 h 5296383"/>
              <a:gd name="connsiteX1043" fmla="*/ 1486890 w 9310410"/>
              <a:gd name="connsiteY1043" fmla="*/ 1927265 h 5296383"/>
              <a:gd name="connsiteX1044" fmla="*/ 1486890 w 9310410"/>
              <a:gd name="connsiteY1044" fmla="*/ 1928464 h 5296383"/>
              <a:gd name="connsiteX1045" fmla="*/ 1478500 w 9310410"/>
              <a:gd name="connsiteY1045" fmla="*/ 1938651 h 5296383"/>
              <a:gd name="connsiteX1046" fmla="*/ 1465316 w 9310410"/>
              <a:gd name="connsiteY1046" fmla="*/ 1959027 h 5296383"/>
              <a:gd name="connsiteX1047" fmla="*/ 1461121 w 9310410"/>
              <a:gd name="connsiteY1047" fmla="*/ 1972211 h 5296383"/>
              <a:gd name="connsiteX1048" fmla="*/ 1453930 w 9310410"/>
              <a:gd name="connsiteY1048" fmla="*/ 1985395 h 5296383"/>
              <a:gd name="connsiteX1049" fmla="*/ 1444941 w 9310410"/>
              <a:gd name="connsiteY1049" fmla="*/ 1991387 h 5296383"/>
              <a:gd name="connsiteX1050" fmla="*/ 1440746 w 9310410"/>
              <a:gd name="connsiteY1050" fmla="*/ 1976406 h 5296383"/>
              <a:gd name="connsiteX1051" fmla="*/ 1437749 w 9310410"/>
              <a:gd name="connsiteY1051" fmla="*/ 1956629 h 5296383"/>
              <a:gd name="connsiteX1052" fmla="*/ 1438349 w 9310410"/>
              <a:gd name="connsiteY1052" fmla="*/ 1933857 h 5296383"/>
              <a:gd name="connsiteX1053" fmla="*/ 1433554 w 9310410"/>
              <a:gd name="connsiteY1053" fmla="*/ 1923070 h 5296383"/>
              <a:gd name="connsiteX1054" fmla="*/ 1438948 w 9310410"/>
              <a:gd name="connsiteY1054" fmla="*/ 1909886 h 5296383"/>
              <a:gd name="connsiteX1055" fmla="*/ 1441345 w 9310410"/>
              <a:gd name="connsiteY1055" fmla="*/ 1888912 h 5296383"/>
              <a:gd name="connsiteX1056" fmla="*/ 1434154 w 9310410"/>
              <a:gd name="connsiteY1056" fmla="*/ 1897301 h 5296383"/>
              <a:gd name="connsiteX1057" fmla="*/ 1429959 w 9310410"/>
              <a:gd name="connsiteY1057" fmla="*/ 1917077 h 5296383"/>
              <a:gd name="connsiteX1058" fmla="*/ 1427562 w 9310410"/>
              <a:gd name="connsiteY1058" fmla="*/ 1925467 h 5296383"/>
              <a:gd name="connsiteX1059" fmla="*/ 1428161 w 9310410"/>
              <a:gd name="connsiteY1059" fmla="*/ 1942247 h 5296383"/>
              <a:gd name="connsiteX1060" fmla="*/ 1425165 w 9310410"/>
              <a:gd name="connsiteY1060" fmla="*/ 1959027 h 5296383"/>
              <a:gd name="connsiteX1061" fmla="*/ 1432356 w 9310410"/>
              <a:gd name="connsiteY1061" fmla="*/ 1980001 h 5296383"/>
              <a:gd name="connsiteX1062" fmla="*/ 1431757 w 9310410"/>
              <a:gd name="connsiteY1062" fmla="*/ 1988391 h 5296383"/>
              <a:gd name="connsiteX1063" fmla="*/ 1429360 w 9310410"/>
              <a:gd name="connsiteY1063" fmla="*/ 1990788 h 5296383"/>
              <a:gd name="connsiteX1064" fmla="*/ 1428760 w 9310410"/>
              <a:gd name="connsiteY1064" fmla="*/ 1996182 h 5296383"/>
              <a:gd name="connsiteX1065" fmla="*/ 1428760 w 9310410"/>
              <a:gd name="connsiteY1065" fmla="*/ 2000976 h 5296383"/>
              <a:gd name="connsiteX1066" fmla="*/ 1430558 w 9310410"/>
              <a:gd name="connsiteY1066" fmla="*/ 2012362 h 5296383"/>
              <a:gd name="connsiteX1067" fmla="*/ 1428161 w 9310410"/>
              <a:gd name="connsiteY1067" fmla="*/ 2029741 h 5296383"/>
              <a:gd name="connsiteX1068" fmla="*/ 1427562 w 9310410"/>
              <a:gd name="connsiteY1068" fmla="*/ 2045921 h 5296383"/>
              <a:gd name="connsiteX1069" fmla="*/ 1428161 w 9310410"/>
              <a:gd name="connsiteY1069" fmla="*/ 2062701 h 5296383"/>
              <a:gd name="connsiteX1070" fmla="*/ 1429959 w 9310410"/>
              <a:gd name="connsiteY1070" fmla="*/ 2090268 h 5296383"/>
              <a:gd name="connsiteX1071" fmla="*/ 1429360 w 9310410"/>
              <a:gd name="connsiteY1071" fmla="*/ 2123827 h 5296383"/>
              <a:gd name="connsiteX1072" fmla="*/ 1429959 w 9310410"/>
              <a:gd name="connsiteY1072" fmla="*/ 2132217 h 5296383"/>
              <a:gd name="connsiteX1073" fmla="*/ 1432955 w 9310410"/>
              <a:gd name="connsiteY1073" fmla="*/ 2139408 h 5296383"/>
              <a:gd name="connsiteX1074" fmla="*/ 1430558 w 9310410"/>
              <a:gd name="connsiteY1074" fmla="*/ 2143603 h 5296383"/>
              <a:gd name="connsiteX1075" fmla="*/ 1425764 w 9310410"/>
              <a:gd name="connsiteY1075" fmla="*/ 2148997 h 5296383"/>
              <a:gd name="connsiteX1076" fmla="*/ 1423367 w 9310410"/>
              <a:gd name="connsiteY1076" fmla="*/ 2174765 h 5296383"/>
              <a:gd name="connsiteX1077" fmla="*/ 1428760 w 9310410"/>
              <a:gd name="connsiteY1077" fmla="*/ 2192144 h 5296383"/>
              <a:gd name="connsiteX1078" fmla="*/ 1435951 w 9310410"/>
              <a:gd name="connsiteY1078" fmla="*/ 2201133 h 5296383"/>
              <a:gd name="connsiteX1079" fmla="*/ 1436551 w 9310410"/>
              <a:gd name="connsiteY1079" fmla="*/ 2213119 h 5296383"/>
              <a:gd name="connsiteX1080" fmla="*/ 1438349 w 9310410"/>
              <a:gd name="connsiteY1080" fmla="*/ 2225104 h 5296383"/>
              <a:gd name="connsiteX1081" fmla="*/ 1438948 w 9310410"/>
              <a:gd name="connsiteY1081" fmla="*/ 2250873 h 5296383"/>
              <a:gd name="connsiteX1082" fmla="*/ 1436551 w 9310410"/>
              <a:gd name="connsiteY1082" fmla="*/ 2255667 h 5296383"/>
              <a:gd name="connsiteX1083" fmla="*/ 1435352 w 9310410"/>
              <a:gd name="connsiteY1083" fmla="*/ 2270649 h 5296383"/>
              <a:gd name="connsiteX1084" fmla="*/ 1431757 w 9310410"/>
              <a:gd name="connsiteY1084" fmla="*/ 2287429 h 5296383"/>
              <a:gd name="connsiteX1085" fmla="*/ 1428760 w 9310410"/>
              <a:gd name="connsiteY1085" fmla="*/ 2303609 h 5296383"/>
              <a:gd name="connsiteX1086" fmla="*/ 1426962 w 9310410"/>
              <a:gd name="connsiteY1086" fmla="*/ 2328179 h 5296383"/>
              <a:gd name="connsiteX1087" fmla="*/ 1427562 w 9310410"/>
              <a:gd name="connsiteY1087" fmla="*/ 2345558 h 5296383"/>
              <a:gd name="connsiteX1088" fmla="*/ 1431757 w 9310410"/>
              <a:gd name="connsiteY1088" fmla="*/ 2356945 h 5296383"/>
              <a:gd name="connsiteX1089" fmla="*/ 1438948 w 9310410"/>
              <a:gd name="connsiteY1089" fmla="*/ 2369529 h 5296383"/>
              <a:gd name="connsiteX1090" fmla="*/ 1443143 w 9310410"/>
              <a:gd name="connsiteY1090" fmla="*/ 2375522 h 5296383"/>
              <a:gd name="connsiteX1091" fmla="*/ 1443143 w 9310410"/>
              <a:gd name="connsiteY1091" fmla="*/ 2375522 h 5296383"/>
              <a:gd name="connsiteX1092" fmla="*/ 1446738 w 9310410"/>
              <a:gd name="connsiteY1092" fmla="*/ 2389305 h 5296383"/>
              <a:gd name="connsiteX1093" fmla="*/ 1446139 w 9310410"/>
              <a:gd name="connsiteY1093" fmla="*/ 2415673 h 5296383"/>
              <a:gd name="connsiteX1094" fmla="*/ 1446738 w 9310410"/>
              <a:gd name="connsiteY1094" fmla="*/ 2446236 h 5296383"/>
              <a:gd name="connsiteX1095" fmla="*/ 1444341 w 9310410"/>
              <a:gd name="connsiteY1095" fmla="*/ 2463615 h 5296383"/>
              <a:gd name="connsiteX1096" fmla="*/ 1443742 w 9310410"/>
              <a:gd name="connsiteY1096" fmla="*/ 2476799 h 5296383"/>
              <a:gd name="connsiteX1097" fmla="*/ 1447937 w 9310410"/>
              <a:gd name="connsiteY1097" fmla="*/ 2486987 h 5296383"/>
              <a:gd name="connsiteX1098" fmla="*/ 1452731 w 9310410"/>
              <a:gd name="connsiteY1098" fmla="*/ 2488785 h 5296383"/>
              <a:gd name="connsiteX1099" fmla="*/ 1455128 w 9310410"/>
              <a:gd name="connsiteY1099" fmla="*/ 2483391 h 5296383"/>
              <a:gd name="connsiteX1100" fmla="*/ 1459323 w 9310410"/>
              <a:gd name="connsiteY1100" fmla="*/ 2495377 h 5296383"/>
              <a:gd name="connsiteX1101" fmla="*/ 1468312 w 9310410"/>
              <a:gd name="connsiteY1101" fmla="*/ 2506763 h 5296383"/>
              <a:gd name="connsiteX1102" fmla="*/ 1475504 w 9310410"/>
              <a:gd name="connsiteY1102" fmla="*/ 2516951 h 5296383"/>
              <a:gd name="connsiteX1103" fmla="*/ 1480897 w 9310410"/>
              <a:gd name="connsiteY1103" fmla="*/ 2525340 h 5296383"/>
              <a:gd name="connsiteX1104" fmla="*/ 1485092 w 9310410"/>
              <a:gd name="connsiteY1104" fmla="*/ 2539124 h 5296383"/>
              <a:gd name="connsiteX1105" fmla="*/ 1497677 w 9310410"/>
              <a:gd name="connsiteY1105" fmla="*/ 2556503 h 5296383"/>
              <a:gd name="connsiteX1106" fmla="*/ 1500673 w 9310410"/>
              <a:gd name="connsiteY1106" fmla="*/ 2567290 h 5296383"/>
              <a:gd name="connsiteX1107" fmla="*/ 1504868 w 9310410"/>
              <a:gd name="connsiteY1107" fmla="*/ 2580474 h 5296383"/>
              <a:gd name="connsiteX1108" fmla="*/ 1509662 w 9310410"/>
              <a:gd name="connsiteY1108" fmla="*/ 2584669 h 5296383"/>
              <a:gd name="connsiteX1109" fmla="*/ 1516853 w 9310410"/>
              <a:gd name="connsiteY1109" fmla="*/ 2595456 h 5296383"/>
              <a:gd name="connsiteX1110" fmla="*/ 1520449 w 9310410"/>
              <a:gd name="connsiteY1110" fmla="*/ 2602048 h 5296383"/>
              <a:gd name="connsiteX1111" fmla="*/ 1522846 w 9310410"/>
              <a:gd name="connsiteY1111" fmla="*/ 2614632 h 5296383"/>
              <a:gd name="connsiteX1112" fmla="*/ 1514456 w 9310410"/>
              <a:gd name="connsiteY1112" fmla="*/ 2631412 h 5296383"/>
              <a:gd name="connsiteX1113" fmla="*/ 1497677 w 9310410"/>
              <a:gd name="connsiteY1113" fmla="*/ 2637405 h 5296383"/>
              <a:gd name="connsiteX1114" fmla="*/ 1504269 w 9310410"/>
              <a:gd name="connsiteY1114" fmla="*/ 2639203 h 5296383"/>
              <a:gd name="connsiteX1115" fmla="*/ 1516853 w 9310410"/>
              <a:gd name="connsiteY1115" fmla="*/ 2639802 h 5296383"/>
              <a:gd name="connsiteX1116" fmla="*/ 1518651 w 9310410"/>
              <a:gd name="connsiteY1116" fmla="*/ 2647593 h 5296383"/>
              <a:gd name="connsiteX1117" fmla="*/ 1518651 w 9310410"/>
              <a:gd name="connsiteY1117" fmla="*/ 2648791 h 5296383"/>
              <a:gd name="connsiteX1118" fmla="*/ 1521048 w 9310410"/>
              <a:gd name="connsiteY1118" fmla="*/ 2658979 h 5296383"/>
              <a:gd name="connsiteX1119" fmla="*/ 1527640 w 9310410"/>
              <a:gd name="connsiteY1119" fmla="*/ 2676358 h 5296383"/>
              <a:gd name="connsiteX1120" fmla="*/ 1546817 w 9310410"/>
              <a:gd name="connsiteY1120" fmla="*/ 2688942 h 5296383"/>
              <a:gd name="connsiteX1121" fmla="*/ 1555207 w 9310410"/>
              <a:gd name="connsiteY1121" fmla="*/ 2688343 h 5296383"/>
              <a:gd name="connsiteX1122" fmla="*/ 1563597 w 9310410"/>
              <a:gd name="connsiteY1122" fmla="*/ 2682950 h 5296383"/>
              <a:gd name="connsiteX1123" fmla="*/ 1570788 w 9310410"/>
              <a:gd name="connsiteY1123" fmla="*/ 2680553 h 5296383"/>
              <a:gd name="connsiteX1124" fmla="*/ 1582774 w 9310410"/>
              <a:gd name="connsiteY1124" fmla="*/ 2678155 h 5296383"/>
              <a:gd name="connsiteX1125" fmla="*/ 1589965 w 9310410"/>
              <a:gd name="connsiteY1125" fmla="*/ 2682350 h 5296383"/>
              <a:gd name="connsiteX1126" fmla="*/ 1603149 w 9310410"/>
              <a:gd name="connsiteY1126" fmla="*/ 2675159 h 5296383"/>
              <a:gd name="connsiteX1127" fmla="*/ 1622925 w 9310410"/>
              <a:gd name="connsiteY1127" fmla="*/ 2662574 h 5296383"/>
              <a:gd name="connsiteX1128" fmla="*/ 1641502 w 9310410"/>
              <a:gd name="connsiteY1128" fmla="*/ 2664971 h 5296383"/>
              <a:gd name="connsiteX1129" fmla="*/ 1656484 w 9310410"/>
              <a:gd name="connsiteY1129" fmla="*/ 2661975 h 5296383"/>
              <a:gd name="connsiteX1130" fmla="*/ 1676260 w 9310410"/>
              <a:gd name="connsiteY1130" fmla="*/ 2660776 h 5296383"/>
              <a:gd name="connsiteX1131" fmla="*/ 1691242 w 9310410"/>
              <a:gd name="connsiteY1131" fmla="*/ 2656582 h 5296383"/>
              <a:gd name="connsiteX1132" fmla="*/ 1708022 w 9310410"/>
              <a:gd name="connsiteY1132" fmla="*/ 2646394 h 5296383"/>
              <a:gd name="connsiteX1133" fmla="*/ 1721206 w 9310410"/>
              <a:gd name="connsiteY1133" fmla="*/ 2638603 h 5296383"/>
              <a:gd name="connsiteX1134" fmla="*/ 1727798 w 9310410"/>
              <a:gd name="connsiteY1134" fmla="*/ 2639203 h 5296383"/>
              <a:gd name="connsiteX1135" fmla="*/ 1733191 w 9310410"/>
              <a:gd name="connsiteY1135" fmla="*/ 2642798 h 5296383"/>
              <a:gd name="connsiteX1136" fmla="*/ 1725401 w 9310410"/>
              <a:gd name="connsiteY1136" fmla="*/ 2662574 h 5296383"/>
              <a:gd name="connsiteX1137" fmla="*/ 1727798 w 9310410"/>
              <a:gd name="connsiteY1137" fmla="*/ 2669766 h 5296383"/>
              <a:gd name="connsiteX1138" fmla="*/ 1724801 w 9310410"/>
              <a:gd name="connsiteY1138" fmla="*/ 2682350 h 5296383"/>
              <a:gd name="connsiteX1139" fmla="*/ 1725401 w 9310410"/>
              <a:gd name="connsiteY1139" fmla="*/ 2687744 h 5296383"/>
              <a:gd name="connsiteX1140" fmla="*/ 1718209 w 9310410"/>
              <a:gd name="connsiteY1140" fmla="*/ 2693137 h 5296383"/>
              <a:gd name="connsiteX1141" fmla="*/ 1711018 w 9310410"/>
              <a:gd name="connsiteY1141" fmla="*/ 2706321 h 5296383"/>
              <a:gd name="connsiteX1142" fmla="*/ 1708022 w 9310410"/>
              <a:gd name="connsiteY1142" fmla="*/ 2723700 h 5296383"/>
              <a:gd name="connsiteX1143" fmla="*/ 1705026 w 9310410"/>
              <a:gd name="connsiteY1143" fmla="*/ 2736884 h 5296383"/>
              <a:gd name="connsiteX1144" fmla="*/ 1694238 w 9310410"/>
              <a:gd name="connsiteY1144" fmla="*/ 2754263 h 5296383"/>
              <a:gd name="connsiteX1145" fmla="*/ 1685849 w 9310410"/>
              <a:gd name="connsiteY1145" fmla="*/ 2770444 h 5296383"/>
              <a:gd name="connsiteX1146" fmla="*/ 1678658 w 9310410"/>
              <a:gd name="connsiteY1146" fmla="*/ 2780631 h 5296383"/>
              <a:gd name="connsiteX1147" fmla="*/ 1673863 w 9310410"/>
              <a:gd name="connsiteY1147" fmla="*/ 2791418 h 5296383"/>
              <a:gd name="connsiteX1148" fmla="*/ 1671466 w 9310410"/>
              <a:gd name="connsiteY1148" fmla="*/ 2798609 h 5296383"/>
              <a:gd name="connsiteX1149" fmla="*/ 1665473 w 9310410"/>
              <a:gd name="connsiteY1149" fmla="*/ 2808797 h 5296383"/>
              <a:gd name="connsiteX1150" fmla="*/ 1655286 w 9310410"/>
              <a:gd name="connsiteY1150" fmla="*/ 2823180 h 5296383"/>
              <a:gd name="connsiteX1151" fmla="*/ 1646896 w 9310410"/>
              <a:gd name="connsiteY1151" fmla="*/ 2848948 h 5296383"/>
              <a:gd name="connsiteX1152" fmla="*/ 1644499 w 9310410"/>
              <a:gd name="connsiteY1152" fmla="*/ 2860335 h 5296383"/>
              <a:gd name="connsiteX1153" fmla="*/ 1639705 w 9310410"/>
              <a:gd name="connsiteY1153" fmla="*/ 2876515 h 5296383"/>
              <a:gd name="connsiteX1154" fmla="*/ 1628918 w 9310410"/>
              <a:gd name="connsiteY1154" fmla="*/ 2897490 h 5296383"/>
              <a:gd name="connsiteX1155" fmla="*/ 1610939 w 9310410"/>
              <a:gd name="connsiteY1155" fmla="*/ 2926255 h 5296383"/>
              <a:gd name="connsiteX1156" fmla="*/ 1588167 w 9310410"/>
              <a:gd name="connsiteY1156" fmla="*/ 2965208 h 5296383"/>
              <a:gd name="connsiteX1157" fmla="*/ 1561799 w 9310410"/>
              <a:gd name="connsiteY1157" fmla="*/ 2997568 h 5296383"/>
              <a:gd name="connsiteX1158" fmla="*/ 1531835 w 9310410"/>
              <a:gd name="connsiteY1158" fmla="*/ 3017944 h 5296383"/>
              <a:gd name="connsiteX1159" fmla="*/ 1513857 w 9310410"/>
              <a:gd name="connsiteY1159" fmla="*/ 3038918 h 5296383"/>
              <a:gd name="connsiteX1160" fmla="*/ 1495280 w 9310410"/>
              <a:gd name="connsiteY1160" fmla="*/ 3058694 h 5296383"/>
              <a:gd name="connsiteX1161" fmla="*/ 1479699 w 9310410"/>
              <a:gd name="connsiteY1161" fmla="*/ 3084463 h 5296383"/>
              <a:gd name="connsiteX1162" fmla="*/ 1465316 w 9310410"/>
              <a:gd name="connsiteY1162" fmla="*/ 3101842 h 5296383"/>
              <a:gd name="connsiteX1163" fmla="*/ 1460522 w 9310410"/>
              <a:gd name="connsiteY1163" fmla="*/ 3106636 h 5296383"/>
              <a:gd name="connsiteX1164" fmla="*/ 1453330 w 9310410"/>
              <a:gd name="connsiteY1164" fmla="*/ 3123416 h 5296383"/>
              <a:gd name="connsiteX1165" fmla="*/ 1446139 w 9310410"/>
              <a:gd name="connsiteY1165" fmla="*/ 3138398 h 5296383"/>
              <a:gd name="connsiteX1166" fmla="*/ 1441944 w 9310410"/>
              <a:gd name="connsiteY1166" fmla="*/ 3142593 h 5296383"/>
              <a:gd name="connsiteX1167" fmla="*/ 1438349 w 9310410"/>
              <a:gd name="connsiteY1167" fmla="*/ 3158174 h 5296383"/>
              <a:gd name="connsiteX1168" fmla="*/ 1421569 w 9310410"/>
              <a:gd name="connsiteY1168" fmla="*/ 3174954 h 5296383"/>
              <a:gd name="connsiteX1169" fmla="*/ 1417374 w 9310410"/>
              <a:gd name="connsiteY1169" fmla="*/ 3181545 h 5296383"/>
              <a:gd name="connsiteX1170" fmla="*/ 1411981 w 9310410"/>
              <a:gd name="connsiteY1170" fmla="*/ 3196527 h 5296383"/>
              <a:gd name="connsiteX1171" fmla="*/ 1404789 w 9310410"/>
              <a:gd name="connsiteY1171" fmla="*/ 3199524 h 5296383"/>
              <a:gd name="connsiteX1172" fmla="*/ 1401194 w 9310410"/>
              <a:gd name="connsiteY1172" fmla="*/ 3207314 h 5296383"/>
              <a:gd name="connsiteX1173" fmla="*/ 1401793 w 9310410"/>
              <a:gd name="connsiteY1173" fmla="*/ 3214506 h 5296383"/>
              <a:gd name="connsiteX1174" fmla="*/ 1397598 w 9310410"/>
              <a:gd name="connsiteY1174" fmla="*/ 3222896 h 5296383"/>
              <a:gd name="connsiteX1175" fmla="*/ 1393403 w 9310410"/>
              <a:gd name="connsiteY1175" fmla="*/ 3228888 h 5296383"/>
              <a:gd name="connsiteX1176" fmla="*/ 1389208 w 9310410"/>
              <a:gd name="connsiteY1176" fmla="*/ 3257653 h 5296383"/>
              <a:gd name="connsiteX1177" fmla="*/ 1385013 w 9310410"/>
              <a:gd name="connsiteY1177" fmla="*/ 3275032 h 5296383"/>
              <a:gd name="connsiteX1178" fmla="*/ 1380219 w 9310410"/>
              <a:gd name="connsiteY1178" fmla="*/ 3282223 h 5296383"/>
              <a:gd name="connsiteX1179" fmla="*/ 1379020 w 9310410"/>
              <a:gd name="connsiteY1179" fmla="*/ 3281025 h 5296383"/>
              <a:gd name="connsiteX1180" fmla="*/ 1377822 w 9310410"/>
              <a:gd name="connsiteY1180" fmla="*/ 3296606 h 5296383"/>
              <a:gd name="connsiteX1181" fmla="*/ 1372429 w 9310410"/>
              <a:gd name="connsiteY1181" fmla="*/ 3331364 h 5296383"/>
              <a:gd name="connsiteX1182" fmla="*/ 1390407 w 9310410"/>
              <a:gd name="connsiteY1182" fmla="*/ 3361328 h 5296383"/>
              <a:gd name="connsiteX1183" fmla="*/ 1395800 w 9310410"/>
              <a:gd name="connsiteY1183" fmla="*/ 3379306 h 5296383"/>
              <a:gd name="connsiteX1184" fmla="*/ 1395201 w 9310410"/>
              <a:gd name="connsiteY1184" fmla="*/ 3397284 h 5296383"/>
              <a:gd name="connsiteX1185" fmla="*/ 1396399 w 9310410"/>
              <a:gd name="connsiteY1185" fmla="*/ 3408071 h 5296383"/>
              <a:gd name="connsiteX1186" fmla="*/ 1396999 w 9310410"/>
              <a:gd name="connsiteY1186" fmla="*/ 3415262 h 5296383"/>
              <a:gd name="connsiteX1187" fmla="*/ 1396999 w 9310410"/>
              <a:gd name="connsiteY1187" fmla="*/ 3423652 h 5296383"/>
              <a:gd name="connsiteX1188" fmla="*/ 1404190 w 9310410"/>
              <a:gd name="connsiteY1188" fmla="*/ 3439233 h 5296383"/>
              <a:gd name="connsiteX1189" fmla="*/ 1405389 w 9310410"/>
              <a:gd name="connsiteY1189" fmla="*/ 3448822 h 5296383"/>
              <a:gd name="connsiteX1190" fmla="*/ 1405389 w 9310410"/>
              <a:gd name="connsiteY1190" fmla="*/ 3454215 h 5296383"/>
              <a:gd name="connsiteX1191" fmla="*/ 1411381 w 9310410"/>
              <a:gd name="connsiteY1191" fmla="*/ 3465002 h 5296383"/>
              <a:gd name="connsiteX1192" fmla="*/ 1410782 w 9310410"/>
              <a:gd name="connsiteY1192" fmla="*/ 3470396 h 5296383"/>
              <a:gd name="connsiteX1193" fmla="*/ 1413179 w 9310410"/>
              <a:gd name="connsiteY1193" fmla="*/ 3483580 h 5296383"/>
              <a:gd name="connsiteX1194" fmla="*/ 1421569 w 9310410"/>
              <a:gd name="connsiteY1194" fmla="*/ 3495565 h 5296383"/>
              <a:gd name="connsiteX1195" fmla="*/ 1431157 w 9310410"/>
              <a:gd name="connsiteY1195" fmla="*/ 3502157 h 5296383"/>
              <a:gd name="connsiteX1196" fmla="*/ 1437150 w 9310410"/>
              <a:gd name="connsiteY1196" fmla="*/ 3504554 h 5296383"/>
              <a:gd name="connsiteX1197" fmla="*/ 1438948 w 9310410"/>
              <a:gd name="connsiteY1197" fmla="*/ 3511146 h 5296383"/>
              <a:gd name="connsiteX1198" fmla="*/ 1439547 w 9310410"/>
              <a:gd name="connsiteY1198" fmla="*/ 3515341 h 5296383"/>
              <a:gd name="connsiteX1199" fmla="*/ 1436551 w 9310410"/>
              <a:gd name="connsiteY1199" fmla="*/ 3518937 h 5296383"/>
              <a:gd name="connsiteX1200" fmla="*/ 1428161 w 9310410"/>
              <a:gd name="connsiteY1200" fmla="*/ 3527327 h 5296383"/>
              <a:gd name="connsiteX1201" fmla="*/ 1436551 w 9310410"/>
              <a:gd name="connsiteY1201" fmla="*/ 3518937 h 5296383"/>
              <a:gd name="connsiteX1202" fmla="*/ 1440746 w 9310410"/>
              <a:gd name="connsiteY1202" fmla="*/ 3515940 h 5296383"/>
              <a:gd name="connsiteX1203" fmla="*/ 1441345 w 9310410"/>
              <a:gd name="connsiteY1203" fmla="*/ 3523132 h 5296383"/>
              <a:gd name="connsiteX1204" fmla="*/ 1445540 w 9310410"/>
              <a:gd name="connsiteY1204" fmla="*/ 3532121 h 5296383"/>
              <a:gd name="connsiteX1205" fmla="*/ 1444341 w 9310410"/>
              <a:gd name="connsiteY1205" fmla="*/ 3543507 h 5296383"/>
              <a:gd name="connsiteX1206" fmla="*/ 1442544 w 9310410"/>
              <a:gd name="connsiteY1206" fmla="*/ 3546503 h 5296383"/>
              <a:gd name="connsiteX1207" fmla="*/ 1447937 w 9310410"/>
              <a:gd name="connsiteY1207" fmla="*/ 3559688 h 5296383"/>
              <a:gd name="connsiteX1208" fmla="*/ 1450334 w 9310410"/>
              <a:gd name="connsiteY1208" fmla="*/ 3575868 h 5296383"/>
              <a:gd name="connsiteX1209" fmla="*/ 1450334 w 9310410"/>
              <a:gd name="connsiteY1209" fmla="*/ 3583059 h 5296383"/>
              <a:gd name="connsiteX1210" fmla="*/ 1453930 w 9310410"/>
              <a:gd name="connsiteY1210" fmla="*/ 3584857 h 5296383"/>
              <a:gd name="connsiteX1211" fmla="*/ 1456327 w 9310410"/>
              <a:gd name="connsiteY1211" fmla="*/ 3594445 h 5296383"/>
              <a:gd name="connsiteX1212" fmla="*/ 1453930 w 9310410"/>
              <a:gd name="connsiteY1212" fmla="*/ 3599839 h 5296383"/>
              <a:gd name="connsiteX1213" fmla="*/ 1453330 w 9310410"/>
              <a:gd name="connsiteY1213" fmla="*/ 3605232 h 5296383"/>
              <a:gd name="connsiteX1214" fmla="*/ 1459323 w 9310410"/>
              <a:gd name="connsiteY1214" fmla="*/ 3619015 h 5296383"/>
              <a:gd name="connsiteX1215" fmla="*/ 1464117 w 9310410"/>
              <a:gd name="connsiteY1215" fmla="*/ 3641788 h 5296383"/>
              <a:gd name="connsiteX1216" fmla="*/ 1466514 w 9310410"/>
              <a:gd name="connsiteY1216" fmla="*/ 3653773 h 5296383"/>
              <a:gd name="connsiteX1217" fmla="*/ 1467713 w 9310410"/>
              <a:gd name="connsiteY1217" fmla="*/ 3657968 h 5296383"/>
              <a:gd name="connsiteX1218" fmla="*/ 1474904 w 9310410"/>
              <a:gd name="connsiteY1218" fmla="*/ 3668156 h 5296383"/>
              <a:gd name="connsiteX1219" fmla="*/ 1472507 w 9310410"/>
              <a:gd name="connsiteY1219" fmla="*/ 3678344 h 5296383"/>
              <a:gd name="connsiteX1220" fmla="*/ 1469511 w 9310410"/>
              <a:gd name="connsiteY1220" fmla="*/ 3682539 h 5296383"/>
              <a:gd name="connsiteX1221" fmla="*/ 1472507 w 9310410"/>
              <a:gd name="connsiteY1221" fmla="*/ 3695123 h 5296383"/>
              <a:gd name="connsiteX1222" fmla="*/ 1476702 w 9310410"/>
              <a:gd name="connsiteY1222" fmla="*/ 3712502 h 5296383"/>
              <a:gd name="connsiteX1223" fmla="*/ 1470709 w 9310410"/>
              <a:gd name="connsiteY1223" fmla="*/ 3735874 h 5296383"/>
              <a:gd name="connsiteX1224" fmla="*/ 1467114 w 9310410"/>
              <a:gd name="connsiteY1224" fmla="*/ 3741867 h 5296383"/>
              <a:gd name="connsiteX1225" fmla="*/ 1465915 w 9310410"/>
              <a:gd name="connsiteY1225" fmla="*/ 3750856 h 5296383"/>
              <a:gd name="connsiteX1226" fmla="*/ 1457525 w 9310410"/>
              <a:gd name="connsiteY1226" fmla="*/ 3766437 h 5296383"/>
              <a:gd name="connsiteX1227" fmla="*/ 1446738 w 9310410"/>
              <a:gd name="connsiteY1227" fmla="*/ 3774827 h 5296383"/>
              <a:gd name="connsiteX1228" fmla="*/ 1434753 w 9310410"/>
              <a:gd name="connsiteY1228" fmla="*/ 3780220 h 5296383"/>
              <a:gd name="connsiteX1229" fmla="*/ 1431157 w 9310410"/>
              <a:gd name="connsiteY1229" fmla="*/ 3780819 h 5296383"/>
              <a:gd name="connsiteX1230" fmla="*/ 1431157 w 9310410"/>
              <a:gd name="connsiteY1230" fmla="*/ 3786213 h 5296383"/>
              <a:gd name="connsiteX1231" fmla="*/ 1425764 w 9310410"/>
              <a:gd name="connsiteY1231" fmla="*/ 3789209 h 5296383"/>
              <a:gd name="connsiteX1232" fmla="*/ 1413778 w 9310410"/>
              <a:gd name="connsiteY1232" fmla="*/ 3802993 h 5296383"/>
              <a:gd name="connsiteX1233" fmla="*/ 1407786 w 9310410"/>
              <a:gd name="connsiteY1233" fmla="*/ 3807787 h 5296383"/>
              <a:gd name="connsiteX1234" fmla="*/ 1404190 w 9310410"/>
              <a:gd name="connsiteY1234" fmla="*/ 3816776 h 5296383"/>
              <a:gd name="connsiteX1235" fmla="*/ 1399995 w 9310410"/>
              <a:gd name="connsiteY1235" fmla="*/ 3834754 h 5296383"/>
              <a:gd name="connsiteX1236" fmla="*/ 1398797 w 9310410"/>
              <a:gd name="connsiteY1236" fmla="*/ 3846740 h 5296383"/>
              <a:gd name="connsiteX1237" fmla="*/ 1390407 w 9310410"/>
              <a:gd name="connsiteY1237" fmla="*/ 3856927 h 5296383"/>
              <a:gd name="connsiteX1238" fmla="*/ 1383215 w 9310410"/>
              <a:gd name="connsiteY1238" fmla="*/ 3880898 h 5296383"/>
              <a:gd name="connsiteX1239" fmla="*/ 1376024 w 9310410"/>
              <a:gd name="connsiteY1239" fmla="*/ 3901873 h 5296383"/>
              <a:gd name="connsiteX1240" fmla="*/ 1376623 w 9310410"/>
              <a:gd name="connsiteY1240" fmla="*/ 3912061 h 5296383"/>
              <a:gd name="connsiteX1241" fmla="*/ 1382017 w 9310410"/>
              <a:gd name="connsiteY1241" fmla="*/ 3924046 h 5296383"/>
              <a:gd name="connsiteX1242" fmla="*/ 1390407 w 9310410"/>
              <a:gd name="connsiteY1242" fmla="*/ 3930638 h 5296383"/>
              <a:gd name="connsiteX1243" fmla="*/ 1395800 w 9310410"/>
              <a:gd name="connsiteY1243" fmla="*/ 3939028 h 5296383"/>
              <a:gd name="connsiteX1244" fmla="*/ 1402991 w 9310410"/>
              <a:gd name="connsiteY1244" fmla="*/ 3954010 h 5296383"/>
              <a:gd name="connsiteX1245" fmla="*/ 1410183 w 9310410"/>
              <a:gd name="connsiteY1245" fmla="*/ 3974385 h 5296383"/>
              <a:gd name="connsiteX1246" fmla="*/ 1414977 w 9310410"/>
              <a:gd name="connsiteY1246" fmla="*/ 3979778 h 5296383"/>
              <a:gd name="connsiteX1247" fmla="*/ 1419771 w 9310410"/>
              <a:gd name="connsiteY1247" fmla="*/ 3985172 h 5296383"/>
              <a:gd name="connsiteX1248" fmla="*/ 1426363 w 9310410"/>
              <a:gd name="connsiteY1248" fmla="*/ 4007944 h 5296383"/>
              <a:gd name="connsiteX1249" fmla="*/ 1428760 w 9310410"/>
              <a:gd name="connsiteY1249" fmla="*/ 4027121 h 5296383"/>
              <a:gd name="connsiteX1250" fmla="*/ 1433554 w 9310410"/>
              <a:gd name="connsiteY1250" fmla="*/ 4039107 h 5296383"/>
              <a:gd name="connsiteX1251" fmla="*/ 1431157 w 9310410"/>
              <a:gd name="connsiteY1251" fmla="*/ 4040904 h 5296383"/>
              <a:gd name="connsiteX1252" fmla="*/ 1436551 w 9310410"/>
              <a:gd name="connsiteY1252" fmla="*/ 4049294 h 5296383"/>
              <a:gd name="connsiteX1253" fmla="*/ 1436551 w 9310410"/>
              <a:gd name="connsiteY1253" fmla="*/ 4071467 h 5296383"/>
              <a:gd name="connsiteX1254" fmla="*/ 1410183 w 9310410"/>
              <a:gd name="connsiteY1254" fmla="*/ 4097236 h 5296383"/>
              <a:gd name="connsiteX1255" fmla="*/ 1393403 w 9310410"/>
              <a:gd name="connsiteY1255" fmla="*/ 4114016 h 5296383"/>
              <a:gd name="connsiteX1256" fmla="*/ 1392804 w 9310410"/>
              <a:gd name="connsiteY1256" fmla="*/ 4134991 h 5296383"/>
              <a:gd name="connsiteX1257" fmla="*/ 1398197 w 9310410"/>
              <a:gd name="connsiteY1257" fmla="*/ 4137387 h 5296383"/>
              <a:gd name="connsiteX1258" fmla="*/ 1403591 w 9310410"/>
              <a:gd name="connsiteY1258" fmla="*/ 4142182 h 5296383"/>
              <a:gd name="connsiteX1259" fmla="*/ 1408385 w 9310410"/>
              <a:gd name="connsiteY1259" fmla="*/ 4158962 h 5296383"/>
              <a:gd name="connsiteX1260" fmla="*/ 1408984 w 9310410"/>
              <a:gd name="connsiteY1260" fmla="*/ 4158962 h 5296383"/>
              <a:gd name="connsiteX1261" fmla="*/ 1409583 w 9310410"/>
              <a:gd name="connsiteY1261" fmla="*/ 4161958 h 5296383"/>
              <a:gd name="connsiteX1262" fmla="*/ 1408984 w 9310410"/>
              <a:gd name="connsiteY1262" fmla="*/ 4170347 h 5296383"/>
              <a:gd name="connsiteX1263" fmla="*/ 1413179 w 9310410"/>
              <a:gd name="connsiteY1263" fmla="*/ 4178138 h 5296383"/>
              <a:gd name="connsiteX1264" fmla="*/ 1417973 w 9310410"/>
              <a:gd name="connsiteY1264" fmla="*/ 4197914 h 5296383"/>
              <a:gd name="connsiteX1265" fmla="*/ 1423367 w 9310410"/>
              <a:gd name="connsiteY1265" fmla="*/ 4217690 h 5296383"/>
              <a:gd name="connsiteX1266" fmla="*/ 1416775 w 9310410"/>
              <a:gd name="connsiteY1266" fmla="*/ 4214095 h 5296383"/>
              <a:gd name="connsiteX1267" fmla="*/ 1411981 w 9310410"/>
              <a:gd name="connsiteY1267" fmla="*/ 4211698 h 5296383"/>
              <a:gd name="connsiteX1268" fmla="*/ 1418573 w 9310410"/>
              <a:gd name="connsiteY1268" fmla="*/ 4224282 h 5296383"/>
              <a:gd name="connsiteX1269" fmla="*/ 1420370 w 9310410"/>
              <a:gd name="connsiteY1269" fmla="*/ 4248253 h 5296383"/>
              <a:gd name="connsiteX1270" fmla="*/ 1413778 w 9310410"/>
              <a:gd name="connsiteY1270" fmla="*/ 4271026 h 5296383"/>
              <a:gd name="connsiteX1271" fmla="*/ 1406587 w 9310410"/>
              <a:gd name="connsiteY1271" fmla="*/ 4312376 h 5296383"/>
              <a:gd name="connsiteX1272" fmla="*/ 1390407 w 9310410"/>
              <a:gd name="connsiteY1272" fmla="*/ 4385487 h 5296383"/>
              <a:gd name="connsiteX1273" fmla="*/ 1376623 w 9310410"/>
              <a:gd name="connsiteY1273" fmla="*/ 4426837 h 5296383"/>
              <a:gd name="connsiteX1274" fmla="*/ 1357447 w 9310410"/>
              <a:gd name="connsiteY1274" fmla="*/ 4448411 h 5296383"/>
              <a:gd name="connsiteX1275" fmla="*/ 1343064 w 9310410"/>
              <a:gd name="connsiteY1275" fmla="*/ 4457400 h 5296383"/>
              <a:gd name="connsiteX1276" fmla="*/ 1340667 w 9310410"/>
              <a:gd name="connsiteY1276" fmla="*/ 4461595 h 5296383"/>
              <a:gd name="connsiteX1277" fmla="*/ 1325685 w 9310410"/>
              <a:gd name="connsiteY1277" fmla="*/ 4464591 h 5296383"/>
              <a:gd name="connsiteX1278" fmla="*/ 1317295 w 9310410"/>
              <a:gd name="connsiteY1278" fmla="*/ 4468786 h 5296383"/>
              <a:gd name="connsiteX1279" fmla="*/ 1302913 w 9310410"/>
              <a:gd name="connsiteY1279" fmla="*/ 4469385 h 5296383"/>
              <a:gd name="connsiteX1280" fmla="*/ 1290927 w 9310410"/>
              <a:gd name="connsiteY1280" fmla="*/ 4468786 h 5296383"/>
              <a:gd name="connsiteX1281" fmla="*/ 1281938 w 9310410"/>
              <a:gd name="connsiteY1281" fmla="*/ 4472981 h 5296383"/>
              <a:gd name="connsiteX1282" fmla="*/ 1268155 w 9310410"/>
              <a:gd name="connsiteY1282" fmla="*/ 4480172 h 5296383"/>
              <a:gd name="connsiteX1283" fmla="*/ 1260964 w 9310410"/>
              <a:gd name="connsiteY1283" fmla="*/ 4487364 h 5296383"/>
              <a:gd name="connsiteX1284" fmla="*/ 1245982 w 9310410"/>
              <a:gd name="connsiteY1284" fmla="*/ 4491559 h 5296383"/>
              <a:gd name="connsiteX1285" fmla="*/ 1232198 w 9310410"/>
              <a:gd name="connsiteY1285" fmla="*/ 4501746 h 5296383"/>
              <a:gd name="connsiteX1286" fmla="*/ 1220213 w 9310410"/>
              <a:gd name="connsiteY1286" fmla="*/ 4510735 h 5296383"/>
              <a:gd name="connsiteX1287" fmla="*/ 1209426 w 9310410"/>
              <a:gd name="connsiteY1287" fmla="*/ 4511335 h 5296383"/>
              <a:gd name="connsiteX1288" fmla="*/ 1205830 w 9310410"/>
              <a:gd name="connsiteY1288" fmla="*/ 4504143 h 5296383"/>
              <a:gd name="connsiteX1289" fmla="*/ 1199838 w 9310410"/>
              <a:gd name="connsiteY1289" fmla="*/ 4494555 h 5296383"/>
              <a:gd name="connsiteX1290" fmla="*/ 1189051 w 9310410"/>
              <a:gd name="connsiteY1290" fmla="*/ 4495154 h 5296383"/>
              <a:gd name="connsiteX1291" fmla="*/ 1183657 w 9310410"/>
              <a:gd name="connsiteY1291" fmla="*/ 4494555 h 5296383"/>
              <a:gd name="connsiteX1292" fmla="*/ 1183058 w 9310410"/>
              <a:gd name="connsiteY1292" fmla="*/ 4489161 h 5296383"/>
              <a:gd name="connsiteX1293" fmla="*/ 1176466 w 9310410"/>
              <a:gd name="connsiteY1293" fmla="*/ 4494555 h 5296383"/>
              <a:gd name="connsiteX1294" fmla="*/ 1169874 w 9310410"/>
              <a:gd name="connsiteY1294" fmla="*/ 4484966 h 5296383"/>
              <a:gd name="connsiteX1295" fmla="*/ 1153094 w 9310410"/>
              <a:gd name="connsiteY1295" fmla="*/ 4464591 h 5296383"/>
              <a:gd name="connsiteX1296" fmla="*/ 1150098 w 9310410"/>
              <a:gd name="connsiteY1296" fmla="*/ 4459198 h 5296383"/>
              <a:gd name="connsiteX1297" fmla="*/ 1143506 w 9310410"/>
              <a:gd name="connsiteY1297" fmla="*/ 4453205 h 5296383"/>
              <a:gd name="connsiteX1298" fmla="*/ 1141109 w 9310410"/>
              <a:gd name="connsiteY1298" fmla="*/ 4444815 h 5296383"/>
              <a:gd name="connsiteX1299" fmla="*/ 1143506 w 9310410"/>
              <a:gd name="connsiteY1299" fmla="*/ 4428035 h 5296383"/>
              <a:gd name="connsiteX1300" fmla="*/ 1139311 w 9310410"/>
              <a:gd name="connsiteY1300" fmla="*/ 4414252 h 5296383"/>
              <a:gd name="connsiteX1301" fmla="*/ 1133917 w 9310410"/>
              <a:gd name="connsiteY1301" fmla="*/ 4408859 h 5296383"/>
              <a:gd name="connsiteX1302" fmla="*/ 1120733 w 9310410"/>
              <a:gd name="connsiteY1302" fmla="*/ 4391480 h 5296383"/>
              <a:gd name="connsiteX1303" fmla="*/ 1090770 w 9310410"/>
              <a:gd name="connsiteY1303" fmla="*/ 4359119 h 5296383"/>
              <a:gd name="connsiteX1304" fmla="*/ 1063802 w 9310410"/>
              <a:gd name="connsiteY1304" fmla="*/ 4318368 h 5296383"/>
              <a:gd name="connsiteX1305" fmla="*/ 1041030 w 9310410"/>
              <a:gd name="connsiteY1305" fmla="*/ 4296195 h 5296383"/>
              <a:gd name="connsiteX1306" fmla="*/ 1032041 w 9310410"/>
              <a:gd name="connsiteY1306" fmla="*/ 4283011 h 5296383"/>
              <a:gd name="connsiteX1307" fmla="*/ 1011066 w 9310410"/>
              <a:gd name="connsiteY1307" fmla="*/ 4269827 h 5296383"/>
              <a:gd name="connsiteX1308" fmla="*/ 987095 w 9310410"/>
              <a:gd name="connsiteY1308" fmla="*/ 4232073 h 5296383"/>
              <a:gd name="connsiteX1309" fmla="*/ 973911 w 9310410"/>
              <a:gd name="connsiteY1309" fmla="*/ 4211698 h 5296383"/>
              <a:gd name="connsiteX1310" fmla="*/ 968518 w 9310410"/>
              <a:gd name="connsiteY1310" fmla="*/ 4199712 h 5296383"/>
              <a:gd name="connsiteX1311" fmla="*/ 953536 w 9310410"/>
              <a:gd name="connsiteY1311" fmla="*/ 4181734 h 5296383"/>
              <a:gd name="connsiteX1312" fmla="*/ 943348 w 9310410"/>
              <a:gd name="connsiteY1312" fmla="*/ 4157763 h 5296383"/>
              <a:gd name="connsiteX1313" fmla="*/ 934959 w 9310410"/>
              <a:gd name="connsiteY1313" fmla="*/ 4136189 h 5296383"/>
              <a:gd name="connsiteX1314" fmla="*/ 927767 w 9310410"/>
              <a:gd name="connsiteY1314" fmla="*/ 4125402 h 5296383"/>
              <a:gd name="connsiteX1315" fmla="*/ 922374 w 9310410"/>
              <a:gd name="connsiteY1315" fmla="*/ 4113416 h 5296383"/>
              <a:gd name="connsiteX1316" fmla="*/ 915782 w 9310410"/>
              <a:gd name="connsiteY1316" fmla="*/ 4100232 h 5296383"/>
              <a:gd name="connsiteX1317" fmla="*/ 906193 w 9310410"/>
              <a:gd name="connsiteY1317" fmla="*/ 4074464 h 5296383"/>
              <a:gd name="connsiteX1318" fmla="*/ 903796 w 9310410"/>
              <a:gd name="connsiteY1318" fmla="*/ 4063078 h 5296383"/>
              <a:gd name="connsiteX1319" fmla="*/ 905594 w 9310410"/>
              <a:gd name="connsiteY1319" fmla="*/ 4057684 h 5296383"/>
              <a:gd name="connsiteX1320" fmla="*/ 895406 w 9310410"/>
              <a:gd name="connsiteY1320" fmla="*/ 4040904 h 5296383"/>
              <a:gd name="connsiteX1321" fmla="*/ 875031 w 9310410"/>
              <a:gd name="connsiteY1321" fmla="*/ 4013338 h 5296383"/>
              <a:gd name="connsiteX1322" fmla="*/ 855854 w 9310410"/>
              <a:gd name="connsiteY1322" fmla="*/ 3992963 h 5296383"/>
              <a:gd name="connsiteX1323" fmla="*/ 843869 w 9310410"/>
              <a:gd name="connsiteY1323" fmla="*/ 3972587 h 5296383"/>
              <a:gd name="connsiteX1324" fmla="*/ 835479 w 9310410"/>
              <a:gd name="connsiteY1324" fmla="*/ 3957605 h 5296383"/>
              <a:gd name="connsiteX1325" fmla="*/ 820497 w 9310410"/>
              <a:gd name="connsiteY1325" fmla="*/ 3941425 h 5296383"/>
              <a:gd name="connsiteX1326" fmla="*/ 811508 w 9310410"/>
              <a:gd name="connsiteY1326" fmla="*/ 3926443 h 5296383"/>
              <a:gd name="connsiteX1327" fmla="*/ 805515 w 9310410"/>
              <a:gd name="connsiteY1327" fmla="*/ 3914457 h 5296383"/>
              <a:gd name="connsiteX1328" fmla="*/ 781544 w 9310410"/>
              <a:gd name="connsiteY1328" fmla="*/ 3892285 h 5296383"/>
              <a:gd name="connsiteX1329" fmla="*/ 760570 w 9310410"/>
              <a:gd name="connsiteY1329" fmla="*/ 3860523 h 5296383"/>
              <a:gd name="connsiteX1330" fmla="*/ 753978 w 9310410"/>
              <a:gd name="connsiteY1330" fmla="*/ 3836552 h 5296383"/>
              <a:gd name="connsiteX1331" fmla="*/ 753378 w 9310410"/>
              <a:gd name="connsiteY1331" fmla="*/ 3831758 h 5296383"/>
              <a:gd name="connsiteX1332" fmla="*/ 746187 w 9310410"/>
              <a:gd name="connsiteY1332" fmla="*/ 3814978 h 5296383"/>
              <a:gd name="connsiteX1333" fmla="*/ 746786 w 9310410"/>
              <a:gd name="connsiteY1333" fmla="*/ 3810184 h 5296383"/>
              <a:gd name="connsiteX1334" fmla="*/ 747386 w 9310410"/>
              <a:gd name="connsiteY1334" fmla="*/ 3796401 h 5296383"/>
              <a:gd name="connsiteX1335" fmla="*/ 744989 w 9310410"/>
              <a:gd name="connsiteY1335" fmla="*/ 3786213 h 5296383"/>
              <a:gd name="connsiteX1336" fmla="*/ 739595 w 9310410"/>
              <a:gd name="connsiteY1336" fmla="*/ 3776025 h 5296383"/>
              <a:gd name="connsiteX1337" fmla="*/ 741393 w 9310410"/>
              <a:gd name="connsiteY1337" fmla="*/ 3770033 h 5296383"/>
              <a:gd name="connsiteX1338" fmla="*/ 745588 w 9310410"/>
              <a:gd name="connsiteY1338" fmla="*/ 3767635 h 5296383"/>
              <a:gd name="connsiteX1339" fmla="*/ 746786 w 9310410"/>
              <a:gd name="connsiteY1339" fmla="*/ 3755650 h 5296383"/>
              <a:gd name="connsiteX1340" fmla="*/ 741393 w 9310410"/>
              <a:gd name="connsiteY1340" fmla="*/ 3746062 h 5296383"/>
              <a:gd name="connsiteX1341" fmla="*/ 741992 w 9310410"/>
              <a:gd name="connsiteY1341" fmla="*/ 3720892 h 5296383"/>
              <a:gd name="connsiteX1342" fmla="*/ 738996 w 9310410"/>
              <a:gd name="connsiteY1342" fmla="*/ 3698719 h 5296383"/>
              <a:gd name="connsiteX1343" fmla="*/ 739595 w 9310410"/>
              <a:gd name="connsiteY1343" fmla="*/ 3678943 h 5296383"/>
              <a:gd name="connsiteX1344" fmla="*/ 741992 w 9310410"/>
              <a:gd name="connsiteY1344" fmla="*/ 3662762 h 5296383"/>
              <a:gd name="connsiteX1345" fmla="*/ 743191 w 9310410"/>
              <a:gd name="connsiteY1345" fmla="*/ 3646582 h 5296383"/>
              <a:gd name="connsiteX1346" fmla="*/ 749783 w 9310410"/>
              <a:gd name="connsiteY1346" fmla="*/ 3638192 h 5296383"/>
              <a:gd name="connsiteX1347" fmla="*/ 758173 w 9310410"/>
              <a:gd name="connsiteY1347" fmla="*/ 3626207 h 5296383"/>
              <a:gd name="connsiteX1348" fmla="*/ 756974 w 9310410"/>
              <a:gd name="connsiteY1348" fmla="*/ 3610026 h 5296383"/>
              <a:gd name="connsiteX1349" fmla="*/ 753378 w 9310410"/>
              <a:gd name="connsiteY1349" fmla="*/ 3587254 h 5296383"/>
              <a:gd name="connsiteX1350" fmla="*/ 744389 w 9310410"/>
              <a:gd name="connsiteY1350" fmla="*/ 3549500 h 5296383"/>
              <a:gd name="connsiteX1351" fmla="*/ 736000 w 9310410"/>
              <a:gd name="connsiteY1351" fmla="*/ 3537514 h 5296383"/>
              <a:gd name="connsiteX1352" fmla="*/ 731805 w 9310410"/>
              <a:gd name="connsiteY1352" fmla="*/ 3522532 h 5296383"/>
              <a:gd name="connsiteX1353" fmla="*/ 729408 w 9310410"/>
              <a:gd name="connsiteY1353" fmla="*/ 3508150 h 5296383"/>
              <a:gd name="connsiteX1354" fmla="*/ 723415 w 9310410"/>
              <a:gd name="connsiteY1354" fmla="*/ 3493767 h 5296383"/>
              <a:gd name="connsiteX1355" fmla="*/ 713227 w 9310410"/>
              <a:gd name="connsiteY1355" fmla="*/ 3481182 h 5296383"/>
              <a:gd name="connsiteX1356" fmla="*/ 713826 w 9310410"/>
              <a:gd name="connsiteY1356" fmla="*/ 3473991 h 5296383"/>
              <a:gd name="connsiteX1357" fmla="*/ 719819 w 9310410"/>
              <a:gd name="connsiteY1357" fmla="*/ 3473991 h 5296383"/>
              <a:gd name="connsiteX1358" fmla="*/ 720418 w 9310410"/>
              <a:gd name="connsiteY1358" fmla="*/ 3462006 h 5296383"/>
              <a:gd name="connsiteX1359" fmla="*/ 715025 w 9310410"/>
              <a:gd name="connsiteY1359" fmla="*/ 3444627 h 5296383"/>
              <a:gd name="connsiteX1360" fmla="*/ 706635 w 9310410"/>
              <a:gd name="connsiteY1360" fmla="*/ 3424851 h 5296383"/>
              <a:gd name="connsiteX1361" fmla="*/ 704238 w 9310410"/>
              <a:gd name="connsiteY1361" fmla="*/ 3412865 h 5296383"/>
              <a:gd name="connsiteX1362" fmla="*/ 700043 w 9310410"/>
              <a:gd name="connsiteY1362" fmla="*/ 3399681 h 5296383"/>
              <a:gd name="connsiteX1363" fmla="*/ 696447 w 9310410"/>
              <a:gd name="connsiteY1363" fmla="*/ 3386497 h 5296383"/>
              <a:gd name="connsiteX1364" fmla="*/ 683263 w 9310410"/>
              <a:gd name="connsiteY1364" fmla="*/ 3368519 h 5296383"/>
              <a:gd name="connsiteX1365" fmla="*/ 682065 w 9310410"/>
              <a:gd name="connsiteY1365" fmla="*/ 3357732 h 5296383"/>
              <a:gd name="connsiteX1366" fmla="*/ 687458 w 9310410"/>
              <a:gd name="connsiteY1366" fmla="*/ 3358331 h 5296383"/>
              <a:gd name="connsiteX1367" fmla="*/ 698845 w 9310410"/>
              <a:gd name="connsiteY1367" fmla="*/ 3354136 h 5296383"/>
              <a:gd name="connsiteX1368" fmla="*/ 702440 w 9310410"/>
              <a:gd name="connsiteY1368" fmla="*/ 3351140 h 5296383"/>
              <a:gd name="connsiteX1369" fmla="*/ 692852 w 9310410"/>
              <a:gd name="connsiteY1369" fmla="*/ 3348144 h 5296383"/>
              <a:gd name="connsiteX1370" fmla="*/ 680267 w 9310410"/>
              <a:gd name="connsiteY1370" fmla="*/ 3343949 h 5296383"/>
              <a:gd name="connsiteX1371" fmla="*/ 674274 w 9310410"/>
              <a:gd name="connsiteY1371" fmla="*/ 3328967 h 5296383"/>
              <a:gd name="connsiteX1372" fmla="*/ 671877 w 9310410"/>
              <a:gd name="connsiteY1372" fmla="*/ 3316982 h 5296383"/>
              <a:gd name="connsiteX1373" fmla="*/ 663487 w 9310410"/>
              <a:gd name="connsiteY1373" fmla="*/ 3301400 h 5296383"/>
              <a:gd name="connsiteX1374" fmla="*/ 658094 w 9310410"/>
              <a:gd name="connsiteY1374" fmla="*/ 3292411 h 5296383"/>
              <a:gd name="connsiteX1375" fmla="*/ 652700 w 9310410"/>
              <a:gd name="connsiteY1375" fmla="*/ 3280426 h 5296383"/>
              <a:gd name="connsiteX1376" fmla="*/ 644311 w 9310410"/>
              <a:gd name="connsiteY1376" fmla="*/ 3266642 h 5296383"/>
              <a:gd name="connsiteX1377" fmla="*/ 644311 w 9310410"/>
              <a:gd name="connsiteY1377" fmla="*/ 3265444 h 5296383"/>
              <a:gd name="connsiteX1378" fmla="*/ 640715 w 9310410"/>
              <a:gd name="connsiteY1378" fmla="*/ 3261848 h 5296383"/>
              <a:gd name="connsiteX1379" fmla="*/ 635322 w 9310410"/>
              <a:gd name="connsiteY1379" fmla="*/ 3257653 h 5296383"/>
              <a:gd name="connsiteX1380" fmla="*/ 629329 w 9310410"/>
              <a:gd name="connsiteY1380" fmla="*/ 3242072 h 5296383"/>
              <a:gd name="connsiteX1381" fmla="*/ 606556 w 9310410"/>
              <a:gd name="connsiteY1381" fmla="*/ 3215704 h 5296383"/>
              <a:gd name="connsiteX1382" fmla="*/ 607156 w 9310410"/>
              <a:gd name="connsiteY1382" fmla="*/ 3207314 h 5296383"/>
              <a:gd name="connsiteX1383" fmla="*/ 610751 w 9310410"/>
              <a:gd name="connsiteY1383" fmla="*/ 3206116 h 5296383"/>
              <a:gd name="connsiteX1384" fmla="*/ 600564 w 9310410"/>
              <a:gd name="connsiteY1384" fmla="*/ 3199524 h 5296383"/>
              <a:gd name="connsiteX1385" fmla="*/ 595170 w 9310410"/>
              <a:gd name="connsiteY1385" fmla="*/ 3187538 h 5296383"/>
              <a:gd name="connsiteX1386" fmla="*/ 599365 w 9310410"/>
              <a:gd name="connsiteY1386" fmla="*/ 3182145 h 5296383"/>
              <a:gd name="connsiteX1387" fmla="*/ 596968 w 9310410"/>
              <a:gd name="connsiteY1387" fmla="*/ 3176751 h 5296383"/>
              <a:gd name="connsiteX1388" fmla="*/ 583784 w 9310410"/>
              <a:gd name="connsiteY1388" fmla="*/ 3162369 h 5296383"/>
              <a:gd name="connsiteX1389" fmla="*/ 586780 w 9310410"/>
              <a:gd name="connsiteY1389" fmla="*/ 3158174 h 5296383"/>
              <a:gd name="connsiteX1390" fmla="*/ 596369 w 9310410"/>
              <a:gd name="connsiteY1390" fmla="*/ 3165964 h 5296383"/>
              <a:gd name="connsiteX1391" fmla="*/ 596968 w 9310410"/>
              <a:gd name="connsiteY1391" fmla="*/ 3161170 h 5296383"/>
              <a:gd name="connsiteX1392" fmla="*/ 589777 w 9310410"/>
              <a:gd name="connsiteY1392" fmla="*/ 3155777 h 5296383"/>
              <a:gd name="connsiteX1393" fmla="*/ 580188 w 9310410"/>
              <a:gd name="connsiteY1393" fmla="*/ 3146189 h 5296383"/>
              <a:gd name="connsiteX1394" fmla="*/ 578390 w 9310410"/>
              <a:gd name="connsiteY1394" fmla="*/ 3136001 h 5296383"/>
              <a:gd name="connsiteX1395" fmla="*/ 582585 w 9310410"/>
              <a:gd name="connsiteY1395" fmla="*/ 3124015 h 5296383"/>
              <a:gd name="connsiteX1396" fmla="*/ 589777 w 9310410"/>
              <a:gd name="connsiteY1396" fmla="*/ 3113228 h 5296383"/>
              <a:gd name="connsiteX1397" fmla="*/ 589777 w 9310410"/>
              <a:gd name="connsiteY1397" fmla="*/ 3080868 h 5296383"/>
              <a:gd name="connsiteX1398" fmla="*/ 592773 w 9310410"/>
              <a:gd name="connsiteY1398" fmla="*/ 3071279 h 5296383"/>
              <a:gd name="connsiteX1399" fmla="*/ 596369 w 9310410"/>
              <a:gd name="connsiteY1399" fmla="*/ 3068882 h 5296383"/>
              <a:gd name="connsiteX1400" fmla="*/ 595769 w 9310410"/>
              <a:gd name="connsiteY1400" fmla="*/ 3055698 h 5296383"/>
              <a:gd name="connsiteX1401" fmla="*/ 598167 w 9310410"/>
              <a:gd name="connsiteY1401" fmla="*/ 3051503 h 5296383"/>
              <a:gd name="connsiteX1402" fmla="*/ 595769 w 9310410"/>
              <a:gd name="connsiteY1402" fmla="*/ 3050305 h 5296383"/>
              <a:gd name="connsiteX1403" fmla="*/ 593372 w 9310410"/>
              <a:gd name="connsiteY1403" fmla="*/ 3044911 h 5296383"/>
              <a:gd name="connsiteX1404" fmla="*/ 594571 w 9310410"/>
              <a:gd name="connsiteY1404" fmla="*/ 3037121 h 5296383"/>
              <a:gd name="connsiteX1405" fmla="*/ 597567 w 9310410"/>
              <a:gd name="connsiteY1405" fmla="*/ 3025135 h 5296383"/>
              <a:gd name="connsiteX1406" fmla="*/ 600564 w 9310410"/>
              <a:gd name="connsiteY1406" fmla="*/ 3005958 h 5296383"/>
              <a:gd name="connsiteX1407" fmla="*/ 602361 w 9310410"/>
              <a:gd name="connsiteY1407" fmla="*/ 2996969 h 5296383"/>
              <a:gd name="connsiteX1408" fmla="*/ 602961 w 9310410"/>
              <a:gd name="connsiteY1408" fmla="*/ 2996969 h 5296383"/>
              <a:gd name="connsiteX1409" fmla="*/ 603560 w 9310410"/>
              <a:gd name="connsiteY1409" fmla="*/ 2990976 h 5296383"/>
              <a:gd name="connsiteX1410" fmla="*/ 603560 w 9310410"/>
              <a:gd name="connsiteY1410" fmla="*/ 2974197 h 5296383"/>
              <a:gd name="connsiteX1411" fmla="*/ 605957 w 9310410"/>
              <a:gd name="connsiteY1411" fmla="*/ 2962810 h 5296383"/>
              <a:gd name="connsiteX1412" fmla="*/ 604159 w 9310410"/>
              <a:gd name="connsiteY1412" fmla="*/ 2947229 h 5296383"/>
              <a:gd name="connsiteX1413" fmla="*/ 601762 w 9310410"/>
              <a:gd name="connsiteY1413" fmla="*/ 2934645 h 5296383"/>
              <a:gd name="connsiteX1414" fmla="*/ 602361 w 9310410"/>
              <a:gd name="connsiteY1414" fmla="*/ 2928053 h 5296383"/>
              <a:gd name="connsiteX1415" fmla="*/ 605957 w 9310410"/>
              <a:gd name="connsiteY1415" fmla="*/ 2925656 h 5296383"/>
              <a:gd name="connsiteX1416" fmla="*/ 601762 w 9310410"/>
              <a:gd name="connsiteY1416" fmla="*/ 2920262 h 5296383"/>
              <a:gd name="connsiteX1417" fmla="*/ 591575 w 9310410"/>
              <a:gd name="connsiteY1417" fmla="*/ 2914869 h 5296383"/>
              <a:gd name="connsiteX1418" fmla="*/ 587979 w 9310410"/>
              <a:gd name="connsiteY1418" fmla="*/ 2903482 h 5296383"/>
              <a:gd name="connsiteX1419" fmla="*/ 586780 w 9310410"/>
              <a:gd name="connsiteY1419" fmla="*/ 2895093 h 5296383"/>
              <a:gd name="connsiteX1420" fmla="*/ 582585 w 9310410"/>
              <a:gd name="connsiteY1420" fmla="*/ 2890898 h 5296383"/>
              <a:gd name="connsiteX1421" fmla="*/ 577791 w 9310410"/>
              <a:gd name="connsiteY1421" fmla="*/ 2889699 h 5296383"/>
              <a:gd name="connsiteX1422" fmla="*/ 575993 w 9310410"/>
              <a:gd name="connsiteY1422" fmla="*/ 2883706 h 5296383"/>
              <a:gd name="connsiteX1423" fmla="*/ 572398 w 9310410"/>
              <a:gd name="connsiteY1423" fmla="*/ 2883107 h 5296383"/>
              <a:gd name="connsiteX1424" fmla="*/ 568203 w 9310410"/>
              <a:gd name="connsiteY1424" fmla="*/ 2891497 h 5296383"/>
              <a:gd name="connsiteX1425" fmla="*/ 556217 w 9310410"/>
              <a:gd name="connsiteY1425" fmla="*/ 2895692 h 5296383"/>
              <a:gd name="connsiteX1426" fmla="*/ 547228 w 9310410"/>
              <a:gd name="connsiteY1426" fmla="*/ 2895093 h 5296383"/>
              <a:gd name="connsiteX1427" fmla="*/ 542434 w 9310410"/>
              <a:gd name="connsiteY1427" fmla="*/ 2894493 h 5296383"/>
              <a:gd name="connsiteX1428" fmla="*/ 530449 w 9310410"/>
              <a:gd name="connsiteY1428" fmla="*/ 2898688 h 5296383"/>
              <a:gd name="connsiteX1429" fmla="*/ 510073 w 9310410"/>
              <a:gd name="connsiteY1429" fmla="*/ 2895692 h 5296383"/>
              <a:gd name="connsiteX1430" fmla="*/ 502882 w 9310410"/>
              <a:gd name="connsiteY1430" fmla="*/ 2881908 h 5296383"/>
              <a:gd name="connsiteX1431" fmla="*/ 499886 w 9310410"/>
              <a:gd name="connsiteY1431" fmla="*/ 2866328 h 5296383"/>
              <a:gd name="connsiteX1432" fmla="*/ 504080 w 9310410"/>
              <a:gd name="connsiteY1432" fmla="*/ 2857938 h 5296383"/>
              <a:gd name="connsiteX1433" fmla="*/ 508875 w 9310410"/>
              <a:gd name="connsiteY1433" fmla="*/ 2854941 h 5296383"/>
              <a:gd name="connsiteX1434" fmla="*/ 503481 w 9310410"/>
              <a:gd name="connsiteY1434" fmla="*/ 2852544 h 5296383"/>
              <a:gd name="connsiteX1435" fmla="*/ 498088 w 9310410"/>
              <a:gd name="connsiteY1435" fmla="*/ 2845952 h 5296383"/>
              <a:gd name="connsiteX1436" fmla="*/ 498687 w 9310410"/>
              <a:gd name="connsiteY1436" fmla="*/ 2837562 h 5296383"/>
              <a:gd name="connsiteX1437" fmla="*/ 499286 w 9310410"/>
              <a:gd name="connsiteY1437" fmla="*/ 2835765 h 5296383"/>
              <a:gd name="connsiteX1438" fmla="*/ 499286 w 9310410"/>
              <a:gd name="connsiteY1438" fmla="*/ 2835765 h 5296383"/>
              <a:gd name="connsiteX1439" fmla="*/ 493893 w 9310410"/>
              <a:gd name="connsiteY1439" fmla="*/ 2829172 h 5296383"/>
              <a:gd name="connsiteX1440" fmla="*/ 480709 w 9310410"/>
              <a:gd name="connsiteY1440" fmla="*/ 2817786 h 5296383"/>
              <a:gd name="connsiteX1441" fmla="*/ 474716 w 9310410"/>
              <a:gd name="connsiteY1441" fmla="*/ 2815389 h 5296383"/>
              <a:gd name="connsiteX1442" fmla="*/ 481907 w 9310410"/>
              <a:gd name="connsiteY1442" fmla="*/ 2809996 h 5296383"/>
              <a:gd name="connsiteX1443" fmla="*/ 468124 w 9310410"/>
              <a:gd name="connsiteY1443" fmla="*/ 2807599 h 5296383"/>
              <a:gd name="connsiteX1444" fmla="*/ 453742 w 9310410"/>
              <a:gd name="connsiteY1444" fmla="*/ 2814191 h 5296383"/>
              <a:gd name="connsiteX1445" fmla="*/ 440557 w 9310410"/>
              <a:gd name="connsiteY1445" fmla="*/ 2814790 h 5296383"/>
              <a:gd name="connsiteX1446" fmla="*/ 440557 w 9310410"/>
              <a:gd name="connsiteY1446" fmla="*/ 2816588 h 5296383"/>
              <a:gd name="connsiteX1447" fmla="*/ 441157 w 9310410"/>
              <a:gd name="connsiteY1447" fmla="*/ 2812992 h 5296383"/>
              <a:gd name="connsiteX1448" fmla="*/ 440557 w 9310410"/>
              <a:gd name="connsiteY1448" fmla="*/ 2817187 h 5296383"/>
              <a:gd name="connsiteX1449" fmla="*/ 434565 w 9310410"/>
              <a:gd name="connsiteY1449" fmla="*/ 2815389 h 5296383"/>
              <a:gd name="connsiteX1450" fmla="*/ 430969 w 9310410"/>
              <a:gd name="connsiteY1450" fmla="*/ 2812992 h 5296383"/>
              <a:gd name="connsiteX1451" fmla="*/ 412991 w 9310410"/>
              <a:gd name="connsiteY1451" fmla="*/ 2819584 h 5296383"/>
              <a:gd name="connsiteX1452" fmla="*/ 409395 w 9310410"/>
              <a:gd name="connsiteY1452" fmla="*/ 2820183 h 5296383"/>
              <a:gd name="connsiteX1453" fmla="*/ 409395 w 9310410"/>
              <a:gd name="connsiteY1453" fmla="*/ 2815389 h 5296383"/>
              <a:gd name="connsiteX1454" fmla="*/ 408197 w 9310410"/>
              <a:gd name="connsiteY1454" fmla="*/ 2820183 h 5296383"/>
              <a:gd name="connsiteX1455" fmla="*/ 397410 w 9310410"/>
              <a:gd name="connsiteY1455" fmla="*/ 2824378 h 5296383"/>
              <a:gd name="connsiteX1456" fmla="*/ 392616 w 9310410"/>
              <a:gd name="connsiteY1456" fmla="*/ 2828573 h 5296383"/>
              <a:gd name="connsiteX1457" fmla="*/ 388421 w 9310410"/>
              <a:gd name="connsiteY1457" fmla="*/ 2827974 h 5296383"/>
              <a:gd name="connsiteX1458" fmla="*/ 387222 w 9310410"/>
              <a:gd name="connsiteY1458" fmla="*/ 2824977 h 5296383"/>
              <a:gd name="connsiteX1459" fmla="*/ 383626 w 9310410"/>
              <a:gd name="connsiteY1459" fmla="*/ 2827974 h 5296383"/>
              <a:gd name="connsiteX1460" fmla="*/ 380630 w 9310410"/>
              <a:gd name="connsiteY1460" fmla="*/ 2827974 h 5296383"/>
              <a:gd name="connsiteX1461" fmla="*/ 376435 w 9310410"/>
              <a:gd name="connsiteY1461" fmla="*/ 2835165 h 5296383"/>
              <a:gd name="connsiteX1462" fmla="*/ 364450 w 9310410"/>
              <a:gd name="connsiteY1462" fmla="*/ 2844154 h 5296383"/>
              <a:gd name="connsiteX1463" fmla="*/ 344674 w 9310410"/>
              <a:gd name="connsiteY1463" fmla="*/ 2856739 h 5296383"/>
              <a:gd name="connsiteX1464" fmla="*/ 334486 w 9310410"/>
              <a:gd name="connsiteY1464" fmla="*/ 2863331 h 5296383"/>
              <a:gd name="connsiteX1465" fmla="*/ 323100 w 9310410"/>
              <a:gd name="connsiteY1465" fmla="*/ 2871122 h 5296383"/>
              <a:gd name="connsiteX1466" fmla="*/ 306919 w 9310410"/>
              <a:gd name="connsiteY1466" fmla="*/ 2873519 h 5296383"/>
              <a:gd name="connsiteX1467" fmla="*/ 293735 w 9310410"/>
              <a:gd name="connsiteY1467" fmla="*/ 2868125 h 5296383"/>
              <a:gd name="connsiteX1468" fmla="*/ 288342 w 9310410"/>
              <a:gd name="connsiteY1468" fmla="*/ 2865728 h 5296383"/>
              <a:gd name="connsiteX1469" fmla="*/ 281151 w 9310410"/>
              <a:gd name="connsiteY1469" fmla="*/ 2869923 h 5296383"/>
              <a:gd name="connsiteX1470" fmla="*/ 285346 w 9310410"/>
              <a:gd name="connsiteY1470" fmla="*/ 2858537 h 5296383"/>
              <a:gd name="connsiteX1471" fmla="*/ 279952 w 9310410"/>
              <a:gd name="connsiteY1471" fmla="*/ 2858537 h 5296383"/>
              <a:gd name="connsiteX1472" fmla="*/ 275757 w 9310410"/>
              <a:gd name="connsiteY1472" fmla="*/ 2862732 h 5296383"/>
              <a:gd name="connsiteX1473" fmla="*/ 273360 w 9310410"/>
              <a:gd name="connsiteY1473" fmla="*/ 2854941 h 5296383"/>
              <a:gd name="connsiteX1474" fmla="*/ 270963 w 9310410"/>
              <a:gd name="connsiteY1474" fmla="*/ 2851346 h 5296383"/>
              <a:gd name="connsiteX1475" fmla="*/ 252385 w 9310410"/>
              <a:gd name="connsiteY1475" fmla="*/ 2853743 h 5296383"/>
              <a:gd name="connsiteX1476" fmla="*/ 254783 w 9310410"/>
              <a:gd name="connsiteY1476" fmla="*/ 2857938 h 5296383"/>
              <a:gd name="connsiteX1477" fmla="*/ 256580 w 9310410"/>
              <a:gd name="connsiteY1477" fmla="*/ 2860335 h 5296383"/>
              <a:gd name="connsiteX1478" fmla="*/ 244595 w 9310410"/>
              <a:gd name="connsiteY1478" fmla="*/ 2860335 h 5296383"/>
              <a:gd name="connsiteX1479" fmla="*/ 234407 w 9310410"/>
              <a:gd name="connsiteY1479" fmla="*/ 2856140 h 5296383"/>
              <a:gd name="connsiteX1480" fmla="*/ 235007 w 9310410"/>
              <a:gd name="connsiteY1480" fmla="*/ 2860335 h 5296383"/>
              <a:gd name="connsiteX1481" fmla="*/ 230212 w 9310410"/>
              <a:gd name="connsiteY1481" fmla="*/ 2863930 h 5296383"/>
              <a:gd name="connsiteX1482" fmla="*/ 216429 w 9310410"/>
              <a:gd name="connsiteY1482" fmla="*/ 2868125 h 5296383"/>
              <a:gd name="connsiteX1483" fmla="*/ 177476 w 9310410"/>
              <a:gd name="connsiteY1483" fmla="*/ 2886703 h 5296383"/>
              <a:gd name="connsiteX1484" fmla="*/ 172682 w 9310410"/>
              <a:gd name="connsiteY1484" fmla="*/ 2889100 h 5296383"/>
              <a:gd name="connsiteX1485" fmla="*/ 172083 w 9310410"/>
              <a:gd name="connsiteY1485" fmla="*/ 2887901 h 5296383"/>
              <a:gd name="connsiteX1486" fmla="*/ 153505 w 9310410"/>
              <a:gd name="connsiteY1486" fmla="*/ 2883107 h 5296383"/>
              <a:gd name="connsiteX1487" fmla="*/ 128935 w 9310410"/>
              <a:gd name="connsiteY1487" fmla="*/ 2851346 h 5296383"/>
              <a:gd name="connsiteX1488" fmla="*/ 116950 w 9310410"/>
              <a:gd name="connsiteY1488" fmla="*/ 2829172 h 5296383"/>
              <a:gd name="connsiteX1489" fmla="*/ 108560 w 9310410"/>
              <a:gd name="connsiteY1489" fmla="*/ 2814191 h 5296383"/>
              <a:gd name="connsiteX1490" fmla="*/ 106163 w 9310410"/>
              <a:gd name="connsiteY1490" fmla="*/ 2807599 h 5296383"/>
              <a:gd name="connsiteX1491" fmla="*/ 101368 w 9310410"/>
              <a:gd name="connsiteY1491" fmla="*/ 2804003 h 5296383"/>
              <a:gd name="connsiteX1492" fmla="*/ 94776 w 9310410"/>
              <a:gd name="connsiteY1492" fmla="*/ 2790819 h 5296383"/>
              <a:gd name="connsiteX1493" fmla="*/ 88184 w 9310410"/>
              <a:gd name="connsiteY1493" fmla="*/ 2783028 h 5296383"/>
              <a:gd name="connsiteX1494" fmla="*/ 82791 w 9310410"/>
              <a:gd name="connsiteY1494" fmla="*/ 2775238 h 5296383"/>
              <a:gd name="connsiteX1495" fmla="*/ 79795 w 9310410"/>
              <a:gd name="connsiteY1495" fmla="*/ 2772841 h 5296383"/>
              <a:gd name="connsiteX1496" fmla="*/ 76199 w 9310410"/>
              <a:gd name="connsiteY1496" fmla="*/ 2764451 h 5296383"/>
              <a:gd name="connsiteX1497" fmla="*/ 62416 w 9310410"/>
              <a:gd name="connsiteY1497" fmla="*/ 2757859 h 5296383"/>
              <a:gd name="connsiteX1498" fmla="*/ 63614 w 9310410"/>
              <a:gd name="connsiteY1498" fmla="*/ 2752465 h 5296383"/>
              <a:gd name="connsiteX1499" fmla="*/ 65412 w 9310410"/>
              <a:gd name="connsiteY1499" fmla="*/ 2748870 h 5296383"/>
              <a:gd name="connsiteX1500" fmla="*/ 69607 w 9310410"/>
              <a:gd name="connsiteY1500" fmla="*/ 2742877 h 5296383"/>
              <a:gd name="connsiteX1501" fmla="*/ 59419 w 9310410"/>
              <a:gd name="connsiteY1501" fmla="*/ 2732689 h 5296383"/>
              <a:gd name="connsiteX1502" fmla="*/ 55224 w 9310410"/>
              <a:gd name="connsiteY1502" fmla="*/ 2727296 h 5296383"/>
              <a:gd name="connsiteX1503" fmla="*/ 54625 w 9310410"/>
              <a:gd name="connsiteY1503" fmla="*/ 2714112 h 5296383"/>
              <a:gd name="connsiteX1504" fmla="*/ 52228 w 9310410"/>
              <a:gd name="connsiteY1504" fmla="*/ 2708718 h 5296383"/>
              <a:gd name="connsiteX1505" fmla="*/ 58221 w 9310410"/>
              <a:gd name="connsiteY1505" fmla="*/ 2698531 h 5296383"/>
              <a:gd name="connsiteX1506" fmla="*/ 54625 w 9310410"/>
              <a:gd name="connsiteY1506" fmla="*/ 2691339 h 5296383"/>
              <a:gd name="connsiteX1507" fmla="*/ 50430 w 9310410"/>
              <a:gd name="connsiteY1507" fmla="*/ 2682950 h 5296383"/>
              <a:gd name="connsiteX1508" fmla="*/ 51029 w 9310410"/>
              <a:gd name="connsiteY1508" fmla="*/ 2676957 h 5296383"/>
              <a:gd name="connsiteX1509" fmla="*/ 52827 w 9310410"/>
              <a:gd name="connsiteY1509" fmla="*/ 2670964 h 5296383"/>
              <a:gd name="connsiteX1510" fmla="*/ 53427 w 9310410"/>
              <a:gd name="connsiteY1510" fmla="*/ 2656582 h 5296383"/>
              <a:gd name="connsiteX1511" fmla="*/ 51029 w 9310410"/>
              <a:gd name="connsiteY1511" fmla="*/ 2638603 h 5296383"/>
              <a:gd name="connsiteX1512" fmla="*/ 48033 w 9310410"/>
              <a:gd name="connsiteY1512" fmla="*/ 2634408 h 5296383"/>
              <a:gd name="connsiteX1513" fmla="*/ 43239 w 9310410"/>
              <a:gd name="connsiteY1513" fmla="*/ 2632011 h 5296383"/>
              <a:gd name="connsiteX1514" fmla="*/ 40242 w 9310410"/>
              <a:gd name="connsiteY1514" fmla="*/ 2626019 h 5296383"/>
              <a:gd name="connsiteX1515" fmla="*/ 32452 w 9310410"/>
              <a:gd name="connsiteY1515" fmla="*/ 2621824 h 5296383"/>
              <a:gd name="connsiteX1516" fmla="*/ 32452 w 9310410"/>
              <a:gd name="connsiteY1516" fmla="*/ 2615831 h 5296383"/>
              <a:gd name="connsiteX1517" fmla="*/ 34250 w 9310410"/>
              <a:gd name="connsiteY1517" fmla="*/ 2605643 h 5296383"/>
              <a:gd name="connsiteX1518" fmla="*/ 37246 w 9310410"/>
              <a:gd name="connsiteY1518" fmla="*/ 2594257 h 5296383"/>
              <a:gd name="connsiteX1519" fmla="*/ 37845 w 9310410"/>
              <a:gd name="connsiteY1519" fmla="*/ 2586467 h 5296383"/>
              <a:gd name="connsiteX1520" fmla="*/ 33051 w 9310410"/>
              <a:gd name="connsiteY1520" fmla="*/ 2588264 h 5296383"/>
              <a:gd name="connsiteX1521" fmla="*/ 30055 w 9310410"/>
              <a:gd name="connsiteY1521" fmla="*/ 2584069 h 5296383"/>
              <a:gd name="connsiteX1522" fmla="*/ 27058 w 9310410"/>
              <a:gd name="connsiteY1522" fmla="*/ 2583470 h 5296383"/>
              <a:gd name="connsiteX1523" fmla="*/ 28257 w 9310410"/>
              <a:gd name="connsiteY1523" fmla="*/ 2581672 h 5296383"/>
              <a:gd name="connsiteX1524" fmla="*/ 26459 w 9310410"/>
              <a:gd name="connsiteY1524" fmla="*/ 2579275 h 5296383"/>
              <a:gd name="connsiteX1525" fmla="*/ 22264 w 9310410"/>
              <a:gd name="connsiteY1525" fmla="*/ 2575680 h 5296383"/>
              <a:gd name="connsiteX1526" fmla="*/ 18069 w 9310410"/>
              <a:gd name="connsiteY1526" fmla="*/ 2565492 h 5296383"/>
              <a:gd name="connsiteX1527" fmla="*/ 15073 w 9310410"/>
              <a:gd name="connsiteY1527" fmla="*/ 2552308 h 5296383"/>
              <a:gd name="connsiteX1528" fmla="*/ 26459 w 9310410"/>
              <a:gd name="connsiteY1528" fmla="*/ 2545117 h 5296383"/>
              <a:gd name="connsiteX1529" fmla="*/ 19867 w 9310410"/>
              <a:gd name="connsiteY1529" fmla="*/ 2542120 h 5296383"/>
              <a:gd name="connsiteX1530" fmla="*/ 15672 w 9310410"/>
              <a:gd name="connsiteY1530" fmla="*/ 2540322 h 5296383"/>
              <a:gd name="connsiteX1531" fmla="*/ 10878 w 9310410"/>
              <a:gd name="connsiteY1531" fmla="*/ 2535528 h 5296383"/>
              <a:gd name="connsiteX1532" fmla="*/ 11477 w 9310410"/>
              <a:gd name="connsiteY1532" fmla="*/ 2527738 h 5296383"/>
              <a:gd name="connsiteX1533" fmla="*/ 7282 w 9310410"/>
              <a:gd name="connsiteY1533" fmla="*/ 2523543 h 5296383"/>
              <a:gd name="connsiteX1534" fmla="*/ 91 w 9310410"/>
              <a:gd name="connsiteY1534" fmla="*/ 2516351 h 5296383"/>
              <a:gd name="connsiteX1535" fmla="*/ 6084 w 9310410"/>
              <a:gd name="connsiteY1535" fmla="*/ 2509160 h 5296383"/>
              <a:gd name="connsiteX1536" fmla="*/ 9080 w 9310410"/>
              <a:gd name="connsiteY1536" fmla="*/ 2501969 h 5296383"/>
              <a:gd name="connsiteX1537" fmla="*/ 6084 w 9310410"/>
              <a:gd name="connsiteY1537" fmla="*/ 2496575 h 5296383"/>
              <a:gd name="connsiteX1538" fmla="*/ 4885 w 9310410"/>
              <a:gd name="connsiteY1538" fmla="*/ 2491182 h 5296383"/>
              <a:gd name="connsiteX1539" fmla="*/ 7882 w 9310410"/>
              <a:gd name="connsiteY1539" fmla="*/ 2483391 h 5296383"/>
              <a:gd name="connsiteX1540" fmla="*/ 12077 w 9310410"/>
              <a:gd name="connsiteY1540" fmla="*/ 2481594 h 5296383"/>
              <a:gd name="connsiteX1541" fmla="*/ 7882 w 9310410"/>
              <a:gd name="connsiteY1541" fmla="*/ 2483391 h 5296383"/>
              <a:gd name="connsiteX1542" fmla="*/ 9680 w 9310410"/>
              <a:gd name="connsiteY1542" fmla="*/ 2475601 h 5296383"/>
              <a:gd name="connsiteX1543" fmla="*/ 19867 w 9310410"/>
              <a:gd name="connsiteY1543" fmla="*/ 2470207 h 5296383"/>
              <a:gd name="connsiteX1544" fmla="*/ 19867 w 9310410"/>
              <a:gd name="connsiteY1544" fmla="*/ 2462417 h 5296383"/>
              <a:gd name="connsiteX1545" fmla="*/ 18669 w 9310410"/>
              <a:gd name="connsiteY1545" fmla="*/ 2460020 h 5296383"/>
              <a:gd name="connsiteX1546" fmla="*/ 16871 w 9310410"/>
              <a:gd name="connsiteY1546" fmla="*/ 2458821 h 5296383"/>
              <a:gd name="connsiteX1547" fmla="*/ 19867 w 9310410"/>
              <a:gd name="connsiteY1547" fmla="*/ 2451630 h 5296383"/>
              <a:gd name="connsiteX1548" fmla="*/ 20466 w 9310410"/>
              <a:gd name="connsiteY1548" fmla="*/ 2446236 h 5296383"/>
              <a:gd name="connsiteX1549" fmla="*/ 21066 w 9310410"/>
              <a:gd name="connsiteY1549" fmla="*/ 2442041 h 5296383"/>
              <a:gd name="connsiteX1550" fmla="*/ 21665 w 9310410"/>
              <a:gd name="connsiteY1550" fmla="*/ 2437847 h 5296383"/>
              <a:gd name="connsiteX1551" fmla="*/ 14474 w 9310410"/>
              <a:gd name="connsiteY1551" fmla="*/ 2419868 h 5296383"/>
              <a:gd name="connsiteX1552" fmla="*/ 22864 w 9310410"/>
              <a:gd name="connsiteY1552" fmla="*/ 2395298 h 5296383"/>
              <a:gd name="connsiteX1553" fmla="*/ 38445 w 9310410"/>
              <a:gd name="connsiteY1553" fmla="*/ 2374324 h 5296383"/>
              <a:gd name="connsiteX1554" fmla="*/ 47434 w 9310410"/>
              <a:gd name="connsiteY1554" fmla="*/ 2349753 h 5296383"/>
              <a:gd name="connsiteX1555" fmla="*/ 48632 w 9310410"/>
              <a:gd name="connsiteY1555" fmla="*/ 2344360 h 5296383"/>
              <a:gd name="connsiteX1556" fmla="*/ 48632 w 9310410"/>
              <a:gd name="connsiteY1556" fmla="*/ 2335371 h 5296383"/>
              <a:gd name="connsiteX1557" fmla="*/ 56423 w 9310410"/>
              <a:gd name="connsiteY1557" fmla="*/ 2315595 h 5296383"/>
              <a:gd name="connsiteX1558" fmla="*/ 79195 w 9310410"/>
              <a:gd name="connsiteY1558" fmla="*/ 2273046 h 5296383"/>
              <a:gd name="connsiteX1559" fmla="*/ 89383 w 9310410"/>
              <a:gd name="connsiteY1559" fmla="*/ 2233494 h 5296383"/>
              <a:gd name="connsiteX1560" fmla="*/ 93578 w 9310410"/>
              <a:gd name="connsiteY1560" fmla="*/ 2201733 h 5296383"/>
              <a:gd name="connsiteX1561" fmla="*/ 97174 w 9310410"/>
              <a:gd name="connsiteY1561" fmla="*/ 2193343 h 5296383"/>
              <a:gd name="connsiteX1562" fmla="*/ 101968 w 9310410"/>
              <a:gd name="connsiteY1562" fmla="*/ 2189747 h 5296383"/>
              <a:gd name="connsiteX1563" fmla="*/ 102567 w 9310410"/>
              <a:gd name="connsiteY1563" fmla="*/ 2183754 h 5296383"/>
              <a:gd name="connsiteX1564" fmla="*/ 106762 w 9310410"/>
              <a:gd name="connsiteY1564" fmla="*/ 2175365 h 5296383"/>
              <a:gd name="connsiteX1565" fmla="*/ 110358 w 9310410"/>
              <a:gd name="connsiteY1565" fmla="*/ 2162780 h 5296383"/>
              <a:gd name="connsiteX1566" fmla="*/ 115751 w 9310410"/>
              <a:gd name="connsiteY1566" fmla="*/ 2144202 h 5296383"/>
              <a:gd name="connsiteX1567" fmla="*/ 113354 w 9310410"/>
              <a:gd name="connsiteY1567" fmla="*/ 2135812 h 5296383"/>
              <a:gd name="connsiteX1568" fmla="*/ 107960 w 9310410"/>
              <a:gd name="connsiteY1568" fmla="*/ 2129221 h 5296383"/>
              <a:gd name="connsiteX1569" fmla="*/ 101968 w 9310410"/>
              <a:gd name="connsiteY1569" fmla="*/ 2126823 h 5296383"/>
              <a:gd name="connsiteX1570" fmla="*/ 104964 w 9310410"/>
              <a:gd name="connsiteY1570" fmla="*/ 2114239 h 5296383"/>
              <a:gd name="connsiteX1571" fmla="*/ 127736 w 9310410"/>
              <a:gd name="connsiteY1571" fmla="*/ 2107647 h 5296383"/>
              <a:gd name="connsiteX1572" fmla="*/ 108560 w 9310410"/>
              <a:gd name="connsiteY1572" fmla="*/ 2113040 h 5296383"/>
              <a:gd name="connsiteX1573" fmla="*/ 117549 w 9310410"/>
              <a:gd name="connsiteY1573" fmla="*/ 2095062 h 5296383"/>
              <a:gd name="connsiteX1574" fmla="*/ 124740 w 9310410"/>
              <a:gd name="connsiteY1574" fmla="*/ 2078282 h 5296383"/>
              <a:gd name="connsiteX1575" fmla="*/ 136126 w 9310410"/>
              <a:gd name="connsiteY1575" fmla="*/ 2063899 h 5296383"/>
              <a:gd name="connsiteX1576" fmla="*/ 146913 w 9310410"/>
              <a:gd name="connsiteY1576" fmla="*/ 2055510 h 5296383"/>
              <a:gd name="connsiteX1577" fmla="*/ 155303 w 9310410"/>
              <a:gd name="connsiteY1577" fmla="*/ 2041726 h 5296383"/>
              <a:gd name="connsiteX1578" fmla="*/ 163693 w 9310410"/>
              <a:gd name="connsiteY1578" fmla="*/ 2029142 h 5296383"/>
              <a:gd name="connsiteX1579" fmla="*/ 166090 w 9310410"/>
              <a:gd name="connsiteY1579" fmla="*/ 2019553 h 5296383"/>
              <a:gd name="connsiteX1580" fmla="*/ 182870 w 9310410"/>
              <a:gd name="connsiteY1580" fmla="*/ 2002774 h 5296383"/>
              <a:gd name="connsiteX1581" fmla="*/ 187065 w 9310410"/>
              <a:gd name="connsiteY1581" fmla="*/ 1996781 h 5296383"/>
              <a:gd name="connsiteX1582" fmla="*/ 189462 w 9310410"/>
              <a:gd name="connsiteY1582" fmla="*/ 1988391 h 5296383"/>
              <a:gd name="connsiteX1583" fmla="*/ 208638 w 9310410"/>
              <a:gd name="connsiteY1583" fmla="*/ 1970413 h 5296383"/>
              <a:gd name="connsiteX1584" fmla="*/ 219425 w 9310410"/>
              <a:gd name="connsiteY1584" fmla="*/ 1961424 h 5296383"/>
              <a:gd name="connsiteX1585" fmla="*/ 223021 w 9310410"/>
              <a:gd name="connsiteY1585" fmla="*/ 1956030 h 5296383"/>
              <a:gd name="connsiteX1586" fmla="*/ 228415 w 9310410"/>
              <a:gd name="connsiteY1586" fmla="*/ 1947640 h 5296383"/>
              <a:gd name="connsiteX1587" fmla="*/ 245194 w 9310410"/>
              <a:gd name="connsiteY1587" fmla="*/ 1932059 h 5296383"/>
              <a:gd name="connsiteX1588" fmla="*/ 264371 w 9310410"/>
              <a:gd name="connsiteY1588" fmla="*/ 1901496 h 5296383"/>
              <a:gd name="connsiteX1589" fmla="*/ 287743 w 9310410"/>
              <a:gd name="connsiteY1589" fmla="*/ 1887713 h 5296383"/>
              <a:gd name="connsiteX1590" fmla="*/ 299129 w 9310410"/>
              <a:gd name="connsiteY1590" fmla="*/ 1863143 h 5296383"/>
              <a:gd name="connsiteX1591" fmla="*/ 315908 w 9310410"/>
              <a:gd name="connsiteY1591" fmla="*/ 1842767 h 5296383"/>
              <a:gd name="connsiteX1592" fmla="*/ 365648 w 9310410"/>
              <a:gd name="connsiteY1592" fmla="*/ 1849959 h 5296383"/>
              <a:gd name="connsiteX1593" fmla="*/ 359056 w 9310410"/>
              <a:gd name="connsiteY1593" fmla="*/ 1848161 h 5296383"/>
              <a:gd name="connsiteX1594" fmla="*/ 351266 w 9310410"/>
              <a:gd name="connsiteY1594" fmla="*/ 1846962 h 5296383"/>
              <a:gd name="connsiteX1595" fmla="*/ 315908 w 9310410"/>
              <a:gd name="connsiteY1595" fmla="*/ 1842168 h 5296383"/>
              <a:gd name="connsiteX1596" fmla="*/ 327295 w 9310410"/>
              <a:gd name="connsiteY1596" fmla="*/ 1827786 h 5296383"/>
              <a:gd name="connsiteX1597" fmla="*/ 339280 w 9310410"/>
              <a:gd name="connsiteY1597" fmla="*/ 1821793 h 5296383"/>
              <a:gd name="connsiteX1598" fmla="*/ 357258 w 9310410"/>
              <a:gd name="connsiteY1598" fmla="*/ 1816399 h 5296383"/>
              <a:gd name="connsiteX1599" fmla="*/ 370442 w 9310410"/>
              <a:gd name="connsiteY1599" fmla="*/ 1808609 h 5296383"/>
              <a:gd name="connsiteX1600" fmla="*/ 387222 w 9310410"/>
              <a:gd name="connsiteY1600" fmla="*/ 1798421 h 5296383"/>
              <a:gd name="connsiteX1601" fmla="*/ 406998 w 9310410"/>
              <a:gd name="connsiteY1601" fmla="*/ 1784039 h 5296383"/>
              <a:gd name="connsiteX1602" fmla="*/ 422579 w 9310410"/>
              <a:gd name="connsiteY1602" fmla="*/ 1771454 h 5296383"/>
              <a:gd name="connsiteX1603" fmla="*/ 441756 w 9310410"/>
              <a:gd name="connsiteY1603" fmla="*/ 1758869 h 5296383"/>
              <a:gd name="connsiteX1604" fmla="*/ 449547 w 9310410"/>
              <a:gd name="connsiteY1604" fmla="*/ 1739692 h 5296383"/>
              <a:gd name="connsiteX1605" fmla="*/ 451944 w 9310410"/>
              <a:gd name="connsiteY1605" fmla="*/ 1728905 h 5296383"/>
              <a:gd name="connsiteX1606" fmla="*/ 460334 w 9310410"/>
              <a:gd name="connsiteY1606" fmla="*/ 1712725 h 5296383"/>
              <a:gd name="connsiteX1607" fmla="*/ 465727 w 9310410"/>
              <a:gd name="connsiteY1607" fmla="*/ 1695945 h 5296383"/>
              <a:gd name="connsiteX1608" fmla="*/ 475315 w 9310410"/>
              <a:gd name="connsiteY1608" fmla="*/ 1682761 h 5296383"/>
              <a:gd name="connsiteX1609" fmla="*/ 488499 w 9310410"/>
              <a:gd name="connsiteY1609" fmla="*/ 1671375 h 5296383"/>
              <a:gd name="connsiteX1610" fmla="*/ 493893 w 9310410"/>
              <a:gd name="connsiteY1610" fmla="*/ 1658191 h 5296383"/>
              <a:gd name="connsiteX1611" fmla="*/ 508875 w 9310410"/>
              <a:gd name="connsiteY1611" fmla="*/ 1645007 h 5296383"/>
              <a:gd name="connsiteX1612" fmla="*/ 526853 w 9310410"/>
              <a:gd name="connsiteY1612" fmla="*/ 1631823 h 5296383"/>
              <a:gd name="connsiteX1613" fmla="*/ 543633 w 9310410"/>
              <a:gd name="connsiteY1613" fmla="*/ 1623433 h 5296383"/>
              <a:gd name="connsiteX1614" fmla="*/ 565806 w 9310410"/>
              <a:gd name="connsiteY1614" fmla="*/ 1616242 h 5296383"/>
              <a:gd name="connsiteX1615" fmla="*/ 593372 w 9310410"/>
              <a:gd name="connsiteY1615" fmla="*/ 1597065 h 5296383"/>
              <a:gd name="connsiteX1616" fmla="*/ 610152 w 9310410"/>
              <a:gd name="connsiteY1616" fmla="*/ 1572495 h 5296383"/>
              <a:gd name="connsiteX1617" fmla="*/ 626932 w 9310410"/>
              <a:gd name="connsiteY1617" fmla="*/ 1546127 h 5296383"/>
              <a:gd name="connsiteX1618" fmla="*/ 645509 w 9310410"/>
              <a:gd name="connsiteY1618" fmla="*/ 1532344 h 5296383"/>
              <a:gd name="connsiteX1619" fmla="*/ 652700 w 9310410"/>
              <a:gd name="connsiteY1619" fmla="*/ 1537138 h 5296383"/>
              <a:gd name="connsiteX1620" fmla="*/ 649105 w 9310410"/>
              <a:gd name="connsiteY1620" fmla="*/ 1552719 h 5296383"/>
              <a:gd name="connsiteX1621" fmla="*/ 665884 w 9310410"/>
              <a:gd name="connsiteY1621" fmla="*/ 1565903 h 5296383"/>
              <a:gd name="connsiteX1622" fmla="*/ 679069 w 9310410"/>
              <a:gd name="connsiteY1622" fmla="*/ 1567701 h 5296383"/>
              <a:gd name="connsiteX1623" fmla="*/ 689855 w 9310410"/>
              <a:gd name="connsiteY1623" fmla="*/ 1567701 h 5296383"/>
              <a:gd name="connsiteX1624" fmla="*/ 697646 w 9310410"/>
              <a:gd name="connsiteY1624" fmla="*/ 1570098 h 5296383"/>
              <a:gd name="connsiteX1625" fmla="*/ 712628 w 9310410"/>
              <a:gd name="connsiteY1625" fmla="*/ 1577289 h 5296383"/>
              <a:gd name="connsiteX1626" fmla="*/ 710231 w 9310410"/>
              <a:gd name="connsiteY1626" fmla="*/ 1578488 h 5296383"/>
              <a:gd name="connsiteX1627" fmla="*/ 725213 w 9310410"/>
              <a:gd name="connsiteY1627" fmla="*/ 1574892 h 5296383"/>
              <a:gd name="connsiteX1628" fmla="*/ 736000 w 9310410"/>
              <a:gd name="connsiteY1628" fmla="*/ 1567701 h 5296383"/>
              <a:gd name="connsiteX1629" fmla="*/ 743790 w 9310410"/>
              <a:gd name="connsiteY1629" fmla="*/ 1561109 h 5296383"/>
              <a:gd name="connsiteX1630" fmla="*/ 758173 w 9310410"/>
              <a:gd name="connsiteY1630" fmla="*/ 1558712 h 5296383"/>
              <a:gd name="connsiteX1631" fmla="*/ 765364 w 9310410"/>
              <a:gd name="connsiteY1631" fmla="*/ 1558112 h 5296383"/>
              <a:gd name="connsiteX1632" fmla="*/ 777349 w 9310410"/>
              <a:gd name="connsiteY1632" fmla="*/ 1556914 h 5296383"/>
              <a:gd name="connsiteX1633" fmla="*/ 789335 w 9310410"/>
              <a:gd name="connsiteY1633" fmla="*/ 1545528 h 5296383"/>
              <a:gd name="connsiteX1634" fmla="*/ 809111 w 9310410"/>
              <a:gd name="connsiteY1634" fmla="*/ 1537138 h 5296383"/>
              <a:gd name="connsiteX1635" fmla="*/ 824692 w 9310410"/>
              <a:gd name="connsiteY1635" fmla="*/ 1532943 h 5296383"/>
              <a:gd name="connsiteX1636" fmla="*/ 855854 w 9310410"/>
              <a:gd name="connsiteY1636" fmla="*/ 1534141 h 5296383"/>
              <a:gd name="connsiteX1637" fmla="*/ 873832 w 9310410"/>
              <a:gd name="connsiteY1637" fmla="*/ 1534741 h 5296383"/>
              <a:gd name="connsiteX1638" fmla="*/ 885818 w 9310410"/>
              <a:gd name="connsiteY1638" fmla="*/ 1534141 h 5296383"/>
              <a:gd name="connsiteX1639" fmla="*/ 897803 w 9310410"/>
              <a:gd name="connsiteY1639" fmla="*/ 1538336 h 5296383"/>
              <a:gd name="connsiteX1640" fmla="*/ 918179 w 9310410"/>
              <a:gd name="connsiteY1640" fmla="*/ 1546726 h 5296383"/>
              <a:gd name="connsiteX1641" fmla="*/ 932561 w 9310410"/>
              <a:gd name="connsiteY1641" fmla="*/ 1542531 h 5296383"/>
              <a:gd name="connsiteX1642" fmla="*/ 944547 w 9310410"/>
              <a:gd name="connsiteY1642" fmla="*/ 1540134 h 5296383"/>
              <a:gd name="connsiteX1643" fmla="*/ 956532 w 9310410"/>
              <a:gd name="connsiteY1643" fmla="*/ 1546726 h 5296383"/>
              <a:gd name="connsiteX1644" fmla="*/ 960727 w 9310410"/>
              <a:gd name="connsiteY1644" fmla="*/ 1541333 h 5296383"/>
              <a:gd name="connsiteX1645" fmla="*/ 967919 w 9310410"/>
              <a:gd name="connsiteY1645" fmla="*/ 1544329 h 5296383"/>
              <a:gd name="connsiteX1646" fmla="*/ 979904 w 9310410"/>
              <a:gd name="connsiteY1646" fmla="*/ 1548524 h 5296383"/>
              <a:gd name="connsiteX1647" fmla="*/ 992489 w 9310410"/>
              <a:gd name="connsiteY1647" fmla="*/ 1548524 h 5296383"/>
              <a:gd name="connsiteX1648" fmla="*/ 1008070 w 9310410"/>
              <a:gd name="connsiteY1648" fmla="*/ 1543130 h 5296383"/>
              <a:gd name="connsiteX1649" fmla="*/ 1028445 w 9310410"/>
              <a:gd name="connsiteY1649" fmla="*/ 1545528 h 5296383"/>
              <a:gd name="connsiteX1650" fmla="*/ 1029644 w 9310410"/>
              <a:gd name="connsiteY1650" fmla="*/ 1555715 h 5296383"/>
              <a:gd name="connsiteX1651" fmla="*/ 1031442 w 9310410"/>
              <a:gd name="connsiteY1651" fmla="*/ 1563506 h 5296383"/>
              <a:gd name="connsiteX1652" fmla="*/ 1043427 w 9310410"/>
              <a:gd name="connsiteY1652" fmla="*/ 1558112 h 5296383"/>
              <a:gd name="connsiteX1653" fmla="*/ 1049420 w 9310410"/>
              <a:gd name="connsiteY1653" fmla="*/ 1557513 h 5296383"/>
              <a:gd name="connsiteX1654" fmla="*/ 1047622 w 9310410"/>
              <a:gd name="connsiteY1654" fmla="*/ 1565903 h 5296383"/>
              <a:gd name="connsiteX1655" fmla="*/ 1028445 w 9310410"/>
              <a:gd name="connsiteY1655" fmla="*/ 1580286 h 5296383"/>
              <a:gd name="connsiteX1656" fmla="*/ 1023052 w 9310410"/>
              <a:gd name="connsiteY1656" fmla="*/ 1605455 h 5296383"/>
              <a:gd name="connsiteX1657" fmla="*/ 1022452 w 9310410"/>
              <a:gd name="connsiteY1657" fmla="*/ 1619838 h 5296383"/>
              <a:gd name="connsiteX1658" fmla="*/ 1017658 w 9310410"/>
              <a:gd name="connsiteY1658" fmla="*/ 1630025 h 5296383"/>
              <a:gd name="connsiteX1659" fmla="*/ 1004474 w 9310410"/>
              <a:gd name="connsiteY1659" fmla="*/ 1645606 h 5296383"/>
              <a:gd name="connsiteX1660" fmla="*/ 979904 w 9310410"/>
              <a:gd name="connsiteY1660" fmla="*/ 1659390 h 5296383"/>
              <a:gd name="connsiteX1661" fmla="*/ 974511 w 9310410"/>
              <a:gd name="connsiteY1661" fmla="*/ 1675570 h 5296383"/>
              <a:gd name="connsiteX1662" fmla="*/ 978106 w 9310410"/>
              <a:gd name="connsiteY1662" fmla="*/ 1683960 h 5296383"/>
              <a:gd name="connsiteX1663" fmla="*/ 983500 w 9310410"/>
              <a:gd name="connsiteY1663" fmla="*/ 1689353 h 5296383"/>
              <a:gd name="connsiteX1664" fmla="*/ 988294 w 9310410"/>
              <a:gd name="connsiteY1664" fmla="*/ 1696545 h 5296383"/>
              <a:gd name="connsiteX1665" fmla="*/ 990092 w 9310410"/>
              <a:gd name="connsiteY1665" fmla="*/ 1704934 h 5296383"/>
              <a:gd name="connsiteX1666" fmla="*/ 999680 w 9310410"/>
              <a:gd name="connsiteY1666" fmla="*/ 1716920 h 5296383"/>
              <a:gd name="connsiteX1667" fmla="*/ 1013463 w 9310410"/>
              <a:gd name="connsiteY1667" fmla="*/ 1725310 h 5296383"/>
              <a:gd name="connsiteX1668" fmla="*/ 1025449 w 9310410"/>
              <a:gd name="connsiteY1668" fmla="*/ 1727707 h 5296383"/>
              <a:gd name="connsiteX1669" fmla="*/ 1033839 w 9310410"/>
              <a:gd name="connsiteY1669" fmla="*/ 1734898 h 5296383"/>
              <a:gd name="connsiteX1670" fmla="*/ 1042828 w 9310410"/>
              <a:gd name="connsiteY1670" fmla="*/ 1739093 h 5296383"/>
              <a:gd name="connsiteX1671" fmla="*/ 1051218 w 9310410"/>
              <a:gd name="connsiteY1671" fmla="*/ 1749281 h 5296383"/>
              <a:gd name="connsiteX1672" fmla="*/ 1052416 w 9310410"/>
              <a:gd name="connsiteY1672" fmla="*/ 1754674 h 5296383"/>
              <a:gd name="connsiteX1673" fmla="*/ 1054214 w 9310410"/>
              <a:gd name="connsiteY1673" fmla="*/ 1761865 h 5296383"/>
              <a:gd name="connsiteX1674" fmla="*/ 1054813 w 9310410"/>
              <a:gd name="connsiteY1674" fmla="*/ 1776847 h 5296383"/>
              <a:gd name="connsiteX1675" fmla="*/ 1062604 w 9310410"/>
              <a:gd name="connsiteY1675" fmla="*/ 1797822 h 5296383"/>
              <a:gd name="connsiteX1676" fmla="*/ 1086575 w 9310410"/>
              <a:gd name="connsiteY1676" fmla="*/ 1806212 h 5296383"/>
              <a:gd name="connsiteX1677" fmla="*/ 1104553 w 9310410"/>
              <a:gd name="connsiteY1677" fmla="*/ 1828984 h 5296383"/>
              <a:gd name="connsiteX1678" fmla="*/ 1120733 w 9310410"/>
              <a:gd name="connsiteY1678" fmla="*/ 1849959 h 5296383"/>
              <a:gd name="connsiteX1679" fmla="*/ 1137513 w 9310410"/>
              <a:gd name="connsiteY1679" fmla="*/ 1841569 h 5296383"/>
              <a:gd name="connsiteX1680" fmla="*/ 1155491 w 9310410"/>
              <a:gd name="connsiteY1680" fmla="*/ 1822991 h 5296383"/>
              <a:gd name="connsiteX1681" fmla="*/ 1160885 w 9310410"/>
              <a:gd name="connsiteY1681" fmla="*/ 1793028 h 5296383"/>
              <a:gd name="connsiteX1682" fmla="*/ 1171072 w 9310410"/>
              <a:gd name="connsiteY1682" fmla="*/ 1775050 h 5296383"/>
              <a:gd name="connsiteX1683" fmla="*/ 1189650 w 9310410"/>
              <a:gd name="connsiteY1683" fmla="*/ 1760068 h 5296383"/>
              <a:gd name="connsiteX1684" fmla="*/ 1214220 w 9310410"/>
              <a:gd name="connsiteY1684" fmla="*/ 1754075 h 5296383"/>
              <a:gd name="connsiteX1685" fmla="*/ 1231000 w 9310410"/>
              <a:gd name="connsiteY1685" fmla="*/ 1755873 h 5296383"/>
              <a:gd name="connsiteX1686" fmla="*/ 1245982 w 9310410"/>
              <a:gd name="connsiteY1686" fmla="*/ 1765461 h 5296383"/>
              <a:gd name="connsiteX1687" fmla="*/ 1246581 w 9310410"/>
              <a:gd name="connsiteY1687" fmla="*/ 1775649 h 5296383"/>
              <a:gd name="connsiteX1688" fmla="*/ 1247780 w 9310410"/>
              <a:gd name="connsiteY1688" fmla="*/ 1782840 h 5296383"/>
              <a:gd name="connsiteX1689" fmla="*/ 1253173 w 9310410"/>
              <a:gd name="connsiteY1689" fmla="*/ 1788233 h 5296383"/>
              <a:gd name="connsiteX1690" fmla="*/ 1259166 w 9310410"/>
              <a:gd name="connsiteY1690" fmla="*/ 1791230 h 5296383"/>
              <a:gd name="connsiteX1691" fmla="*/ 1266956 w 9310410"/>
              <a:gd name="connsiteY1691" fmla="*/ 1798421 h 5296383"/>
              <a:gd name="connsiteX1692" fmla="*/ 1277144 w 9310410"/>
              <a:gd name="connsiteY1692" fmla="*/ 1800818 h 5296383"/>
              <a:gd name="connsiteX1693" fmla="*/ 1285534 w 9310410"/>
              <a:gd name="connsiteY1693" fmla="*/ 1811006 h 5296383"/>
              <a:gd name="connsiteX1694" fmla="*/ 1291527 w 9310410"/>
              <a:gd name="connsiteY1694" fmla="*/ 1818796 h 5296383"/>
              <a:gd name="connsiteX1695" fmla="*/ 1311302 w 9310410"/>
              <a:gd name="connsiteY1695" fmla="*/ 1827786 h 5296383"/>
              <a:gd name="connsiteX1696" fmla="*/ 1324487 w 9310410"/>
              <a:gd name="connsiteY1696" fmla="*/ 1837973 h 5296383"/>
              <a:gd name="connsiteX1697" fmla="*/ 1331079 w 9310410"/>
              <a:gd name="connsiteY1697" fmla="*/ 1842767 h 5296383"/>
              <a:gd name="connsiteX1698" fmla="*/ 1338869 w 9310410"/>
              <a:gd name="connsiteY1698" fmla="*/ 1843966 h 5296383"/>
              <a:gd name="connsiteX1699" fmla="*/ 1349057 w 9310410"/>
              <a:gd name="connsiteY1699" fmla="*/ 1848161 h 5296383"/>
              <a:gd name="connsiteX1700" fmla="*/ 1359844 w 9310410"/>
              <a:gd name="connsiteY1700" fmla="*/ 1853554 h 5296383"/>
              <a:gd name="connsiteX1701" fmla="*/ 1376024 w 9310410"/>
              <a:gd name="connsiteY1701" fmla="*/ 1858948 h 5296383"/>
              <a:gd name="connsiteX1702" fmla="*/ 1394002 w 9310410"/>
              <a:gd name="connsiteY1702" fmla="*/ 1843367 h 5296383"/>
              <a:gd name="connsiteX1703" fmla="*/ 1401194 w 9310410"/>
              <a:gd name="connsiteY1703" fmla="*/ 1839172 h 5296383"/>
              <a:gd name="connsiteX1704" fmla="*/ 1407186 w 9310410"/>
              <a:gd name="connsiteY1704" fmla="*/ 1838573 h 5296383"/>
              <a:gd name="connsiteX1705" fmla="*/ 1411381 w 9310410"/>
              <a:gd name="connsiteY1705" fmla="*/ 1842168 h 5296383"/>
              <a:gd name="connsiteX1706" fmla="*/ 1420370 w 9310410"/>
              <a:gd name="connsiteY1706" fmla="*/ 1842168 h 5296383"/>
              <a:gd name="connsiteX1707" fmla="*/ 1426363 w 9310410"/>
              <a:gd name="connsiteY1707" fmla="*/ 1841569 h 5296383"/>
              <a:gd name="connsiteX1708" fmla="*/ 1434753 w 9310410"/>
              <a:gd name="connsiteY1708" fmla="*/ 1842767 h 5296383"/>
              <a:gd name="connsiteX1709" fmla="*/ 1438948 w 9310410"/>
              <a:gd name="connsiteY1709" fmla="*/ 1845164 h 5296383"/>
              <a:gd name="connsiteX1710" fmla="*/ 1437150 w 9310410"/>
              <a:gd name="connsiteY1710" fmla="*/ 1852356 h 5296383"/>
              <a:gd name="connsiteX1711" fmla="*/ 1442544 w 9310410"/>
              <a:gd name="connsiteY1711" fmla="*/ 1857749 h 5296383"/>
              <a:gd name="connsiteX1712" fmla="*/ 1451533 w 9310410"/>
              <a:gd name="connsiteY1712" fmla="*/ 1854753 h 5296383"/>
              <a:gd name="connsiteX1713" fmla="*/ 1466514 w 9310410"/>
              <a:gd name="connsiteY1713" fmla="*/ 1863143 h 5296383"/>
              <a:gd name="connsiteX1714" fmla="*/ 1489287 w 9310410"/>
              <a:gd name="connsiteY1714" fmla="*/ 1859547 h 5296383"/>
              <a:gd name="connsiteX1715" fmla="*/ 1492283 w 9310410"/>
              <a:gd name="connsiteY1715" fmla="*/ 1857150 h 5296383"/>
              <a:gd name="connsiteX1716" fmla="*/ 1513857 w 9310410"/>
              <a:gd name="connsiteY1716" fmla="*/ 1831381 h 5296383"/>
              <a:gd name="connsiteX1717" fmla="*/ 1525843 w 9310410"/>
              <a:gd name="connsiteY1717" fmla="*/ 1811605 h 5296383"/>
              <a:gd name="connsiteX1718" fmla="*/ 1540225 w 9310410"/>
              <a:gd name="connsiteY1718" fmla="*/ 1795425 h 5296383"/>
              <a:gd name="connsiteX1719" fmla="*/ 1546218 w 9310410"/>
              <a:gd name="connsiteY1719" fmla="*/ 1787035 h 5296383"/>
              <a:gd name="connsiteX1720" fmla="*/ 1546218 w 9310410"/>
              <a:gd name="connsiteY1720" fmla="*/ 1787035 h 5296383"/>
              <a:gd name="connsiteX1721" fmla="*/ 1546218 w 9310410"/>
              <a:gd name="connsiteY1721" fmla="*/ 1787035 h 5296383"/>
              <a:gd name="connsiteX1722" fmla="*/ 1546218 w 9310410"/>
              <a:gd name="connsiteY1722" fmla="*/ 1787035 h 5296383"/>
              <a:gd name="connsiteX1723" fmla="*/ 1546218 w 9310410"/>
              <a:gd name="connsiteY1723" fmla="*/ 1787035 h 5296383"/>
              <a:gd name="connsiteX1724" fmla="*/ 1560001 w 9310410"/>
              <a:gd name="connsiteY1724" fmla="*/ 1772652 h 5296383"/>
              <a:gd name="connsiteX1725" fmla="*/ 1573185 w 9310410"/>
              <a:gd name="connsiteY1725" fmla="*/ 1751079 h 5296383"/>
              <a:gd name="connsiteX1726" fmla="*/ 1581575 w 9310410"/>
              <a:gd name="connsiteY1726" fmla="*/ 1736097 h 5296383"/>
              <a:gd name="connsiteX1727" fmla="*/ 1587568 w 9310410"/>
              <a:gd name="connsiteY1727" fmla="*/ 1722313 h 5296383"/>
              <a:gd name="connsiteX1728" fmla="*/ 1592362 w 9310410"/>
              <a:gd name="connsiteY1728" fmla="*/ 1711526 h 5296383"/>
              <a:gd name="connsiteX1729" fmla="*/ 1599553 w 9310410"/>
              <a:gd name="connsiteY1729" fmla="*/ 1690552 h 5296383"/>
              <a:gd name="connsiteX1730" fmla="*/ 1616333 w 9310410"/>
              <a:gd name="connsiteY1730" fmla="*/ 1671974 h 5296383"/>
              <a:gd name="connsiteX1731" fmla="*/ 1613936 w 9310410"/>
              <a:gd name="connsiteY1731" fmla="*/ 1661187 h 5296383"/>
              <a:gd name="connsiteX1732" fmla="*/ 1594160 w 9310410"/>
              <a:gd name="connsiteY1732" fmla="*/ 1658191 h 5296383"/>
              <a:gd name="connsiteX1733" fmla="*/ 1572586 w 9310410"/>
              <a:gd name="connsiteY1733" fmla="*/ 1667780 h 5296383"/>
              <a:gd name="connsiteX1734" fmla="*/ 1561799 w 9310410"/>
              <a:gd name="connsiteY1734" fmla="*/ 1674971 h 5296383"/>
              <a:gd name="connsiteX1735" fmla="*/ 1556405 w 9310410"/>
              <a:gd name="connsiteY1735" fmla="*/ 1674371 h 5296383"/>
              <a:gd name="connsiteX1736" fmla="*/ 1540225 w 9310410"/>
              <a:gd name="connsiteY1736" fmla="*/ 1674971 h 5296383"/>
              <a:gd name="connsiteX1737" fmla="*/ 1525243 w 9310410"/>
              <a:gd name="connsiteY1737" fmla="*/ 1664783 h 5296383"/>
              <a:gd name="connsiteX1738" fmla="*/ 1501872 w 9310410"/>
              <a:gd name="connsiteY1738" fmla="*/ 1646805 h 5296383"/>
              <a:gd name="connsiteX1739" fmla="*/ 1483893 w 9310410"/>
              <a:gd name="connsiteY1739" fmla="*/ 1655195 h 5296383"/>
              <a:gd name="connsiteX1740" fmla="*/ 1473706 w 9310410"/>
              <a:gd name="connsiteY1740" fmla="*/ 1662386 h 5296383"/>
              <a:gd name="connsiteX1741" fmla="*/ 1471309 w 9310410"/>
              <a:gd name="connsiteY1741" fmla="*/ 1658191 h 5296383"/>
              <a:gd name="connsiteX1742" fmla="*/ 1460522 w 9310410"/>
              <a:gd name="connsiteY1742" fmla="*/ 1658790 h 5296383"/>
              <a:gd name="connsiteX1743" fmla="*/ 1452731 w 9310410"/>
              <a:gd name="connsiteY1743" fmla="*/ 1651000 h 5296383"/>
              <a:gd name="connsiteX1744" fmla="*/ 1448536 w 9310410"/>
              <a:gd name="connsiteY1744" fmla="*/ 1642610 h 5296383"/>
              <a:gd name="connsiteX1745" fmla="*/ 1443143 w 9310410"/>
              <a:gd name="connsiteY1745" fmla="*/ 1640812 h 5296383"/>
              <a:gd name="connsiteX1746" fmla="*/ 1438349 w 9310410"/>
              <a:gd name="connsiteY1746" fmla="*/ 1638415 h 5296383"/>
              <a:gd name="connsiteX1747" fmla="*/ 1432955 w 9310410"/>
              <a:gd name="connsiteY1747" fmla="*/ 1637816 h 5296383"/>
              <a:gd name="connsiteX1748" fmla="*/ 1424565 w 9310410"/>
              <a:gd name="connsiteY1748" fmla="*/ 1633022 h 5296383"/>
              <a:gd name="connsiteX1749" fmla="*/ 1432955 w 9310410"/>
              <a:gd name="connsiteY1749" fmla="*/ 1628227 h 5296383"/>
              <a:gd name="connsiteX1750" fmla="*/ 1434753 w 9310410"/>
              <a:gd name="connsiteY1750" fmla="*/ 1624032 h 5296383"/>
              <a:gd name="connsiteX1751" fmla="*/ 1419771 w 9310410"/>
              <a:gd name="connsiteY1751" fmla="*/ 1623433 h 5296383"/>
              <a:gd name="connsiteX1752" fmla="*/ 1421569 w 9310410"/>
              <a:gd name="connsiteY1752" fmla="*/ 1619238 h 5296383"/>
              <a:gd name="connsiteX1753" fmla="*/ 1420970 w 9310410"/>
              <a:gd name="connsiteY1753" fmla="*/ 1615043 h 5296383"/>
              <a:gd name="connsiteX1754" fmla="*/ 1420370 w 9310410"/>
              <a:gd name="connsiteY1754" fmla="*/ 1609650 h 5296383"/>
              <a:gd name="connsiteX1755" fmla="*/ 1425764 w 9310410"/>
              <a:gd name="connsiteY1755" fmla="*/ 1600061 h 5296383"/>
              <a:gd name="connsiteX1756" fmla="*/ 1428161 w 9310410"/>
              <a:gd name="connsiteY1756" fmla="*/ 1595267 h 5296383"/>
              <a:gd name="connsiteX1757" fmla="*/ 1428760 w 9310410"/>
              <a:gd name="connsiteY1757" fmla="*/ 1588076 h 5296383"/>
              <a:gd name="connsiteX1758" fmla="*/ 1424565 w 9310410"/>
              <a:gd name="connsiteY1758" fmla="*/ 1582683 h 5296383"/>
              <a:gd name="connsiteX1759" fmla="*/ 1418573 w 9310410"/>
              <a:gd name="connsiteY1759" fmla="*/ 1579087 h 5296383"/>
              <a:gd name="connsiteX1760" fmla="*/ 1414977 w 9310410"/>
              <a:gd name="connsiteY1760" fmla="*/ 1575491 h 5296383"/>
              <a:gd name="connsiteX1761" fmla="*/ 1417374 w 9310410"/>
              <a:gd name="connsiteY1761" fmla="*/ 1568300 h 5296383"/>
              <a:gd name="connsiteX1762" fmla="*/ 1420370 w 9310410"/>
              <a:gd name="connsiteY1762" fmla="*/ 1561708 h 5296383"/>
              <a:gd name="connsiteX1763" fmla="*/ 1426363 w 9310410"/>
              <a:gd name="connsiteY1763" fmla="*/ 1562307 h 5296383"/>
              <a:gd name="connsiteX1764" fmla="*/ 1430558 w 9310410"/>
              <a:gd name="connsiteY1764" fmla="*/ 1562907 h 5296383"/>
              <a:gd name="connsiteX1765" fmla="*/ 1433554 w 9310410"/>
              <a:gd name="connsiteY1765" fmla="*/ 1556315 h 5296383"/>
              <a:gd name="connsiteX1766" fmla="*/ 1438349 w 9310410"/>
              <a:gd name="connsiteY1766" fmla="*/ 1550921 h 5296383"/>
              <a:gd name="connsiteX1767" fmla="*/ 1438948 w 9310410"/>
              <a:gd name="connsiteY1767" fmla="*/ 1543730 h 5296383"/>
              <a:gd name="connsiteX1768" fmla="*/ 1440146 w 9310410"/>
              <a:gd name="connsiteY1768" fmla="*/ 1534741 h 5296383"/>
              <a:gd name="connsiteX1769" fmla="*/ 1434753 w 9310410"/>
              <a:gd name="connsiteY1769" fmla="*/ 1517961 h 5296383"/>
              <a:gd name="connsiteX1770" fmla="*/ 1453930 w 9310410"/>
              <a:gd name="connsiteY1770" fmla="*/ 1501781 h 5296383"/>
              <a:gd name="connsiteX1771" fmla="*/ 1474305 w 9310410"/>
              <a:gd name="connsiteY1771" fmla="*/ 1499983 h 5296383"/>
              <a:gd name="connsiteX1772" fmla="*/ 1481496 w 9310410"/>
              <a:gd name="connsiteY1772" fmla="*/ 1499384 h 5296383"/>
              <a:gd name="connsiteX1773" fmla="*/ 1489287 w 9310410"/>
              <a:gd name="connsiteY1773" fmla="*/ 1495189 h 5296383"/>
              <a:gd name="connsiteX1774" fmla="*/ 1500673 w 9310410"/>
              <a:gd name="connsiteY1774" fmla="*/ 1499983 h 5296383"/>
              <a:gd name="connsiteX1775" fmla="*/ 1510861 w 9310410"/>
              <a:gd name="connsiteY1775" fmla="*/ 1496986 h 5296383"/>
              <a:gd name="connsiteX1776" fmla="*/ 1511460 w 9310410"/>
              <a:gd name="connsiteY1776" fmla="*/ 1490394 h 5296383"/>
              <a:gd name="connsiteX1777" fmla="*/ 1532435 w 9310410"/>
              <a:gd name="connsiteY1777" fmla="*/ 1491593 h 5296383"/>
              <a:gd name="connsiteX1778" fmla="*/ 1533633 w 9310410"/>
              <a:gd name="connsiteY1778" fmla="*/ 1487398 h 5296383"/>
              <a:gd name="connsiteX1779" fmla="*/ 1536030 w 9310410"/>
              <a:gd name="connsiteY1779" fmla="*/ 1478409 h 5296383"/>
              <a:gd name="connsiteX1780" fmla="*/ 1552810 w 9310410"/>
              <a:gd name="connsiteY1780" fmla="*/ 1477810 h 5296383"/>
              <a:gd name="connsiteX1781" fmla="*/ 1568990 w 9310410"/>
              <a:gd name="connsiteY1781" fmla="*/ 1480207 h 5296383"/>
              <a:gd name="connsiteX1782" fmla="*/ 1580376 w 9310410"/>
              <a:gd name="connsiteY1782" fmla="*/ 1479607 h 5296383"/>
              <a:gd name="connsiteX1783" fmla="*/ 1587568 w 9310410"/>
              <a:gd name="connsiteY1783" fmla="*/ 1475413 h 5296383"/>
              <a:gd name="connsiteX1784" fmla="*/ 1601950 w 9310410"/>
              <a:gd name="connsiteY1784" fmla="*/ 1470019 h 5296383"/>
              <a:gd name="connsiteX1785" fmla="*/ 1631914 w 9310410"/>
              <a:gd name="connsiteY1785" fmla="*/ 1461629 h 5296383"/>
              <a:gd name="connsiteX1786" fmla="*/ 1659481 w 9310410"/>
              <a:gd name="connsiteY1786" fmla="*/ 1461629 h 5296383"/>
              <a:gd name="connsiteX1787" fmla="*/ 1679257 w 9310410"/>
              <a:gd name="connsiteY1787" fmla="*/ 1461030 h 5296383"/>
              <a:gd name="connsiteX1788" fmla="*/ 1687047 w 9310410"/>
              <a:gd name="connsiteY1788" fmla="*/ 1460431 h 5296383"/>
              <a:gd name="connsiteX1789" fmla="*/ 1682852 w 9310410"/>
              <a:gd name="connsiteY1789" fmla="*/ 1471218 h 5296383"/>
              <a:gd name="connsiteX1790" fmla="*/ 1694838 w 9310410"/>
              <a:gd name="connsiteY1790" fmla="*/ 1478409 h 5296383"/>
              <a:gd name="connsiteX1791" fmla="*/ 1702029 w 9310410"/>
              <a:gd name="connsiteY1791" fmla="*/ 1479008 h 5296383"/>
              <a:gd name="connsiteX1792" fmla="*/ 1699632 w 9310410"/>
              <a:gd name="connsiteY1792" fmla="*/ 1486799 h 5296383"/>
              <a:gd name="connsiteX1793" fmla="*/ 1705026 w 9310410"/>
              <a:gd name="connsiteY1793" fmla="*/ 1498784 h 5296383"/>
              <a:gd name="connsiteX1794" fmla="*/ 1720007 w 9310410"/>
              <a:gd name="connsiteY1794" fmla="*/ 1505975 h 5296383"/>
              <a:gd name="connsiteX1795" fmla="*/ 1727798 w 9310410"/>
              <a:gd name="connsiteY1795" fmla="*/ 1507773 h 5296383"/>
              <a:gd name="connsiteX1796" fmla="*/ 1735589 w 9310410"/>
              <a:gd name="connsiteY1796" fmla="*/ 1511369 h 5296383"/>
              <a:gd name="connsiteX1797" fmla="*/ 1739783 w 9310410"/>
              <a:gd name="connsiteY1797" fmla="*/ 1516762 h 5296383"/>
              <a:gd name="connsiteX1798" fmla="*/ 1748772 w 9310410"/>
              <a:gd name="connsiteY1798" fmla="*/ 1516163 h 5296383"/>
              <a:gd name="connsiteX1799" fmla="*/ 1760758 w 9310410"/>
              <a:gd name="connsiteY1799" fmla="*/ 1512568 h 5296383"/>
              <a:gd name="connsiteX1800" fmla="*/ 1772743 w 9310410"/>
              <a:gd name="connsiteY1800" fmla="*/ 1519759 h 5296383"/>
              <a:gd name="connsiteX1801" fmla="*/ 1785928 w 9310410"/>
              <a:gd name="connsiteY1801" fmla="*/ 1520957 h 5296383"/>
              <a:gd name="connsiteX1802" fmla="*/ 1808700 w 9310410"/>
              <a:gd name="connsiteY1802" fmla="*/ 1515564 h 5296383"/>
              <a:gd name="connsiteX1803" fmla="*/ 1824880 w 9310410"/>
              <a:gd name="connsiteY1803" fmla="*/ 1506575 h 5296383"/>
              <a:gd name="connsiteX1804" fmla="*/ 1825480 w 9310410"/>
              <a:gd name="connsiteY1804" fmla="*/ 1506575 h 5296383"/>
              <a:gd name="connsiteX1805" fmla="*/ 1824880 w 9310410"/>
              <a:gd name="connsiteY1805" fmla="*/ 1505975 h 5296383"/>
              <a:gd name="connsiteX1806" fmla="*/ 1827877 w 9310410"/>
              <a:gd name="connsiteY1806" fmla="*/ 1499983 h 5296383"/>
              <a:gd name="connsiteX1807" fmla="*/ 1836866 w 9310410"/>
              <a:gd name="connsiteY1807" fmla="*/ 1470019 h 5296383"/>
              <a:gd name="connsiteX1808" fmla="*/ 1828476 w 9310410"/>
              <a:gd name="connsiteY1808" fmla="*/ 1449644 h 5296383"/>
              <a:gd name="connsiteX1809" fmla="*/ 1818888 w 9310410"/>
              <a:gd name="connsiteY1809" fmla="*/ 1440055 h 5296383"/>
              <a:gd name="connsiteX1810" fmla="*/ 1814093 w 9310410"/>
              <a:gd name="connsiteY1810" fmla="*/ 1429868 h 5296383"/>
              <a:gd name="connsiteX1811" fmla="*/ 1814693 w 9310410"/>
              <a:gd name="connsiteY1811" fmla="*/ 1429868 h 5296383"/>
              <a:gd name="connsiteX1812" fmla="*/ 1811696 w 9310410"/>
              <a:gd name="connsiteY1812" fmla="*/ 1428070 h 5296383"/>
              <a:gd name="connsiteX1813" fmla="*/ 1809299 w 9310410"/>
              <a:gd name="connsiteY1813" fmla="*/ 1414886 h 5296383"/>
              <a:gd name="connsiteX1814" fmla="*/ 1800310 w 9310410"/>
              <a:gd name="connsiteY1814" fmla="*/ 1399904 h 5296383"/>
              <a:gd name="connsiteX1815" fmla="*/ 1787126 w 9310410"/>
              <a:gd name="connsiteY1815" fmla="*/ 1381326 h 5296383"/>
              <a:gd name="connsiteX1816" fmla="*/ 1782931 w 9310410"/>
              <a:gd name="connsiteY1816" fmla="*/ 1368142 h 5296383"/>
              <a:gd name="connsiteX1817" fmla="*/ 1780534 w 9310410"/>
              <a:gd name="connsiteY1817" fmla="*/ 1353760 h 5296383"/>
              <a:gd name="connsiteX1818" fmla="*/ 1786527 w 9310410"/>
              <a:gd name="connsiteY1818" fmla="*/ 1347168 h 5296383"/>
              <a:gd name="connsiteX1819" fmla="*/ 1794317 w 9310410"/>
              <a:gd name="connsiteY1819" fmla="*/ 1349565 h 5296383"/>
              <a:gd name="connsiteX1820" fmla="*/ 1797913 w 9310410"/>
              <a:gd name="connsiteY1820" fmla="*/ 1350764 h 5296383"/>
              <a:gd name="connsiteX1821" fmla="*/ 1805104 w 9310410"/>
              <a:gd name="connsiteY1821" fmla="*/ 1347767 h 5296383"/>
              <a:gd name="connsiteX1822" fmla="*/ 1816491 w 9310410"/>
              <a:gd name="connsiteY1822" fmla="*/ 1331587 h 5296383"/>
              <a:gd name="connsiteX1823" fmla="*/ 1828476 w 9310410"/>
              <a:gd name="connsiteY1823" fmla="*/ 1329190 h 5296383"/>
              <a:gd name="connsiteX1824" fmla="*/ 1832671 w 9310410"/>
              <a:gd name="connsiteY1824" fmla="*/ 1328590 h 5296383"/>
              <a:gd name="connsiteX1825" fmla="*/ 1827277 w 9310410"/>
              <a:gd name="connsiteY1825" fmla="*/ 1318403 h 5296383"/>
              <a:gd name="connsiteX1826" fmla="*/ 1824880 w 9310410"/>
              <a:gd name="connsiteY1826" fmla="*/ 1311211 h 5296383"/>
              <a:gd name="connsiteX1827" fmla="*/ 1837465 w 9310410"/>
              <a:gd name="connsiteY1827" fmla="*/ 1310013 h 5296383"/>
              <a:gd name="connsiteX1828" fmla="*/ 1844057 w 9310410"/>
              <a:gd name="connsiteY1828" fmla="*/ 1308814 h 5296383"/>
              <a:gd name="connsiteX1829" fmla="*/ 1862035 w 9310410"/>
              <a:gd name="connsiteY1829" fmla="*/ 1304020 h 5296383"/>
              <a:gd name="connsiteX1830" fmla="*/ 1866230 w 9310410"/>
              <a:gd name="connsiteY1830" fmla="*/ 1298627 h 5296383"/>
              <a:gd name="connsiteX1831" fmla="*/ 1857840 w 9310410"/>
              <a:gd name="connsiteY1831" fmla="*/ 1296829 h 5296383"/>
              <a:gd name="connsiteX1832" fmla="*/ 1849451 w 9310410"/>
              <a:gd name="connsiteY1832" fmla="*/ 1297428 h 5296383"/>
              <a:gd name="connsiteX1833" fmla="*/ 1848851 w 9310410"/>
              <a:gd name="connsiteY1833" fmla="*/ 1293833 h 5296383"/>
              <a:gd name="connsiteX1834" fmla="*/ 1848252 w 9310410"/>
              <a:gd name="connsiteY1834" fmla="*/ 1295630 h 5296383"/>
              <a:gd name="connsiteX1835" fmla="*/ 1849451 w 9310410"/>
              <a:gd name="connsiteY1835" fmla="*/ 1297428 h 5296383"/>
              <a:gd name="connsiteX1836" fmla="*/ 1839862 w 9310410"/>
              <a:gd name="connsiteY1836" fmla="*/ 1298027 h 5296383"/>
              <a:gd name="connsiteX1837" fmla="*/ 1834469 w 9310410"/>
              <a:gd name="connsiteY1837" fmla="*/ 1293833 h 5296383"/>
              <a:gd name="connsiteX1838" fmla="*/ 1822483 w 9310410"/>
              <a:gd name="connsiteY1838" fmla="*/ 1299226 h 5296383"/>
              <a:gd name="connsiteX1839" fmla="*/ 1817090 w 9310410"/>
              <a:gd name="connsiteY1839" fmla="*/ 1299825 h 5296383"/>
              <a:gd name="connsiteX1840" fmla="*/ 1805104 w 9310410"/>
              <a:gd name="connsiteY1840" fmla="*/ 1304020 h 5296383"/>
              <a:gd name="connsiteX1841" fmla="*/ 1797913 w 9310410"/>
              <a:gd name="connsiteY1841" fmla="*/ 1306417 h 5296383"/>
              <a:gd name="connsiteX1842" fmla="*/ 1795516 w 9310410"/>
              <a:gd name="connsiteY1842" fmla="*/ 1305219 h 5296383"/>
              <a:gd name="connsiteX1843" fmla="*/ 1789523 w 9310410"/>
              <a:gd name="connsiteY1843" fmla="*/ 1310013 h 5296383"/>
              <a:gd name="connsiteX1844" fmla="*/ 1785328 w 9310410"/>
              <a:gd name="connsiteY1844" fmla="*/ 1309414 h 5296383"/>
              <a:gd name="connsiteX1845" fmla="*/ 1778736 w 9310410"/>
              <a:gd name="connsiteY1845" fmla="*/ 1308215 h 5296383"/>
              <a:gd name="connsiteX1846" fmla="*/ 1764354 w 9310410"/>
              <a:gd name="connsiteY1846" fmla="*/ 1316006 h 5296383"/>
              <a:gd name="connsiteX1847" fmla="*/ 1760758 w 9310410"/>
              <a:gd name="connsiteY1847" fmla="*/ 1313009 h 5296383"/>
              <a:gd name="connsiteX1848" fmla="*/ 1766151 w 9310410"/>
              <a:gd name="connsiteY1848" fmla="*/ 1308215 h 5296383"/>
              <a:gd name="connsiteX1849" fmla="*/ 1756563 w 9310410"/>
              <a:gd name="connsiteY1849" fmla="*/ 1310013 h 5296383"/>
              <a:gd name="connsiteX1850" fmla="*/ 1739184 w 9310410"/>
              <a:gd name="connsiteY1850" fmla="*/ 1313009 h 5296383"/>
              <a:gd name="connsiteX1851" fmla="*/ 1737386 w 9310410"/>
              <a:gd name="connsiteY1851" fmla="*/ 1316006 h 5296383"/>
              <a:gd name="connsiteX1852" fmla="*/ 1745177 w 9310410"/>
              <a:gd name="connsiteY1852" fmla="*/ 1327392 h 5296383"/>
              <a:gd name="connsiteX1853" fmla="*/ 1746375 w 9310410"/>
              <a:gd name="connsiteY1853" fmla="*/ 1338179 h 5296383"/>
              <a:gd name="connsiteX1854" fmla="*/ 1755365 w 9310410"/>
              <a:gd name="connsiteY1854" fmla="*/ 1340576 h 5296383"/>
              <a:gd name="connsiteX1855" fmla="*/ 1772743 w 9310410"/>
              <a:gd name="connsiteY1855" fmla="*/ 1339977 h 5296383"/>
              <a:gd name="connsiteX1856" fmla="*/ 1776339 w 9310410"/>
              <a:gd name="connsiteY1856" fmla="*/ 1346569 h 5296383"/>
              <a:gd name="connsiteX1857" fmla="*/ 1768549 w 9310410"/>
              <a:gd name="connsiteY1857" fmla="*/ 1355558 h 5296383"/>
              <a:gd name="connsiteX1858" fmla="*/ 1755964 w 9310410"/>
              <a:gd name="connsiteY1858" fmla="*/ 1357356 h 5296383"/>
              <a:gd name="connsiteX1859" fmla="*/ 1739184 w 9310410"/>
              <a:gd name="connsiteY1859" fmla="*/ 1360951 h 5296383"/>
              <a:gd name="connsiteX1860" fmla="*/ 1727199 w 9310410"/>
              <a:gd name="connsiteY1860" fmla="*/ 1367543 h 5296383"/>
              <a:gd name="connsiteX1861" fmla="*/ 1710419 w 9310410"/>
              <a:gd name="connsiteY1861" fmla="*/ 1371139 h 5296383"/>
              <a:gd name="connsiteX1862" fmla="*/ 1694838 w 9310410"/>
              <a:gd name="connsiteY1862" fmla="*/ 1377132 h 5296383"/>
              <a:gd name="connsiteX1863" fmla="*/ 1696636 w 9310410"/>
              <a:gd name="connsiteY1863" fmla="*/ 1355558 h 5296383"/>
              <a:gd name="connsiteX1864" fmla="*/ 1697834 w 9310410"/>
              <a:gd name="connsiteY1864" fmla="*/ 1339377 h 5296383"/>
              <a:gd name="connsiteX1865" fmla="*/ 1694838 w 9310410"/>
              <a:gd name="connsiteY1865" fmla="*/ 1330388 h 5296383"/>
              <a:gd name="connsiteX1866" fmla="*/ 1690643 w 9310410"/>
              <a:gd name="connsiteY1866" fmla="*/ 1324995 h 5296383"/>
              <a:gd name="connsiteX1867" fmla="*/ 1708022 w 9310410"/>
              <a:gd name="connsiteY1867" fmla="*/ 1321399 h 5296383"/>
              <a:gd name="connsiteX1868" fmla="*/ 1721206 w 9310410"/>
              <a:gd name="connsiteY1868" fmla="*/ 1316006 h 5296383"/>
              <a:gd name="connsiteX1869" fmla="*/ 1711018 w 9310410"/>
              <a:gd name="connsiteY1869" fmla="*/ 1308814 h 5296383"/>
              <a:gd name="connsiteX1870" fmla="*/ 1696036 w 9310410"/>
              <a:gd name="connsiteY1870" fmla="*/ 1300425 h 5296383"/>
              <a:gd name="connsiteX1871" fmla="*/ 1691242 w 9310410"/>
              <a:gd name="connsiteY1871" fmla="*/ 1294432 h 5296383"/>
              <a:gd name="connsiteX1872" fmla="*/ 1687647 w 9310410"/>
              <a:gd name="connsiteY1872" fmla="*/ 1283645 h 5296383"/>
              <a:gd name="connsiteX1873" fmla="*/ 1669069 w 9310410"/>
              <a:gd name="connsiteY1873" fmla="*/ 1289038 h 5296383"/>
              <a:gd name="connsiteX1874" fmla="*/ 1657084 w 9310410"/>
              <a:gd name="connsiteY1874" fmla="*/ 1297428 h 5296383"/>
              <a:gd name="connsiteX1875" fmla="*/ 1651690 w 9310410"/>
              <a:gd name="connsiteY1875" fmla="*/ 1298027 h 5296383"/>
              <a:gd name="connsiteX1876" fmla="*/ 1646297 w 9310410"/>
              <a:gd name="connsiteY1876" fmla="*/ 1306417 h 5296383"/>
              <a:gd name="connsiteX1877" fmla="*/ 1630116 w 9310410"/>
              <a:gd name="connsiteY1877" fmla="*/ 1312410 h 5296383"/>
              <a:gd name="connsiteX1878" fmla="*/ 1624723 w 9310410"/>
              <a:gd name="connsiteY1878" fmla="*/ 1318403 h 5296383"/>
              <a:gd name="connsiteX1879" fmla="*/ 1624723 w 9310410"/>
              <a:gd name="connsiteY1879" fmla="*/ 1319601 h 5296383"/>
              <a:gd name="connsiteX1880" fmla="*/ 1622925 w 9310410"/>
              <a:gd name="connsiteY1880" fmla="*/ 1325594 h 5296383"/>
              <a:gd name="connsiteX1881" fmla="*/ 1616333 w 9310410"/>
              <a:gd name="connsiteY1881" fmla="*/ 1334583 h 5296383"/>
              <a:gd name="connsiteX1882" fmla="*/ 1601351 w 9310410"/>
              <a:gd name="connsiteY1882" fmla="*/ 1344172 h 5296383"/>
              <a:gd name="connsiteX1883" fmla="*/ 1596557 w 9310410"/>
              <a:gd name="connsiteY1883" fmla="*/ 1339977 h 5296383"/>
              <a:gd name="connsiteX1884" fmla="*/ 1595958 w 9310410"/>
              <a:gd name="connsiteY1884" fmla="*/ 1332785 h 5296383"/>
              <a:gd name="connsiteX1885" fmla="*/ 1590564 w 9310410"/>
              <a:gd name="connsiteY1885" fmla="*/ 1338778 h 5296383"/>
              <a:gd name="connsiteX1886" fmla="*/ 1586369 w 9310410"/>
              <a:gd name="connsiteY1886" fmla="*/ 1344172 h 5296383"/>
              <a:gd name="connsiteX1887" fmla="*/ 1582174 w 9310410"/>
              <a:gd name="connsiteY1887" fmla="*/ 1350164 h 5296383"/>
              <a:gd name="connsiteX1888" fmla="*/ 1568990 w 9310410"/>
              <a:gd name="connsiteY1888" fmla="*/ 1372337 h 5296383"/>
              <a:gd name="connsiteX1889" fmla="*/ 1564795 w 9310410"/>
              <a:gd name="connsiteY1889" fmla="*/ 1379529 h 5296383"/>
              <a:gd name="connsiteX1890" fmla="*/ 1551012 w 9310410"/>
              <a:gd name="connsiteY1890" fmla="*/ 1389716 h 5296383"/>
              <a:gd name="connsiteX1891" fmla="*/ 1534832 w 9310410"/>
              <a:gd name="connsiteY1891" fmla="*/ 1396908 h 5296383"/>
              <a:gd name="connsiteX1892" fmla="*/ 1528839 w 9310410"/>
              <a:gd name="connsiteY1892" fmla="*/ 1407095 h 5296383"/>
              <a:gd name="connsiteX1893" fmla="*/ 1519850 w 9310410"/>
              <a:gd name="connsiteY1893" fmla="*/ 1414287 h 5296383"/>
              <a:gd name="connsiteX1894" fmla="*/ 1521648 w 9310410"/>
              <a:gd name="connsiteY1894" fmla="*/ 1422077 h 5296383"/>
              <a:gd name="connsiteX1895" fmla="*/ 1521648 w 9310410"/>
              <a:gd name="connsiteY1895" fmla="*/ 1441254 h 5296383"/>
              <a:gd name="connsiteX1896" fmla="*/ 1521048 w 9310410"/>
              <a:gd name="connsiteY1896" fmla="*/ 1444850 h 5296383"/>
              <a:gd name="connsiteX1897" fmla="*/ 1524045 w 9310410"/>
              <a:gd name="connsiteY1897" fmla="*/ 1464626 h 5296383"/>
              <a:gd name="connsiteX1898" fmla="*/ 1528839 w 9310410"/>
              <a:gd name="connsiteY1898" fmla="*/ 1471218 h 5296383"/>
              <a:gd name="connsiteX1899" fmla="*/ 1509662 w 9310410"/>
              <a:gd name="connsiteY1899" fmla="*/ 1476012 h 5296383"/>
              <a:gd name="connsiteX1900" fmla="*/ 1498276 w 9310410"/>
              <a:gd name="connsiteY1900" fmla="*/ 1476012 h 5296383"/>
              <a:gd name="connsiteX1901" fmla="*/ 1485691 w 9310410"/>
              <a:gd name="connsiteY1901" fmla="*/ 1476611 h 5296383"/>
              <a:gd name="connsiteX1902" fmla="*/ 1471309 w 9310410"/>
              <a:gd name="connsiteY1902" fmla="*/ 1487398 h 5296383"/>
              <a:gd name="connsiteX1903" fmla="*/ 1457525 w 9310410"/>
              <a:gd name="connsiteY1903" fmla="*/ 1491593 h 5296383"/>
              <a:gd name="connsiteX1904" fmla="*/ 1444941 w 9310410"/>
              <a:gd name="connsiteY1904" fmla="*/ 1495788 h 5296383"/>
              <a:gd name="connsiteX1905" fmla="*/ 1458125 w 9310410"/>
              <a:gd name="connsiteY1905" fmla="*/ 1486199 h 5296383"/>
              <a:gd name="connsiteX1906" fmla="*/ 1457525 w 9310410"/>
              <a:gd name="connsiteY1906" fmla="*/ 1480806 h 5296383"/>
              <a:gd name="connsiteX1907" fmla="*/ 1450933 w 9310410"/>
              <a:gd name="connsiteY1907" fmla="*/ 1477210 h 5296383"/>
              <a:gd name="connsiteX1908" fmla="*/ 1450933 w 9310410"/>
              <a:gd name="connsiteY1908" fmla="*/ 1474813 h 5296383"/>
              <a:gd name="connsiteX1909" fmla="*/ 1450933 w 9310410"/>
              <a:gd name="connsiteY1909" fmla="*/ 1474813 h 5296383"/>
              <a:gd name="connsiteX1910" fmla="*/ 1450334 w 9310410"/>
              <a:gd name="connsiteY1910" fmla="*/ 1473015 h 5296383"/>
              <a:gd name="connsiteX1911" fmla="*/ 1445540 w 9310410"/>
              <a:gd name="connsiteY1911" fmla="*/ 1468221 h 5296383"/>
              <a:gd name="connsiteX1912" fmla="*/ 1437749 w 9310410"/>
              <a:gd name="connsiteY1912" fmla="*/ 1466423 h 5296383"/>
              <a:gd name="connsiteX1913" fmla="*/ 1426962 w 9310410"/>
              <a:gd name="connsiteY1913" fmla="*/ 1466423 h 5296383"/>
              <a:gd name="connsiteX1914" fmla="*/ 1418573 w 9310410"/>
              <a:gd name="connsiteY1914" fmla="*/ 1465824 h 5296383"/>
              <a:gd name="connsiteX1915" fmla="*/ 1410183 w 9310410"/>
              <a:gd name="connsiteY1915" fmla="*/ 1471218 h 5296383"/>
              <a:gd name="connsiteX1916" fmla="*/ 1399396 w 9310410"/>
              <a:gd name="connsiteY1916" fmla="*/ 1471817 h 5296383"/>
              <a:gd name="connsiteX1917" fmla="*/ 1399995 w 9310410"/>
              <a:gd name="connsiteY1917" fmla="*/ 1483203 h 5296383"/>
              <a:gd name="connsiteX1918" fmla="*/ 1399396 w 9310410"/>
              <a:gd name="connsiteY1918" fmla="*/ 1487398 h 5296383"/>
              <a:gd name="connsiteX1919" fmla="*/ 1394002 w 9310410"/>
              <a:gd name="connsiteY1919" fmla="*/ 1490994 h 5296383"/>
              <a:gd name="connsiteX1920" fmla="*/ 1389807 w 9310410"/>
              <a:gd name="connsiteY1920" fmla="*/ 1492192 h 5296383"/>
              <a:gd name="connsiteX1921" fmla="*/ 1385613 w 9310410"/>
              <a:gd name="connsiteY1921" fmla="*/ 1493391 h 5296383"/>
              <a:gd name="connsiteX1922" fmla="*/ 1381418 w 9310410"/>
              <a:gd name="connsiteY1922" fmla="*/ 1493990 h 5296383"/>
              <a:gd name="connsiteX1923" fmla="*/ 1378421 w 9310410"/>
              <a:gd name="connsiteY1923" fmla="*/ 1480806 h 5296383"/>
              <a:gd name="connsiteX1924" fmla="*/ 1380818 w 9310410"/>
              <a:gd name="connsiteY1924" fmla="*/ 1471218 h 5296383"/>
              <a:gd name="connsiteX1925" fmla="*/ 1370631 w 9310410"/>
              <a:gd name="connsiteY1925" fmla="*/ 1471817 h 5296383"/>
              <a:gd name="connsiteX1926" fmla="*/ 1363439 w 9310410"/>
              <a:gd name="connsiteY1926" fmla="*/ 1483802 h 5296383"/>
              <a:gd name="connsiteX1927" fmla="*/ 1361642 w 9310410"/>
              <a:gd name="connsiteY1927" fmla="*/ 1503578 h 5296383"/>
              <a:gd name="connsiteX1928" fmla="*/ 1362840 w 9310410"/>
              <a:gd name="connsiteY1928" fmla="*/ 1521557 h 5296383"/>
              <a:gd name="connsiteX1929" fmla="*/ 1359844 w 9310410"/>
              <a:gd name="connsiteY1929" fmla="*/ 1524553 h 5296383"/>
              <a:gd name="connsiteX1930" fmla="*/ 1358645 w 9310410"/>
              <a:gd name="connsiteY1930" fmla="*/ 1519159 h 5296383"/>
              <a:gd name="connsiteX1931" fmla="*/ 1354450 w 9310410"/>
              <a:gd name="connsiteY1931" fmla="*/ 1517961 h 5296383"/>
              <a:gd name="connsiteX1932" fmla="*/ 1355050 w 9310410"/>
              <a:gd name="connsiteY1932" fmla="*/ 1525752 h 5296383"/>
              <a:gd name="connsiteX1933" fmla="*/ 1346060 w 9310410"/>
              <a:gd name="connsiteY1933" fmla="*/ 1525752 h 5296383"/>
              <a:gd name="connsiteX1934" fmla="*/ 1338270 w 9310410"/>
              <a:gd name="connsiteY1934" fmla="*/ 1530546 h 5296383"/>
              <a:gd name="connsiteX1935" fmla="*/ 1348458 w 9310410"/>
              <a:gd name="connsiteY1935" fmla="*/ 1534741 h 5296383"/>
              <a:gd name="connsiteX1936" fmla="*/ 1357447 w 9310410"/>
              <a:gd name="connsiteY1936" fmla="*/ 1546726 h 5296383"/>
              <a:gd name="connsiteX1937" fmla="*/ 1361642 w 9310410"/>
              <a:gd name="connsiteY1937" fmla="*/ 1562307 h 5296383"/>
              <a:gd name="connsiteX1938" fmla="*/ 1356248 w 9310410"/>
              <a:gd name="connsiteY1938" fmla="*/ 1577289 h 5296383"/>
              <a:gd name="connsiteX1939" fmla="*/ 1346660 w 9310410"/>
              <a:gd name="connsiteY1939" fmla="*/ 1579686 h 5296383"/>
              <a:gd name="connsiteX1940" fmla="*/ 1336472 w 9310410"/>
              <a:gd name="connsiteY1940" fmla="*/ 1573094 h 5296383"/>
              <a:gd name="connsiteX1941" fmla="*/ 1332277 w 9310410"/>
              <a:gd name="connsiteY1941" fmla="*/ 1583282 h 5296383"/>
              <a:gd name="connsiteX1942" fmla="*/ 1334674 w 9310410"/>
              <a:gd name="connsiteY1942" fmla="*/ 1595267 h 5296383"/>
              <a:gd name="connsiteX1943" fmla="*/ 1324487 w 9310410"/>
              <a:gd name="connsiteY1943" fmla="*/ 1587477 h 5296383"/>
              <a:gd name="connsiteX1944" fmla="*/ 1320292 w 9310410"/>
              <a:gd name="connsiteY1944" fmla="*/ 1585679 h 5296383"/>
              <a:gd name="connsiteX1945" fmla="*/ 1320292 w 9310410"/>
              <a:gd name="connsiteY1945" fmla="*/ 1599462 h 5296383"/>
              <a:gd name="connsiteX1946" fmla="*/ 1314898 w 9310410"/>
              <a:gd name="connsiteY1946" fmla="*/ 1617440 h 5296383"/>
              <a:gd name="connsiteX1947" fmla="*/ 1309505 w 9310410"/>
              <a:gd name="connsiteY1947" fmla="*/ 1618040 h 5296383"/>
              <a:gd name="connsiteX1948" fmla="*/ 1300516 w 9310410"/>
              <a:gd name="connsiteY1948" fmla="*/ 1622834 h 5296383"/>
              <a:gd name="connsiteX1949" fmla="*/ 1295122 w 9310410"/>
              <a:gd name="connsiteY1949" fmla="*/ 1618639 h 5296383"/>
              <a:gd name="connsiteX1950" fmla="*/ 1296920 w 9310410"/>
              <a:gd name="connsiteY1950" fmla="*/ 1610249 h 5296383"/>
              <a:gd name="connsiteX1951" fmla="*/ 1296920 w 9310410"/>
              <a:gd name="connsiteY1951" fmla="*/ 1602459 h 5296383"/>
              <a:gd name="connsiteX1952" fmla="*/ 1291527 w 9310410"/>
              <a:gd name="connsiteY1952" fmla="*/ 1603058 h 5296383"/>
              <a:gd name="connsiteX1953" fmla="*/ 1286133 w 9310410"/>
              <a:gd name="connsiteY1953" fmla="*/ 1607253 h 5296383"/>
              <a:gd name="connsiteX1954" fmla="*/ 1285534 w 9310410"/>
              <a:gd name="connsiteY1954" fmla="*/ 1596466 h 5296383"/>
              <a:gd name="connsiteX1955" fmla="*/ 1289729 w 9310410"/>
              <a:gd name="connsiteY1955" fmla="*/ 1592271 h 5296383"/>
              <a:gd name="connsiteX1956" fmla="*/ 1290328 w 9310410"/>
              <a:gd name="connsiteY1956" fmla="*/ 1586878 h 5296383"/>
              <a:gd name="connsiteX1957" fmla="*/ 1292126 w 9310410"/>
              <a:gd name="connsiteY1957" fmla="*/ 1574892 h 5296383"/>
              <a:gd name="connsiteX1958" fmla="*/ 1292126 w 9310410"/>
              <a:gd name="connsiteY1958" fmla="*/ 1562907 h 5296383"/>
              <a:gd name="connsiteX1959" fmla="*/ 1304111 w 9310410"/>
              <a:gd name="connsiteY1959" fmla="*/ 1554517 h 5296383"/>
              <a:gd name="connsiteX1960" fmla="*/ 1313700 w 9310410"/>
              <a:gd name="connsiteY1960" fmla="*/ 1556914 h 5296383"/>
              <a:gd name="connsiteX1961" fmla="*/ 1323288 w 9310410"/>
              <a:gd name="connsiteY1961" fmla="*/ 1558712 h 5296383"/>
              <a:gd name="connsiteX1962" fmla="*/ 1332876 w 9310410"/>
              <a:gd name="connsiteY1962" fmla="*/ 1565304 h 5296383"/>
              <a:gd name="connsiteX1963" fmla="*/ 1340068 w 9310410"/>
              <a:gd name="connsiteY1963" fmla="*/ 1569498 h 5296383"/>
              <a:gd name="connsiteX1964" fmla="*/ 1337671 w 9310410"/>
              <a:gd name="connsiteY1964" fmla="*/ 1561109 h 5296383"/>
              <a:gd name="connsiteX1965" fmla="*/ 1331678 w 9310410"/>
              <a:gd name="connsiteY1965" fmla="*/ 1554517 h 5296383"/>
              <a:gd name="connsiteX1966" fmla="*/ 1325086 w 9310410"/>
              <a:gd name="connsiteY1966" fmla="*/ 1550921 h 5296383"/>
              <a:gd name="connsiteX1967" fmla="*/ 1319692 w 9310410"/>
              <a:gd name="connsiteY1967" fmla="*/ 1550322 h 5296383"/>
              <a:gd name="connsiteX1968" fmla="*/ 1312501 w 9310410"/>
              <a:gd name="connsiteY1968" fmla="*/ 1547325 h 5296383"/>
              <a:gd name="connsiteX1969" fmla="*/ 1307108 w 9310410"/>
              <a:gd name="connsiteY1969" fmla="*/ 1544928 h 5296383"/>
              <a:gd name="connsiteX1970" fmla="*/ 1301714 w 9310410"/>
              <a:gd name="connsiteY1970" fmla="*/ 1535939 h 5296383"/>
              <a:gd name="connsiteX1971" fmla="*/ 1298718 w 9310410"/>
              <a:gd name="connsiteY1971" fmla="*/ 1501781 h 5296383"/>
              <a:gd name="connsiteX1972" fmla="*/ 1299916 w 9310410"/>
              <a:gd name="connsiteY1972" fmla="*/ 1490994 h 5296383"/>
              <a:gd name="connsiteX1973" fmla="*/ 1299317 w 9310410"/>
              <a:gd name="connsiteY1973" fmla="*/ 1490394 h 5296383"/>
              <a:gd name="connsiteX1974" fmla="*/ 1299317 w 9310410"/>
              <a:gd name="connsiteY1974" fmla="*/ 1480207 h 5296383"/>
              <a:gd name="connsiteX1975" fmla="*/ 1296321 w 9310410"/>
              <a:gd name="connsiteY1975" fmla="*/ 1474214 h 5296383"/>
              <a:gd name="connsiteX1976" fmla="*/ 1299317 w 9310410"/>
              <a:gd name="connsiteY1976" fmla="*/ 1463427 h 5296383"/>
              <a:gd name="connsiteX1977" fmla="*/ 1304111 w 9310410"/>
              <a:gd name="connsiteY1977" fmla="*/ 1451442 h 5296383"/>
              <a:gd name="connsiteX1978" fmla="*/ 1311902 w 9310410"/>
              <a:gd name="connsiteY1978" fmla="*/ 1436460 h 5296383"/>
              <a:gd name="connsiteX1979" fmla="*/ 1322089 w 9310410"/>
              <a:gd name="connsiteY1979" fmla="*/ 1421478 h 5296383"/>
              <a:gd name="connsiteX1980" fmla="*/ 1327483 w 9310410"/>
              <a:gd name="connsiteY1980" fmla="*/ 1410691 h 5296383"/>
              <a:gd name="connsiteX1981" fmla="*/ 1325086 w 9310410"/>
              <a:gd name="connsiteY1981" fmla="*/ 1404099 h 5296383"/>
              <a:gd name="connsiteX1982" fmla="*/ 1325086 w 9310410"/>
              <a:gd name="connsiteY1982" fmla="*/ 1402301 h 5296383"/>
              <a:gd name="connsiteX1983" fmla="*/ 1322689 w 9310410"/>
              <a:gd name="connsiteY1983" fmla="*/ 1396308 h 5296383"/>
              <a:gd name="connsiteX1984" fmla="*/ 1322689 w 9310410"/>
              <a:gd name="connsiteY1984" fmla="*/ 1396308 h 5296383"/>
              <a:gd name="connsiteX1985" fmla="*/ 1322089 w 9310410"/>
              <a:gd name="connsiteY1985" fmla="*/ 1395709 h 5296383"/>
              <a:gd name="connsiteX1986" fmla="*/ 1321490 w 9310410"/>
              <a:gd name="connsiteY1986" fmla="*/ 1394511 h 5296383"/>
              <a:gd name="connsiteX1987" fmla="*/ 1321490 w 9310410"/>
              <a:gd name="connsiteY1987" fmla="*/ 1394511 h 5296383"/>
              <a:gd name="connsiteX1988" fmla="*/ 1320891 w 9310410"/>
              <a:gd name="connsiteY1988" fmla="*/ 1392713 h 5296383"/>
              <a:gd name="connsiteX1989" fmla="*/ 1320292 w 9310410"/>
              <a:gd name="connsiteY1989" fmla="*/ 1389716 h 5296383"/>
              <a:gd name="connsiteX1990" fmla="*/ 1320292 w 9310410"/>
              <a:gd name="connsiteY1990" fmla="*/ 1386121 h 5296383"/>
              <a:gd name="connsiteX1991" fmla="*/ 1320292 w 9310410"/>
              <a:gd name="connsiteY1991" fmla="*/ 1380727 h 5296383"/>
              <a:gd name="connsiteX1992" fmla="*/ 1312501 w 9310410"/>
              <a:gd name="connsiteY1992" fmla="*/ 1368742 h 5296383"/>
              <a:gd name="connsiteX1993" fmla="*/ 1302913 w 9310410"/>
              <a:gd name="connsiteY1993" fmla="*/ 1357955 h 5296383"/>
              <a:gd name="connsiteX1994" fmla="*/ 1299916 w 9310410"/>
              <a:gd name="connsiteY1994" fmla="*/ 1353161 h 5296383"/>
              <a:gd name="connsiteX1995" fmla="*/ 1311302 w 9310410"/>
              <a:gd name="connsiteY1995" fmla="*/ 1359153 h 5296383"/>
              <a:gd name="connsiteX1996" fmla="*/ 1312501 w 9310410"/>
              <a:gd name="connsiteY1996" fmla="*/ 1354958 h 5296383"/>
              <a:gd name="connsiteX1997" fmla="*/ 1307108 w 9310410"/>
              <a:gd name="connsiteY1997" fmla="*/ 1346569 h 5296383"/>
              <a:gd name="connsiteX1998" fmla="*/ 1293324 w 9310410"/>
              <a:gd name="connsiteY1998" fmla="*/ 1336980 h 5296383"/>
              <a:gd name="connsiteX1999" fmla="*/ 1289129 w 9310410"/>
              <a:gd name="connsiteY1999" fmla="*/ 1331587 h 5296383"/>
              <a:gd name="connsiteX2000" fmla="*/ 1289129 w 9310410"/>
              <a:gd name="connsiteY2000" fmla="*/ 1323197 h 5296383"/>
              <a:gd name="connsiteX2001" fmla="*/ 1283137 w 9310410"/>
              <a:gd name="connsiteY2001" fmla="*/ 1311211 h 5296383"/>
              <a:gd name="connsiteX2002" fmla="*/ 1287332 w 9310410"/>
              <a:gd name="connsiteY2002" fmla="*/ 1300425 h 5296383"/>
              <a:gd name="connsiteX2003" fmla="*/ 1288530 w 9310410"/>
              <a:gd name="connsiteY2003" fmla="*/ 1295031 h 5296383"/>
              <a:gd name="connsiteX2004" fmla="*/ 1292725 w 9310410"/>
              <a:gd name="connsiteY2004" fmla="*/ 1281847 h 5296383"/>
              <a:gd name="connsiteX2005" fmla="*/ 1290328 w 9310410"/>
              <a:gd name="connsiteY2005" fmla="*/ 1267464 h 5296383"/>
              <a:gd name="connsiteX2006" fmla="*/ 1278342 w 9310410"/>
              <a:gd name="connsiteY2006" fmla="*/ 1274056 h 5296383"/>
              <a:gd name="connsiteX2007" fmla="*/ 1268155 w 9310410"/>
              <a:gd name="connsiteY2007" fmla="*/ 1274656 h 5296383"/>
              <a:gd name="connsiteX2008" fmla="*/ 1268754 w 9310410"/>
              <a:gd name="connsiteY2008" fmla="*/ 1257277 h 5296383"/>
              <a:gd name="connsiteX2009" fmla="*/ 1268754 w 9310410"/>
              <a:gd name="connsiteY2009" fmla="*/ 1259674 h 5296383"/>
              <a:gd name="connsiteX2010" fmla="*/ 1269353 w 9310410"/>
              <a:gd name="connsiteY2010" fmla="*/ 1257277 h 5296383"/>
              <a:gd name="connsiteX2011" fmla="*/ 1269353 w 9310410"/>
              <a:gd name="connsiteY2011" fmla="*/ 1257277 h 5296383"/>
              <a:gd name="connsiteX2012" fmla="*/ 1269353 w 9310410"/>
              <a:gd name="connsiteY2012" fmla="*/ 1256678 h 5296383"/>
              <a:gd name="connsiteX2013" fmla="*/ 1270552 w 9310410"/>
              <a:gd name="connsiteY2013" fmla="*/ 1250685 h 5296383"/>
              <a:gd name="connsiteX2014" fmla="*/ 1270552 w 9310410"/>
              <a:gd name="connsiteY2014" fmla="*/ 1250685 h 5296383"/>
              <a:gd name="connsiteX2015" fmla="*/ 1265758 w 9310410"/>
              <a:gd name="connsiteY2015" fmla="*/ 1247688 h 5296383"/>
              <a:gd name="connsiteX2016" fmla="*/ 1251974 w 9310410"/>
              <a:gd name="connsiteY2016" fmla="*/ 1248288 h 5296383"/>
              <a:gd name="connsiteX2017" fmla="*/ 1242985 w 9310410"/>
              <a:gd name="connsiteY2017" fmla="*/ 1250685 h 5296383"/>
              <a:gd name="connsiteX2018" fmla="*/ 1239989 w 9310410"/>
              <a:gd name="connsiteY2018" fmla="*/ 1257876 h 5296383"/>
              <a:gd name="connsiteX2019" fmla="*/ 1241787 w 9310410"/>
              <a:gd name="connsiteY2019" fmla="*/ 1260273 h 5296383"/>
              <a:gd name="connsiteX2020" fmla="*/ 1234596 w 9310410"/>
              <a:gd name="connsiteY2020" fmla="*/ 1272259 h 5296383"/>
              <a:gd name="connsiteX2021" fmla="*/ 1225007 w 9310410"/>
              <a:gd name="connsiteY2021" fmla="*/ 1292634 h 5296383"/>
              <a:gd name="connsiteX2022" fmla="*/ 1232198 w 9310410"/>
              <a:gd name="connsiteY2022" fmla="*/ 1317204 h 5296383"/>
              <a:gd name="connsiteX2023" fmla="*/ 1231599 w 9310410"/>
              <a:gd name="connsiteY2023" fmla="*/ 1336980 h 5296383"/>
              <a:gd name="connsiteX2024" fmla="*/ 1230401 w 9310410"/>
              <a:gd name="connsiteY2024" fmla="*/ 1349565 h 5296383"/>
              <a:gd name="connsiteX2025" fmla="*/ 1229202 w 9310410"/>
              <a:gd name="connsiteY2025" fmla="*/ 1372937 h 5296383"/>
              <a:gd name="connsiteX2026" fmla="*/ 1251974 w 9310410"/>
              <a:gd name="connsiteY2026" fmla="*/ 1393312 h 5296383"/>
              <a:gd name="connsiteX2027" fmla="*/ 1256169 w 9310410"/>
              <a:gd name="connsiteY2027" fmla="*/ 1397507 h 5296383"/>
              <a:gd name="connsiteX2028" fmla="*/ 1251974 w 9310410"/>
              <a:gd name="connsiteY2028" fmla="*/ 1403500 h 5296383"/>
              <a:gd name="connsiteX2029" fmla="*/ 1255570 w 9310410"/>
              <a:gd name="connsiteY2029" fmla="*/ 1419680 h 5296383"/>
              <a:gd name="connsiteX2030" fmla="*/ 1267556 w 9310410"/>
              <a:gd name="connsiteY2030" fmla="*/ 1436460 h 5296383"/>
              <a:gd name="connsiteX2031" fmla="*/ 1275945 w 9310410"/>
              <a:gd name="connsiteY2031" fmla="*/ 1449044 h 5296383"/>
              <a:gd name="connsiteX2032" fmla="*/ 1279541 w 9310410"/>
              <a:gd name="connsiteY2032" fmla="*/ 1461030 h 5296383"/>
              <a:gd name="connsiteX2033" fmla="*/ 1271151 w 9310410"/>
              <a:gd name="connsiteY2033" fmla="*/ 1475413 h 5296383"/>
              <a:gd name="connsiteX2034" fmla="*/ 1263960 w 9310410"/>
              <a:gd name="connsiteY2034" fmla="*/ 1480806 h 5296383"/>
              <a:gd name="connsiteX2035" fmla="*/ 1264559 w 9310410"/>
              <a:gd name="connsiteY2035" fmla="*/ 1472416 h 5296383"/>
              <a:gd name="connsiteX2036" fmla="*/ 1262761 w 9310410"/>
              <a:gd name="connsiteY2036" fmla="*/ 1464026 h 5296383"/>
              <a:gd name="connsiteX2037" fmla="*/ 1253772 w 9310410"/>
              <a:gd name="connsiteY2037" fmla="*/ 1458034 h 5296383"/>
              <a:gd name="connsiteX2038" fmla="*/ 1240588 w 9310410"/>
              <a:gd name="connsiteY2038" fmla="*/ 1457434 h 5296383"/>
              <a:gd name="connsiteX2039" fmla="*/ 1232198 w 9310410"/>
              <a:gd name="connsiteY2039" fmla="*/ 1468221 h 5296383"/>
              <a:gd name="connsiteX2040" fmla="*/ 1229202 w 9310410"/>
              <a:gd name="connsiteY2040" fmla="*/ 1486199 h 5296383"/>
              <a:gd name="connsiteX2041" fmla="*/ 1226206 w 9310410"/>
              <a:gd name="connsiteY2041" fmla="*/ 1505975 h 5296383"/>
              <a:gd name="connsiteX2042" fmla="*/ 1214220 w 9310410"/>
              <a:gd name="connsiteY2042" fmla="*/ 1511369 h 5296383"/>
              <a:gd name="connsiteX2043" fmla="*/ 1205830 w 9310410"/>
              <a:gd name="connsiteY2043" fmla="*/ 1519759 h 5296383"/>
              <a:gd name="connsiteX2044" fmla="*/ 1199838 w 9310410"/>
              <a:gd name="connsiteY2044" fmla="*/ 1527549 h 5296383"/>
              <a:gd name="connsiteX2045" fmla="*/ 1188451 w 9310410"/>
              <a:gd name="connsiteY2045" fmla="*/ 1537737 h 5296383"/>
              <a:gd name="connsiteX2046" fmla="*/ 1175267 w 9310410"/>
              <a:gd name="connsiteY2046" fmla="*/ 1540134 h 5296383"/>
              <a:gd name="connsiteX2047" fmla="*/ 1178264 w 9310410"/>
              <a:gd name="connsiteY2047" fmla="*/ 1531145 h 5296383"/>
              <a:gd name="connsiteX2048" fmla="*/ 1186054 w 9310410"/>
              <a:gd name="connsiteY2048" fmla="*/ 1521557 h 5296383"/>
              <a:gd name="connsiteX2049" fmla="*/ 1198040 w 9310410"/>
              <a:gd name="connsiteY2049" fmla="*/ 1510170 h 5296383"/>
              <a:gd name="connsiteX2050" fmla="*/ 1204032 w 9310410"/>
              <a:gd name="connsiteY2050" fmla="*/ 1498185 h 5296383"/>
              <a:gd name="connsiteX2051" fmla="*/ 1206430 w 9310410"/>
              <a:gd name="connsiteY2051" fmla="*/ 1482005 h 5296383"/>
              <a:gd name="connsiteX2052" fmla="*/ 1210625 w 9310410"/>
              <a:gd name="connsiteY2052" fmla="*/ 1468821 h 5296383"/>
              <a:gd name="connsiteX2053" fmla="*/ 1201635 w 9310410"/>
              <a:gd name="connsiteY2053" fmla="*/ 1461030 h 5296383"/>
              <a:gd name="connsiteX2054" fmla="*/ 1194444 w 9310410"/>
              <a:gd name="connsiteY2054" fmla="*/ 1452640 h 5296383"/>
              <a:gd name="connsiteX2055" fmla="*/ 1200437 w 9310410"/>
              <a:gd name="connsiteY2055" fmla="*/ 1441853 h 5296383"/>
              <a:gd name="connsiteX2056" fmla="*/ 1193246 w 9310410"/>
              <a:gd name="connsiteY2056" fmla="*/ 1436460 h 5296383"/>
              <a:gd name="connsiteX2057" fmla="*/ 1196841 w 9310410"/>
              <a:gd name="connsiteY2057" fmla="*/ 1430467 h 5296383"/>
              <a:gd name="connsiteX2058" fmla="*/ 1194444 w 9310410"/>
              <a:gd name="connsiteY2058" fmla="*/ 1415485 h 5296383"/>
              <a:gd name="connsiteX2059" fmla="*/ 1180661 w 9310410"/>
              <a:gd name="connsiteY2059" fmla="*/ 1407095 h 5296383"/>
              <a:gd name="connsiteX2060" fmla="*/ 1173469 w 9310410"/>
              <a:gd name="connsiteY2060" fmla="*/ 1401702 h 5296383"/>
              <a:gd name="connsiteX2061" fmla="*/ 1171072 w 9310410"/>
              <a:gd name="connsiteY2061" fmla="*/ 1391514 h 5296383"/>
              <a:gd name="connsiteX2062" fmla="*/ 1166878 w 9310410"/>
              <a:gd name="connsiteY2062" fmla="*/ 1381326 h 5296383"/>
              <a:gd name="connsiteX2063" fmla="*/ 1164480 w 9310410"/>
              <a:gd name="connsiteY2063" fmla="*/ 1371139 h 5296383"/>
              <a:gd name="connsiteX2064" fmla="*/ 1162683 w 9310410"/>
              <a:gd name="connsiteY2064" fmla="*/ 1358554 h 5296383"/>
              <a:gd name="connsiteX2065" fmla="*/ 1163282 w 9310410"/>
              <a:gd name="connsiteY2065" fmla="*/ 1350764 h 5296383"/>
              <a:gd name="connsiteX2066" fmla="*/ 1161484 w 9310410"/>
              <a:gd name="connsiteY2066" fmla="*/ 1339977 h 5296383"/>
              <a:gd name="connsiteX2067" fmla="*/ 1157888 w 9310410"/>
              <a:gd name="connsiteY2067" fmla="*/ 1328590 h 5296383"/>
              <a:gd name="connsiteX2068" fmla="*/ 1160285 w 9310410"/>
              <a:gd name="connsiteY2068" fmla="*/ 1321399 h 5296383"/>
              <a:gd name="connsiteX2069" fmla="*/ 1163881 w 9310410"/>
              <a:gd name="connsiteY2069" fmla="*/ 1304020 h 5296383"/>
              <a:gd name="connsiteX2070" fmla="*/ 1160285 w 9310410"/>
              <a:gd name="connsiteY2070" fmla="*/ 1284244 h 5296383"/>
              <a:gd name="connsiteX2071" fmla="*/ 1148300 w 9310410"/>
              <a:gd name="connsiteY2071" fmla="*/ 1274656 h 5296383"/>
              <a:gd name="connsiteX2072" fmla="*/ 1129123 w 9310410"/>
              <a:gd name="connsiteY2072" fmla="*/ 1282446 h 5296383"/>
              <a:gd name="connsiteX2073" fmla="*/ 1100358 w 9310410"/>
              <a:gd name="connsiteY2073" fmla="*/ 1295031 h 5296383"/>
              <a:gd name="connsiteX2074" fmla="*/ 1099759 w 9310410"/>
              <a:gd name="connsiteY2074" fmla="*/ 1295031 h 5296383"/>
              <a:gd name="connsiteX2075" fmla="*/ 1099759 w 9310410"/>
              <a:gd name="connsiteY2075" fmla="*/ 1295031 h 5296383"/>
              <a:gd name="connsiteX2076" fmla="*/ 1080582 w 9310410"/>
              <a:gd name="connsiteY2076" fmla="*/ 1303421 h 5296383"/>
              <a:gd name="connsiteX2077" fmla="*/ 1067398 w 9310410"/>
              <a:gd name="connsiteY2077" fmla="*/ 1308814 h 5296383"/>
              <a:gd name="connsiteX2078" fmla="*/ 1059607 w 9310410"/>
              <a:gd name="connsiteY2078" fmla="*/ 1307616 h 5296383"/>
              <a:gd name="connsiteX2079" fmla="*/ 1051817 w 9310410"/>
              <a:gd name="connsiteY2079" fmla="*/ 1300425 h 5296383"/>
              <a:gd name="connsiteX2080" fmla="*/ 1042229 w 9310410"/>
              <a:gd name="connsiteY2080" fmla="*/ 1292035 h 5296383"/>
              <a:gd name="connsiteX2081" fmla="*/ 1030243 w 9310410"/>
              <a:gd name="connsiteY2081" fmla="*/ 1286042 h 5296383"/>
              <a:gd name="connsiteX2082" fmla="*/ 1018258 w 9310410"/>
              <a:gd name="connsiteY2082" fmla="*/ 1283046 h 5296383"/>
              <a:gd name="connsiteX2083" fmla="*/ 1001478 w 9310410"/>
              <a:gd name="connsiteY2083" fmla="*/ 1289638 h 5296383"/>
              <a:gd name="connsiteX2084" fmla="*/ 990691 w 9310410"/>
              <a:gd name="connsiteY2084" fmla="*/ 1295031 h 5296383"/>
              <a:gd name="connsiteX2085" fmla="*/ 982301 w 9310410"/>
              <a:gd name="connsiteY2085" fmla="*/ 1317804 h 5296383"/>
              <a:gd name="connsiteX2086" fmla="*/ 980503 w 9310410"/>
              <a:gd name="connsiteY2086" fmla="*/ 1329190 h 5296383"/>
              <a:gd name="connsiteX2087" fmla="*/ 975110 w 9310410"/>
              <a:gd name="connsiteY2087" fmla="*/ 1335182 h 5296383"/>
              <a:gd name="connsiteX2088" fmla="*/ 961926 w 9310410"/>
              <a:gd name="connsiteY2088" fmla="*/ 1345370 h 5296383"/>
              <a:gd name="connsiteX2089" fmla="*/ 943948 w 9310410"/>
              <a:gd name="connsiteY2089" fmla="*/ 1352561 h 5296383"/>
              <a:gd name="connsiteX2090" fmla="*/ 932561 w 9310410"/>
              <a:gd name="connsiteY2090" fmla="*/ 1358554 h 5296383"/>
              <a:gd name="connsiteX2091" fmla="*/ 915182 w 9310410"/>
              <a:gd name="connsiteY2091" fmla="*/ 1362150 h 5296383"/>
              <a:gd name="connsiteX2092" fmla="*/ 898403 w 9310410"/>
              <a:gd name="connsiteY2092" fmla="*/ 1366944 h 5296383"/>
              <a:gd name="connsiteX2093" fmla="*/ 893009 w 9310410"/>
              <a:gd name="connsiteY2093" fmla="*/ 1378929 h 5296383"/>
              <a:gd name="connsiteX2094" fmla="*/ 888814 w 9310410"/>
              <a:gd name="connsiteY2094" fmla="*/ 1379529 h 5296383"/>
              <a:gd name="connsiteX2095" fmla="*/ 881623 w 9310410"/>
              <a:gd name="connsiteY2095" fmla="*/ 1381926 h 5296383"/>
              <a:gd name="connsiteX2096" fmla="*/ 858851 w 9310410"/>
              <a:gd name="connsiteY2096" fmla="*/ 1398705 h 5296383"/>
              <a:gd name="connsiteX2097" fmla="*/ 840872 w 9310410"/>
              <a:gd name="connsiteY2097" fmla="*/ 1416084 h 5296383"/>
              <a:gd name="connsiteX2098" fmla="*/ 838475 w 9310410"/>
              <a:gd name="connsiteY2098" fmla="*/ 1435860 h 5296383"/>
              <a:gd name="connsiteX2099" fmla="*/ 837277 w 9310410"/>
              <a:gd name="connsiteY2099" fmla="*/ 1446048 h 5296383"/>
              <a:gd name="connsiteX2100" fmla="*/ 828887 w 9310410"/>
              <a:gd name="connsiteY2100" fmla="*/ 1450243 h 5296383"/>
              <a:gd name="connsiteX2101" fmla="*/ 818100 w 9310410"/>
              <a:gd name="connsiteY2101" fmla="*/ 1455637 h 5296383"/>
              <a:gd name="connsiteX2102" fmla="*/ 800122 w 9310410"/>
              <a:gd name="connsiteY2102" fmla="*/ 1474813 h 5296383"/>
              <a:gd name="connsiteX2103" fmla="*/ 794728 w 9310410"/>
              <a:gd name="connsiteY2103" fmla="*/ 1482005 h 5296383"/>
              <a:gd name="connsiteX2104" fmla="*/ 790533 w 9310410"/>
              <a:gd name="connsiteY2104" fmla="*/ 1486199 h 5296383"/>
              <a:gd name="connsiteX2105" fmla="*/ 778548 w 9310410"/>
              <a:gd name="connsiteY2105" fmla="*/ 1486799 h 5296383"/>
              <a:gd name="connsiteX2106" fmla="*/ 770158 w 9310410"/>
              <a:gd name="connsiteY2106" fmla="*/ 1488597 h 5296383"/>
              <a:gd name="connsiteX2107" fmla="*/ 756974 w 9310410"/>
              <a:gd name="connsiteY2107" fmla="*/ 1502979 h 5296383"/>
              <a:gd name="connsiteX2108" fmla="*/ 737198 w 9310410"/>
              <a:gd name="connsiteY2108" fmla="*/ 1511369 h 5296383"/>
              <a:gd name="connsiteX2109" fmla="*/ 728808 w 9310410"/>
              <a:gd name="connsiteY2109" fmla="*/ 1508972 h 5296383"/>
              <a:gd name="connsiteX2110" fmla="*/ 721617 w 9310410"/>
              <a:gd name="connsiteY2110" fmla="*/ 1508373 h 5296383"/>
              <a:gd name="connsiteX2111" fmla="*/ 709631 w 9310410"/>
              <a:gd name="connsiteY2111" fmla="*/ 1504178 h 5296383"/>
              <a:gd name="connsiteX2112" fmla="*/ 683863 w 9310410"/>
              <a:gd name="connsiteY2112" fmla="*/ 1505975 h 5296383"/>
              <a:gd name="connsiteX2113" fmla="*/ 670679 w 9310410"/>
              <a:gd name="connsiteY2113" fmla="*/ 1510770 h 5296383"/>
              <a:gd name="connsiteX2114" fmla="*/ 656296 w 9310410"/>
              <a:gd name="connsiteY2114" fmla="*/ 1520358 h 5296383"/>
              <a:gd name="connsiteX2115" fmla="*/ 646108 w 9310410"/>
              <a:gd name="connsiteY2115" fmla="*/ 1511968 h 5296383"/>
              <a:gd name="connsiteX2116" fmla="*/ 648506 w 9310410"/>
              <a:gd name="connsiteY2116" fmla="*/ 1492791 h 5296383"/>
              <a:gd name="connsiteX2117" fmla="*/ 651502 w 9310410"/>
              <a:gd name="connsiteY2117" fmla="*/ 1486799 h 5296383"/>
              <a:gd name="connsiteX2118" fmla="*/ 649105 w 9310410"/>
              <a:gd name="connsiteY2118" fmla="*/ 1481405 h 5296383"/>
              <a:gd name="connsiteX2119" fmla="*/ 643711 w 9310410"/>
              <a:gd name="connsiteY2119" fmla="*/ 1477210 h 5296383"/>
              <a:gd name="connsiteX2120" fmla="*/ 632325 w 9310410"/>
              <a:gd name="connsiteY2120" fmla="*/ 1473015 h 5296383"/>
              <a:gd name="connsiteX2121" fmla="*/ 633524 w 9310410"/>
              <a:gd name="connsiteY2121" fmla="*/ 1450842 h 5296383"/>
              <a:gd name="connsiteX2122" fmla="*/ 710830 w 9310410"/>
              <a:gd name="connsiteY2122" fmla="*/ 1324995 h 5296383"/>
              <a:gd name="connsiteX2123" fmla="*/ 708433 w 9310410"/>
              <a:gd name="connsiteY2123" fmla="*/ 1287240 h 5296383"/>
              <a:gd name="connsiteX2124" fmla="*/ 713227 w 9310410"/>
              <a:gd name="connsiteY2124" fmla="*/ 1278251 h 5296383"/>
              <a:gd name="connsiteX2125" fmla="*/ 722216 w 9310410"/>
              <a:gd name="connsiteY2125" fmla="*/ 1265667 h 5296383"/>
              <a:gd name="connsiteX2126" fmla="*/ 727010 w 9310410"/>
              <a:gd name="connsiteY2126" fmla="*/ 1239299 h 5296383"/>
              <a:gd name="connsiteX2127" fmla="*/ 746786 w 9310410"/>
              <a:gd name="connsiteY2127" fmla="*/ 1232107 h 5296383"/>
              <a:gd name="connsiteX2128" fmla="*/ 757573 w 9310410"/>
              <a:gd name="connsiteY2128" fmla="*/ 1230909 h 5296383"/>
              <a:gd name="connsiteX2129" fmla="*/ 767162 w 9310410"/>
              <a:gd name="connsiteY2129" fmla="*/ 1223118 h 5296383"/>
              <a:gd name="connsiteX2130" fmla="*/ 777349 w 9310410"/>
              <a:gd name="connsiteY2130" fmla="*/ 1225515 h 5296383"/>
              <a:gd name="connsiteX2131" fmla="*/ 783342 w 9310410"/>
              <a:gd name="connsiteY2131" fmla="*/ 1228512 h 5296383"/>
              <a:gd name="connsiteX2132" fmla="*/ 806115 w 9310410"/>
              <a:gd name="connsiteY2132" fmla="*/ 1236302 h 5296383"/>
              <a:gd name="connsiteX2133" fmla="*/ 819898 w 9310410"/>
              <a:gd name="connsiteY2133" fmla="*/ 1239299 h 5296383"/>
              <a:gd name="connsiteX2134" fmla="*/ 837876 w 9310410"/>
              <a:gd name="connsiteY2134" fmla="*/ 1247688 h 5296383"/>
              <a:gd name="connsiteX2135" fmla="*/ 858851 w 9310410"/>
              <a:gd name="connsiteY2135" fmla="*/ 1253082 h 5296383"/>
              <a:gd name="connsiteX2136" fmla="*/ 870836 w 9310410"/>
              <a:gd name="connsiteY2136" fmla="*/ 1257876 h 5296383"/>
              <a:gd name="connsiteX2137" fmla="*/ 882222 w 9310410"/>
              <a:gd name="connsiteY2137" fmla="*/ 1263270 h 5296383"/>
              <a:gd name="connsiteX2138" fmla="*/ 891811 w 9310410"/>
              <a:gd name="connsiteY2138" fmla="*/ 1262071 h 5296383"/>
              <a:gd name="connsiteX2139" fmla="*/ 897803 w 9310410"/>
              <a:gd name="connsiteY2139" fmla="*/ 1258475 h 5296383"/>
              <a:gd name="connsiteX2140" fmla="*/ 910988 w 9310410"/>
              <a:gd name="connsiteY2140" fmla="*/ 1246490 h 5296383"/>
              <a:gd name="connsiteX2141" fmla="*/ 925969 w 9310410"/>
              <a:gd name="connsiteY2141" fmla="*/ 1230309 h 5296383"/>
              <a:gd name="connsiteX2142" fmla="*/ 935558 w 9310410"/>
              <a:gd name="connsiteY2142" fmla="*/ 1221320 h 5296383"/>
              <a:gd name="connsiteX2143" fmla="*/ 934959 w 9310410"/>
              <a:gd name="connsiteY2143" fmla="*/ 1215927 h 5296383"/>
              <a:gd name="connsiteX2144" fmla="*/ 942749 w 9310410"/>
              <a:gd name="connsiteY2144" fmla="*/ 1206938 h 5296383"/>
              <a:gd name="connsiteX2145" fmla="*/ 952937 w 9310410"/>
              <a:gd name="connsiteY2145" fmla="*/ 1192555 h 5296383"/>
              <a:gd name="connsiteX2146" fmla="*/ 956532 w 9310410"/>
              <a:gd name="connsiteY2146" fmla="*/ 1196151 h 5296383"/>
              <a:gd name="connsiteX2147" fmla="*/ 960727 w 9310410"/>
              <a:gd name="connsiteY2147" fmla="*/ 1198548 h 5296383"/>
              <a:gd name="connsiteX2148" fmla="*/ 961327 w 9310410"/>
              <a:gd name="connsiteY2148" fmla="*/ 1183566 h 5296383"/>
              <a:gd name="connsiteX2149" fmla="*/ 965521 w 9310410"/>
              <a:gd name="connsiteY2149" fmla="*/ 1173978 h 5296383"/>
              <a:gd name="connsiteX2150" fmla="*/ 970316 w 9310410"/>
              <a:gd name="connsiteY2150" fmla="*/ 1158996 h 5296383"/>
              <a:gd name="connsiteX2151" fmla="*/ 968518 w 9310410"/>
              <a:gd name="connsiteY2151" fmla="*/ 1152404 h 5296383"/>
              <a:gd name="connsiteX2152" fmla="*/ 965521 w 9310410"/>
              <a:gd name="connsiteY2152" fmla="*/ 1145213 h 5296383"/>
              <a:gd name="connsiteX2153" fmla="*/ 968518 w 9310410"/>
              <a:gd name="connsiteY2153" fmla="*/ 1127234 h 5296383"/>
              <a:gd name="connsiteX2154" fmla="*/ 978705 w 9310410"/>
              <a:gd name="connsiteY2154" fmla="*/ 1119444 h 5296383"/>
              <a:gd name="connsiteX2155" fmla="*/ 978106 w 9310410"/>
              <a:gd name="connsiteY2155" fmla="*/ 1114650 h 5296383"/>
              <a:gd name="connsiteX2156" fmla="*/ 967919 w 9310410"/>
              <a:gd name="connsiteY2156" fmla="*/ 1101466 h 5296383"/>
              <a:gd name="connsiteX2157" fmla="*/ 957132 w 9310410"/>
              <a:gd name="connsiteY2157" fmla="*/ 1092476 h 5296383"/>
              <a:gd name="connsiteX2158" fmla="*/ 950540 w 9310410"/>
              <a:gd name="connsiteY2158" fmla="*/ 1085885 h 5296383"/>
              <a:gd name="connsiteX2159" fmla="*/ 943948 w 9310410"/>
              <a:gd name="connsiteY2159" fmla="*/ 1081690 h 5296383"/>
              <a:gd name="connsiteX2160" fmla="*/ 949341 w 9310410"/>
              <a:gd name="connsiteY2160" fmla="*/ 1080491 h 5296383"/>
              <a:gd name="connsiteX2161" fmla="*/ 954734 w 9310410"/>
              <a:gd name="connsiteY2161" fmla="*/ 1078094 h 5296383"/>
              <a:gd name="connsiteX2162" fmla="*/ 955933 w 9310410"/>
              <a:gd name="connsiteY2162" fmla="*/ 1070903 h 5296383"/>
              <a:gd name="connsiteX2163" fmla="*/ 953536 w 9310410"/>
              <a:gd name="connsiteY2163" fmla="*/ 1067906 h 5296383"/>
              <a:gd name="connsiteX2164" fmla="*/ 961926 w 9310410"/>
              <a:gd name="connsiteY2164" fmla="*/ 1059516 h 5296383"/>
              <a:gd name="connsiteX2165" fmla="*/ 976908 w 9310410"/>
              <a:gd name="connsiteY2165" fmla="*/ 1061914 h 5296383"/>
              <a:gd name="connsiteX2166" fmla="*/ 986496 w 9310410"/>
              <a:gd name="connsiteY2166" fmla="*/ 1061314 h 5296383"/>
              <a:gd name="connsiteX2167" fmla="*/ 991890 w 9310410"/>
              <a:gd name="connsiteY2167" fmla="*/ 1057119 h 5296383"/>
              <a:gd name="connsiteX2168" fmla="*/ 996084 w 9310410"/>
              <a:gd name="connsiteY2168" fmla="*/ 1062513 h 5296383"/>
              <a:gd name="connsiteX2169" fmla="*/ 1006871 w 9310410"/>
              <a:gd name="connsiteY2169" fmla="*/ 1068506 h 5296383"/>
              <a:gd name="connsiteX2170" fmla="*/ 1017059 w 9310410"/>
              <a:gd name="connsiteY2170" fmla="*/ 1070903 h 5296383"/>
              <a:gd name="connsiteX2171" fmla="*/ 1024250 w 9310410"/>
              <a:gd name="connsiteY2171" fmla="*/ 1075697 h 5296383"/>
              <a:gd name="connsiteX2172" fmla="*/ 1024850 w 9310410"/>
              <a:gd name="connsiteY2172" fmla="*/ 1072101 h 5296383"/>
              <a:gd name="connsiteX2173" fmla="*/ 1024850 w 9310410"/>
              <a:gd name="connsiteY2173" fmla="*/ 1065509 h 5296383"/>
              <a:gd name="connsiteX2174" fmla="*/ 1032640 w 9310410"/>
              <a:gd name="connsiteY2174" fmla="*/ 1054123 h 5296383"/>
              <a:gd name="connsiteX2175" fmla="*/ 1039232 w 9310410"/>
              <a:gd name="connsiteY2175" fmla="*/ 1037343 h 5296383"/>
              <a:gd name="connsiteX2176" fmla="*/ 1049420 w 9310410"/>
              <a:gd name="connsiteY2176" fmla="*/ 1033148 h 5296383"/>
              <a:gd name="connsiteX2177" fmla="*/ 1053615 w 9310410"/>
              <a:gd name="connsiteY2177" fmla="*/ 1042137 h 5296383"/>
              <a:gd name="connsiteX2178" fmla="*/ 1066199 w 9310410"/>
              <a:gd name="connsiteY2178" fmla="*/ 1052325 h 5296383"/>
              <a:gd name="connsiteX2179" fmla="*/ 1082979 w 9310410"/>
              <a:gd name="connsiteY2179" fmla="*/ 1050527 h 5296383"/>
              <a:gd name="connsiteX2180" fmla="*/ 1101557 w 9310410"/>
              <a:gd name="connsiteY2180" fmla="*/ 1040340 h 5296383"/>
              <a:gd name="connsiteX2181" fmla="*/ 1128524 w 9310410"/>
              <a:gd name="connsiteY2181" fmla="*/ 1023560 h 5296383"/>
              <a:gd name="connsiteX2182" fmla="*/ 1154293 w 9310410"/>
              <a:gd name="connsiteY2182" fmla="*/ 1009177 h 5296383"/>
              <a:gd name="connsiteX2183" fmla="*/ 1164480 w 9310410"/>
              <a:gd name="connsiteY2183" fmla="*/ 1007979 h 5296383"/>
              <a:gd name="connsiteX2184" fmla="*/ 1165080 w 9310410"/>
              <a:gd name="connsiteY2184" fmla="*/ 1008578 h 5296383"/>
              <a:gd name="connsiteX2185" fmla="*/ 1186054 w 9310410"/>
              <a:gd name="connsiteY2185" fmla="*/ 1000188 h 5296383"/>
              <a:gd name="connsiteX2186" fmla="*/ 1186654 w 9310410"/>
              <a:gd name="connsiteY2186" fmla="*/ 1000188 h 5296383"/>
              <a:gd name="connsiteX2187" fmla="*/ 1206430 w 9310410"/>
              <a:gd name="connsiteY2187" fmla="*/ 1001387 h 5296383"/>
              <a:gd name="connsiteX2188" fmla="*/ 1205830 w 9310410"/>
              <a:gd name="connsiteY2188" fmla="*/ 997192 h 5296383"/>
              <a:gd name="connsiteX2189" fmla="*/ 1199838 w 9310410"/>
              <a:gd name="connsiteY2189" fmla="*/ 992398 h 5296383"/>
              <a:gd name="connsiteX2190" fmla="*/ 1214819 w 9310410"/>
              <a:gd name="connsiteY2190" fmla="*/ 994795 h 5296383"/>
              <a:gd name="connsiteX2191" fmla="*/ 1214220 w 9310410"/>
              <a:gd name="connsiteY2191" fmla="*/ 988802 h 5296383"/>
              <a:gd name="connsiteX2192" fmla="*/ 1221411 w 9310410"/>
              <a:gd name="connsiteY2192" fmla="*/ 987603 h 5296383"/>
              <a:gd name="connsiteX2193" fmla="*/ 1225606 w 9310410"/>
              <a:gd name="connsiteY2193" fmla="*/ 984607 h 5296383"/>
              <a:gd name="connsiteX2194" fmla="*/ 1228003 w 9310410"/>
              <a:gd name="connsiteY2194" fmla="*/ 976217 h 5296383"/>
              <a:gd name="connsiteX2195" fmla="*/ 1242386 w 9310410"/>
              <a:gd name="connsiteY2195" fmla="*/ 968427 h 5296383"/>
              <a:gd name="connsiteX2196" fmla="*/ 1256169 w 9310410"/>
              <a:gd name="connsiteY2196" fmla="*/ 955842 h 5296383"/>
              <a:gd name="connsiteX2197" fmla="*/ 1266357 w 9310410"/>
              <a:gd name="connsiteY2197" fmla="*/ 947452 h 5296383"/>
              <a:gd name="connsiteX2198" fmla="*/ 1270552 w 9310410"/>
              <a:gd name="connsiteY2198" fmla="*/ 954044 h 5296383"/>
              <a:gd name="connsiteX2199" fmla="*/ 1265758 w 9310410"/>
              <a:gd name="connsiteY2199" fmla="*/ 962434 h 5296383"/>
              <a:gd name="connsiteX2200" fmla="*/ 1263361 w 9310410"/>
              <a:gd name="connsiteY2200" fmla="*/ 970824 h 5296383"/>
              <a:gd name="connsiteX2201" fmla="*/ 1271750 w 9310410"/>
              <a:gd name="connsiteY2201" fmla="*/ 973221 h 5296383"/>
              <a:gd name="connsiteX2202" fmla="*/ 1278942 w 9310410"/>
              <a:gd name="connsiteY2202" fmla="*/ 970824 h 5296383"/>
              <a:gd name="connsiteX2203" fmla="*/ 1279541 w 9310410"/>
              <a:gd name="connsiteY2203" fmla="*/ 965430 h 5296383"/>
              <a:gd name="connsiteX2204" fmla="*/ 1278942 w 9310410"/>
              <a:gd name="connsiteY2204" fmla="*/ 955243 h 5296383"/>
              <a:gd name="connsiteX2205" fmla="*/ 1287332 w 9310410"/>
              <a:gd name="connsiteY2205" fmla="*/ 940860 h 5296383"/>
              <a:gd name="connsiteX2206" fmla="*/ 1301115 w 9310410"/>
              <a:gd name="connsiteY2206" fmla="*/ 932470 h 5296383"/>
              <a:gd name="connsiteX2207" fmla="*/ 1316097 w 9310410"/>
              <a:gd name="connsiteY2207" fmla="*/ 934268 h 5296383"/>
              <a:gd name="connsiteX2208" fmla="*/ 1322689 w 9310410"/>
              <a:gd name="connsiteY2208" fmla="*/ 941459 h 5296383"/>
              <a:gd name="connsiteX2209" fmla="*/ 1324487 w 9310410"/>
              <a:gd name="connsiteY2209" fmla="*/ 945654 h 5296383"/>
              <a:gd name="connsiteX2210" fmla="*/ 1327483 w 9310410"/>
              <a:gd name="connsiteY2210" fmla="*/ 940261 h 5296383"/>
              <a:gd name="connsiteX2211" fmla="*/ 1337671 w 9310410"/>
              <a:gd name="connsiteY2211" fmla="*/ 933070 h 5296383"/>
              <a:gd name="connsiteX2212" fmla="*/ 1347259 w 9310410"/>
              <a:gd name="connsiteY2212" fmla="*/ 937864 h 5296383"/>
              <a:gd name="connsiteX2213" fmla="*/ 1344263 w 9310410"/>
              <a:gd name="connsiteY2213" fmla="*/ 945055 h 5296383"/>
              <a:gd name="connsiteX2214" fmla="*/ 1348458 w 9310410"/>
              <a:gd name="connsiteY2214" fmla="*/ 944456 h 5296383"/>
              <a:gd name="connsiteX2215" fmla="*/ 1352652 w 9310410"/>
              <a:gd name="connsiteY2215" fmla="*/ 940860 h 5296383"/>
              <a:gd name="connsiteX2216" fmla="*/ 1356847 w 9310410"/>
              <a:gd name="connsiteY2216" fmla="*/ 939662 h 5296383"/>
              <a:gd name="connsiteX2217" fmla="*/ 1365836 w 9310410"/>
              <a:gd name="connsiteY2217" fmla="*/ 934268 h 5296383"/>
              <a:gd name="connsiteX2218" fmla="*/ 1371829 w 9310410"/>
              <a:gd name="connsiteY2218" fmla="*/ 931272 h 5296383"/>
              <a:gd name="connsiteX2219" fmla="*/ 1376024 w 9310410"/>
              <a:gd name="connsiteY2219" fmla="*/ 927077 h 5296383"/>
              <a:gd name="connsiteX2220" fmla="*/ 1378421 w 9310410"/>
              <a:gd name="connsiteY2220" fmla="*/ 924680 h 5296383"/>
              <a:gd name="connsiteX2221" fmla="*/ 1380818 w 9310410"/>
              <a:gd name="connsiteY2221" fmla="*/ 917488 h 5296383"/>
              <a:gd name="connsiteX2222" fmla="*/ 1380219 w 9310410"/>
              <a:gd name="connsiteY2222" fmla="*/ 913294 h 5296383"/>
              <a:gd name="connsiteX2223" fmla="*/ 1382017 w 9310410"/>
              <a:gd name="connsiteY2223" fmla="*/ 909698 h 5296383"/>
              <a:gd name="connsiteX2224" fmla="*/ 1382017 w 9310410"/>
              <a:gd name="connsiteY2224" fmla="*/ 909698 h 5296383"/>
              <a:gd name="connsiteX2225" fmla="*/ 1382017 w 9310410"/>
              <a:gd name="connsiteY2225" fmla="*/ 907900 h 5296383"/>
              <a:gd name="connsiteX2226" fmla="*/ 1382017 w 9310410"/>
              <a:gd name="connsiteY2226" fmla="*/ 906102 h 5296383"/>
              <a:gd name="connsiteX2227" fmla="*/ 1382017 w 9310410"/>
              <a:gd name="connsiteY2227" fmla="*/ 906102 h 5296383"/>
              <a:gd name="connsiteX2228" fmla="*/ 1382017 w 9310410"/>
              <a:gd name="connsiteY2228" fmla="*/ 906102 h 5296383"/>
              <a:gd name="connsiteX2229" fmla="*/ 1382017 w 9310410"/>
              <a:gd name="connsiteY2229" fmla="*/ 906702 h 5296383"/>
              <a:gd name="connsiteX2230" fmla="*/ 1382017 w 9310410"/>
              <a:gd name="connsiteY2230" fmla="*/ 907900 h 5296383"/>
              <a:gd name="connsiteX2231" fmla="*/ 1382017 w 9310410"/>
              <a:gd name="connsiteY2231" fmla="*/ 909099 h 5296383"/>
              <a:gd name="connsiteX2232" fmla="*/ 1382017 w 9310410"/>
              <a:gd name="connsiteY2232" fmla="*/ 909698 h 5296383"/>
              <a:gd name="connsiteX2233" fmla="*/ 1387410 w 9310410"/>
              <a:gd name="connsiteY2233" fmla="*/ 904304 h 5296383"/>
              <a:gd name="connsiteX2234" fmla="*/ 1394602 w 9310410"/>
              <a:gd name="connsiteY2234" fmla="*/ 894117 h 5296383"/>
              <a:gd name="connsiteX2235" fmla="*/ 1404789 w 9310410"/>
              <a:gd name="connsiteY2235" fmla="*/ 880333 h 5296383"/>
              <a:gd name="connsiteX2236" fmla="*/ 1404190 w 9310410"/>
              <a:gd name="connsiteY2236" fmla="*/ 873741 h 5296383"/>
              <a:gd name="connsiteX2237" fmla="*/ 1399995 w 9310410"/>
              <a:gd name="connsiteY2237" fmla="*/ 874341 h 5296383"/>
              <a:gd name="connsiteX2238" fmla="*/ 1408385 w 9310410"/>
              <a:gd name="connsiteY2238" fmla="*/ 862355 h 5296383"/>
              <a:gd name="connsiteX2239" fmla="*/ 1413179 w 9310410"/>
              <a:gd name="connsiteY2239" fmla="*/ 859958 h 5296383"/>
              <a:gd name="connsiteX2240" fmla="*/ 1416175 w 9310410"/>
              <a:gd name="connsiteY2240" fmla="*/ 863554 h 5296383"/>
              <a:gd name="connsiteX2241" fmla="*/ 1416775 w 9310410"/>
              <a:gd name="connsiteY2241" fmla="*/ 855763 h 5296383"/>
              <a:gd name="connsiteX2242" fmla="*/ 1417374 w 9310410"/>
              <a:gd name="connsiteY2242" fmla="*/ 847973 h 5296383"/>
              <a:gd name="connsiteX2243" fmla="*/ 1424565 w 9310410"/>
              <a:gd name="connsiteY2243" fmla="*/ 843179 h 5296383"/>
              <a:gd name="connsiteX2244" fmla="*/ 1428760 w 9310410"/>
              <a:gd name="connsiteY2244" fmla="*/ 840781 h 5296383"/>
              <a:gd name="connsiteX2245" fmla="*/ 1429360 w 9310410"/>
              <a:gd name="connsiteY2245" fmla="*/ 835388 h 5296383"/>
              <a:gd name="connsiteX2246" fmla="*/ 1436551 w 9310410"/>
              <a:gd name="connsiteY2246" fmla="*/ 832392 h 5296383"/>
              <a:gd name="connsiteX2247" fmla="*/ 1438948 w 9310410"/>
              <a:gd name="connsiteY2247" fmla="*/ 829395 h 5296383"/>
              <a:gd name="connsiteX2248" fmla="*/ 1440146 w 9310410"/>
              <a:gd name="connsiteY2248" fmla="*/ 828197 h 5296383"/>
              <a:gd name="connsiteX2249" fmla="*/ 1443742 w 9310410"/>
              <a:gd name="connsiteY2249" fmla="*/ 825200 h 5296383"/>
              <a:gd name="connsiteX2250" fmla="*/ 1446139 w 9310410"/>
              <a:gd name="connsiteY2250" fmla="*/ 822803 h 5296383"/>
              <a:gd name="connsiteX2251" fmla="*/ 1452132 w 9310410"/>
              <a:gd name="connsiteY2251" fmla="*/ 821005 h 5296383"/>
              <a:gd name="connsiteX2252" fmla="*/ 1454529 w 9310410"/>
              <a:gd name="connsiteY2252" fmla="*/ 821005 h 5296383"/>
              <a:gd name="connsiteX2253" fmla="*/ 1459922 w 9310410"/>
              <a:gd name="connsiteY2253" fmla="*/ 821605 h 5296383"/>
              <a:gd name="connsiteX2254" fmla="*/ 1469511 w 9310410"/>
              <a:gd name="connsiteY2254" fmla="*/ 821005 h 5296383"/>
              <a:gd name="connsiteX2255" fmla="*/ 1473706 w 9310410"/>
              <a:gd name="connsiteY2255" fmla="*/ 819208 h 5296383"/>
              <a:gd name="connsiteX2256" fmla="*/ 1478500 w 9310410"/>
              <a:gd name="connsiteY2256" fmla="*/ 816810 h 5296383"/>
              <a:gd name="connsiteX2257" fmla="*/ 1482695 w 9310410"/>
              <a:gd name="connsiteY2257" fmla="*/ 815013 h 5296383"/>
              <a:gd name="connsiteX2258" fmla="*/ 1484493 w 9310410"/>
              <a:gd name="connsiteY2258" fmla="*/ 813814 h 5296383"/>
              <a:gd name="connsiteX2259" fmla="*/ 1485691 w 9310410"/>
              <a:gd name="connsiteY2259" fmla="*/ 813215 h 5296383"/>
              <a:gd name="connsiteX2260" fmla="*/ 1487489 w 9310410"/>
              <a:gd name="connsiteY2260" fmla="*/ 812616 h 5296383"/>
              <a:gd name="connsiteX2261" fmla="*/ 1489886 w 9310410"/>
              <a:gd name="connsiteY2261" fmla="*/ 812616 h 5296383"/>
              <a:gd name="connsiteX2262" fmla="*/ 1491085 w 9310410"/>
              <a:gd name="connsiteY2262" fmla="*/ 812616 h 5296383"/>
              <a:gd name="connsiteX2263" fmla="*/ 1498875 w 9310410"/>
              <a:gd name="connsiteY2263" fmla="*/ 813215 h 5296383"/>
              <a:gd name="connsiteX2264" fmla="*/ 1501272 w 9310410"/>
              <a:gd name="connsiteY2264" fmla="*/ 813215 h 5296383"/>
              <a:gd name="connsiteX2265" fmla="*/ 1504868 w 9310410"/>
              <a:gd name="connsiteY2265" fmla="*/ 813215 h 5296383"/>
              <a:gd name="connsiteX2266" fmla="*/ 1506067 w 9310410"/>
              <a:gd name="connsiteY2266" fmla="*/ 813814 h 5296383"/>
              <a:gd name="connsiteX2267" fmla="*/ 1501872 w 9310410"/>
              <a:gd name="connsiteY2267" fmla="*/ 816810 h 5296383"/>
              <a:gd name="connsiteX2268" fmla="*/ 1498875 w 9310410"/>
              <a:gd name="connsiteY2268" fmla="*/ 819208 h 5296383"/>
              <a:gd name="connsiteX2269" fmla="*/ 1496478 w 9310410"/>
              <a:gd name="connsiteY2269" fmla="*/ 821605 h 5296383"/>
              <a:gd name="connsiteX2270" fmla="*/ 1523446 w 9310410"/>
              <a:gd name="connsiteY2270" fmla="*/ 816810 h 5296383"/>
              <a:gd name="connsiteX2271" fmla="*/ 1526442 w 9310410"/>
              <a:gd name="connsiteY2271" fmla="*/ 810818 h 5296383"/>
              <a:gd name="connsiteX2272" fmla="*/ 1534832 w 9310410"/>
              <a:gd name="connsiteY2272" fmla="*/ 804226 h 5296383"/>
              <a:gd name="connsiteX2273" fmla="*/ 1537229 w 9310410"/>
              <a:gd name="connsiteY2273" fmla="*/ 803626 h 5296383"/>
              <a:gd name="connsiteX2274" fmla="*/ 1543821 w 9310410"/>
              <a:gd name="connsiteY2274" fmla="*/ 801229 h 5296383"/>
              <a:gd name="connsiteX2275" fmla="*/ 1545619 w 9310410"/>
              <a:gd name="connsiteY2275" fmla="*/ 798233 h 5296383"/>
              <a:gd name="connsiteX2276" fmla="*/ 1542622 w 9310410"/>
              <a:gd name="connsiteY2276" fmla="*/ 794637 h 5296383"/>
              <a:gd name="connsiteX2277" fmla="*/ 1542023 w 9310410"/>
              <a:gd name="connsiteY2277" fmla="*/ 794038 h 5296383"/>
              <a:gd name="connsiteX2278" fmla="*/ 1542023 w 9310410"/>
              <a:gd name="connsiteY2278" fmla="*/ 792240 h 5296383"/>
              <a:gd name="connsiteX2279" fmla="*/ 1542023 w 9310410"/>
              <a:gd name="connsiteY2279" fmla="*/ 790442 h 5296383"/>
              <a:gd name="connsiteX2280" fmla="*/ 1540225 w 9310410"/>
              <a:gd name="connsiteY2280" fmla="*/ 789244 h 5296383"/>
              <a:gd name="connsiteX2281" fmla="*/ 1539027 w 9310410"/>
              <a:gd name="connsiteY2281" fmla="*/ 789244 h 5296383"/>
              <a:gd name="connsiteX2282" fmla="*/ 1537229 w 9310410"/>
              <a:gd name="connsiteY2282" fmla="*/ 788645 h 5296383"/>
              <a:gd name="connsiteX2283" fmla="*/ 1538427 w 9310410"/>
              <a:gd name="connsiteY2283" fmla="*/ 785648 h 5296383"/>
              <a:gd name="connsiteX2284" fmla="*/ 1542622 w 9310410"/>
              <a:gd name="connsiteY2284" fmla="*/ 780255 h 5296383"/>
              <a:gd name="connsiteX2285" fmla="*/ 1543222 w 9310410"/>
              <a:gd name="connsiteY2285" fmla="*/ 777258 h 5296383"/>
              <a:gd name="connsiteX2286" fmla="*/ 1546218 w 9310410"/>
              <a:gd name="connsiteY2286" fmla="*/ 770067 h 5296383"/>
              <a:gd name="connsiteX2287" fmla="*/ 1547416 w 9310410"/>
              <a:gd name="connsiteY2287" fmla="*/ 768868 h 5296383"/>
              <a:gd name="connsiteX2288" fmla="*/ 1549214 w 9310410"/>
              <a:gd name="connsiteY2288" fmla="*/ 767670 h 5296383"/>
              <a:gd name="connsiteX2289" fmla="*/ 1552211 w 9310410"/>
              <a:gd name="connsiteY2289" fmla="*/ 764674 h 5296383"/>
              <a:gd name="connsiteX2290" fmla="*/ 1554008 w 9310410"/>
              <a:gd name="connsiteY2290" fmla="*/ 761677 h 5296383"/>
              <a:gd name="connsiteX2291" fmla="*/ 1557604 w 9310410"/>
              <a:gd name="connsiteY2291" fmla="*/ 754486 h 5296383"/>
              <a:gd name="connsiteX2292" fmla="*/ 1560001 w 9310410"/>
              <a:gd name="connsiteY2292" fmla="*/ 748493 h 5296383"/>
              <a:gd name="connsiteX2293" fmla="*/ 1558203 w 9310410"/>
              <a:gd name="connsiteY2293" fmla="*/ 749092 h 5296383"/>
              <a:gd name="connsiteX2294" fmla="*/ 1557005 w 9310410"/>
              <a:gd name="connsiteY2294" fmla="*/ 749692 h 5296383"/>
              <a:gd name="connsiteX2295" fmla="*/ 1554608 w 9310410"/>
              <a:gd name="connsiteY2295" fmla="*/ 750291 h 5296383"/>
              <a:gd name="connsiteX2296" fmla="*/ 1552810 w 9310410"/>
              <a:gd name="connsiteY2296" fmla="*/ 750291 h 5296383"/>
              <a:gd name="connsiteX2297" fmla="*/ 1551012 w 9310410"/>
              <a:gd name="connsiteY2297" fmla="*/ 750890 h 5296383"/>
              <a:gd name="connsiteX2298" fmla="*/ 1549814 w 9310410"/>
              <a:gd name="connsiteY2298" fmla="*/ 752089 h 5296383"/>
              <a:gd name="connsiteX2299" fmla="*/ 1548615 w 9310410"/>
              <a:gd name="connsiteY2299" fmla="*/ 753887 h 5296383"/>
              <a:gd name="connsiteX2300" fmla="*/ 1536030 w 9310410"/>
              <a:gd name="connsiteY2300" fmla="*/ 764674 h 5296383"/>
              <a:gd name="connsiteX2301" fmla="*/ 1528240 w 9310410"/>
              <a:gd name="connsiteY2301" fmla="*/ 767670 h 5296383"/>
              <a:gd name="connsiteX2302" fmla="*/ 1525843 w 9310410"/>
              <a:gd name="connsiteY2302" fmla="*/ 765273 h 5296383"/>
              <a:gd name="connsiteX2303" fmla="*/ 1525243 w 9310410"/>
              <a:gd name="connsiteY2303" fmla="*/ 761677 h 5296383"/>
              <a:gd name="connsiteX2304" fmla="*/ 1524045 w 9310410"/>
              <a:gd name="connsiteY2304" fmla="*/ 761677 h 5296383"/>
              <a:gd name="connsiteX2305" fmla="*/ 1522247 w 9310410"/>
              <a:gd name="connsiteY2305" fmla="*/ 762876 h 5296383"/>
              <a:gd name="connsiteX2306" fmla="*/ 1519251 w 9310410"/>
              <a:gd name="connsiteY2306" fmla="*/ 765872 h 5296383"/>
              <a:gd name="connsiteX2307" fmla="*/ 1518651 w 9310410"/>
              <a:gd name="connsiteY2307" fmla="*/ 765872 h 5296383"/>
              <a:gd name="connsiteX2308" fmla="*/ 1517453 w 9310410"/>
              <a:gd name="connsiteY2308" fmla="*/ 765273 h 5296383"/>
              <a:gd name="connsiteX2309" fmla="*/ 1515056 w 9310410"/>
              <a:gd name="connsiteY2309" fmla="*/ 764674 h 5296383"/>
              <a:gd name="connsiteX2310" fmla="*/ 1512659 w 9310410"/>
              <a:gd name="connsiteY2310" fmla="*/ 765273 h 5296383"/>
              <a:gd name="connsiteX2311" fmla="*/ 1512659 w 9310410"/>
              <a:gd name="connsiteY2311" fmla="*/ 765872 h 5296383"/>
              <a:gd name="connsiteX2312" fmla="*/ 1512659 w 9310410"/>
              <a:gd name="connsiteY2312" fmla="*/ 768269 h 5296383"/>
              <a:gd name="connsiteX2313" fmla="*/ 1512659 w 9310410"/>
              <a:gd name="connsiteY2313" fmla="*/ 769468 h 5296383"/>
              <a:gd name="connsiteX2314" fmla="*/ 1504868 w 9310410"/>
              <a:gd name="connsiteY2314" fmla="*/ 772464 h 5296383"/>
              <a:gd name="connsiteX2315" fmla="*/ 1500074 w 9310410"/>
              <a:gd name="connsiteY2315" fmla="*/ 773063 h 5296383"/>
              <a:gd name="connsiteX2316" fmla="*/ 1493482 w 9310410"/>
              <a:gd name="connsiteY2316" fmla="*/ 774861 h 5296383"/>
              <a:gd name="connsiteX2317" fmla="*/ 1490485 w 9310410"/>
              <a:gd name="connsiteY2317" fmla="*/ 776060 h 5296383"/>
              <a:gd name="connsiteX2318" fmla="*/ 1475504 w 9310410"/>
              <a:gd name="connsiteY2318" fmla="*/ 782053 h 5296383"/>
              <a:gd name="connsiteX2319" fmla="*/ 1470709 w 9310410"/>
              <a:gd name="connsiteY2319" fmla="*/ 784450 h 5296383"/>
              <a:gd name="connsiteX2320" fmla="*/ 1450933 w 9310410"/>
              <a:gd name="connsiteY2320" fmla="*/ 788045 h 5296383"/>
              <a:gd name="connsiteX2321" fmla="*/ 1445540 w 9310410"/>
              <a:gd name="connsiteY2321" fmla="*/ 785049 h 5296383"/>
              <a:gd name="connsiteX2322" fmla="*/ 1443742 w 9310410"/>
              <a:gd name="connsiteY2322" fmla="*/ 782053 h 5296383"/>
              <a:gd name="connsiteX2323" fmla="*/ 1441944 w 9310410"/>
              <a:gd name="connsiteY2323" fmla="*/ 781453 h 5296383"/>
              <a:gd name="connsiteX2324" fmla="*/ 1440746 w 9310410"/>
              <a:gd name="connsiteY2324" fmla="*/ 782652 h 5296383"/>
              <a:gd name="connsiteX2325" fmla="*/ 1438349 w 9310410"/>
              <a:gd name="connsiteY2325" fmla="*/ 785648 h 5296383"/>
              <a:gd name="connsiteX2326" fmla="*/ 1437150 w 9310410"/>
              <a:gd name="connsiteY2326" fmla="*/ 785049 h 5296383"/>
              <a:gd name="connsiteX2327" fmla="*/ 1436551 w 9310410"/>
              <a:gd name="connsiteY2327" fmla="*/ 784450 h 5296383"/>
              <a:gd name="connsiteX2328" fmla="*/ 1437749 w 9310410"/>
              <a:gd name="connsiteY2328" fmla="*/ 778457 h 5296383"/>
              <a:gd name="connsiteX2329" fmla="*/ 1438948 w 9310410"/>
              <a:gd name="connsiteY2329" fmla="*/ 774861 h 5296383"/>
              <a:gd name="connsiteX2330" fmla="*/ 1438349 w 9310410"/>
              <a:gd name="connsiteY2330" fmla="*/ 771266 h 5296383"/>
              <a:gd name="connsiteX2331" fmla="*/ 1437150 w 9310410"/>
              <a:gd name="connsiteY2331" fmla="*/ 767670 h 5296383"/>
              <a:gd name="connsiteX2332" fmla="*/ 1436551 w 9310410"/>
              <a:gd name="connsiteY2332" fmla="*/ 765872 h 5296383"/>
              <a:gd name="connsiteX2333" fmla="*/ 1435951 w 9310410"/>
              <a:gd name="connsiteY2333" fmla="*/ 764074 h 5296383"/>
              <a:gd name="connsiteX2334" fmla="*/ 1435951 w 9310410"/>
              <a:gd name="connsiteY2334" fmla="*/ 760479 h 5296383"/>
              <a:gd name="connsiteX2335" fmla="*/ 1437749 w 9310410"/>
              <a:gd name="connsiteY2335" fmla="*/ 757482 h 5296383"/>
              <a:gd name="connsiteX2336" fmla="*/ 1444941 w 9310410"/>
              <a:gd name="connsiteY2336" fmla="*/ 752089 h 5296383"/>
              <a:gd name="connsiteX2337" fmla="*/ 1453330 w 9310410"/>
              <a:gd name="connsiteY2337" fmla="*/ 750291 h 5296383"/>
              <a:gd name="connsiteX2338" fmla="*/ 1454529 w 9310410"/>
              <a:gd name="connsiteY2338" fmla="*/ 750291 h 5296383"/>
              <a:gd name="connsiteX2339" fmla="*/ 1456327 w 9310410"/>
              <a:gd name="connsiteY2339" fmla="*/ 748493 h 5296383"/>
              <a:gd name="connsiteX2340" fmla="*/ 1458724 w 9310410"/>
              <a:gd name="connsiteY2340" fmla="*/ 744898 h 5296383"/>
              <a:gd name="connsiteX2341" fmla="*/ 1465915 w 9310410"/>
              <a:gd name="connsiteY2341" fmla="*/ 741901 h 5296383"/>
              <a:gd name="connsiteX2342" fmla="*/ 1474305 w 9310410"/>
              <a:gd name="connsiteY2342" fmla="*/ 738306 h 5296383"/>
              <a:gd name="connsiteX2343" fmla="*/ 1474305 w 9310410"/>
              <a:gd name="connsiteY2343" fmla="*/ 737107 h 5296383"/>
              <a:gd name="connsiteX2344" fmla="*/ 1463518 w 9310410"/>
              <a:gd name="connsiteY2344" fmla="*/ 737107 h 5296383"/>
              <a:gd name="connsiteX2345" fmla="*/ 1458724 w 9310410"/>
              <a:gd name="connsiteY2345" fmla="*/ 737706 h 5296383"/>
              <a:gd name="connsiteX2346" fmla="*/ 1454529 w 9310410"/>
              <a:gd name="connsiteY2346" fmla="*/ 735309 h 5296383"/>
              <a:gd name="connsiteX2347" fmla="*/ 1453930 w 9310410"/>
              <a:gd name="connsiteY2347" fmla="*/ 734111 h 5296383"/>
              <a:gd name="connsiteX2348" fmla="*/ 1453930 w 9310410"/>
              <a:gd name="connsiteY2348" fmla="*/ 732313 h 5296383"/>
              <a:gd name="connsiteX2349" fmla="*/ 1460522 w 9310410"/>
              <a:gd name="connsiteY2349" fmla="*/ 727519 h 5296383"/>
              <a:gd name="connsiteX2350" fmla="*/ 1465915 w 9310410"/>
              <a:gd name="connsiteY2350" fmla="*/ 727519 h 5296383"/>
              <a:gd name="connsiteX2351" fmla="*/ 1468912 w 9310410"/>
              <a:gd name="connsiteY2351" fmla="*/ 727519 h 5296383"/>
              <a:gd name="connsiteX2352" fmla="*/ 1471309 w 9310410"/>
              <a:gd name="connsiteY2352" fmla="*/ 727519 h 5296383"/>
              <a:gd name="connsiteX2353" fmla="*/ 1474305 w 9310410"/>
              <a:gd name="connsiteY2353" fmla="*/ 724522 h 5296383"/>
              <a:gd name="connsiteX2354" fmla="*/ 1472507 w 9310410"/>
              <a:gd name="connsiteY2354" fmla="*/ 722724 h 5296383"/>
              <a:gd name="connsiteX2355" fmla="*/ 1473106 w 9310410"/>
              <a:gd name="connsiteY2355" fmla="*/ 721526 h 5296383"/>
              <a:gd name="connsiteX2356" fmla="*/ 1474904 w 9310410"/>
              <a:gd name="connsiteY2356" fmla="*/ 719728 h 5296383"/>
              <a:gd name="connsiteX2357" fmla="*/ 1476103 w 9310410"/>
              <a:gd name="connsiteY2357" fmla="*/ 718530 h 5296383"/>
              <a:gd name="connsiteX2358" fmla="*/ 1479099 w 9310410"/>
              <a:gd name="connsiteY2358" fmla="*/ 717331 h 5296383"/>
              <a:gd name="connsiteX2359" fmla="*/ 1483294 w 9310410"/>
              <a:gd name="connsiteY2359" fmla="*/ 716732 h 5296383"/>
              <a:gd name="connsiteX2360" fmla="*/ 1486890 w 9310410"/>
              <a:gd name="connsiteY2360" fmla="*/ 715533 h 5296383"/>
              <a:gd name="connsiteX2361" fmla="*/ 1499475 w 9310410"/>
              <a:gd name="connsiteY2361" fmla="*/ 709540 h 5296383"/>
              <a:gd name="connsiteX2362" fmla="*/ 1501272 w 9310410"/>
              <a:gd name="connsiteY2362" fmla="*/ 709540 h 5296383"/>
              <a:gd name="connsiteX2363" fmla="*/ 1504868 w 9310410"/>
              <a:gd name="connsiteY2363" fmla="*/ 711338 h 5296383"/>
              <a:gd name="connsiteX2364" fmla="*/ 1506067 w 9310410"/>
              <a:gd name="connsiteY2364" fmla="*/ 710739 h 5296383"/>
              <a:gd name="connsiteX2365" fmla="*/ 1509662 w 9310410"/>
              <a:gd name="connsiteY2365" fmla="*/ 708342 h 5296383"/>
              <a:gd name="connsiteX2366" fmla="*/ 1512059 w 9310410"/>
              <a:gd name="connsiteY2366" fmla="*/ 707743 h 5296383"/>
              <a:gd name="connsiteX2367" fmla="*/ 1515056 w 9310410"/>
              <a:gd name="connsiteY2367" fmla="*/ 706544 h 5296383"/>
              <a:gd name="connsiteX2368" fmla="*/ 1517453 w 9310410"/>
              <a:gd name="connsiteY2368" fmla="*/ 702948 h 5296383"/>
              <a:gd name="connsiteX2369" fmla="*/ 1511460 w 9310410"/>
              <a:gd name="connsiteY2369" fmla="*/ 703548 h 5296383"/>
              <a:gd name="connsiteX2370" fmla="*/ 1504868 w 9310410"/>
              <a:gd name="connsiteY2370" fmla="*/ 704746 h 5296383"/>
              <a:gd name="connsiteX2371" fmla="*/ 1490485 w 9310410"/>
              <a:gd name="connsiteY2371" fmla="*/ 708941 h 5296383"/>
              <a:gd name="connsiteX2372" fmla="*/ 1488088 w 9310410"/>
              <a:gd name="connsiteY2372" fmla="*/ 710140 h 5296383"/>
              <a:gd name="connsiteX2373" fmla="*/ 1482096 w 9310410"/>
              <a:gd name="connsiteY2373" fmla="*/ 713735 h 5296383"/>
              <a:gd name="connsiteX2374" fmla="*/ 1480298 w 9310410"/>
              <a:gd name="connsiteY2374" fmla="*/ 714335 h 5296383"/>
              <a:gd name="connsiteX2375" fmla="*/ 1479099 w 9310410"/>
              <a:gd name="connsiteY2375" fmla="*/ 701750 h 5296383"/>
              <a:gd name="connsiteX2376" fmla="*/ 1484493 w 9310410"/>
              <a:gd name="connsiteY2376" fmla="*/ 690963 h 5296383"/>
              <a:gd name="connsiteX2377" fmla="*/ 1485092 w 9310410"/>
              <a:gd name="connsiteY2377" fmla="*/ 689764 h 5296383"/>
              <a:gd name="connsiteX2378" fmla="*/ 1485691 w 9310410"/>
              <a:gd name="connsiteY2378" fmla="*/ 688566 h 5296383"/>
              <a:gd name="connsiteX2379" fmla="*/ 1487489 w 9310410"/>
              <a:gd name="connsiteY2379" fmla="*/ 686169 h 5296383"/>
              <a:gd name="connsiteX2380" fmla="*/ 1488688 w 9310410"/>
              <a:gd name="connsiteY2380" fmla="*/ 685569 h 5296383"/>
              <a:gd name="connsiteX2381" fmla="*/ 1490485 w 9310410"/>
              <a:gd name="connsiteY2381" fmla="*/ 686169 h 5296383"/>
              <a:gd name="connsiteX2382" fmla="*/ 1491684 w 9310410"/>
              <a:gd name="connsiteY2382" fmla="*/ 687367 h 5296383"/>
              <a:gd name="connsiteX2383" fmla="*/ 1492883 w 9310410"/>
              <a:gd name="connsiteY2383" fmla="*/ 687967 h 5296383"/>
              <a:gd name="connsiteX2384" fmla="*/ 1493482 w 9310410"/>
              <a:gd name="connsiteY2384" fmla="*/ 687967 h 5296383"/>
              <a:gd name="connsiteX2385" fmla="*/ 1497077 w 9310410"/>
              <a:gd name="connsiteY2385" fmla="*/ 688566 h 5296383"/>
              <a:gd name="connsiteX2386" fmla="*/ 1499475 w 9310410"/>
              <a:gd name="connsiteY2386" fmla="*/ 686169 h 5296383"/>
              <a:gd name="connsiteX2387" fmla="*/ 1497677 w 9310410"/>
              <a:gd name="connsiteY2387" fmla="*/ 684970 h 5296383"/>
              <a:gd name="connsiteX2388" fmla="*/ 1496478 w 9310410"/>
              <a:gd name="connsiteY2388" fmla="*/ 684970 h 5296383"/>
              <a:gd name="connsiteX2389" fmla="*/ 1495280 w 9310410"/>
              <a:gd name="connsiteY2389" fmla="*/ 684371 h 5296383"/>
              <a:gd name="connsiteX2390" fmla="*/ 1494680 w 9310410"/>
              <a:gd name="connsiteY2390" fmla="*/ 683172 h 5296383"/>
              <a:gd name="connsiteX2391" fmla="*/ 1494680 w 9310410"/>
              <a:gd name="connsiteY2391" fmla="*/ 681375 h 5296383"/>
              <a:gd name="connsiteX2392" fmla="*/ 1494680 w 9310410"/>
              <a:gd name="connsiteY2392" fmla="*/ 680176 h 5296383"/>
              <a:gd name="connsiteX2393" fmla="*/ 1495280 w 9310410"/>
              <a:gd name="connsiteY2393" fmla="*/ 679577 h 5296383"/>
              <a:gd name="connsiteX2394" fmla="*/ 1500673 w 9310410"/>
              <a:gd name="connsiteY2394" fmla="*/ 680176 h 5296383"/>
              <a:gd name="connsiteX2395" fmla="*/ 1512059 w 9310410"/>
              <a:gd name="connsiteY2395" fmla="*/ 682573 h 5296383"/>
              <a:gd name="connsiteX2396" fmla="*/ 1515056 w 9310410"/>
              <a:gd name="connsiteY2396" fmla="*/ 682573 h 5296383"/>
              <a:gd name="connsiteX2397" fmla="*/ 1518052 w 9310410"/>
              <a:gd name="connsiteY2397" fmla="*/ 682573 h 5296383"/>
              <a:gd name="connsiteX2398" fmla="*/ 1522846 w 9310410"/>
              <a:gd name="connsiteY2398" fmla="*/ 684371 h 5296383"/>
              <a:gd name="connsiteX2399" fmla="*/ 1524045 w 9310410"/>
              <a:gd name="connsiteY2399" fmla="*/ 684371 h 5296383"/>
              <a:gd name="connsiteX2400" fmla="*/ 1528240 w 9310410"/>
              <a:gd name="connsiteY2400" fmla="*/ 683772 h 5296383"/>
              <a:gd name="connsiteX2401" fmla="*/ 1529438 w 9310410"/>
              <a:gd name="connsiteY2401" fmla="*/ 689165 h 5296383"/>
              <a:gd name="connsiteX2402" fmla="*/ 1530037 w 9310410"/>
              <a:gd name="connsiteY2402" fmla="*/ 693959 h 5296383"/>
              <a:gd name="connsiteX2403" fmla="*/ 1530037 w 9310410"/>
              <a:gd name="connsiteY2403" fmla="*/ 694559 h 5296383"/>
              <a:gd name="connsiteX2404" fmla="*/ 1530037 w 9310410"/>
              <a:gd name="connsiteY2404" fmla="*/ 694559 h 5296383"/>
              <a:gd name="connsiteX2405" fmla="*/ 1530637 w 9310410"/>
              <a:gd name="connsiteY2405" fmla="*/ 693959 h 5296383"/>
              <a:gd name="connsiteX2406" fmla="*/ 1531835 w 9310410"/>
              <a:gd name="connsiteY2406" fmla="*/ 692161 h 5296383"/>
              <a:gd name="connsiteX2407" fmla="*/ 1532435 w 9310410"/>
              <a:gd name="connsiteY2407" fmla="*/ 690963 h 5296383"/>
              <a:gd name="connsiteX2408" fmla="*/ 1536030 w 9310410"/>
              <a:gd name="connsiteY2408" fmla="*/ 688566 h 5296383"/>
              <a:gd name="connsiteX2409" fmla="*/ 1540825 w 9310410"/>
              <a:gd name="connsiteY2409" fmla="*/ 687967 h 5296383"/>
              <a:gd name="connsiteX2410" fmla="*/ 1545619 w 9310410"/>
              <a:gd name="connsiteY2410" fmla="*/ 687367 h 5296383"/>
              <a:gd name="connsiteX2411" fmla="*/ 1547416 w 9310410"/>
              <a:gd name="connsiteY2411" fmla="*/ 686768 h 5296383"/>
              <a:gd name="connsiteX2412" fmla="*/ 1548016 w 9310410"/>
              <a:gd name="connsiteY2412" fmla="*/ 684371 h 5296383"/>
              <a:gd name="connsiteX2413" fmla="*/ 1548615 w 9310410"/>
              <a:gd name="connsiteY2413" fmla="*/ 682573 h 5296383"/>
              <a:gd name="connsiteX2414" fmla="*/ 1550413 w 9310410"/>
              <a:gd name="connsiteY2414" fmla="*/ 680176 h 5296383"/>
              <a:gd name="connsiteX2415" fmla="*/ 1552211 w 9310410"/>
              <a:gd name="connsiteY2415" fmla="*/ 678977 h 5296383"/>
              <a:gd name="connsiteX2416" fmla="*/ 1554008 w 9310410"/>
              <a:gd name="connsiteY2416" fmla="*/ 677779 h 5296383"/>
              <a:gd name="connsiteX2417" fmla="*/ 1554608 w 9310410"/>
              <a:gd name="connsiteY2417" fmla="*/ 677180 h 5296383"/>
              <a:gd name="connsiteX2418" fmla="*/ 1553409 w 9310410"/>
              <a:gd name="connsiteY2418" fmla="*/ 676580 h 5296383"/>
              <a:gd name="connsiteX2419" fmla="*/ 1551611 w 9310410"/>
              <a:gd name="connsiteY2419" fmla="*/ 676580 h 5296383"/>
              <a:gd name="connsiteX2420" fmla="*/ 1551012 w 9310410"/>
              <a:gd name="connsiteY2420" fmla="*/ 676580 h 5296383"/>
              <a:gd name="connsiteX2421" fmla="*/ 1547416 w 9310410"/>
              <a:gd name="connsiteY2421" fmla="*/ 678977 h 5296383"/>
              <a:gd name="connsiteX2422" fmla="*/ 1545619 w 9310410"/>
              <a:gd name="connsiteY2422" fmla="*/ 680775 h 5296383"/>
              <a:gd name="connsiteX2423" fmla="*/ 1543821 w 9310410"/>
              <a:gd name="connsiteY2423" fmla="*/ 682573 h 5296383"/>
              <a:gd name="connsiteX2424" fmla="*/ 1533633 w 9310410"/>
              <a:gd name="connsiteY2424" fmla="*/ 683772 h 5296383"/>
              <a:gd name="connsiteX2425" fmla="*/ 1529438 w 9310410"/>
              <a:gd name="connsiteY2425" fmla="*/ 682573 h 5296383"/>
              <a:gd name="connsiteX2426" fmla="*/ 1521648 w 9310410"/>
              <a:gd name="connsiteY2426" fmla="*/ 678977 h 5296383"/>
              <a:gd name="connsiteX2427" fmla="*/ 1519850 w 9310410"/>
              <a:gd name="connsiteY2427" fmla="*/ 678378 h 5296383"/>
              <a:gd name="connsiteX2428" fmla="*/ 1517453 w 9310410"/>
              <a:gd name="connsiteY2428" fmla="*/ 678378 h 5296383"/>
              <a:gd name="connsiteX2429" fmla="*/ 1514456 w 9310410"/>
              <a:gd name="connsiteY2429" fmla="*/ 678378 h 5296383"/>
              <a:gd name="connsiteX2430" fmla="*/ 1506067 w 9310410"/>
              <a:gd name="connsiteY2430" fmla="*/ 676580 h 5296383"/>
              <a:gd name="connsiteX2431" fmla="*/ 1506067 w 9310410"/>
              <a:gd name="connsiteY2431" fmla="*/ 671786 h 5296383"/>
              <a:gd name="connsiteX2432" fmla="*/ 1506666 w 9310410"/>
              <a:gd name="connsiteY2432" fmla="*/ 667591 h 5296383"/>
              <a:gd name="connsiteX2433" fmla="*/ 1507864 w 9310410"/>
              <a:gd name="connsiteY2433" fmla="*/ 666992 h 5296383"/>
              <a:gd name="connsiteX2434" fmla="*/ 1512059 w 9310410"/>
              <a:gd name="connsiteY2434" fmla="*/ 668190 h 5296383"/>
              <a:gd name="connsiteX2435" fmla="*/ 1513857 w 9310410"/>
              <a:gd name="connsiteY2435" fmla="*/ 668790 h 5296383"/>
              <a:gd name="connsiteX2436" fmla="*/ 1515056 w 9310410"/>
              <a:gd name="connsiteY2436" fmla="*/ 667591 h 5296383"/>
              <a:gd name="connsiteX2437" fmla="*/ 1515056 w 9310410"/>
              <a:gd name="connsiteY2437" fmla="*/ 666393 h 5296383"/>
              <a:gd name="connsiteX2438" fmla="*/ 1514456 w 9310410"/>
              <a:gd name="connsiteY2438" fmla="*/ 659801 h 5296383"/>
              <a:gd name="connsiteX2439" fmla="*/ 1524045 w 9310410"/>
              <a:gd name="connsiteY2439" fmla="*/ 655606 h 5296383"/>
              <a:gd name="connsiteX2440" fmla="*/ 1525843 w 9310410"/>
              <a:gd name="connsiteY2440" fmla="*/ 655006 h 5296383"/>
              <a:gd name="connsiteX2441" fmla="*/ 1528240 w 9310410"/>
              <a:gd name="connsiteY2441" fmla="*/ 654407 h 5296383"/>
              <a:gd name="connsiteX2442" fmla="*/ 1532435 w 9310410"/>
              <a:gd name="connsiteY2442" fmla="*/ 655606 h 5296383"/>
              <a:gd name="connsiteX2443" fmla="*/ 1535431 w 9310410"/>
              <a:gd name="connsiteY2443" fmla="*/ 657404 h 5296383"/>
              <a:gd name="connsiteX2444" fmla="*/ 1544420 w 9310410"/>
              <a:gd name="connsiteY2444" fmla="*/ 663996 h 5296383"/>
              <a:gd name="connsiteX2445" fmla="*/ 1545619 w 9310410"/>
              <a:gd name="connsiteY2445" fmla="*/ 661598 h 5296383"/>
              <a:gd name="connsiteX2446" fmla="*/ 1544420 w 9310410"/>
              <a:gd name="connsiteY2446" fmla="*/ 660999 h 5296383"/>
              <a:gd name="connsiteX2447" fmla="*/ 1540225 w 9310410"/>
              <a:gd name="connsiteY2447" fmla="*/ 656804 h 5296383"/>
              <a:gd name="connsiteX2448" fmla="*/ 1532435 w 9310410"/>
              <a:gd name="connsiteY2448" fmla="*/ 652609 h 5296383"/>
              <a:gd name="connsiteX2449" fmla="*/ 1530637 w 9310410"/>
              <a:gd name="connsiteY2449" fmla="*/ 652609 h 5296383"/>
              <a:gd name="connsiteX2450" fmla="*/ 1528839 w 9310410"/>
              <a:gd name="connsiteY2450" fmla="*/ 652609 h 5296383"/>
              <a:gd name="connsiteX2451" fmla="*/ 1528839 w 9310410"/>
              <a:gd name="connsiteY2451" fmla="*/ 649014 h 5296383"/>
              <a:gd name="connsiteX2452" fmla="*/ 1530637 w 9310410"/>
              <a:gd name="connsiteY2452" fmla="*/ 648414 h 5296383"/>
              <a:gd name="connsiteX2453" fmla="*/ 1531835 w 9310410"/>
              <a:gd name="connsiteY2453" fmla="*/ 646017 h 5296383"/>
              <a:gd name="connsiteX2454" fmla="*/ 1531835 w 9310410"/>
              <a:gd name="connsiteY2454" fmla="*/ 644819 h 5296383"/>
              <a:gd name="connsiteX2455" fmla="*/ 1535431 w 9310410"/>
              <a:gd name="connsiteY2455" fmla="*/ 641223 h 5296383"/>
              <a:gd name="connsiteX2456" fmla="*/ 1536630 w 9310410"/>
              <a:gd name="connsiteY2456" fmla="*/ 641223 h 5296383"/>
              <a:gd name="connsiteX2457" fmla="*/ 1540225 w 9310410"/>
              <a:gd name="connsiteY2457" fmla="*/ 643021 h 5296383"/>
              <a:gd name="connsiteX2458" fmla="*/ 1543222 w 9310410"/>
              <a:gd name="connsiteY2458" fmla="*/ 645418 h 5296383"/>
              <a:gd name="connsiteX2459" fmla="*/ 1548016 w 9310410"/>
              <a:gd name="connsiteY2459" fmla="*/ 648414 h 5296383"/>
              <a:gd name="connsiteX2460" fmla="*/ 1550413 w 9310410"/>
              <a:gd name="connsiteY2460" fmla="*/ 649613 h 5296383"/>
              <a:gd name="connsiteX2461" fmla="*/ 1551012 w 9310410"/>
              <a:gd name="connsiteY2461" fmla="*/ 649613 h 5296383"/>
              <a:gd name="connsiteX2462" fmla="*/ 1552211 w 9310410"/>
              <a:gd name="connsiteY2462" fmla="*/ 650212 h 5296383"/>
              <a:gd name="connsiteX2463" fmla="*/ 1552810 w 9310410"/>
              <a:gd name="connsiteY2463" fmla="*/ 650812 h 5296383"/>
              <a:gd name="connsiteX2464" fmla="*/ 1553409 w 9310410"/>
              <a:gd name="connsiteY2464" fmla="*/ 650812 h 5296383"/>
              <a:gd name="connsiteX2465" fmla="*/ 1554008 w 9310410"/>
              <a:gd name="connsiteY2465" fmla="*/ 651411 h 5296383"/>
              <a:gd name="connsiteX2466" fmla="*/ 1554008 w 9310410"/>
              <a:gd name="connsiteY2466" fmla="*/ 651411 h 5296383"/>
              <a:gd name="connsiteX2467" fmla="*/ 1554008 w 9310410"/>
              <a:gd name="connsiteY2467" fmla="*/ 650212 h 5296383"/>
              <a:gd name="connsiteX2468" fmla="*/ 1557604 w 9310410"/>
              <a:gd name="connsiteY2468" fmla="*/ 646017 h 5296383"/>
              <a:gd name="connsiteX2469" fmla="*/ 1558203 w 9310410"/>
              <a:gd name="connsiteY2469" fmla="*/ 646017 h 5296383"/>
              <a:gd name="connsiteX2470" fmla="*/ 1560600 w 9310410"/>
              <a:gd name="connsiteY2470" fmla="*/ 645418 h 5296383"/>
              <a:gd name="connsiteX2471" fmla="*/ 1565395 w 9310410"/>
              <a:gd name="connsiteY2471" fmla="*/ 641822 h 5296383"/>
              <a:gd name="connsiteX2472" fmla="*/ 1566593 w 9310410"/>
              <a:gd name="connsiteY2472" fmla="*/ 640624 h 5296383"/>
              <a:gd name="connsiteX2473" fmla="*/ 1568391 w 9310410"/>
              <a:gd name="connsiteY2473" fmla="*/ 640025 h 5296383"/>
              <a:gd name="connsiteX2474" fmla="*/ 1571987 w 9310410"/>
              <a:gd name="connsiteY2474" fmla="*/ 641822 h 5296383"/>
              <a:gd name="connsiteX2475" fmla="*/ 1573185 w 9310410"/>
              <a:gd name="connsiteY2475" fmla="*/ 642422 h 5296383"/>
              <a:gd name="connsiteX2476" fmla="*/ 1574384 w 9310410"/>
              <a:gd name="connsiteY2476" fmla="*/ 643021 h 5296383"/>
              <a:gd name="connsiteX2477" fmla="*/ 1574983 w 9310410"/>
              <a:gd name="connsiteY2477" fmla="*/ 643620 h 5296383"/>
              <a:gd name="connsiteX2478" fmla="*/ 1574983 w 9310410"/>
              <a:gd name="connsiteY2478" fmla="*/ 645418 h 5296383"/>
              <a:gd name="connsiteX2479" fmla="*/ 1570788 w 9310410"/>
              <a:gd name="connsiteY2479" fmla="*/ 650812 h 5296383"/>
              <a:gd name="connsiteX2480" fmla="*/ 1566593 w 9310410"/>
              <a:gd name="connsiteY2480" fmla="*/ 655006 h 5296383"/>
              <a:gd name="connsiteX2481" fmla="*/ 1565994 w 9310410"/>
              <a:gd name="connsiteY2481" fmla="*/ 656804 h 5296383"/>
              <a:gd name="connsiteX2482" fmla="*/ 1568990 w 9310410"/>
              <a:gd name="connsiteY2482" fmla="*/ 656804 h 5296383"/>
              <a:gd name="connsiteX2483" fmla="*/ 1571387 w 9310410"/>
              <a:gd name="connsiteY2483" fmla="*/ 655606 h 5296383"/>
              <a:gd name="connsiteX2484" fmla="*/ 1571987 w 9310410"/>
              <a:gd name="connsiteY2484" fmla="*/ 655006 h 5296383"/>
              <a:gd name="connsiteX2485" fmla="*/ 1573185 w 9310410"/>
              <a:gd name="connsiteY2485" fmla="*/ 653209 h 5296383"/>
              <a:gd name="connsiteX2486" fmla="*/ 1576182 w 9310410"/>
              <a:gd name="connsiteY2486" fmla="*/ 651411 h 5296383"/>
              <a:gd name="connsiteX2487" fmla="*/ 1577979 w 9310410"/>
              <a:gd name="connsiteY2487" fmla="*/ 651411 h 5296383"/>
              <a:gd name="connsiteX2488" fmla="*/ 1579178 w 9310410"/>
              <a:gd name="connsiteY2488" fmla="*/ 651411 h 5296383"/>
              <a:gd name="connsiteX2489" fmla="*/ 1579777 w 9310410"/>
              <a:gd name="connsiteY2489" fmla="*/ 651411 h 5296383"/>
              <a:gd name="connsiteX2490" fmla="*/ 1580976 w 9310410"/>
              <a:gd name="connsiteY2490" fmla="*/ 650812 h 5296383"/>
              <a:gd name="connsiteX2491" fmla="*/ 1579178 w 9310410"/>
              <a:gd name="connsiteY2491" fmla="*/ 648414 h 5296383"/>
              <a:gd name="connsiteX2492" fmla="*/ 1577979 w 9310410"/>
              <a:gd name="connsiteY2492" fmla="*/ 647815 h 5296383"/>
              <a:gd name="connsiteX2493" fmla="*/ 1577380 w 9310410"/>
              <a:gd name="connsiteY2493" fmla="*/ 646617 h 5296383"/>
              <a:gd name="connsiteX2494" fmla="*/ 1576781 w 9310410"/>
              <a:gd name="connsiteY2494" fmla="*/ 642422 h 5296383"/>
              <a:gd name="connsiteX2495" fmla="*/ 1576182 w 9310410"/>
              <a:gd name="connsiteY2495" fmla="*/ 641223 h 5296383"/>
              <a:gd name="connsiteX2496" fmla="*/ 1575582 w 9310410"/>
              <a:gd name="connsiteY2496" fmla="*/ 640025 h 5296383"/>
              <a:gd name="connsiteX2497" fmla="*/ 1574983 w 9310410"/>
              <a:gd name="connsiteY2497" fmla="*/ 638826 h 5296383"/>
              <a:gd name="connsiteX2498" fmla="*/ 1575582 w 9310410"/>
              <a:gd name="connsiteY2498" fmla="*/ 634631 h 5296383"/>
              <a:gd name="connsiteX2499" fmla="*/ 1575582 w 9310410"/>
              <a:gd name="connsiteY2499" fmla="*/ 634631 h 5296383"/>
              <a:gd name="connsiteX2500" fmla="*/ 1583972 w 9310410"/>
              <a:gd name="connsiteY2500" fmla="*/ 640624 h 5296383"/>
              <a:gd name="connsiteX2501" fmla="*/ 1583972 w 9310410"/>
              <a:gd name="connsiteY2501" fmla="*/ 640624 h 5296383"/>
              <a:gd name="connsiteX2502" fmla="*/ 1589366 w 9310410"/>
              <a:gd name="connsiteY2502" fmla="*/ 644220 h 5296383"/>
              <a:gd name="connsiteX2503" fmla="*/ 1588766 w 9310410"/>
              <a:gd name="connsiteY2503" fmla="*/ 643021 h 5296383"/>
              <a:gd name="connsiteX2504" fmla="*/ 1593561 w 9310410"/>
              <a:gd name="connsiteY2504" fmla="*/ 643620 h 5296383"/>
              <a:gd name="connsiteX2505" fmla="*/ 1598355 w 9310410"/>
              <a:gd name="connsiteY2505" fmla="*/ 646617 h 5296383"/>
              <a:gd name="connsiteX2506" fmla="*/ 1598954 w 9310410"/>
              <a:gd name="connsiteY2506" fmla="*/ 645418 h 5296383"/>
              <a:gd name="connsiteX2507" fmla="*/ 1595358 w 9310410"/>
              <a:gd name="connsiteY2507" fmla="*/ 640025 h 5296383"/>
              <a:gd name="connsiteX2508" fmla="*/ 1594160 w 9310410"/>
              <a:gd name="connsiteY2508" fmla="*/ 638826 h 5296383"/>
              <a:gd name="connsiteX2509" fmla="*/ 1591763 w 9310410"/>
              <a:gd name="connsiteY2509" fmla="*/ 636429 h 5296383"/>
              <a:gd name="connsiteX2510" fmla="*/ 1589366 w 9310410"/>
              <a:gd name="connsiteY2510" fmla="*/ 632234 h 5296383"/>
              <a:gd name="connsiteX2511" fmla="*/ 1589366 w 9310410"/>
              <a:gd name="connsiteY2511" fmla="*/ 629837 h 5296383"/>
              <a:gd name="connsiteX2512" fmla="*/ 1589366 w 9310410"/>
              <a:gd name="connsiteY2512" fmla="*/ 628638 h 5296383"/>
              <a:gd name="connsiteX2513" fmla="*/ 1589965 w 9310410"/>
              <a:gd name="connsiteY2513" fmla="*/ 628039 h 5296383"/>
              <a:gd name="connsiteX2514" fmla="*/ 1591163 w 9310410"/>
              <a:gd name="connsiteY2514" fmla="*/ 627440 h 5296383"/>
              <a:gd name="connsiteX2515" fmla="*/ 1597756 w 9310410"/>
              <a:gd name="connsiteY2515" fmla="*/ 628638 h 5296383"/>
              <a:gd name="connsiteX2516" fmla="*/ 1601351 w 9310410"/>
              <a:gd name="connsiteY2516" fmla="*/ 629837 h 5296383"/>
              <a:gd name="connsiteX2517" fmla="*/ 1602550 w 9310410"/>
              <a:gd name="connsiteY2517" fmla="*/ 640025 h 5296383"/>
              <a:gd name="connsiteX2518" fmla="*/ 1603748 w 9310410"/>
              <a:gd name="connsiteY2518" fmla="*/ 647216 h 5296383"/>
              <a:gd name="connsiteX2519" fmla="*/ 1605546 w 9310410"/>
              <a:gd name="connsiteY2519" fmla="*/ 643620 h 5296383"/>
              <a:gd name="connsiteX2520" fmla="*/ 1606745 w 9310410"/>
              <a:gd name="connsiteY2520" fmla="*/ 640025 h 5296383"/>
              <a:gd name="connsiteX2521" fmla="*/ 1608542 w 9310410"/>
              <a:gd name="connsiteY2521" fmla="*/ 635230 h 5296383"/>
              <a:gd name="connsiteX2522" fmla="*/ 1610340 w 9310410"/>
              <a:gd name="connsiteY2522" fmla="*/ 632833 h 5296383"/>
              <a:gd name="connsiteX2523" fmla="*/ 1610939 w 9310410"/>
              <a:gd name="connsiteY2523" fmla="*/ 637028 h 5296383"/>
              <a:gd name="connsiteX2524" fmla="*/ 1610340 w 9310410"/>
              <a:gd name="connsiteY2524" fmla="*/ 640025 h 5296383"/>
              <a:gd name="connsiteX2525" fmla="*/ 1609741 w 9310410"/>
              <a:gd name="connsiteY2525" fmla="*/ 642422 h 5296383"/>
              <a:gd name="connsiteX2526" fmla="*/ 1610340 w 9310410"/>
              <a:gd name="connsiteY2526" fmla="*/ 646617 h 5296383"/>
              <a:gd name="connsiteX2527" fmla="*/ 1610939 w 9310410"/>
              <a:gd name="connsiteY2527" fmla="*/ 645418 h 5296383"/>
              <a:gd name="connsiteX2528" fmla="*/ 1612737 w 9310410"/>
              <a:gd name="connsiteY2528" fmla="*/ 640025 h 5296383"/>
              <a:gd name="connsiteX2529" fmla="*/ 1615734 w 9310410"/>
              <a:gd name="connsiteY2529" fmla="*/ 634631 h 5296383"/>
              <a:gd name="connsiteX2530" fmla="*/ 1617532 w 9310410"/>
              <a:gd name="connsiteY2530" fmla="*/ 632833 h 5296383"/>
              <a:gd name="connsiteX2531" fmla="*/ 1619329 w 9310410"/>
              <a:gd name="connsiteY2531" fmla="*/ 631635 h 5296383"/>
              <a:gd name="connsiteX2532" fmla="*/ 1623524 w 9310410"/>
              <a:gd name="connsiteY2532" fmla="*/ 630436 h 5296383"/>
              <a:gd name="connsiteX2533" fmla="*/ 1624723 w 9310410"/>
              <a:gd name="connsiteY2533" fmla="*/ 630436 h 5296383"/>
              <a:gd name="connsiteX2534" fmla="*/ 1628318 w 9310410"/>
              <a:gd name="connsiteY2534" fmla="*/ 630436 h 5296383"/>
              <a:gd name="connsiteX2535" fmla="*/ 1628318 w 9310410"/>
              <a:gd name="connsiteY2535" fmla="*/ 628638 h 5296383"/>
              <a:gd name="connsiteX2536" fmla="*/ 1627719 w 9310410"/>
              <a:gd name="connsiteY2536" fmla="*/ 627440 h 5296383"/>
              <a:gd name="connsiteX2537" fmla="*/ 1629517 w 9310410"/>
              <a:gd name="connsiteY2537" fmla="*/ 625642 h 5296383"/>
              <a:gd name="connsiteX2538" fmla="*/ 1630716 w 9310410"/>
              <a:gd name="connsiteY2538" fmla="*/ 625642 h 5296383"/>
              <a:gd name="connsiteX2539" fmla="*/ 1633113 w 9310410"/>
              <a:gd name="connsiteY2539" fmla="*/ 625642 h 5296383"/>
              <a:gd name="connsiteX2540" fmla="*/ 1633712 w 9310410"/>
              <a:gd name="connsiteY2540" fmla="*/ 625642 h 5296383"/>
              <a:gd name="connsiteX2541" fmla="*/ 1634910 w 9310410"/>
              <a:gd name="connsiteY2541" fmla="*/ 624443 h 5296383"/>
              <a:gd name="connsiteX2542" fmla="*/ 1636109 w 9310410"/>
              <a:gd name="connsiteY2542" fmla="*/ 623245 h 5296383"/>
              <a:gd name="connsiteX2543" fmla="*/ 1636708 w 9310410"/>
              <a:gd name="connsiteY2543" fmla="*/ 622646 h 5296383"/>
              <a:gd name="connsiteX2544" fmla="*/ 1637307 w 9310410"/>
              <a:gd name="connsiteY2544" fmla="*/ 622646 h 5296383"/>
              <a:gd name="connsiteX2545" fmla="*/ 1640903 w 9310410"/>
              <a:gd name="connsiteY2545" fmla="*/ 623844 h 5296383"/>
              <a:gd name="connsiteX2546" fmla="*/ 1647495 w 9310410"/>
              <a:gd name="connsiteY2546" fmla="*/ 626841 h 5296383"/>
              <a:gd name="connsiteX2547" fmla="*/ 1648694 w 9310410"/>
              <a:gd name="connsiteY2547" fmla="*/ 626841 h 5296383"/>
              <a:gd name="connsiteX2548" fmla="*/ 1652889 w 9310410"/>
              <a:gd name="connsiteY2548" fmla="*/ 625642 h 5296383"/>
              <a:gd name="connsiteX2549" fmla="*/ 1657084 w 9310410"/>
              <a:gd name="connsiteY2549" fmla="*/ 626841 h 5296383"/>
              <a:gd name="connsiteX2550" fmla="*/ 1661278 w 9310410"/>
              <a:gd name="connsiteY2550" fmla="*/ 630436 h 5296383"/>
              <a:gd name="connsiteX2551" fmla="*/ 1662477 w 9310410"/>
              <a:gd name="connsiteY2551" fmla="*/ 632234 h 5296383"/>
              <a:gd name="connsiteX2552" fmla="*/ 1663676 w 9310410"/>
              <a:gd name="connsiteY2552" fmla="*/ 632833 h 5296383"/>
              <a:gd name="connsiteX2553" fmla="*/ 1670268 w 9310410"/>
              <a:gd name="connsiteY2553" fmla="*/ 634032 h 5296383"/>
              <a:gd name="connsiteX2554" fmla="*/ 1671466 w 9310410"/>
              <a:gd name="connsiteY2554" fmla="*/ 632833 h 5296383"/>
              <a:gd name="connsiteX2555" fmla="*/ 1682852 w 9310410"/>
              <a:gd name="connsiteY2555" fmla="*/ 626241 h 5296383"/>
              <a:gd name="connsiteX2556" fmla="*/ 1684650 w 9310410"/>
              <a:gd name="connsiteY2556" fmla="*/ 625642 h 5296383"/>
              <a:gd name="connsiteX2557" fmla="*/ 1686448 w 9310410"/>
              <a:gd name="connsiteY2557" fmla="*/ 625043 h 5296383"/>
              <a:gd name="connsiteX2558" fmla="*/ 1691242 w 9310410"/>
              <a:gd name="connsiteY2558" fmla="*/ 622646 h 5296383"/>
              <a:gd name="connsiteX2559" fmla="*/ 1692441 w 9310410"/>
              <a:gd name="connsiteY2559" fmla="*/ 620848 h 5296383"/>
              <a:gd name="connsiteX2560" fmla="*/ 1694838 w 9310410"/>
              <a:gd name="connsiteY2560" fmla="*/ 619649 h 5296383"/>
              <a:gd name="connsiteX2561" fmla="*/ 1700831 w 9310410"/>
              <a:gd name="connsiteY2561" fmla="*/ 616653 h 5296383"/>
              <a:gd name="connsiteX2562" fmla="*/ 1702628 w 9310410"/>
              <a:gd name="connsiteY2562" fmla="*/ 615454 h 5296383"/>
              <a:gd name="connsiteX2563" fmla="*/ 1702628 w 9310410"/>
              <a:gd name="connsiteY2563" fmla="*/ 613657 h 5296383"/>
              <a:gd name="connsiteX2564" fmla="*/ 1698433 w 9310410"/>
              <a:gd name="connsiteY2564" fmla="*/ 615454 h 5296383"/>
              <a:gd name="connsiteX2565" fmla="*/ 1689444 w 9310410"/>
              <a:gd name="connsiteY2565" fmla="*/ 619050 h 5296383"/>
              <a:gd name="connsiteX2566" fmla="*/ 1688246 w 9310410"/>
              <a:gd name="connsiteY2566" fmla="*/ 620249 h 5296383"/>
              <a:gd name="connsiteX2567" fmla="*/ 1681654 w 9310410"/>
              <a:gd name="connsiteY2567" fmla="*/ 624443 h 5296383"/>
              <a:gd name="connsiteX2568" fmla="*/ 1670268 w 9310410"/>
              <a:gd name="connsiteY2568" fmla="*/ 627440 h 5296383"/>
              <a:gd name="connsiteX2569" fmla="*/ 1665473 w 9310410"/>
              <a:gd name="connsiteY2569" fmla="*/ 628039 h 5296383"/>
              <a:gd name="connsiteX2570" fmla="*/ 1661278 w 9310410"/>
              <a:gd name="connsiteY2570" fmla="*/ 622046 h 5296383"/>
              <a:gd name="connsiteX2571" fmla="*/ 1670867 w 9310410"/>
              <a:gd name="connsiteY2571" fmla="*/ 616653 h 5296383"/>
              <a:gd name="connsiteX2572" fmla="*/ 1673264 w 9310410"/>
              <a:gd name="connsiteY2572" fmla="*/ 616653 h 5296383"/>
              <a:gd name="connsiteX2573" fmla="*/ 1679257 w 9310410"/>
              <a:gd name="connsiteY2573" fmla="*/ 614855 h 5296383"/>
              <a:gd name="connsiteX2574" fmla="*/ 1674463 w 9310410"/>
              <a:gd name="connsiteY2574" fmla="*/ 612458 h 5296383"/>
              <a:gd name="connsiteX2575" fmla="*/ 1673863 w 9310410"/>
              <a:gd name="connsiteY2575" fmla="*/ 611859 h 5296383"/>
              <a:gd name="connsiteX2576" fmla="*/ 1673863 w 9310410"/>
              <a:gd name="connsiteY2576" fmla="*/ 611259 h 5296383"/>
              <a:gd name="connsiteX2577" fmla="*/ 1675062 w 9310410"/>
              <a:gd name="connsiteY2577" fmla="*/ 609462 h 5296383"/>
              <a:gd name="connsiteX2578" fmla="*/ 1678658 w 9310410"/>
              <a:gd name="connsiteY2578" fmla="*/ 608263 h 5296383"/>
              <a:gd name="connsiteX2579" fmla="*/ 1681654 w 9310410"/>
              <a:gd name="connsiteY2579" fmla="*/ 607664 h 5296383"/>
              <a:gd name="connsiteX2580" fmla="*/ 1684650 w 9310410"/>
              <a:gd name="connsiteY2580" fmla="*/ 607065 h 5296383"/>
              <a:gd name="connsiteX2581" fmla="*/ 1690044 w 9310410"/>
              <a:gd name="connsiteY2581" fmla="*/ 605866 h 5296383"/>
              <a:gd name="connsiteX2582" fmla="*/ 1692441 w 9310410"/>
              <a:gd name="connsiteY2582" fmla="*/ 605267 h 5296383"/>
              <a:gd name="connsiteX2583" fmla="*/ 1697235 w 9310410"/>
              <a:gd name="connsiteY2583" fmla="*/ 603469 h 5296383"/>
              <a:gd name="connsiteX2584" fmla="*/ 1703228 w 9310410"/>
              <a:gd name="connsiteY2584" fmla="*/ 601072 h 5296383"/>
              <a:gd name="connsiteX2585" fmla="*/ 1714614 w 9310410"/>
              <a:gd name="connsiteY2585" fmla="*/ 601671 h 5296383"/>
              <a:gd name="connsiteX2586" fmla="*/ 1716412 w 9310410"/>
              <a:gd name="connsiteY2586" fmla="*/ 602870 h 5296383"/>
              <a:gd name="connsiteX2587" fmla="*/ 1718209 w 9310410"/>
              <a:gd name="connsiteY2587" fmla="*/ 600473 h 5296383"/>
              <a:gd name="connsiteX2588" fmla="*/ 1718809 w 9310410"/>
              <a:gd name="connsiteY2588" fmla="*/ 598075 h 5296383"/>
              <a:gd name="connsiteX2589" fmla="*/ 1719408 w 9310410"/>
              <a:gd name="connsiteY2589" fmla="*/ 594480 h 5296383"/>
              <a:gd name="connsiteX2590" fmla="*/ 1721805 w 9310410"/>
              <a:gd name="connsiteY2590" fmla="*/ 595678 h 5296383"/>
              <a:gd name="connsiteX2591" fmla="*/ 1723603 w 9310410"/>
              <a:gd name="connsiteY2591" fmla="*/ 596877 h 5296383"/>
              <a:gd name="connsiteX2592" fmla="*/ 1725401 w 9310410"/>
              <a:gd name="connsiteY2592" fmla="*/ 595678 h 5296383"/>
              <a:gd name="connsiteX2593" fmla="*/ 1730794 w 9310410"/>
              <a:gd name="connsiteY2593" fmla="*/ 590285 h 5296383"/>
              <a:gd name="connsiteX2594" fmla="*/ 1733791 w 9310410"/>
              <a:gd name="connsiteY2594" fmla="*/ 589686 h 5296383"/>
              <a:gd name="connsiteX2595" fmla="*/ 1735589 w 9310410"/>
              <a:gd name="connsiteY2595" fmla="*/ 589686 h 5296383"/>
              <a:gd name="connsiteX2596" fmla="*/ 1739783 w 9310410"/>
              <a:gd name="connsiteY2596" fmla="*/ 590884 h 5296383"/>
              <a:gd name="connsiteX2597" fmla="*/ 1743978 w 9310410"/>
              <a:gd name="connsiteY2597" fmla="*/ 591483 h 5296383"/>
              <a:gd name="connsiteX2598" fmla="*/ 1745776 w 9310410"/>
              <a:gd name="connsiteY2598" fmla="*/ 591483 h 5296383"/>
              <a:gd name="connsiteX2599" fmla="*/ 1745177 w 9310410"/>
              <a:gd name="connsiteY2599" fmla="*/ 589086 h 5296383"/>
              <a:gd name="connsiteX2600" fmla="*/ 1741581 w 9310410"/>
              <a:gd name="connsiteY2600" fmla="*/ 587888 h 5296383"/>
              <a:gd name="connsiteX2601" fmla="*/ 1737986 w 9310410"/>
              <a:gd name="connsiteY2601" fmla="*/ 587289 h 5296383"/>
              <a:gd name="connsiteX2602" fmla="*/ 1734989 w 9310410"/>
              <a:gd name="connsiteY2602" fmla="*/ 586689 h 5296383"/>
              <a:gd name="connsiteX2603" fmla="*/ 1733791 w 9310410"/>
              <a:gd name="connsiteY2603" fmla="*/ 584891 h 5296383"/>
              <a:gd name="connsiteX2604" fmla="*/ 1734390 w 9310410"/>
              <a:gd name="connsiteY2604" fmla="*/ 584292 h 5296383"/>
              <a:gd name="connsiteX2605" fmla="*/ 1734989 w 9310410"/>
              <a:gd name="connsiteY2605" fmla="*/ 584292 h 5296383"/>
              <a:gd name="connsiteX2606" fmla="*/ 1746375 w 9310410"/>
              <a:gd name="connsiteY2606" fmla="*/ 581895 h 5296383"/>
              <a:gd name="connsiteX2607" fmla="*/ 1749971 w 9310410"/>
              <a:gd name="connsiteY2607" fmla="*/ 581296 h 5296383"/>
              <a:gd name="connsiteX2608" fmla="*/ 1750570 w 9310410"/>
              <a:gd name="connsiteY2608" fmla="*/ 584292 h 5296383"/>
              <a:gd name="connsiteX2609" fmla="*/ 1752967 w 9310410"/>
              <a:gd name="connsiteY2609" fmla="*/ 586090 h 5296383"/>
              <a:gd name="connsiteX2610" fmla="*/ 1754765 w 9310410"/>
              <a:gd name="connsiteY2610" fmla="*/ 586090 h 5296383"/>
              <a:gd name="connsiteX2611" fmla="*/ 1759559 w 9310410"/>
              <a:gd name="connsiteY2611" fmla="*/ 585491 h 5296383"/>
              <a:gd name="connsiteX2612" fmla="*/ 1763754 w 9310410"/>
              <a:gd name="connsiteY2612" fmla="*/ 584891 h 5296383"/>
              <a:gd name="connsiteX2613" fmla="*/ 1758960 w 9310410"/>
              <a:gd name="connsiteY2613" fmla="*/ 582494 h 5296383"/>
              <a:gd name="connsiteX2614" fmla="*/ 1756563 w 9310410"/>
              <a:gd name="connsiteY2614" fmla="*/ 583094 h 5296383"/>
              <a:gd name="connsiteX2615" fmla="*/ 1754765 w 9310410"/>
              <a:gd name="connsiteY2615" fmla="*/ 582494 h 5296383"/>
              <a:gd name="connsiteX2616" fmla="*/ 1752368 w 9310410"/>
              <a:gd name="connsiteY2616" fmla="*/ 578899 h 5296383"/>
              <a:gd name="connsiteX2617" fmla="*/ 1751769 w 9310410"/>
              <a:gd name="connsiteY2617" fmla="*/ 577700 h 5296383"/>
              <a:gd name="connsiteX2618" fmla="*/ 1751769 w 9310410"/>
              <a:gd name="connsiteY2618" fmla="*/ 575303 h 5296383"/>
              <a:gd name="connsiteX2619" fmla="*/ 1754166 w 9310410"/>
              <a:gd name="connsiteY2619" fmla="*/ 574104 h 5296383"/>
              <a:gd name="connsiteX2620" fmla="*/ 1755964 w 9310410"/>
              <a:gd name="connsiteY2620" fmla="*/ 574104 h 5296383"/>
              <a:gd name="connsiteX2621" fmla="*/ 1758960 w 9310410"/>
              <a:gd name="connsiteY2621" fmla="*/ 574104 h 5296383"/>
              <a:gd name="connsiteX2622" fmla="*/ 1763155 w 9310410"/>
              <a:gd name="connsiteY2622" fmla="*/ 571707 h 5296383"/>
              <a:gd name="connsiteX2623" fmla="*/ 1765552 w 9310410"/>
              <a:gd name="connsiteY2623" fmla="*/ 569910 h 5296383"/>
              <a:gd name="connsiteX2624" fmla="*/ 1771545 w 9310410"/>
              <a:gd name="connsiteY2624" fmla="*/ 566913 h 5296383"/>
              <a:gd name="connsiteX2625" fmla="*/ 1773343 w 9310410"/>
              <a:gd name="connsiteY2625" fmla="*/ 566913 h 5296383"/>
              <a:gd name="connsiteX2626" fmla="*/ 1775140 w 9310410"/>
              <a:gd name="connsiteY2626" fmla="*/ 567512 h 5296383"/>
              <a:gd name="connsiteX2627" fmla="*/ 1776938 w 9310410"/>
              <a:gd name="connsiteY2627" fmla="*/ 567512 h 5296383"/>
              <a:gd name="connsiteX2628" fmla="*/ 1779935 w 9310410"/>
              <a:gd name="connsiteY2628" fmla="*/ 566314 h 5296383"/>
              <a:gd name="connsiteX2629" fmla="*/ 1784130 w 9310410"/>
              <a:gd name="connsiteY2629" fmla="*/ 562119 h 5296383"/>
              <a:gd name="connsiteX2630" fmla="*/ 1786527 w 9310410"/>
              <a:gd name="connsiteY2630" fmla="*/ 562119 h 5296383"/>
              <a:gd name="connsiteX2631" fmla="*/ 1790722 w 9310410"/>
              <a:gd name="connsiteY2631" fmla="*/ 561520 h 5296383"/>
              <a:gd name="connsiteX2632" fmla="*/ 1793119 w 9310410"/>
              <a:gd name="connsiteY2632" fmla="*/ 560321 h 5296383"/>
              <a:gd name="connsiteX2633" fmla="*/ 1794317 w 9310410"/>
              <a:gd name="connsiteY2633" fmla="*/ 556126 h 5296383"/>
              <a:gd name="connsiteX2634" fmla="*/ 1794317 w 9310410"/>
              <a:gd name="connsiteY2634" fmla="*/ 554928 h 5296383"/>
              <a:gd name="connsiteX2635" fmla="*/ 1794917 w 9310410"/>
              <a:gd name="connsiteY2635" fmla="*/ 553729 h 5296383"/>
              <a:gd name="connsiteX2636" fmla="*/ 1798512 w 9310410"/>
              <a:gd name="connsiteY2636" fmla="*/ 552531 h 5296383"/>
              <a:gd name="connsiteX2637" fmla="*/ 1799711 w 9310410"/>
              <a:gd name="connsiteY2637" fmla="*/ 552531 h 5296383"/>
              <a:gd name="connsiteX2638" fmla="*/ 1802108 w 9310410"/>
              <a:gd name="connsiteY2638" fmla="*/ 553729 h 5296383"/>
              <a:gd name="connsiteX2639" fmla="*/ 1804505 w 9310410"/>
              <a:gd name="connsiteY2639" fmla="*/ 555527 h 5296383"/>
              <a:gd name="connsiteX2640" fmla="*/ 1806303 w 9310410"/>
              <a:gd name="connsiteY2640" fmla="*/ 556126 h 5296383"/>
              <a:gd name="connsiteX2641" fmla="*/ 1807501 w 9310410"/>
              <a:gd name="connsiteY2641" fmla="*/ 556126 h 5296383"/>
              <a:gd name="connsiteX2642" fmla="*/ 1810498 w 9310410"/>
              <a:gd name="connsiteY2642" fmla="*/ 555527 h 5296383"/>
              <a:gd name="connsiteX2643" fmla="*/ 1812895 w 9310410"/>
              <a:gd name="connsiteY2643" fmla="*/ 554328 h 5296383"/>
              <a:gd name="connsiteX2644" fmla="*/ 1812895 w 9310410"/>
              <a:gd name="connsiteY2644" fmla="*/ 553729 h 5296383"/>
              <a:gd name="connsiteX2645" fmla="*/ 1811696 w 9310410"/>
              <a:gd name="connsiteY2645" fmla="*/ 553130 h 5296383"/>
              <a:gd name="connsiteX2646" fmla="*/ 1809299 w 9310410"/>
              <a:gd name="connsiteY2646" fmla="*/ 552531 h 5296383"/>
              <a:gd name="connsiteX2647" fmla="*/ 1806902 w 9310410"/>
              <a:gd name="connsiteY2647" fmla="*/ 551931 h 5296383"/>
              <a:gd name="connsiteX2648" fmla="*/ 1806303 w 9310410"/>
              <a:gd name="connsiteY2648" fmla="*/ 548935 h 5296383"/>
              <a:gd name="connsiteX2649" fmla="*/ 1807501 w 9310410"/>
              <a:gd name="connsiteY2649" fmla="*/ 547137 h 5296383"/>
              <a:gd name="connsiteX2650" fmla="*/ 1812895 w 9310410"/>
              <a:gd name="connsiteY2650" fmla="*/ 544740 h 5296383"/>
              <a:gd name="connsiteX2651" fmla="*/ 1815292 w 9310410"/>
              <a:gd name="connsiteY2651" fmla="*/ 545939 h 5296383"/>
              <a:gd name="connsiteX2652" fmla="*/ 1816491 w 9310410"/>
              <a:gd name="connsiteY2652" fmla="*/ 546538 h 5296383"/>
              <a:gd name="connsiteX2653" fmla="*/ 1817689 w 9310410"/>
              <a:gd name="connsiteY2653" fmla="*/ 547137 h 5296383"/>
              <a:gd name="connsiteX2654" fmla="*/ 1818288 w 9310410"/>
              <a:gd name="connsiteY2654" fmla="*/ 547137 h 5296383"/>
              <a:gd name="connsiteX2655" fmla="*/ 1820086 w 9310410"/>
              <a:gd name="connsiteY2655" fmla="*/ 543541 h 5296383"/>
              <a:gd name="connsiteX2656" fmla="*/ 1824281 w 9310410"/>
              <a:gd name="connsiteY2656" fmla="*/ 536949 h 5296383"/>
              <a:gd name="connsiteX2657" fmla="*/ 1827877 w 9310410"/>
              <a:gd name="connsiteY2657" fmla="*/ 535751 h 5296383"/>
              <a:gd name="connsiteX2658" fmla="*/ 1829674 w 9310410"/>
              <a:gd name="connsiteY2658" fmla="*/ 535751 h 5296383"/>
              <a:gd name="connsiteX2659" fmla="*/ 1830873 w 9310410"/>
              <a:gd name="connsiteY2659" fmla="*/ 535751 h 5296383"/>
              <a:gd name="connsiteX2660" fmla="*/ 1833270 w 9310410"/>
              <a:gd name="connsiteY2660" fmla="*/ 532755 h 5296383"/>
              <a:gd name="connsiteX2661" fmla="*/ 1836866 w 9310410"/>
              <a:gd name="connsiteY2661" fmla="*/ 530357 h 5296383"/>
              <a:gd name="connsiteX2662" fmla="*/ 1847053 w 9310410"/>
              <a:gd name="connsiteY2662" fmla="*/ 530357 h 5296383"/>
              <a:gd name="connsiteX2663" fmla="*/ 1853645 w 9310410"/>
              <a:gd name="connsiteY2663" fmla="*/ 532155 h 5296383"/>
              <a:gd name="connsiteX2664" fmla="*/ 1856042 w 9310410"/>
              <a:gd name="connsiteY2664" fmla="*/ 530957 h 5296383"/>
              <a:gd name="connsiteX2665" fmla="*/ 1858440 w 9310410"/>
              <a:gd name="connsiteY2665" fmla="*/ 529758 h 5296383"/>
              <a:gd name="connsiteX2666" fmla="*/ 1861436 w 9310410"/>
              <a:gd name="connsiteY2666" fmla="*/ 529159 h 5296383"/>
              <a:gd name="connsiteX2667" fmla="*/ 1866829 w 9310410"/>
              <a:gd name="connsiteY2667" fmla="*/ 529758 h 5296383"/>
              <a:gd name="connsiteX2668" fmla="*/ 1877017 w 9310410"/>
              <a:gd name="connsiteY2668" fmla="*/ 533953 h 5296383"/>
              <a:gd name="connsiteX2669" fmla="*/ 1878815 w 9310410"/>
              <a:gd name="connsiteY2669" fmla="*/ 533953 h 5296383"/>
              <a:gd name="connsiteX2670" fmla="*/ 1880013 w 9310410"/>
              <a:gd name="connsiteY2670" fmla="*/ 533953 h 5296383"/>
              <a:gd name="connsiteX2671" fmla="*/ 1878815 w 9310410"/>
              <a:gd name="connsiteY2671" fmla="*/ 529758 h 5296383"/>
              <a:gd name="connsiteX2672" fmla="*/ 1877017 w 9310410"/>
              <a:gd name="connsiteY2672" fmla="*/ 528560 h 5296383"/>
              <a:gd name="connsiteX2673" fmla="*/ 1872223 w 9310410"/>
              <a:gd name="connsiteY2673" fmla="*/ 526762 h 5296383"/>
              <a:gd name="connsiteX2674" fmla="*/ 1872822 w 9310410"/>
              <a:gd name="connsiteY2674" fmla="*/ 517173 h 5296383"/>
              <a:gd name="connsiteX2675" fmla="*/ 1877017 w 9310410"/>
              <a:gd name="connsiteY2675" fmla="*/ 516574 h 5296383"/>
              <a:gd name="connsiteX2676" fmla="*/ 1879414 w 9310410"/>
              <a:gd name="connsiteY2676" fmla="*/ 516574 h 5296383"/>
              <a:gd name="connsiteX2677" fmla="*/ 1881811 w 9310410"/>
              <a:gd name="connsiteY2677" fmla="*/ 518971 h 5296383"/>
              <a:gd name="connsiteX2678" fmla="*/ 1882411 w 9310410"/>
              <a:gd name="connsiteY2678" fmla="*/ 520170 h 5296383"/>
              <a:gd name="connsiteX2679" fmla="*/ 1883010 w 9310410"/>
              <a:gd name="connsiteY2679" fmla="*/ 521368 h 5296383"/>
              <a:gd name="connsiteX2680" fmla="*/ 1884808 w 9310410"/>
              <a:gd name="connsiteY2680" fmla="*/ 524365 h 5296383"/>
              <a:gd name="connsiteX2681" fmla="*/ 1886006 w 9310410"/>
              <a:gd name="connsiteY2681" fmla="*/ 524964 h 5296383"/>
              <a:gd name="connsiteX2682" fmla="*/ 1887205 w 9310410"/>
              <a:gd name="connsiteY2682" fmla="*/ 524964 h 5296383"/>
              <a:gd name="connsiteX2683" fmla="*/ 1887804 w 9310410"/>
              <a:gd name="connsiteY2683" fmla="*/ 524365 h 5296383"/>
              <a:gd name="connsiteX2684" fmla="*/ 1887804 w 9310410"/>
              <a:gd name="connsiteY2684" fmla="*/ 523765 h 5296383"/>
              <a:gd name="connsiteX2685" fmla="*/ 1886605 w 9310410"/>
              <a:gd name="connsiteY2685" fmla="*/ 517773 h 5296383"/>
              <a:gd name="connsiteX2686" fmla="*/ 1889003 w 9310410"/>
              <a:gd name="connsiteY2686" fmla="*/ 511181 h 5296383"/>
              <a:gd name="connsiteX2687" fmla="*/ 1892598 w 9310410"/>
              <a:gd name="connsiteY2687" fmla="*/ 508784 h 5296383"/>
              <a:gd name="connsiteX2688" fmla="*/ 1897392 w 9310410"/>
              <a:gd name="connsiteY2688" fmla="*/ 507585 h 5296383"/>
              <a:gd name="connsiteX2689" fmla="*/ 1901587 w 9310410"/>
              <a:gd name="connsiteY2689" fmla="*/ 507585 h 5296383"/>
              <a:gd name="connsiteX2690" fmla="*/ 1906981 w 9310410"/>
              <a:gd name="connsiteY2690" fmla="*/ 511181 h 5296383"/>
              <a:gd name="connsiteX2691" fmla="*/ 1910576 w 9310410"/>
              <a:gd name="connsiteY2691" fmla="*/ 507585 h 5296383"/>
              <a:gd name="connsiteX2692" fmla="*/ 1909977 w 9310410"/>
              <a:gd name="connsiteY2692" fmla="*/ 504589 h 5296383"/>
              <a:gd name="connsiteX2693" fmla="*/ 1909378 w 9310410"/>
              <a:gd name="connsiteY2693" fmla="*/ 503390 h 5296383"/>
              <a:gd name="connsiteX2694" fmla="*/ 1913573 w 9310410"/>
              <a:gd name="connsiteY2694" fmla="*/ 500394 h 5296383"/>
              <a:gd name="connsiteX2695" fmla="*/ 1920165 w 9310410"/>
              <a:gd name="connsiteY2695" fmla="*/ 497397 h 5296383"/>
              <a:gd name="connsiteX2696" fmla="*/ 1925558 w 9310410"/>
              <a:gd name="connsiteY2696" fmla="*/ 495600 h 5296383"/>
              <a:gd name="connsiteX2697" fmla="*/ 1926158 w 9310410"/>
              <a:gd name="connsiteY2697" fmla="*/ 496199 h 5296383"/>
              <a:gd name="connsiteX2698" fmla="*/ 1921363 w 9310410"/>
              <a:gd name="connsiteY2698" fmla="*/ 501592 h 5296383"/>
              <a:gd name="connsiteX2699" fmla="*/ 1917168 w 9310410"/>
              <a:gd name="connsiteY2699" fmla="*/ 506986 h 5296383"/>
              <a:gd name="connsiteX2700" fmla="*/ 1917168 w 9310410"/>
              <a:gd name="connsiteY2700" fmla="*/ 508184 h 5296383"/>
              <a:gd name="connsiteX2701" fmla="*/ 1917768 w 9310410"/>
              <a:gd name="connsiteY2701" fmla="*/ 509982 h 5296383"/>
              <a:gd name="connsiteX2702" fmla="*/ 1918367 w 9310410"/>
              <a:gd name="connsiteY2702" fmla="*/ 509982 h 5296383"/>
              <a:gd name="connsiteX2703" fmla="*/ 1920165 w 9310410"/>
              <a:gd name="connsiteY2703" fmla="*/ 508184 h 5296383"/>
              <a:gd name="connsiteX2704" fmla="*/ 1921963 w 9310410"/>
              <a:gd name="connsiteY2704" fmla="*/ 506387 h 5296383"/>
              <a:gd name="connsiteX2705" fmla="*/ 1923761 w 9310410"/>
              <a:gd name="connsiteY2705" fmla="*/ 504589 h 5296383"/>
              <a:gd name="connsiteX2706" fmla="*/ 1927356 w 9310410"/>
              <a:gd name="connsiteY2706" fmla="*/ 502791 h 5296383"/>
              <a:gd name="connsiteX2707" fmla="*/ 1929154 w 9310410"/>
              <a:gd name="connsiteY2707" fmla="*/ 502791 h 5296383"/>
              <a:gd name="connsiteX2708" fmla="*/ 1929753 w 9310410"/>
              <a:gd name="connsiteY2708" fmla="*/ 497997 h 5296383"/>
              <a:gd name="connsiteX2709" fmla="*/ 1929154 w 9310410"/>
              <a:gd name="connsiteY2709" fmla="*/ 496199 h 5296383"/>
              <a:gd name="connsiteX2710" fmla="*/ 1934547 w 9310410"/>
              <a:gd name="connsiteY2710" fmla="*/ 494401 h 5296383"/>
              <a:gd name="connsiteX2711" fmla="*/ 1939342 w 9310410"/>
              <a:gd name="connsiteY2711" fmla="*/ 499795 h 5296383"/>
              <a:gd name="connsiteX2712" fmla="*/ 1939342 w 9310410"/>
              <a:gd name="connsiteY2712" fmla="*/ 500993 h 5296383"/>
              <a:gd name="connsiteX2713" fmla="*/ 1940540 w 9310410"/>
              <a:gd name="connsiteY2713" fmla="*/ 502192 h 5296383"/>
              <a:gd name="connsiteX2714" fmla="*/ 1947731 w 9310410"/>
              <a:gd name="connsiteY2714" fmla="*/ 498596 h 5296383"/>
              <a:gd name="connsiteX2715" fmla="*/ 1949529 w 9310410"/>
              <a:gd name="connsiteY2715" fmla="*/ 497397 h 5296383"/>
              <a:gd name="connsiteX2716" fmla="*/ 1950129 w 9310410"/>
              <a:gd name="connsiteY2716" fmla="*/ 496798 h 5296383"/>
              <a:gd name="connsiteX2717" fmla="*/ 1947132 w 9310410"/>
              <a:gd name="connsiteY2717" fmla="*/ 495000 h 5296383"/>
              <a:gd name="connsiteX2718" fmla="*/ 1943536 w 9310410"/>
              <a:gd name="connsiteY2718" fmla="*/ 493802 h 5296383"/>
              <a:gd name="connsiteX2719" fmla="*/ 1943536 w 9310410"/>
              <a:gd name="connsiteY2719" fmla="*/ 493202 h 5296383"/>
              <a:gd name="connsiteX2720" fmla="*/ 1944136 w 9310410"/>
              <a:gd name="connsiteY2720" fmla="*/ 492004 h 5296383"/>
              <a:gd name="connsiteX2721" fmla="*/ 1951926 w 9310410"/>
              <a:gd name="connsiteY2721" fmla="*/ 489607 h 5296383"/>
              <a:gd name="connsiteX2722" fmla="*/ 1957919 w 9310410"/>
              <a:gd name="connsiteY2722" fmla="*/ 489607 h 5296383"/>
              <a:gd name="connsiteX2723" fmla="*/ 1959717 w 9310410"/>
              <a:gd name="connsiteY2723" fmla="*/ 489008 h 5296383"/>
              <a:gd name="connsiteX2724" fmla="*/ 1961515 w 9310410"/>
              <a:gd name="connsiteY2724" fmla="*/ 488408 h 5296383"/>
              <a:gd name="connsiteX2725" fmla="*/ 1964511 w 9310410"/>
              <a:gd name="connsiteY2725" fmla="*/ 489008 h 5296383"/>
              <a:gd name="connsiteX2726" fmla="*/ 1965710 w 9310410"/>
              <a:gd name="connsiteY2726" fmla="*/ 490805 h 5296383"/>
              <a:gd name="connsiteX2727" fmla="*/ 1966908 w 9310410"/>
              <a:gd name="connsiteY2727" fmla="*/ 492004 h 5296383"/>
              <a:gd name="connsiteX2728" fmla="*/ 1967507 w 9310410"/>
              <a:gd name="connsiteY2728" fmla="*/ 492004 h 5296383"/>
              <a:gd name="connsiteX2729" fmla="*/ 1967507 w 9310410"/>
              <a:gd name="connsiteY2729" fmla="*/ 486011 h 5296383"/>
              <a:gd name="connsiteX2730" fmla="*/ 1980692 w 9310410"/>
              <a:gd name="connsiteY2730" fmla="*/ 478221 h 5296383"/>
              <a:gd name="connsiteX2731" fmla="*/ 1982489 w 9310410"/>
              <a:gd name="connsiteY2731" fmla="*/ 478221 h 5296383"/>
              <a:gd name="connsiteX2732" fmla="*/ 1984287 w 9310410"/>
              <a:gd name="connsiteY2732" fmla="*/ 478221 h 5296383"/>
              <a:gd name="connsiteX2733" fmla="*/ 1995673 w 9310410"/>
              <a:gd name="connsiteY2733" fmla="*/ 473426 h 5296383"/>
              <a:gd name="connsiteX2734" fmla="*/ 1996872 w 9310410"/>
              <a:gd name="connsiteY2734" fmla="*/ 472827 h 5296383"/>
              <a:gd name="connsiteX2735" fmla="*/ 1998070 w 9310410"/>
              <a:gd name="connsiteY2735" fmla="*/ 472827 h 5296383"/>
              <a:gd name="connsiteX2736" fmla="*/ 1999868 w 9310410"/>
              <a:gd name="connsiteY2736" fmla="*/ 473426 h 5296383"/>
              <a:gd name="connsiteX2737" fmla="*/ 1999868 w 9310410"/>
              <a:gd name="connsiteY2737" fmla="*/ 474625 h 5296383"/>
              <a:gd name="connsiteX2738" fmla="*/ 1999269 w 9310410"/>
              <a:gd name="connsiteY2738" fmla="*/ 476423 h 5296383"/>
              <a:gd name="connsiteX2739" fmla="*/ 1998070 w 9310410"/>
              <a:gd name="connsiteY2739" fmla="*/ 478820 h 5296383"/>
              <a:gd name="connsiteX2740" fmla="*/ 2001666 w 9310410"/>
              <a:gd name="connsiteY2740" fmla="*/ 482416 h 5296383"/>
              <a:gd name="connsiteX2741" fmla="*/ 2004063 w 9310410"/>
              <a:gd name="connsiteY2741" fmla="*/ 483614 h 5296383"/>
              <a:gd name="connsiteX2742" fmla="*/ 2004662 w 9310410"/>
              <a:gd name="connsiteY2742" fmla="*/ 483614 h 5296383"/>
              <a:gd name="connsiteX2743" fmla="*/ 2004662 w 9310410"/>
              <a:gd name="connsiteY2743" fmla="*/ 480618 h 5296383"/>
              <a:gd name="connsiteX2744" fmla="*/ 2003464 w 9310410"/>
              <a:gd name="connsiteY2744" fmla="*/ 477022 h 5296383"/>
              <a:gd name="connsiteX2745" fmla="*/ 2003464 w 9310410"/>
              <a:gd name="connsiteY2745" fmla="*/ 474625 h 5296383"/>
              <a:gd name="connsiteX2746" fmla="*/ 2005262 w 9310410"/>
              <a:gd name="connsiteY2746" fmla="*/ 474026 h 5296383"/>
              <a:gd name="connsiteX2747" fmla="*/ 2008258 w 9310410"/>
              <a:gd name="connsiteY2747" fmla="*/ 475824 h 5296383"/>
              <a:gd name="connsiteX2748" fmla="*/ 2008857 w 9310410"/>
              <a:gd name="connsiteY2748" fmla="*/ 477022 h 5296383"/>
              <a:gd name="connsiteX2749" fmla="*/ 2008857 w 9310410"/>
              <a:gd name="connsiteY2749" fmla="*/ 481816 h 5296383"/>
              <a:gd name="connsiteX2750" fmla="*/ 2010056 w 9310410"/>
              <a:gd name="connsiteY2750" fmla="*/ 483614 h 5296383"/>
              <a:gd name="connsiteX2751" fmla="*/ 2011255 w 9310410"/>
              <a:gd name="connsiteY2751" fmla="*/ 483015 h 5296383"/>
              <a:gd name="connsiteX2752" fmla="*/ 2011255 w 9310410"/>
              <a:gd name="connsiteY2752" fmla="*/ 479419 h 5296383"/>
              <a:gd name="connsiteX2753" fmla="*/ 2011255 w 9310410"/>
              <a:gd name="connsiteY2753" fmla="*/ 476423 h 5296383"/>
              <a:gd name="connsiteX2754" fmla="*/ 2010655 w 9310410"/>
              <a:gd name="connsiteY2754" fmla="*/ 471029 h 5296383"/>
              <a:gd name="connsiteX2755" fmla="*/ 2005861 w 9310410"/>
              <a:gd name="connsiteY2755" fmla="*/ 466834 h 5296383"/>
              <a:gd name="connsiteX2756" fmla="*/ 2004662 w 9310410"/>
              <a:gd name="connsiteY2756" fmla="*/ 465636 h 5296383"/>
              <a:gd name="connsiteX2757" fmla="*/ 2007060 w 9310410"/>
              <a:gd name="connsiteY2757" fmla="*/ 463239 h 5296383"/>
              <a:gd name="connsiteX2758" fmla="*/ 2010056 w 9310410"/>
              <a:gd name="connsiteY2758" fmla="*/ 462639 h 5296383"/>
              <a:gd name="connsiteX2759" fmla="*/ 2015449 w 9310410"/>
              <a:gd name="connsiteY2759" fmla="*/ 462040 h 5296383"/>
              <a:gd name="connsiteX2760" fmla="*/ 2017247 w 9310410"/>
              <a:gd name="connsiteY2760" fmla="*/ 462040 h 5296383"/>
              <a:gd name="connsiteX2761" fmla="*/ 2021442 w 9310410"/>
              <a:gd name="connsiteY2761" fmla="*/ 464437 h 5296383"/>
              <a:gd name="connsiteX2762" fmla="*/ 2023839 w 9310410"/>
              <a:gd name="connsiteY2762" fmla="*/ 467434 h 5296383"/>
              <a:gd name="connsiteX2763" fmla="*/ 2028633 w 9310410"/>
              <a:gd name="connsiteY2763" fmla="*/ 468632 h 5296383"/>
              <a:gd name="connsiteX2764" fmla="*/ 2025637 w 9310410"/>
              <a:gd name="connsiteY2764" fmla="*/ 474625 h 5296383"/>
              <a:gd name="connsiteX2765" fmla="*/ 2025038 w 9310410"/>
              <a:gd name="connsiteY2765" fmla="*/ 477022 h 5296383"/>
              <a:gd name="connsiteX2766" fmla="*/ 2026236 w 9310410"/>
              <a:gd name="connsiteY2766" fmla="*/ 477022 h 5296383"/>
              <a:gd name="connsiteX2767" fmla="*/ 2028034 w 9310410"/>
              <a:gd name="connsiteY2767" fmla="*/ 475824 h 5296383"/>
              <a:gd name="connsiteX2768" fmla="*/ 2037023 w 9310410"/>
              <a:gd name="connsiteY2768" fmla="*/ 471029 h 5296383"/>
              <a:gd name="connsiteX2769" fmla="*/ 2040619 w 9310410"/>
              <a:gd name="connsiteY2769" fmla="*/ 470430 h 5296383"/>
              <a:gd name="connsiteX2770" fmla="*/ 2040619 w 9310410"/>
              <a:gd name="connsiteY2770" fmla="*/ 470430 h 5296383"/>
              <a:gd name="connsiteX2771" fmla="*/ 2040619 w 9310410"/>
              <a:gd name="connsiteY2771" fmla="*/ 470430 h 5296383"/>
              <a:gd name="connsiteX2772" fmla="*/ 2043016 w 9310410"/>
              <a:gd name="connsiteY2772" fmla="*/ 471029 h 5296383"/>
              <a:gd name="connsiteX2773" fmla="*/ 2043615 w 9310410"/>
              <a:gd name="connsiteY2773" fmla="*/ 471629 h 5296383"/>
              <a:gd name="connsiteX2774" fmla="*/ 2043016 w 9310410"/>
              <a:gd name="connsiteY2774" fmla="*/ 473426 h 5296383"/>
              <a:gd name="connsiteX2775" fmla="*/ 2041817 w 9310410"/>
              <a:gd name="connsiteY2775" fmla="*/ 474625 h 5296383"/>
              <a:gd name="connsiteX2776" fmla="*/ 2040619 w 9310410"/>
              <a:gd name="connsiteY2776" fmla="*/ 475224 h 5296383"/>
              <a:gd name="connsiteX2777" fmla="*/ 2038821 w 9310410"/>
              <a:gd name="connsiteY2777" fmla="*/ 476423 h 5296383"/>
              <a:gd name="connsiteX2778" fmla="*/ 2032229 w 9310410"/>
              <a:gd name="connsiteY2778" fmla="*/ 481816 h 5296383"/>
              <a:gd name="connsiteX2779" fmla="*/ 2029832 w 9310410"/>
              <a:gd name="connsiteY2779" fmla="*/ 484213 h 5296383"/>
              <a:gd name="connsiteX2780" fmla="*/ 2030431 w 9310410"/>
              <a:gd name="connsiteY2780" fmla="*/ 484213 h 5296383"/>
              <a:gd name="connsiteX2781" fmla="*/ 2032828 w 9310410"/>
              <a:gd name="connsiteY2781" fmla="*/ 484813 h 5296383"/>
              <a:gd name="connsiteX2782" fmla="*/ 2034626 w 9310410"/>
              <a:gd name="connsiteY2782" fmla="*/ 484813 h 5296383"/>
              <a:gd name="connsiteX2783" fmla="*/ 2038222 w 9310410"/>
              <a:gd name="connsiteY2783" fmla="*/ 483614 h 5296383"/>
              <a:gd name="connsiteX2784" fmla="*/ 2042417 w 9310410"/>
              <a:gd name="connsiteY2784" fmla="*/ 479419 h 5296383"/>
              <a:gd name="connsiteX2785" fmla="*/ 2050806 w 9310410"/>
              <a:gd name="connsiteY2785" fmla="*/ 474026 h 5296383"/>
              <a:gd name="connsiteX2786" fmla="*/ 2056200 w 9310410"/>
              <a:gd name="connsiteY2786" fmla="*/ 471629 h 5296383"/>
              <a:gd name="connsiteX2787" fmla="*/ 2057399 w 9310410"/>
              <a:gd name="connsiteY2787" fmla="*/ 469831 h 5296383"/>
              <a:gd name="connsiteX2788" fmla="*/ 2059196 w 9310410"/>
              <a:gd name="connsiteY2788" fmla="*/ 467434 h 5296383"/>
              <a:gd name="connsiteX2789" fmla="*/ 2059796 w 9310410"/>
              <a:gd name="connsiteY2789" fmla="*/ 466834 h 5296383"/>
              <a:gd name="connsiteX2790" fmla="*/ 2060395 w 9310410"/>
              <a:gd name="connsiteY2790" fmla="*/ 466834 h 5296383"/>
              <a:gd name="connsiteX2791" fmla="*/ 2063391 w 9310410"/>
              <a:gd name="connsiteY2791" fmla="*/ 468033 h 5296383"/>
              <a:gd name="connsiteX2792" fmla="*/ 2065189 w 9310410"/>
              <a:gd name="connsiteY2792" fmla="*/ 470430 h 5296383"/>
              <a:gd name="connsiteX2793" fmla="*/ 2065788 w 9310410"/>
              <a:gd name="connsiteY2793" fmla="*/ 475824 h 5296383"/>
              <a:gd name="connsiteX2794" fmla="*/ 2065788 w 9310410"/>
              <a:gd name="connsiteY2794" fmla="*/ 481816 h 5296383"/>
              <a:gd name="connsiteX2795" fmla="*/ 2068785 w 9310410"/>
              <a:gd name="connsiteY2795" fmla="*/ 482416 h 5296383"/>
              <a:gd name="connsiteX2796" fmla="*/ 2071182 w 9310410"/>
              <a:gd name="connsiteY2796" fmla="*/ 475824 h 5296383"/>
              <a:gd name="connsiteX2797" fmla="*/ 2072380 w 9310410"/>
              <a:gd name="connsiteY2797" fmla="*/ 475224 h 5296383"/>
              <a:gd name="connsiteX2798" fmla="*/ 2072380 w 9310410"/>
              <a:gd name="connsiteY2798" fmla="*/ 468632 h 5296383"/>
              <a:gd name="connsiteX2799" fmla="*/ 2072380 w 9310410"/>
              <a:gd name="connsiteY2799" fmla="*/ 465636 h 5296383"/>
              <a:gd name="connsiteX2800" fmla="*/ 2074178 w 9310410"/>
              <a:gd name="connsiteY2800" fmla="*/ 463239 h 5296383"/>
              <a:gd name="connsiteX2801" fmla="*/ 2075976 w 9310410"/>
              <a:gd name="connsiteY2801" fmla="*/ 462639 h 5296383"/>
              <a:gd name="connsiteX2802" fmla="*/ 2078373 w 9310410"/>
              <a:gd name="connsiteY2802" fmla="*/ 462040 h 5296383"/>
              <a:gd name="connsiteX2803" fmla="*/ 2080171 w 9310410"/>
              <a:gd name="connsiteY2803" fmla="*/ 462040 h 5296383"/>
              <a:gd name="connsiteX2804" fmla="*/ 2081969 w 9310410"/>
              <a:gd name="connsiteY2804" fmla="*/ 462040 h 5296383"/>
              <a:gd name="connsiteX2805" fmla="*/ 2086164 w 9310410"/>
              <a:gd name="connsiteY2805" fmla="*/ 462639 h 5296383"/>
              <a:gd name="connsiteX2806" fmla="*/ 2087362 w 9310410"/>
              <a:gd name="connsiteY2806" fmla="*/ 465037 h 5296383"/>
              <a:gd name="connsiteX2807" fmla="*/ 2088561 w 9310410"/>
              <a:gd name="connsiteY2807" fmla="*/ 467434 h 5296383"/>
              <a:gd name="connsiteX2808" fmla="*/ 2090359 w 9310410"/>
              <a:gd name="connsiteY2808" fmla="*/ 468033 h 5296383"/>
              <a:gd name="connsiteX2809" fmla="*/ 2092157 w 9310410"/>
              <a:gd name="connsiteY2809" fmla="*/ 468033 h 5296383"/>
              <a:gd name="connsiteX2810" fmla="*/ 2092157 w 9310410"/>
              <a:gd name="connsiteY2810" fmla="*/ 468033 h 5296383"/>
              <a:gd name="connsiteX2811" fmla="*/ 2092157 w 9310410"/>
              <a:gd name="connsiteY2811" fmla="*/ 468033 h 5296383"/>
              <a:gd name="connsiteX2812" fmla="*/ 2093954 w 9310410"/>
              <a:gd name="connsiteY2812" fmla="*/ 468033 h 5296383"/>
              <a:gd name="connsiteX2813" fmla="*/ 2096951 w 9310410"/>
              <a:gd name="connsiteY2813" fmla="*/ 473426 h 5296383"/>
              <a:gd name="connsiteX2814" fmla="*/ 2098748 w 9310410"/>
              <a:gd name="connsiteY2814" fmla="*/ 480018 h 5296383"/>
              <a:gd name="connsiteX2815" fmla="*/ 2099947 w 9310410"/>
              <a:gd name="connsiteY2815" fmla="*/ 480618 h 5296383"/>
              <a:gd name="connsiteX2816" fmla="*/ 2100546 w 9310410"/>
              <a:gd name="connsiteY2816" fmla="*/ 480618 h 5296383"/>
              <a:gd name="connsiteX2817" fmla="*/ 2101146 w 9310410"/>
              <a:gd name="connsiteY2817" fmla="*/ 480618 h 5296383"/>
              <a:gd name="connsiteX2818" fmla="*/ 2101745 w 9310410"/>
              <a:gd name="connsiteY2818" fmla="*/ 480018 h 5296383"/>
              <a:gd name="connsiteX2819" fmla="*/ 2102344 w 9310410"/>
              <a:gd name="connsiteY2819" fmla="*/ 477022 h 5296383"/>
              <a:gd name="connsiteX2820" fmla="*/ 2107738 w 9310410"/>
              <a:gd name="connsiteY2820" fmla="*/ 471629 h 5296383"/>
              <a:gd name="connsiteX2821" fmla="*/ 2109535 w 9310410"/>
              <a:gd name="connsiteY2821" fmla="*/ 471029 h 5296383"/>
              <a:gd name="connsiteX2822" fmla="*/ 2125716 w 9310410"/>
              <a:gd name="connsiteY2822" fmla="*/ 466235 h 5296383"/>
              <a:gd name="connsiteX2823" fmla="*/ 2130510 w 9310410"/>
              <a:gd name="connsiteY2823" fmla="*/ 465037 h 5296383"/>
              <a:gd name="connsiteX2824" fmla="*/ 2132308 w 9310410"/>
              <a:gd name="connsiteY2824" fmla="*/ 463838 h 5296383"/>
              <a:gd name="connsiteX2825" fmla="*/ 2133506 w 9310410"/>
              <a:gd name="connsiteY2825" fmla="*/ 462639 h 5296383"/>
              <a:gd name="connsiteX2826" fmla="*/ 2137102 w 9310410"/>
              <a:gd name="connsiteY2826" fmla="*/ 460242 h 5296383"/>
              <a:gd name="connsiteX2827" fmla="*/ 2139499 w 9310410"/>
              <a:gd name="connsiteY2827" fmla="*/ 460242 h 5296383"/>
              <a:gd name="connsiteX2828" fmla="*/ 2141896 w 9310410"/>
              <a:gd name="connsiteY2828" fmla="*/ 460242 h 5296383"/>
              <a:gd name="connsiteX2829" fmla="*/ 2142496 w 9310410"/>
              <a:gd name="connsiteY2829" fmla="*/ 459643 h 5296383"/>
              <a:gd name="connsiteX2830" fmla="*/ 2142496 w 9310410"/>
              <a:gd name="connsiteY2830" fmla="*/ 459044 h 5296383"/>
              <a:gd name="connsiteX2831" fmla="*/ 2142496 w 9310410"/>
              <a:gd name="connsiteY2831" fmla="*/ 459044 h 5296383"/>
              <a:gd name="connsiteX2832" fmla="*/ 2140098 w 9310410"/>
              <a:gd name="connsiteY2832" fmla="*/ 456047 h 5296383"/>
              <a:gd name="connsiteX2833" fmla="*/ 2140098 w 9310410"/>
              <a:gd name="connsiteY2833" fmla="*/ 455448 h 5296383"/>
              <a:gd name="connsiteX2834" fmla="*/ 2140098 w 9310410"/>
              <a:gd name="connsiteY2834" fmla="*/ 454849 h 5296383"/>
              <a:gd name="connsiteX2835" fmla="*/ 2146690 w 9310410"/>
              <a:gd name="connsiteY2835" fmla="*/ 453051 h 5296383"/>
              <a:gd name="connsiteX2836" fmla="*/ 2156878 w 9310410"/>
              <a:gd name="connsiteY2836" fmla="*/ 456047 h 5296383"/>
              <a:gd name="connsiteX2837" fmla="*/ 2158676 w 9310410"/>
              <a:gd name="connsiteY2837" fmla="*/ 457246 h 5296383"/>
              <a:gd name="connsiteX2838" fmla="*/ 2159275 w 9310410"/>
              <a:gd name="connsiteY2838" fmla="*/ 458445 h 5296383"/>
              <a:gd name="connsiteX2839" fmla="*/ 2158676 w 9310410"/>
              <a:gd name="connsiteY2839" fmla="*/ 460242 h 5296383"/>
              <a:gd name="connsiteX2840" fmla="*/ 2157477 w 9310410"/>
              <a:gd name="connsiteY2840" fmla="*/ 460842 h 5296383"/>
              <a:gd name="connsiteX2841" fmla="*/ 2153282 w 9310410"/>
              <a:gd name="connsiteY2841" fmla="*/ 462639 h 5296383"/>
              <a:gd name="connsiteX2842" fmla="*/ 2141297 w 9310410"/>
              <a:gd name="connsiteY2842" fmla="*/ 472228 h 5296383"/>
              <a:gd name="connsiteX2843" fmla="*/ 2140098 w 9310410"/>
              <a:gd name="connsiteY2843" fmla="*/ 473426 h 5296383"/>
              <a:gd name="connsiteX2844" fmla="*/ 2140098 w 9310410"/>
              <a:gd name="connsiteY2844" fmla="*/ 477621 h 5296383"/>
              <a:gd name="connsiteX2845" fmla="*/ 2141896 w 9310410"/>
              <a:gd name="connsiteY2845" fmla="*/ 478221 h 5296383"/>
              <a:gd name="connsiteX2846" fmla="*/ 2143694 w 9310410"/>
              <a:gd name="connsiteY2846" fmla="*/ 477621 h 5296383"/>
              <a:gd name="connsiteX2847" fmla="*/ 2151485 w 9310410"/>
              <a:gd name="connsiteY2847" fmla="*/ 470430 h 5296383"/>
              <a:gd name="connsiteX2848" fmla="*/ 2155080 w 9310410"/>
              <a:gd name="connsiteY2848" fmla="*/ 468632 h 5296383"/>
              <a:gd name="connsiteX2849" fmla="*/ 2162272 w 9310410"/>
              <a:gd name="connsiteY2849" fmla="*/ 465636 h 5296383"/>
              <a:gd name="connsiteX2850" fmla="*/ 2167665 w 9310410"/>
              <a:gd name="connsiteY2850" fmla="*/ 463239 h 5296383"/>
              <a:gd name="connsiteX2851" fmla="*/ 2176055 w 9310410"/>
              <a:gd name="connsiteY2851" fmla="*/ 460242 h 5296383"/>
              <a:gd name="connsiteX2852" fmla="*/ 2178452 w 9310410"/>
              <a:gd name="connsiteY2852" fmla="*/ 459643 h 5296383"/>
              <a:gd name="connsiteX2853" fmla="*/ 2180849 w 9310410"/>
              <a:gd name="connsiteY2853" fmla="*/ 463239 h 5296383"/>
              <a:gd name="connsiteX2854" fmla="*/ 2180250 w 9310410"/>
              <a:gd name="connsiteY2854" fmla="*/ 464437 h 5296383"/>
              <a:gd name="connsiteX2855" fmla="*/ 2179650 w 9310410"/>
              <a:gd name="connsiteY2855" fmla="*/ 465636 h 5296383"/>
              <a:gd name="connsiteX2856" fmla="*/ 2170661 w 9310410"/>
              <a:gd name="connsiteY2856" fmla="*/ 475224 h 5296383"/>
              <a:gd name="connsiteX2857" fmla="*/ 2171860 w 9310410"/>
              <a:gd name="connsiteY2857" fmla="*/ 478820 h 5296383"/>
              <a:gd name="connsiteX2858" fmla="*/ 2175456 w 9310410"/>
              <a:gd name="connsiteY2858" fmla="*/ 478820 h 5296383"/>
              <a:gd name="connsiteX2859" fmla="*/ 2175456 w 9310410"/>
              <a:gd name="connsiteY2859" fmla="*/ 478820 h 5296383"/>
              <a:gd name="connsiteX2860" fmla="*/ 2175456 w 9310410"/>
              <a:gd name="connsiteY2860" fmla="*/ 478820 h 5296383"/>
              <a:gd name="connsiteX2861" fmla="*/ 2177853 w 9310410"/>
              <a:gd name="connsiteY2861" fmla="*/ 478820 h 5296383"/>
              <a:gd name="connsiteX2862" fmla="*/ 2179650 w 9310410"/>
              <a:gd name="connsiteY2862" fmla="*/ 478820 h 5296383"/>
              <a:gd name="connsiteX2863" fmla="*/ 2182048 w 9310410"/>
              <a:gd name="connsiteY2863" fmla="*/ 477621 h 5296383"/>
              <a:gd name="connsiteX2864" fmla="*/ 2186242 w 9310410"/>
              <a:gd name="connsiteY2864" fmla="*/ 474026 h 5296383"/>
              <a:gd name="connsiteX2865" fmla="*/ 2189239 w 9310410"/>
              <a:gd name="connsiteY2865" fmla="*/ 472228 h 5296383"/>
              <a:gd name="connsiteX2866" fmla="*/ 2192235 w 9310410"/>
              <a:gd name="connsiteY2866" fmla="*/ 471029 h 5296383"/>
              <a:gd name="connsiteX2867" fmla="*/ 2193434 w 9310410"/>
              <a:gd name="connsiteY2867" fmla="*/ 470430 h 5296383"/>
              <a:gd name="connsiteX2868" fmla="*/ 2195232 w 9310410"/>
              <a:gd name="connsiteY2868" fmla="*/ 468632 h 5296383"/>
              <a:gd name="connsiteX2869" fmla="*/ 2195232 w 9310410"/>
              <a:gd name="connsiteY2869" fmla="*/ 466235 h 5296383"/>
              <a:gd name="connsiteX2870" fmla="*/ 2195232 w 9310410"/>
              <a:gd name="connsiteY2870" fmla="*/ 464437 h 5296383"/>
              <a:gd name="connsiteX2871" fmla="*/ 2197629 w 9310410"/>
              <a:gd name="connsiteY2871" fmla="*/ 460842 h 5296383"/>
              <a:gd name="connsiteX2872" fmla="*/ 2201224 w 9310410"/>
              <a:gd name="connsiteY2872" fmla="*/ 460242 h 5296383"/>
              <a:gd name="connsiteX2873" fmla="*/ 2203621 w 9310410"/>
              <a:gd name="connsiteY2873" fmla="*/ 460242 h 5296383"/>
              <a:gd name="connsiteX2874" fmla="*/ 2208416 w 9310410"/>
              <a:gd name="connsiteY2874" fmla="*/ 461441 h 5296383"/>
              <a:gd name="connsiteX2875" fmla="*/ 2209614 w 9310410"/>
              <a:gd name="connsiteY2875" fmla="*/ 467434 h 5296383"/>
              <a:gd name="connsiteX2876" fmla="*/ 2206618 w 9310410"/>
              <a:gd name="connsiteY2876" fmla="*/ 471629 h 5296383"/>
              <a:gd name="connsiteX2877" fmla="*/ 2203022 w 9310410"/>
              <a:gd name="connsiteY2877" fmla="*/ 475824 h 5296383"/>
              <a:gd name="connsiteX2878" fmla="*/ 2200625 w 9310410"/>
              <a:gd name="connsiteY2878" fmla="*/ 480618 h 5296383"/>
              <a:gd name="connsiteX2879" fmla="*/ 2201824 w 9310410"/>
              <a:gd name="connsiteY2879" fmla="*/ 482416 h 5296383"/>
              <a:gd name="connsiteX2880" fmla="*/ 2204820 w 9310410"/>
              <a:gd name="connsiteY2880" fmla="*/ 483015 h 5296383"/>
              <a:gd name="connsiteX2881" fmla="*/ 2207816 w 9310410"/>
              <a:gd name="connsiteY2881" fmla="*/ 480618 h 5296383"/>
              <a:gd name="connsiteX2882" fmla="*/ 2209614 w 9310410"/>
              <a:gd name="connsiteY2882" fmla="*/ 478820 h 5296383"/>
              <a:gd name="connsiteX2883" fmla="*/ 2213809 w 9310410"/>
              <a:gd name="connsiteY2883" fmla="*/ 474625 h 5296383"/>
              <a:gd name="connsiteX2884" fmla="*/ 2220401 w 9310410"/>
              <a:gd name="connsiteY2884" fmla="*/ 472228 h 5296383"/>
              <a:gd name="connsiteX2885" fmla="*/ 2226394 w 9310410"/>
              <a:gd name="connsiteY2885" fmla="*/ 477022 h 5296383"/>
              <a:gd name="connsiteX2886" fmla="*/ 2228192 w 9310410"/>
              <a:gd name="connsiteY2886" fmla="*/ 481217 h 5296383"/>
              <a:gd name="connsiteX2887" fmla="*/ 2229390 w 9310410"/>
              <a:gd name="connsiteY2887" fmla="*/ 481217 h 5296383"/>
              <a:gd name="connsiteX2888" fmla="*/ 2234784 w 9310410"/>
              <a:gd name="connsiteY2888" fmla="*/ 483614 h 5296383"/>
              <a:gd name="connsiteX2889" fmla="*/ 2237181 w 9310410"/>
              <a:gd name="connsiteY2889" fmla="*/ 490805 h 5296383"/>
              <a:gd name="connsiteX2890" fmla="*/ 2238979 w 9310410"/>
              <a:gd name="connsiteY2890" fmla="*/ 493802 h 5296383"/>
              <a:gd name="connsiteX2891" fmla="*/ 2237780 w 9310410"/>
              <a:gd name="connsiteY2891" fmla="*/ 497397 h 5296383"/>
              <a:gd name="connsiteX2892" fmla="*/ 2229390 w 9310410"/>
              <a:gd name="connsiteY2892" fmla="*/ 500394 h 5296383"/>
              <a:gd name="connsiteX2893" fmla="*/ 2225195 w 9310410"/>
              <a:gd name="connsiteY2893" fmla="*/ 500993 h 5296383"/>
              <a:gd name="connsiteX2894" fmla="*/ 2219802 w 9310410"/>
              <a:gd name="connsiteY2894" fmla="*/ 499795 h 5296383"/>
              <a:gd name="connsiteX2895" fmla="*/ 2216206 w 9310410"/>
              <a:gd name="connsiteY2895" fmla="*/ 496798 h 5296383"/>
              <a:gd name="connsiteX2896" fmla="*/ 2214408 w 9310410"/>
              <a:gd name="connsiteY2896" fmla="*/ 495000 h 5296383"/>
              <a:gd name="connsiteX2897" fmla="*/ 2210813 w 9310410"/>
              <a:gd name="connsiteY2897" fmla="*/ 492603 h 5296383"/>
              <a:gd name="connsiteX2898" fmla="*/ 2208416 w 9310410"/>
              <a:gd name="connsiteY2898" fmla="*/ 492004 h 5296383"/>
              <a:gd name="connsiteX2899" fmla="*/ 2210813 w 9310410"/>
              <a:gd name="connsiteY2899" fmla="*/ 497997 h 5296383"/>
              <a:gd name="connsiteX2900" fmla="*/ 2210813 w 9310410"/>
              <a:gd name="connsiteY2900" fmla="*/ 500993 h 5296383"/>
              <a:gd name="connsiteX2901" fmla="*/ 2210213 w 9310410"/>
              <a:gd name="connsiteY2901" fmla="*/ 502192 h 5296383"/>
              <a:gd name="connsiteX2902" fmla="*/ 2210813 w 9310410"/>
              <a:gd name="connsiteY2902" fmla="*/ 502192 h 5296383"/>
              <a:gd name="connsiteX2903" fmla="*/ 2213210 w 9310410"/>
              <a:gd name="connsiteY2903" fmla="*/ 503390 h 5296383"/>
              <a:gd name="connsiteX2904" fmla="*/ 2213809 w 9310410"/>
              <a:gd name="connsiteY2904" fmla="*/ 504589 h 5296383"/>
              <a:gd name="connsiteX2905" fmla="*/ 2213210 w 9310410"/>
              <a:gd name="connsiteY2905" fmla="*/ 506387 h 5296383"/>
              <a:gd name="connsiteX2906" fmla="*/ 2214408 w 9310410"/>
              <a:gd name="connsiteY2906" fmla="*/ 509383 h 5296383"/>
              <a:gd name="connsiteX2907" fmla="*/ 2215607 w 9310410"/>
              <a:gd name="connsiteY2907" fmla="*/ 509383 h 5296383"/>
              <a:gd name="connsiteX2908" fmla="*/ 2222199 w 9310410"/>
              <a:gd name="connsiteY2908" fmla="*/ 506986 h 5296383"/>
              <a:gd name="connsiteX2909" fmla="*/ 2222199 w 9310410"/>
              <a:gd name="connsiteY2909" fmla="*/ 506986 h 5296383"/>
              <a:gd name="connsiteX2910" fmla="*/ 2225195 w 9310410"/>
              <a:gd name="connsiteY2910" fmla="*/ 506387 h 5296383"/>
              <a:gd name="connsiteX2911" fmla="*/ 2225195 w 9310410"/>
              <a:gd name="connsiteY2911" fmla="*/ 506387 h 5296383"/>
              <a:gd name="connsiteX2912" fmla="*/ 2227592 w 9310410"/>
              <a:gd name="connsiteY2912" fmla="*/ 506387 h 5296383"/>
              <a:gd name="connsiteX2913" fmla="*/ 2227592 w 9310410"/>
              <a:gd name="connsiteY2913" fmla="*/ 506387 h 5296383"/>
              <a:gd name="connsiteX2914" fmla="*/ 2229390 w 9310410"/>
              <a:gd name="connsiteY2914" fmla="*/ 507585 h 5296383"/>
              <a:gd name="connsiteX2915" fmla="*/ 2229390 w 9310410"/>
              <a:gd name="connsiteY2915" fmla="*/ 507585 h 5296383"/>
              <a:gd name="connsiteX2916" fmla="*/ 2231188 w 9310410"/>
              <a:gd name="connsiteY2916" fmla="*/ 508784 h 5296383"/>
              <a:gd name="connsiteX2917" fmla="*/ 2231188 w 9310410"/>
              <a:gd name="connsiteY2917" fmla="*/ 508784 h 5296383"/>
              <a:gd name="connsiteX2918" fmla="*/ 2231188 w 9310410"/>
              <a:gd name="connsiteY2918" fmla="*/ 509383 h 5296383"/>
              <a:gd name="connsiteX2919" fmla="*/ 2232387 w 9310410"/>
              <a:gd name="connsiteY2919" fmla="*/ 509383 h 5296383"/>
              <a:gd name="connsiteX2920" fmla="*/ 2231787 w 9310410"/>
              <a:gd name="connsiteY2920" fmla="*/ 509982 h 5296383"/>
              <a:gd name="connsiteX2921" fmla="*/ 2231787 w 9310410"/>
              <a:gd name="connsiteY2921" fmla="*/ 509982 h 5296383"/>
              <a:gd name="connsiteX2922" fmla="*/ 2232387 w 9310410"/>
              <a:gd name="connsiteY2922" fmla="*/ 510581 h 5296383"/>
              <a:gd name="connsiteX2923" fmla="*/ 2232986 w 9310410"/>
              <a:gd name="connsiteY2923" fmla="*/ 511780 h 5296383"/>
              <a:gd name="connsiteX2924" fmla="*/ 2233585 w 9310410"/>
              <a:gd name="connsiteY2924" fmla="*/ 512379 h 5296383"/>
              <a:gd name="connsiteX2925" fmla="*/ 2233585 w 9310410"/>
              <a:gd name="connsiteY2925" fmla="*/ 513578 h 5296383"/>
              <a:gd name="connsiteX2926" fmla="*/ 2233585 w 9310410"/>
              <a:gd name="connsiteY2926" fmla="*/ 514177 h 5296383"/>
              <a:gd name="connsiteX2927" fmla="*/ 2233585 w 9310410"/>
              <a:gd name="connsiteY2927" fmla="*/ 515975 h 5296383"/>
              <a:gd name="connsiteX2928" fmla="*/ 2233585 w 9310410"/>
              <a:gd name="connsiteY2928" fmla="*/ 515975 h 5296383"/>
              <a:gd name="connsiteX2929" fmla="*/ 2233585 w 9310410"/>
              <a:gd name="connsiteY2929" fmla="*/ 517773 h 5296383"/>
              <a:gd name="connsiteX2930" fmla="*/ 2234184 w 9310410"/>
              <a:gd name="connsiteY2930" fmla="*/ 518372 h 5296383"/>
              <a:gd name="connsiteX2931" fmla="*/ 2235383 w 9310410"/>
              <a:gd name="connsiteY2931" fmla="*/ 518372 h 5296383"/>
              <a:gd name="connsiteX2932" fmla="*/ 2238379 w 9310410"/>
              <a:gd name="connsiteY2932" fmla="*/ 518372 h 5296383"/>
              <a:gd name="connsiteX2933" fmla="*/ 2243174 w 9310410"/>
              <a:gd name="connsiteY2933" fmla="*/ 517773 h 5296383"/>
              <a:gd name="connsiteX2934" fmla="*/ 2245571 w 9310410"/>
              <a:gd name="connsiteY2934" fmla="*/ 514177 h 5296383"/>
              <a:gd name="connsiteX2935" fmla="*/ 2245571 w 9310410"/>
              <a:gd name="connsiteY2935" fmla="*/ 514177 h 5296383"/>
              <a:gd name="connsiteX2936" fmla="*/ 2245571 w 9310410"/>
              <a:gd name="connsiteY2936" fmla="*/ 514177 h 5296383"/>
              <a:gd name="connsiteX2937" fmla="*/ 2246769 w 9310410"/>
              <a:gd name="connsiteY2937" fmla="*/ 514177 h 5296383"/>
              <a:gd name="connsiteX2938" fmla="*/ 2247968 w 9310410"/>
              <a:gd name="connsiteY2938" fmla="*/ 514177 h 5296383"/>
              <a:gd name="connsiteX2939" fmla="*/ 2249766 w 9310410"/>
              <a:gd name="connsiteY2939" fmla="*/ 512379 h 5296383"/>
              <a:gd name="connsiteX2940" fmla="*/ 2250964 w 9310410"/>
              <a:gd name="connsiteY2940" fmla="*/ 511181 h 5296383"/>
              <a:gd name="connsiteX2941" fmla="*/ 2252163 w 9310410"/>
              <a:gd name="connsiteY2941" fmla="*/ 511181 h 5296383"/>
              <a:gd name="connsiteX2942" fmla="*/ 2255758 w 9310410"/>
              <a:gd name="connsiteY2942" fmla="*/ 514177 h 5296383"/>
              <a:gd name="connsiteX2943" fmla="*/ 2258155 w 9310410"/>
              <a:gd name="connsiteY2943" fmla="*/ 517173 h 5296383"/>
              <a:gd name="connsiteX2944" fmla="*/ 2259354 w 9310410"/>
              <a:gd name="connsiteY2944" fmla="*/ 518971 h 5296383"/>
              <a:gd name="connsiteX2945" fmla="*/ 2259354 w 9310410"/>
              <a:gd name="connsiteY2945" fmla="*/ 524964 h 5296383"/>
              <a:gd name="connsiteX2946" fmla="*/ 2257556 w 9310410"/>
              <a:gd name="connsiteY2946" fmla="*/ 525563 h 5296383"/>
              <a:gd name="connsiteX2947" fmla="*/ 2249766 w 9310410"/>
              <a:gd name="connsiteY2947" fmla="*/ 520769 h 5296383"/>
              <a:gd name="connsiteX2948" fmla="*/ 2248567 w 9310410"/>
              <a:gd name="connsiteY2948" fmla="*/ 519571 h 5296383"/>
              <a:gd name="connsiteX2949" fmla="*/ 2246769 w 9310410"/>
              <a:gd name="connsiteY2949" fmla="*/ 519571 h 5296383"/>
              <a:gd name="connsiteX2950" fmla="*/ 2246170 w 9310410"/>
              <a:gd name="connsiteY2950" fmla="*/ 521368 h 5296383"/>
              <a:gd name="connsiteX2951" fmla="*/ 2246769 w 9310410"/>
              <a:gd name="connsiteY2951" fmla="*/ 523765 h 5296383"/>
              <a:gd name="connsiteX2952" fmla="*/ 2247968 w 9310410"/>
              <a:gd name="connsiteY2952" fmla="*/ 524964 h 5296383"/>
              <a:gd name="connsiteX2953" fmla="*/ 2250964 w 9310410"/>
              <a:gd name="connsiteY2953" fmla="*/ 524964 h 5296383"/>
              <a:gd name="connsiteX2954" fmla="*/ 2252762 w 9310410"/>
              <a:gd name="connsiteY2954" fmla="*/ 526762 h 5296383"/>
              <a:gd name="connsiteX2955" fmla="*/ 2253361 w 9310410"/>
              <a:gd name="connsiteY2955" fmla="*/ 527960 h 5296383"/>
              <a:gd name="connsiteX2956" fmla="*/ 2256957 w 9310410"/>
              <a:gd name="connsiteY2956" fmla="*/ 530357 h 5296383"/>
              <a:gd name="connsiteX2957" fmla="*/ 2258755 w 9310410"/>
              <a:gd name="connsiteY2957" fmla="*/ 530957 h 5296383"/>
              <a:gd name="connsiteX2958" fmla="*/ 2258155 w 9310410"/>
              <a:gd name="connsiteY2958" fmla="*/ 533953 h 5296383"/>
              <a:gd name="connsiteX2959" fmla="*/ 2256358 w 9310410"/>
              <a:gd name="connsiteY2959" fmla="*/ 536350 h 5296383"/>
              <a:gd name="connsiteX2960" fmla="*/ 2255159 w 9310410"/>
              <a:gd name="connsiteY2960" fmla="*/ 538148 h 5296383"/>
              <a:gd name="connsiteX2961" fmla="*/ 2256358 w 9310410"/>
              <a:gd name="connsiteY2961" fmla="*/ 538747 h 5296383"/>
              <a:gd name="connsiteX2962" fmla="*/ 2262350 w 9310410"/>
              <a:gd name="connsiteY2962" fmla="*/ 536949 h 5296383"/>
              <a:gd name="connsiteX2963" fmla="*/ 2266545 w 9310410"/>
              <a:gd name="connsiteY2963" fmla="*/ 535751 h 5296383"/>
              <a:gd name="connsiteX2964" fmla="*/ 2281527 w 9310410"/>
              <a:gd name="connsiteY2964" fmla="*/ 539946 h 5296383"/>
              <a:gd name="connsiteX2965" fmla="*/ 2286921 w 9310410"/>
              <a:gd name="connsiteY2965" fmla="*/ 542942 h 5296383"/>
              <a:gd name="connsiteX2966" fmla="*/ 2287520 w 9310410"/>
              <a:gd name="connsiteY2966" fmla="*/ 542942 h 5296383"/>
              <a:gd name="connsiteX2967" fmla="*/ 2289917 w 9310410"/>
              <a:gd name="connsiteY2967" fmla="*/ 541744 h 5296383"/>
              <a:gd name="connsiteX2968" fmla="*/ 2291715 w 9310410"/>
              <a:gd name="connsiteY2968" fmla="*/ 541144 h 5296383"/>
              <a:gd name="connsiteX2969" fmla="*/ 2304899 w 9310410"/>
              <a:gd name="connsiteY2969" fmla="*/ 553130 h 5296383"/>
              <a:gd name="connsiteX2970" fmla="*/ 2307296 w 9310410"/>
              <a:gd name="connsiteY2970" fmla="*/ 555527 h 5296383"/>
              <a:gd name="connsiteX2971" fmla="*/ 2327072 w 9310410"/>
              <a:gd name="connsiteY2971" fmla="*/ 581296 h 5296383"/>
              <a:gd name="connsiteX2972" fmla="*/ 2330068 w 9310410"/>
              <a:gd name="connsiteY2972" fmla="*/ 584891 h 5296383"/>
              <a:gd name="connsiteX2973" fmla="*/ 2330068 w 9310410"/>
              <a:gd name="connsiteY2973" fmla="*/ 584292 h 5296383"/>
              <a:gd name="connsiteX2974" fmla="*/ 2330068 w 9310410"/>
              <a:gd name="connsiteY2974" fmla="*/ 582494 h 5296383"/>
              <a:gd name="connsiteX2975" fmla="*/ 2330068 w 9310410"/>
              <a:gd name="connsiteY2975" fmla="*/ 581296 h 5296383"/>
              <a:gd name="connsiteX2976" fmla="*/ 2330668 w 9310410"/>
              <a:gd name="connsiteY2976" fmla="*/ 580697 h 5296383"/>
              <a:gd name="connsiteX2977" fmla="*/ 2331267 w 9310410"/>
              <a:gd name="connsiteY2977" fmla="*/ 580697 h 5296383"/>
              <a:gd name="connsiteX2978" fmla="*/ 2336061 w 9310410"/>
              <a:gd name="connsiteY2978" fmla="*/ 589086 h 5296383"/>
              <a:gd name="connsiteX2979" fmla="*/ 2337260 w 9310410"/>
              <a:gd name="connsiteY2979" fmla="*/ 594480 h 5296383"/>
              <a:gd name="connsiteX2980" fmla="*/ 2339657 w 9310410"/>
              <a:gd name="connsiteY2980" fmla="*/ 593881 h 5296383"/>
              <a:gd name="connsiteX2981" fmla="*/ 2340256 w 9310410"/>
              <a:gd name="connsiteY2981" fmla="*/ 593881 h 5296383"/>
              <a:gd name="connsiteX2982" fmla="*/ 2340855 w 9310410"/>
              <a:gd name="connsiteY2982" fmla="*/ 594480 h 5296383"/>
              <a:gd name="connsiteX2983" fmla="*/ 2342054 w 9310410"/>
              <a:gd name="connsiteY2983" fmla="*/ 596278 h 5296383"/>
              <a:gd name="connsiteX2984" fmla="*/ 2343252 w 9310410"/>
              <a:gd name="connsiteY2984" fmla="*/ 598075 h 5296383"/>
              <a:gd name="connsiteX2985" fmla="*/ 2343852 w 9310410"/>
              <a:gd name="connsiteY2985" fmla="*/ 598675 h 5296383"/>
              <a:gd name="connsiteX2986" fmla="*/ 2343252 w 9310410"/>
              <a:gd name="connsiteY2986" fmla="*/ 603469 h 5296383"/>
              <a:gd name="connsiteX2987" fmla="*/ 2342653 w 9310410"/>
              <a:gd name="connsiteY2987" fmla="*/ 604667 h 5296383"/>
              <a:gd name="connsiteX2988" fmla="*/ 2342054 w 9310410"/>
              <a:gd name="connsiteY2988" fmla="*/ 605866 h 5296383"/>
              <a:gd name="connsiteX2989" fmla="*/ 2343852 w 9310410"/>
              <a:gd name="connsiteY2989" fmla="*/ 607664 h 5296383"/>
              <a:gd name="connsiteX2990" fmla="*/ 2345050 w 9310410"/>
              <a:gd name="connsiteY2990" fmla="*/ 607664 h 5296383"/>
              <a:gd name="connsiteX2991" fmla="*/ 2345050 w 9310410"/>
              <a:gd name="connsiteY2991" fmla="*/ 607664 h 5296383"/>
              <a:gd name="connsiteX2992" fmla="*/ 2345050 w 9310410"/>
              <a:gd name="connsiteY2992" fmla="*/ 607664 h 5296383"/>
              <a:gd name="connsiteX2993" fmla="*/ 2346249 w 9310410"/>
              <a:gd name="connsiteY2993" fmla="*/ 611859 h 5296383"/>
              <a:gd name="connsiteX2994" fmla="*/ 2345649 w 9310410"/>
              <a:gd name="connsiteY2994" fmla="*/ 613057 h 5296383"/>
              <a:gd name="connsiteX2995" fmla="*/ 2345050 w 9310410"/>
              <a:gd name="connsiteY2995" fmla="*/ 614256 h 5296383"/>
              <a:gd name="connsiteX2996" fmla="*/ 2342054 w 9310410"/>
              <a:gd name="connsiteY2996" fmla="*/ 626241 h 5296383"/>
              <a:gd name="connsiteX2997" fmla="*/ 2340256 w 9310410"/>
              <a:gd name="connsiteY2997" fmla="*/ 631635 h 5296383"/>
              <a:gd name="connsiteX2998" fmla="*/ 2337260 w 9310410"/>
              <a:gd name="connsiteY2998" fmla="*/ 636429 h 5296383"/>
              <a:gd name="connsiteX2999" fmla="*/ 2329469 w 9310410"/>
              <a:gd name="connsiteY2999" fmla="*/ 641223 h 5296383"/>
              <a:gd name="connsiteX3000" fmla="*/ 2325873 w 9310410"/>
              <a:gd name="connsiteY3000" fmla="*/ 642422 h 5296383"/>
              <a:gd name="connsiteX3001" fmla="*/ 2287520 w 9310410"/>
              <a:gd name="connsiteY3001" fmla="*/ 655606 h 5296383"/>
              <a:gd name="connsiteX3002" fmla="*/ 2273137 w 9310410"/>
              <a:gd name="connsiteY3002" fmla="*/ 656804 h 5296383"/>
              <a:gd name="connsiteX3003" fmla="*/ 2266545 w 9310410"/>
              <a:gd name="connsiteY3003" fmla="*/ 656205 h 5296383"/>
              <a:gd name="connsiteX3004" fmla="*/ 2245571 w 9310410"/>
              <a:gd name="connsiteY3004" fmla="*/ 649014 h 5296383"/>
              <a:gd name="connsiteX3005" fmla="*/ 2231787 w 9310410"/>
              <a:gd name="connsiteY3005" fmla="*/ 643620 h 5296383"/>
              <a:gd name="connsiteX3006" fmla="*/ 2226394 w 9310410"/>
              <a:gd name="connsiteY3006" fmla="*/ 642422 h 5296383"/>
              <a:gd name="connsiteX3007" fmla="*/ 2224596 w 9310410"/>
              <a:gd name="connsiteY3007" fmla="*/ 641822 h 5296383"/>
              <a:gd name="connsiteX3008" fmla="*/ 2216206 w 9310410"/>
              <a:gd name="connsiteY3008" fmla="*/ 636429 h 5296383"/>
              <a:gd name="connsiteX3009" fmla="*/ 2213809 w 9310410"/>
              <a:gd name="connsiteY3009" fmla="*/ 634032 h 5296383"/>
              <a:gd name="connsiteX3010" fmla="*/ 2209614 w 9310410"/>
              <a:gd name="connsiteY3010" fmla="*/ 630436 h 5296383"/>
              <a:gd name="connsiteX3011" fmla="*/ 2207816 w 9310410"/>
              <a:gd name="connsiteY3011" fmla="*/ 629238 h 5296383"/>
              <a:gd name="connsiteX3012" fmla="*/ 2204820 w 9310410"/>
              <a:gd name="connsiteY3012" fmla="*/ 627440 h 5296383"/>
              <a:gd name="connsiteX3013" fmla="*/ 2201224 w 9310410"/>
              <a:gd name="connsiteY3013" fmla="*/ 623245 h 5296383"/>
              <a:gd name="connsiteX3014" fmla="*/ 2201224 w 9310410"/>
              <a:gd name="connsiteY3014" fmla="*/ 622646 h 5296383"/>
              <a:gd name="connsiteX3015" fmla="*/ 2201224 w 9310410"/>
              <a:gd name="connsiteY3015" fmla="*/ 622046 h 5296383"/>
              <a:gd name="connsiteX3016" fmla="*/ 2200625 w 9310410"/>
              <a:gd name="connsiteY3016" fmla="*/ 618451 h 5296383"/>
              <a:gd name="connsiteX3017" fmla="*/ 2200026 w 9310410"/>
              <a:gd name="connsiteY3017" fmla="*/ 618451 h 5296383"/>
              <a:gd name="connsiteX3018" fmla="*/ 2198827 w 9310410"/>
              <a:gd name="connsiteY3018" fmla="*/ 618451 h 5296383"/>
              <a:gd name="connsiteX3019" fmla="*/ 2197629 w 9310410"/>
              <a:gd name="connsiteY3019" fmla="*/ 618451 h 5296383"/>
              <a:gd name="connsiteX3020" fmla="*/ 2189239 w 9310410"/>
              <a:gd name="connsiteY3020" fmla="*/ 614256 h 5296383"/>
              <a:gd name="connsiteX3021" fmla="*/ 2183246 w 9310410"/>
              <a:gd name="connsiteY3021" fmla="*/ 610660 h 5296383"/>
              <a:gd name="connsiteX3022" fmla="*/ 2181448 w 9310410"/>
              <a:gd name="connsiteY3022" fmla="*/ 608263 h 5296383"/>
              <a:gd name="connsiteX3023" fmla="*/ 2175456 w 9310410"/>
              <a:gd name="connsiteY3023" fmla="*/ 603469 h 5296383"/>
              <a:gd name="connsiteX3024" fmla="*/ 2172459 w 9310410"/>
              <a:gd name="connsiteY3024" fmla="*/ 604068 h 5296383"/>
              <a:gd name="connsiteX3025" fmla="*/ 2176654 w 9310410"/>
              <a:gd name="connsiteY3025" fmla="*/ 612458 h 5296383"/>
              <a:gd name="connsiteX3026" fmla="*/ 2179051 w 9310410"/>
              <a:gd name="connsiteY3026" fmla="*/ 614855 h 5296383"/>
              <a:gd name="connsiteX3027" fmla="*/ 2183845 w 9310410"/>
              <a:gd name="connsiteY3027" fmla="*/ 619050 h 5296383"/>
              <a:gd name="connsiteX3028" fmla="*/ 2187441 w 9310410"/>
              <a:gd name="connsiteY3028" fmla="*/ 622646 h 5296383"/>
              <a:gd name="connsiteX3029" fmla="*/ 2189239 w 9310410"/>
              <a:gd name="connsiteY3029" fmla="*/ 626241 h 5296383"/>
              <a:gd name="connsiteX3030" fmla="*/ 2187441 w 9310410"/>
              <a:gd name="connsiteY3030" fmla="*/ 631035 h 5296383"/>
              <a:gd name="connsiteX3031" fmla="*/ 2186242 w 9310410"/>
              <a:gd name="connsiteY3031" fmla="*/ 636429 h 5296383"/>
              <a:gd name="connsiteX3032" fmla="*/ 2188040 w 9310410"/>
              <a:gd name="connsiteY3032" fmla="*/ 641822 h 5296383"/>
              <a:gd name="connsiteX3033" fmla="*/ 2188040 w 9310410"/>
              <a:gd name="connsiteY3033" fmla="*/ 651411 h 5296383"/>
              <a:gd name="connsiteX3034" fmla="*/ 2178452 w 9310410"/>
              <a:gd name="connsiteY3034" fmla="*/ 661598 h 5296383"/>
              <a:gd name="connsiteX3035" fmla="*/ 2173658 w 9310410"/>
              <a:gd name="connsiteY3035" fmla="*/ 667591 h 5296383"/>
              <a:gd name="connsiteX3036" fmla="*/ 2173059 w 9310410"/>
              <a:gd name="connsiteY3036" fmla="*/ 669988 h 5296383"/>
              <a:gd name="connsiteX3037" fmla="*/ 2172459 w 9310410"/>
              <a:gd name="connsiteY3037" fmla="*/ 671187 h 5296383"/>
              <a:gd name="connsiteX3038" fmla="*/ 2167066 w 9310410"/>
              <a:gd name="connsiteY3038" fmla="*/ 680176 h 5296383"/>
              <a:gd name="connsiteX3039" fmla="*/ 2164669 w 9310410"/>
              <a:gd name="connsiteY3039" fmla="*/ 681974 h 5296383"/>
              <a:gd name="connsiteX3040" fmla="*/ 2161073 w 9310410"/>
              <a:gd name="connsiteY3040" fmla="*/ 688566 h 5296383"/>
              <a:gd name="connsiteX3041" fmla="*/ 2159874 w 9310410"/>
              <a:gd name="connsiteY3041" fmla="*/ 690963 h 5296383"/>
              <a:gd name="connsiteX3042" fmla="*/ 2159275 w 9310410"/>
              <a:gd name="connsiteY3042" fmla="*/ 693959 h 5296383"/>
              <a:gd name="connsiteX3043" fmla="*/ 2161073 w 9310410"/>
              <a:gd name="connsiteY3043" fmla="*/ 695757 h 5296383"/>
              <a:gd name="connsiteX3044" fmla="*/ 2166467 w 9310410"/>
              <a:gd name="connsiteY3044" fmla="*/ 699952 h 5296383"/>
              <a:gd name="connsiteX3045" fmla="*/ 2167066 w 9310410"/>
              <a:gd name="connsiteY3045" fmla="*/ 699952 h 5296383"/>
              <a:gd name="connsiteX3046" fmla="*/ 2167665 w 9310410"/>
              <a:gd name="connsiteY3046" fmla="*/ 700551 h 5296383"/>
              <a:gd name="connsiteX3047" fmla="*/ 2168264 w 9310410"/>
              <a:gd name="connsiteY3047" fmla="*/ 704147 h 5296383"/>
              <a:gd name="connsiteX3048" fmla="*/ 2197629 w 9310410"/>
              <a:gd name="connsiteY3048" fmla="*/ 698753 h 5296383"/>
              <a:gd name="connsiteX3049" fmla="*/ 2197629 w 9310410"/>
              <a:gd name="connsiteY3049" fmla="*/ 701151 h 5296383"/>
              <a:gd name="connsiteX3050" fmla="*/ 2197629 w 9310410"/>
              <a:gd name="connsiteY3050" fmla="*/ 698753 h 5296383"/>
              <a:gd name="connsiteX3051" fmla="*/ 2197629 w 9310410"/>
              <a:gd name="connsiteY3051" fmla="*/ 698753 h 5296383"/>
              <a:gd name="connsiteX3052" fmla="*/ 2197629 w 9310410"/>
              <a:gd name="connsiteY3052" fmla="*/ 698154 h 5296383"/>
              <a:gd name="connsiteX3053" fmla="*/ 2197629 w 9310410"/>
              <a:gd name="connsiteY3053" fmla="*/ 695158 h 5296383"/>
              <a:gd name="connsiteX3054" fmla="*/ 2197030 w 9310410"/>
              <a:gd name="connsiteY3054" fmla="*/ 692761 h 5296383"/>
              <a:gd name="connsiteX3055" fmla="*/ 2195232 w 9310410"/>
              <a:gd name="connsiteY3055" fmla="*/ 688566 h 5296383"/>
              <a:gd name="connsiteX3056" fmla="*/ 2195232 w 9310410"/>
              <a:gd name="connsiteY3056" fmla="*/ 687367 h 5296383"/>
              <a:gd name="connsiteX3057" fmla="*/ 2197629 w 9310410"/>
              <a:gd name="connsiteY3057" fmla="*/ 683772 h 5296383"/>
              <a:gd name="connsiteX3058" fmla="*/ 2198228 w 9310410"/>
              <a:gd name="connsiteY3058" fmla="*/ 684371 h 5296383"/>
              <a:gd name="connsiteX3059" fmla="*/ 2200625 w 9310410"/>
              <a:gd name="connsiteY3059" fmla="*/ 686169 h 5296383"/>
              <a:gd name="connsiteX3060" fmla="*/ 2202423 w 9310410"/>
              <a:gd name="connsiteY3060" fmla="*/ 684970 h 5296383"/>
              <a:gd name="connsiteX3061" fmla="*/ 2203022 w 9310410"/>
              <a:gd name="connsiteY3061" fmla="*/ 684371 h 5296383"/>
              <a:gd name="connsiteX3062" fmla="*/ 2210213 w 9310410"/>
              <a:gd name="connsiteY3062" fmla="*/ 680176 h 5296383"/>
              <a:gd name="connsiteX3063" fmla="*/ 2210213 w 9310410"/>
              <a:gd name="connsiteY3063" fmla="*/ 680176 h 5296383"/>
              <a:gd name="connsiteX3064" fmla="*/ 2210213 w 9310410"/>
              <a:gd name="connsiteY3064" fmla="*/ 680176 h 5296383"/>
              <a:gd name="connsiteX3065" fmla="*/ 2213210 w 9310410"/>
              <a:gd name="connsiteY3065" fmla="*/ 681974 h 5296383"/>
              <a:gd name="connsiteX3066" fmla="*/ 2219203 w 9310410"/>
              <a:gd name="connsiteY3066" fmla="*/ 689165 h 5296383"/>
              <a:gd name="connsiteX3067" fmla="*/ 2222798 w 9310410"/>
              <a:gd name="connsiteY3067" fmla="*/ 693959 h 5296383"/>
              <a:gd name="connsiteX3068" fmla="*/ 2268942 w 9310410"/>
              <a:gd name="connsiteY3068" fmla="*/ 685569 h 5296383"/>
              <a:gd name="connsiteX3069" fmla="*/ 2268343 w 9310410"/>
              <a:gd name="connsiteY3069" fmla="*/ 690364 h 5296383"/>
              <a:gd name="connsiteX3070" fmla="*/ 2270740 w 9310410"/>
              <a:gd name="connsiteY3070" fmla="*/ 699353 h 5296383"/>
              <a:gd name="connsiteX3071" fmla="*/ 2268343 w 9310410"/>
              <a:gd name="connsiteY3071" fmla="*/ 690364 h 5296383"/>
              <a:gd name="connsiteX3072" fmla="*/ 2268942 w 9310410"/>
              <a:gd name="connsiteY3072" fmla="*/ 685569 h 5296383"/>
              <a:gd name="connsiteX3073" fmla="*/ 2268942 w 9310410"/>
              <a:gd name="connsiteY3073" fmla="*/ 685569 h 5296383"/>
              <a:gd name="connsiteX3074" fmla="*/ 2271339 w 9310410"/>
              <a:gd name="connsiteY3074" fmla="*/ 681974 h 5296383"/>
              <a:gd name="connsiteX3075" fmla="*/ 2272538 w 9310410"/>
              <a:gd name="connsiteY3075" fmla="*/ 680775 h 5296383"/>
              <a:gd name="connsiteX3076" fmla="*/ 2274935 w 9310410"/>
              <a:gd name="connsiteY3076" fmla="*/ 678977 h 5296383"/>
              <a:gd name="connsiteX3077" fmla="*/ 2277332 w 9310410"/>
              <a:gd name="connsiteY3077" fmla="*/ 677779 h 5296383"/>
              <a:gd name="connsiteX3078" fmla="*/ 2285722 w 9310410"/>
              <a:gd name="connsiteY3078" fmla="*/ 673584 h 5296383"/>
              <a:gd name="connsiteX3079" fmla="*/ 2298307 w 9310410"/>
              <a:gd name="connsiteY3079" fmla="*/ 668790 h 5296383"/>
              <a:gd name="connsiteX3080" fmla="*/ 2303700 w 9310410"/>
              <a:gd name="connsiteY3080" fmla="*/ 668790 h 5296383"/>
              <a:gd name="connsiteX3081" fmla="*/ 2306697 w 9310410"/>
              <a:gd name="connsiteY3081" fmla="*/ 668790 h 5296383"/>
              <a:gd name="connsiteX3082" fmla="*/ 2309693 w 9310410"/>
              <a:gd name="connsiteY3082" fmla="*/ 668190 h 5296383"/>
              <a:gd name="connsiteX3083" fmla="*/ 2322877 w 9310410"/>
              <a:gd name="connsiteY3083" fmla="*/ 662797 h 5296383"/>
              <a:gd name="connsiteX3084" fmla="*/ 2327671 w 9310410"/>
              <a:gd name="connsiteY3084" fmla="*/ 660400 h 5296383"/>
              <a:gd name="connsiteX3085" fmla="*/ 2336061 w 9310410"/>
              <a:gd name="connsiteY3085" fmla="*/ 656804 h 5296383"/>
              <a:gd name="connsiteX3086" fmla="*/ 2339657 w 9310410"/>
              <a:gd name="connsiteY3086" fmla="*/ 658602 h 5296383"/>
              <a:gd name="connsiteX3087" fmla="*/ 2343852 w 9310410"/>
              <a:gd name="connsiteY3087" fmla="*/ 661598 h 5296383"/>
              <a:gd name="connsiteX3088" fmla="*/ 2346848 w 9310410"/>
              <a:gd name="connsiteY3088" fmla="*/ 662198 h 5296383"/>
              <a:gd name="connsiteX3089" fmla="*/ 2350443 w 9310410"/>
              <a:gd name="connsiteY3089" fmla="*/ 662198 h 5296383"/>
              <a:gd name="connsiteX3090" fmla="*/ 2355837 w 9310410"/>
              <a:gd name="connsiteY3090" fmla="*/ 665194 h 5296383"/>
              <a:gd name="connsiteX3091" fmla="*/ 2357036 w 9310410"/>
              <a:gd name="connsiteY3091" fmla="*/ 668190 h 5296383"/>
              <a:gd name="connsiteX3092" fmla="*/ 2357036 w 9310410"/>
              <a:gd name="connsiteY3092" fmla="*/ 669389 h 5296383"/>
              <a:gd name="connsiteX3093" fmla="*/ 2357036 w 9310410"/>
              <a:gd name="connsiteY3093" fmla="*/ 669389 h 5296383"/>
              <a:gd name="connsiteX3094" fmla="*/ 2357036 w 9310410"/>
              <a:gd name="connsiteY3094" fmla="*/ 671786 h 5296383"/>
              <a:gd name="connsiteX3095" fmla="*/ 2358833 w 9310410"/>
              <a:gd name="connsiteY3095" fmla="*/ 675382 h 5296383"/>
              <a:gd name="connsiteX3096" fmla="*/ 2357036 w 9310410"/>
              <a:gd name="connsiteY3096" fmla="*/ 671786 h 5296383"/>
              <a:gd name="connsiteX3097" fmla="*/ 2357036 w 9310410"/>
              <a:gd name="connsiteY3097" fmla="*/ 669389 h 5296383"/>
              <a:gd name="connsiteX3098" fmla="*/ 2369620 w 9310410"/>
              <a:gd name="connsiteY3098" fmla="*/ 666992 h 5296383"/>
              <a:gd name="connsiteX3099" fmla="*/ 2369620 w 9310410"/>
              <a:gd name="connsiteY3099" fmla="*/ 666992 h 5296383"/>
              <a:gd name="connsiteX3100" fmla="*/ 2369620 w 9310410"/>
              <a:gd name="connsiteY3100" fmla="*/ 666992 h 5296383"/>
              <a:gd name="connsiteX3101" fmla="*/ 2369620 w 9310410"/>
              <a:gd name="connsiteY3101" fmla="*/ 666992 h 5296383"/>
              <a:gd name="connsiteX3102" fmla="*/ 2376212 w 9310410"/>
              <a:gd name="connsiteY3102" fmla="*/ 662797 h 5296383"/>
              <a:gd name="connsiteX3103" fmla="*/ 2378010 w 9310410"/>
              <a:gd name="connsiteY3103" fmla="*/ 662198 h 5296383"/>
              <a:gd name="connsiteX3104" fmla="*/ 2385801 w 9310410"/>
              <a:gd name="connsiteY3104" fmla="*/ 653808 h 5296383"/>
              <a:gd name="connsiteX3105" fmla="*/ 2386400 w 9310410"/>
              <a:gd name="connsiteY3105" fmla="*/ 652010 h 5296383"/>
              <a:gd name="connsiteX3106" fmla="*/ 2387599 w 9310410"/>
              <a:gd name="connsiteY3106" fmla="*/ 649613 h 5296383"/>
              <a:gd name="connsiteX3107" fmla="*/ 2388198 w 9310410"/>
              <a:gd name="connsiteY3107" fmla="*/ 646617 h 5296383"/>
              <a:gd name="connsiteX3108" fmla="*/ 2388198 w 9310410"/>
              <a:gd name="connsiteY3108" fmla="*/ 645418 h 5296383"/>
              <a:gd name="connsiteX3109" fmla="*/ 2388198 w 9310410"/>
              <a:gd name="connsiteY3109" fmla="*/ 643620 h 5296383"/>
              <a:gd name="connsiteX3110" fmla="*/ 2400783 w 9310410"/>
              <a:gd name="connsiteY3110" fmla="*/ 625043 h 5296383"/>
              <a:gd name="connsiteX3111" fmla="*/ 2403180 w 9310410"/>
              <a:gd name="connsiteY3111" fmla="*/ 623245 h 5296383"/>
              <a:gd name="connsiteX3112" fmla="*/ 2406775 w 9310410"/>
              <a:gd name="connsiteY3112" fmla="*/ 619050 h 5296383"/>
              <a:gd name="connsiteX3113" fmla="*/ 2408573 w 9310410"/>
              <a:gd name="connsiteY3113" fmla="*/ 617252 h 5296383"/>
              <a:gd name="connsiteX3114" fmla="*/ 2411570 w 9310410"/>
              <a:gd name="connsiteY3114" fmla="*/ 616054 h 5296383"/>
              <a:gd name="connsiteX3115" fmla="*/ 2413367 w 9310410"/>
              <a:gd name="connsiteY3115" fmla="*/ 615454 h 5296383"/>
              <a:gd name="connsiteX3116" fmla="*/ 2417562 w 9310410"/>
              <a:gd name="connsiteY3116" fmla="*/ 606465 h 5296383"/>
              <a:gd name="connsiteX3117" fmla="*/ 2418761 w 9310410"/>
              <a:gd name="connsiteY3117" fmla="*/ 602270 h 5296383"/>
              <a:gd name="connsiteX3118" fmla="*/ 2416963 w 9310410"/>
              <a:gd name="connsiteY3118" fmla="*/ 592682 h 5296383"/>
              <a:gd name="connsiteX3119" fmla="*/ 2415165 w 9310410"/>
              <a:gd name="connsiteY3119" fmla="*/ 587289 h 5296383"/>
              <a:gd name="connsiteX3120" fmla="*/ 2416963 w 9310410"/>
              <a:gd name="connsiteY3120" fmla="*/ 586090 h 5296383"/>
              <a:gd name="connsiteX3121" fmla="*/ 2421757 w 9310410"/>
              <a:gd name="connsiteY3121" fmla="*/ 588487 h 5296383"/>
              <a:gd name="connsiteX3122" fmla="*/ 2424754 w 9310410"/>
              <a:gd name="connsiteY3122" fmla="*/ 590884 h 5296383"/>
              <a:gd name="connsiteX3123" fmla="*/ 2431345 w 9310410"/>
              <a:gd name="connsiteY3123" fmla="*/ 595079 h 5296383"/>
              <a:gd name="connsiteX3124" fmla="*/ 2437338 w 9310410"/>
              <a:gd name="connsiteY3124" fmla="*/ 595678 h 5296383"/>
              <a:gd name="connsiteX3125" fmla="*/ 2443331 w 9310410"/>
              <a:gd name="connsiteY3125" fmla="*/ 595678 h 5296383"/>
              <a:gd name="connsiteX3126" fmla="*/ 2453519 w 9310410"/>
              <a:gd name="connsiteY3126" fmla="*/ 599873 h 5296383"/>
              <a:gd name="connsiteX3127" fmla="*/ 2455916 w 9310410"/>
              <a:gd name="connsiteY3127" fmla="*/ 602270 h 5296383"/>
              <a:gd name="connsiteX3128" fmla="*/ 2457114 w 9310410"/>
              <a:gd name="connsiteY3128" fmla="*/ 611259 h 5296383"/>
              <a:gd name="connsiteX3129" fmla="*/ 2455316 w 9310410"/>
              <a:gd name="connsiteY3129" fmla="*/ 619649 h 5296383"/>
              <a:gd name="connsiteX3130" fmla="*/ 2454717 w 9310410"/>
              <a:gd name="connsiteY3130" fmla="*/ 621447 h 5296383"/>
              <a:gd name="connsiteX3131" fmla="*/ 2453519 w 9310410"/>
              <a:gd name="connsiteY3131" fmla="*/ 625043 h 5296383"/>
              <a:gd name="connsiteX3132" fmla="*/ 2452919 w 9310410"/>
              <a:gd name="connsiteY3132" fmla="*/ 628039 h 5296383"/>
              <a:gd name="connsiteX3133" fmla="*/ 2452320 w 9310410"/>
              <a:gd name="connsiteY3133" fmla="*/ 631635 h 5296383"/>
              <a:gd name="connsiteX3134" fmla="*/ 2451721 w 9310410"/>
              <a:gd name="connsiteY3134" fmla="*/ 632833 h 5296383"/>
              <a:gd name="connsiteX3135" fmla="*/ 2451122 w 9310410"/>
              <a:gd name="connsiteY3135" fmla="*/ 632833 h 5296383"/>
              <a:gd name="connsiteX3136" fmla="*/ 2450522 w 9310410"/>
              <a:gd name="connsiteY3136" fmla="*/ 632234 h 5296383"/>
              <a:gd name="connsiteX3137" fmla="*/ 2449324 w 9310410"/>
              <a:gd name="connsiteY3137" fmla="*/ 630436 h 5296383"/>
              <a:gd name="connsiteX3138" fmla="*/ 2446327 w 9310410"/>
              <a:gd name="connsiteY3138" fmla="*/ 627440 h 5296383"/>
              <a:gd name="connsiteX3139" fmla="*/ 2443930 w 9310410"/>
              <a:gd name="connsiteY3139" fmla="*/ 626841 h 5296383"/>
              <a:gd name="connsiteX3140" fmla="*/ 2440335 w 9310410"/>
              <a:gd name="connsiteY3140" fmla="*/ 627440 h 5296383"/>
              <a:gd name="connsiteX3141" fmla="*/ 2436140 w 9310410"/>
              <a:gd name="connsiteY3141" fmla="*/ 628039 h 5296383"/>
              <a:gd name="connsiteX3142" fmla="*/ 2430147 w 9310410"/>
              <a:gd name="connsiteY3142" fmla="*/ 627440 h 5296383"/>
              <a:gd name="connsiteX3143" fmla="*/ 2426551 w 9310410"/>
              <a:gd name="connsiteY3143" fmla="*/ 629238 h 5296383"/>
              <a:gd name="connsiteX3144" fmla="*/ 2424754 w 9310410"/>
              <a:gd name="connsiteY3144" fmla="*/ 632833 h 5296383"/>
              <a:gd name="connsiteX3145" fmla="*/ 2421757 w 9310410"/>
              <a:gd name="connsiteY3145" fmla="*/ 632234 h 5296383"/>
              <a:gd name="connsiteX3146" fmla="*/ 2418162 w 9310410"/>
              <a:gd name="connsiteY3146" fmla="*/ 632234 h 5296383"/>
              <a:gd name="connsiteX3147" fmla="*/ 2416963 w 9310410"/>
              <a:gd name="connsiteY3147" fmla="*/ 640025 h 5296383"/>
              <a:gd name="connsiteX3148" fmla="*/ 2418162 w 9310410"/>
              <a:gd name="connsiteY3148" fmla="*/ 644220 h 5296383"/>
              <a:gd name="connsiteX3149" fmla="*/ 2418761 w 9310410"/>
              <a:gd name="connsiteY3149" fmla="*/ 652010 h 5296383"/>
              <a:gd name="connsiteX3150" fmla="*/ 2420559 w 9310410"/>
              <a:gd name="connsiteY3150" fmla="*/ 658602 h 5296383"/>
              <a:gd name="connsiteX3151" fmla="*/ 2463107 w 9310410"/>
              <a:gd name="connsiteY3151" fmla="*/ 650812 h 5296383"/>
              <a:gd name="connsiteX3152" fmla="*/ 2469100 w 9310410"/>
              <a:gd name="connsiteY3152" fmla="*/ 644819 h 5296383"/>
              <a:gd name="connsiteX3153" fmla="*/ 2470298 w 9310410"/>
              <a:gd name="connsiteY3153" fmla="*/ 643021 h 5296383"/>
              <a:gd name="connsiteX3154" fmla="*/ 2471497 w 9310410"/>
              <a:gd name="connsiteY3154" fmla="*/ 641223 h 5296383"/>
              <a:gd name="connsiteX3155" fmla="*/ 2473295 w 9310410"/>
              <a:gd name="connsiteY3155" fmla="*/ 640025 h 5296383"/>
              <a:gd name="connsiteX3156" fmla="*/ 2476291 w 9310410"/>
              <a:gd name="connsiteY3156" fmla="*/ 639425 h 5296383"/>
              <a:gd name="connsiteX3157" fmla="*/ 2481085 w 9310410"/>
              <a:gd name="connsiteY3157" fmla="*/ 640624 h 5296383"/>
              <a:gd name="connsiteX3158" fmla="*/ 2482284 w 9310410"/>
              <a:gd name="connsiteY3158" fmla="*/ 640624 h 5296383"/>
              <a:gd name="connsiteX3159" fmla="*/ 2484681 w 9310410"/>
              <a:gd name="connsiteY3159" fmla="*/ 640624 h 5296383"/>
              <a:gd name="connsiteX3160" fmla="*/ 2488876 w 9310410"/>
              <a:gd name="connsiteY3160" fmla="*/ 641822 h 5296383"/>
              <a:gd name="connsiteX3161" fmla="*/ 2490074 w 9310410"/>
              <a:gd name="connsiteY3161" fmla="*/ 643021 h 5296383"/>
              <a:gd name="connsiteX3162" fmla="*/ 2490674 w 9310410"/>
              <a:gd name="connsiteY3162" fmla="*/ 643620 h 5296383"/>
              <a:gd name="connsiteX3163" fmla="*/ 2491273 w 9310410"/>
              <a:gd name="connsiteY3163" fmla="*/ 644220 h 5296383"/>
              <a:gd name="connsiteX3164" fmla="*/ 2491872 w 9310410"/>
              <a:gd name="connsiteY3164" fmla="*/ 644220 h 5296383"/>
              <a:gd name="connsiteX3165" fmla="*/ 2493670 w 9310410"/>
              <a:gd name="connsiteY3165" fmla="*/ 640624 h 5296383"/>
              <a:gd name="connsiteX3166" fmla="*/ 2493670 w 9310410"/>
              <a:gd name="connsiteY3166" fmla="*/ 638826 h 5296383"/>
              <a:gd name="connsiteX3167" fmla="*/ 2495468 w 9310410"/>
              <a:gd name="connsiteY3167" fmla="*/ 632234 h 5296383"/>
              <a:gd name="connsiteX3168" fmla="*/ 2497865 w 9310410"/>
              <a:gd name="connsiteY3168" fmla="*/ 631635 h 5296383"/>
              <a:gd name="connsiteX3169" fmla="*/ 2499663 w 9310410"/>
              <a:gd name="connsiteY3169" fmla="*/ 631635 h 5296383"/>
              <a:gd name="connsiteX3170" fmla="*/ 2502060 w 9310410"/>
              <a:gd name="connsiteY3170" fmla="*/ 631635 h 5296383"/>
              <a:gd name="connsiteX3171" fmla="*/ 2517641 w 9310410"/>
              <a:gd name="connsiteY3171" fmla="*/ 629238 h 5296383"/>
              <a:gd name="connsiteX3172" fmla="*/ 2531424 w 9310410"/>
              <a:gd name="connsiteY3172" fmla="*/ 625043 h 5296383"/>
              <a:gd name="connsiteX3173" fmla="*/ 2547605 w 9310410"/>
              <a:gd name="connsiteY3173" fmla="*/ 620848 h 5296383"/>
              <a:gd name="connsiteX3174" fmla="*/ 2550601 w 9310410"/>
              <a:gd name="connsiteY3174" fmla="*/ 621447 h 5296383"/>
              <a:gd name="connsiteX3175" fmla="*/ 2555995 w 9310410"/>
              <a:gd name="connsiteY3175" fmla="*/ 622646 h 5296383"/>
              <a:gd name="connsiteX3176" fmla="*/ 2558991 w 9310410"/>
              <a:gd name="connsiteY3176" fmla="*/ 621447 h 5296383"/>
              <a:gd name="connsiteX3177" fmla="*/ 2559590 w 9310410"/>
              <a:gd name="connsiteY3177" fmla="*/ 620848 h 5296383"/>
              <a:gd name="connsiteX3178" fmla="*/ 2561388 w 9310410"/>
              <a:gd name="connsiteY3178" fmla="*/ 619649 h 5296383"/>
              <a:gd name="connsiteX3179" fmla="*/ 2571576 w 9310410"/>
              <a:gd name="connsiteY3179" fmla="*/ 617252 h 5296383"/>
              <a:gd name="connsiteX3180" fmla="*/ 2571576 w 9310410"/>
              <a:gd name="connsiteY3180" fmla="*/ 617252 h 5296383"/>
              <a:gd name="connsiteX3181" fmla="*/ 2571576 w 9310410"/>
              <a:gd name="connsiteY3181" fmla="*/ 617252 h 5296383"/>
              <a:gd name="connsiteX3182" fmla="*/ 2573973 w 9310410"/>
              <a:gd name="connsiteY3182" fmla="*/ 620848 h 5296383"/>
              <a:gd name="connsiteX3183" fmla="*/ 2573373 w 9310410"/>
              <a:gd name="connsiteY3183" fmla="*/ 623245 h 5296383"/>
              <a:gd name="connsiteX3184" fmla="*/ 2569178 w 9310410"/>
              <a:gd name="connsiteY3184" fmla="*/ 629837 h 5296383"/>
              <a:gd name="connsiteX3185" fmla="*/ 2569178 w 9310410"/>
              <a:gd name="connsiteY3185" fmla="*/ 629837 h 5296383"/>
              <a:gd name="connsiteX3186" fmla="*/ 2568579 w 9310410"/>
              <a:gd name="connsiteY3186" fmla="*/ 631035 h 5296383"/>
              <a:gd name="connsiteX3187" fmla="*/ 2567980 w 9310410"/>
              <a:gd name="connsiteY3187" fmla="*/ 632234 h 5296383"/>
              <a:gd name="connsiteX3188" fmla="*/ 2568579 w 9310410"/>
              <a:gd name="connsiteY3188" fmla="*/ 634032 h 5296383"/>
              <a:gd name="connsiteX3189" fmla="*/ 2567980 w 9310410"/>
              <a:gd name="connsiteY3189" fmla="*/ 632234 h 5296383"/>
              <a:gd name="connsiteX3190" fmla="*/ 2568579 w 9310410"/>
              <a:gd name="connsiteY3190" fmla="*/ 631035 h 5296383"/>
              <a:gd name="connsiteX3191" fmla="*/ 2569178 w 9310410"/>
              <a:gd name="connsiteY3191" fmla="*/ 629837 h 5296383"/>
              <a:gd name="connsiteX3192" fmla="*/ 2575771 w 9310410"/>
              <a:gd name="connsiteY3192" fmla="*/ 628638 h 5296383"/>
              <a:gd name="connsiteX3193" fmla="*/ 2576969 w 9310410"/>
              <a:gd name="connsiteY3193" fmla="*/ 620848 h 5296383"/>
              <a:gd name="connsiteX3194" fmla="*/ 2578767 w 9310410"/>
              <a:gd name="connsiteY3194" fmla="*/ 617252 h 5296383"/>
              <a:gd name="connsiteX3195" fmla="*/ 2581763 w 9310410"/>
              <a:gd name="connsiteY3195" fmla="*/ 615454 h 5296383"/>
              <a:gd name="connsiteX3196" fmla="*/ 2583561 w 9310410"/>
              <a:gd name="connsiteY3196" fmla="*/ 614855 h 5296383"/>
              <a:gd name="connsiteX3197" fmla="*/ 2607532 w 9310410"/>
              <a:gd name="connsiteY3197" fmla="*/ 610061 h 5296383"/>
              <a:gd name="connsiteX3198" fmla="*/ 2617120 w 9310410"/>
              <a:gd name="connsiteY3198" fmla="*/ 608862 h 5296383"/>
              <a:gd name="connsiteX3199" fmla="*/ 2621915 w 9310410"/>
              <a:gd name="connsiteY3199" fmla="*/ 609462 h 5296383"/>
              <a:gd name="connsiteX3200" fmla="*/ 2623113 w 9310410"/>
              <a:gd name="connsiteY3200" fmla="*/ 611259 h 5296383"/>
              <a:gd name="connsiteX3201" fmla="*/ 2617720 w 9310410"/>
              <a:gd name="connsiteY3201" fmla="*/ 613657 h 5296383"/>
              <a:gd name="connsiteX3202" fmla="*/ 2615922 w 9310410"/>
              <a:gd name="connsiteY3202" fmla="*/ 613657 h 5296383"/>
              <a:gd name="connsiteX3203" fmla="*/ 2612926 w 9310410"/>
              <a:gd name="connsiteY3203" fmla="*/ 613657 h 5296383"/>
              <a:gd name="connsiteX3204" fmla="*/ 2607532 w 9310410"/>
              <a:gd name="connsiteY3204" fmla="*/ 621447 h 5296383"/>
              <a:gd name="connsiteX3205" fmla="*/ 2606933 w 9310410"/>
              <a:gd name="connsiteY3205" fmla="*/ 622646 h 5296383"/>
              <a:gd name="connsiteX3206" fmla="*/ 2906570 w 9310410"/>
              <a:gd name="connsiteY3206" fmla="*/ 567512 h 5296383"/>
              <a:gd name="connsiteX3207" fmla="*/ 2915559 w 9310410"/>
              <a:gd name="connsiteY3207" fmla="*/ 564516 h 5296383"/>
              <a:gd name="connsiteX3208" fmla="*/ 2931739 w 9310410"/>
              <a:gd name="connsiteY3208" fmla="*/ 561520 h 5296383"/>
              <a:gd name="connsiteX3209" fmla="*/ 2937133 w 9310410"/>
              <a:gd name="connsiteY3209" fmla="*/ 560321 h 5296383"/>
              <a:gd name="connsiteX3210" fmla="*/ 2941927 w 9310410"/>
              <a:gd name="connsiteY3210" fmla="*/ 557924 h 5296383"/>
              <a:gd name="connsiteX3211" fmla="*/ 2961104 w 9310410"/>
              <a:gd name="connsiteY3211" fmla="*/ 536949 h 5296383"/>
              <a:gd name="connsiteX3212" fmla="*/ 2977883 w 9310410"/>
              <a:gd name="connsiteY3212" fmla="*/ 522567 h 5296383"/>
              <a:gd name="connsiteX3213" fmla="*/ 2980880 w 9310410"/>
              <a:gd name="connsiteY3213" fmla="*/ 520769 h 5296383"/>
              <a:gd name="connsiteX3214" fmla="*/ 2983277 w 9310410"/>
              <a:gd name="connsiteY3214" fmla="*/ 518971 h 5296383"/>
              <a:gd name="connsiteX3215" fmla="*/ 2988670 w 9310410"/>
              <a:gd name="connsiteY3215" fmla="*/ 516574 h 5296383"/>
              <a:gd name="connsiteX3216" fmla="*/ 2989869 w 9310410"/>
              <a:gd name="connsiteY3216" fmla="*/ 516574 h 5296383"/>
              <a:gd name="connsiteX3217" fmla="*/ 2989869 w 9310410"/>
              <a:gd name="connsiteY3217" fmla="*/ 519571 h 5296383"/>
              <a:gd name="connsiteX3218" fmla="*/ 2992865 w 9310410"/>
              <a:gd name="connsiteY3218" fmla="*/ 524964 h 5296383"/>
              <a:gd name="connsiteX3219" fmla="*/ 3001255 w 9310410"/>
              <a:gd name="connsiteY3219" fmla="*/ 526163 h 5296383"/>
              <a:gd name="connsiteX3220" fmla="*/ 3010244 w 9310410"/>
              <a:gd name="connsiteY3220" fmla="*/ 527960 h 5296383"/>
              <a:gd name="connsiteX3221" fmla="*/ 3016836 w 9310410"/>
              <a:gd name="connsiteY3221" fmla="*/ 529159 h 5296383"/>
              <a:gd name="connsiteX3222" fmla="*/ 3023428 w 9310410"/>
              <a:gd name="connsiteY3222" fmla="*/ 530357 h 5296383"/>
              <a:gd name="connsiteX3223" fmla="*/ 3036612 w 9310410"/>
              <a:gd name="connsiteY3223" fmla="*/ 533953 h 5296383"/>
              <a:gd name="connsiteX3224" fmla="*/ 3036612 w 9310410"/>
              <a:gd name="connsiteY3224" fmla="*/ 540545 h 5296383"/>
              <a:gd name="connsiteX3225" fmla="*/ 3034215 w 9310410"/>
              <a:gd name="connsiteY3225" fmla="*/ 544740 h 5296383"/>
              <a:gd name="connsiteX3226" fmla="*/ 3034215 w 9310410"/>
              <a:gd name="connsiteY3226" fmla="*/ 544740 h 5296383"/>
              <a:gd name="connsiteX3227" fmla="*/ 3030619 w 9310410"/>
              <a:gd name="connsiteY3227" fmla="*/ 551332 h 5296383"/>
              <a:gd name="connsiteX3228" fmla="*/ 3020432 w 9310410"/>
              <a:gd name="connsiteY3228" fmla="*/ 567512 h 5296383"/>
              <a:gd name="connsiteX3229" fmla="*/ 3017435 w 9310410"/>
              <a:gd name="connsiteY3229" fmla="*/ 571108 h 5296383"/>
              <a:gd name="connsiteX3230" fmla="*/ 3020432 w 9310410"/>
              <a:gd name="connsiteY3230" fmla="*/ 567512 h 5296383"/>
              <a:gd name="connsiteX3231" fmla="*/ 3030619 w 9310410"/>
              <a:gd name="connsiteY3231" fmla="*/ 551332 h 5296383"/>
              <a:gd name="connsiteX3232" fmla="*/ 3034215 w 9310410"/>
              <a:gd name="connsiteY3232" fmla="*/ 544740 h 5296383"/>
              <a:gd name="connsiteX3233" fmla="*/ 3078561 w 9310410"/>
              <a:gd name="connsiteY3233" fmla="*/ 536350 h 5296383"/>
              <a:gd name="connsiteX3234" fmla="*/ 3079161 w 9310410"/>
              <a:gd name="connsiteY3234" fmla="*/ 535152 h 5296383"/>
              <a:gd name="connsiteX3235" fmla="*/ 3080959 w 9310410"/>
              <a:gd name="connsiteY3235" fmla="*/ 533354 h 5296383"/>
              <a:gd name="connsiteX3236" fmla="*/ 3082756 w 9310410"/>
              <a:gd name="connsiteY3236" fmla="*/ 533953 h 5296383"/>
              <a:gd name="connsiteX3237" fmla="*/ 3083355 w 9310410"/>
              <a:gd name="connsiteY3237" fmla="*/ 534552 h 5296383"/>
              <a:gd name="connsiteX3238" fmla="*/ 3083355 w 9310410"/>
              <a:gd name="connsiteY3238" fmla="*/ 534552 h 5296383"/>
              <a:gd name="connsiteX3239" fmla="*/ 3084554 w 9310410"/>
              <a:gd name="connsiteY3239" fmla="*/ 538747 h 5296383"/>
              <a:gd name="connsiteX3240" fmla="*/ 3083355 w 9310410"/>
              <a:gd name="connsiteY3240" fmla="*/ 545339 h 5296383"/>
              <a:gd name="connsiteX3241" fmla="*/ 3084554 w 9310410"/>
              <a:gd name="connsiteY3241" fmla="*/ 538747 h 5296383"/>
              <a:gd name="connsiteX3242" fmla="*/ 3083355 w 9310410"/>
              <a:gd name="connsiteY3242" fmla="*/ 534552 h 5296383"/>
              <a:gd name="connsiteX3243" fmla="*/ 3338047 w 9310410"/>
              <a:gd name="connsiteY3243" fmla="*/ 487809 h 5296383"/>
              <a:gd name="connsiteX3244" fmla="*/ 3336849 w 9310410"/>
              <a:gd name="connsiteY3244" fmla="*/ 487210 h 5296383"/>
              <a:gd name="connsiteX3245" fmla="*/ 3333253 w 9310410"/>
              <a:gd name="connsiteY3245" fmla="*/ 485412 h 5296383"/>
              <a:gd name="connsiteX3246" fmla="*/ 3335650 w 9310410"/>
              <a:gd name="connsiteY3246" fmla="*/ 482416 h 5296383"/>
              <a:gd name="connsiteX3247" fmla="*/ 3344040 w 9310410"/>
              <a:gd name="connsiteY3247" fmla="*/ 484213 h 5296383"/>
              <a:gd name="connsiteX3248" fmla="*/ 3347635 w 9310410"/>
              <a:gd name="connsiteY3248" fmla="*/ 485412 h 5296383"/>
              <a:gd name="connsiteX3249" fmla="*/ 3361419 w 9310410"/>
              <a:gd name="connsiteY3249" fmla="*/ 483015 h 5296383"/>
              <a:gd name="connsiteX3250" fmla="*/ 3357224 w 9310410"/>
              <a:gd name="connsiteY3250" fmla="*/ 484813 h 5296383"/>
              <a:gd name="connsiteX3251" fmla="*/ 3351830 w 9310410"/>
              <a:gd name="connsiteY3251" fmla="*/ 486011 h 5296383"/>
              <a:gd name="connsiteX3252" fmla="*/ 3357224 w 9310410"/>
              <a:gd name="connsiteY3252" fmla="*/ 484813 h 5296383"/>
              <a:gd name="connsiteX3253" fmla="*/ 3361419 w 9310410"/>
              <a:gd name="connsiteY3253" fmla="*/ 483015 h 5296383"/>
              <a:gd name="connsiteX3254" fmla="*/ 3361419 w 9310410"/>
              <a:gd name="connsiteY3254" fmla="*/ 483015 h 5296383"/>
              <a:gd name="connsiteX3255" fmla="*/ 3366812 w 9310410"/>
              <a:gd name="connsiteY3255" fmla="*/ 480618 h 5296383"/>
              <a:gd name="connsiteX3256" fmla="*/ 3381195 w 9310410"/>
              <a:gd name="connsiteY3256" fmla="*/ 477022 h 5296383"/>
              <a:gd name="connsiteX3257" fmla="*/ 3385390 w 9310410"/>
              <a:gd name="connsiteY3257" fmla="*/ 478221 h 5296383"/>
              <a:gd name="connsiteX3258" fmla="*/ 3386588 w 9310410"/>
              <a:gd name="connsiteY3258" fmla="*/ 478820 h 5296383"/>
              <a:gd name="connsiteX3259" fmla="*/ 3390184 w 9310410"/>
              <a:gd name="connsiteY3259" fmla="*/ 478221 h 5296383"/>
              <a:gd name="connsiteX3260" fmla="*/ 3390184 w 9310410"/>
              <a:gd name="connsiteY3260" fmla="*/ 478221 h 5296383"/>
              <a:gd name="connsiteX3261" fmla="*/ 3386588 w 9310410"/>
              <a:gd name="connsiteY3261" fmla="*/ 478820 h 5296383"/>
              <a:gd name="connsiteX3262" fmla="*/ 3390184 w 9310410"/>
              <a:gd name="connsiteY3262" fmla="*/ 478221 h 5296383"/>
              <a:gd name="connsiteX3263" fmla="*/ 3390184 w 9310410"/>
              <a:gd name="connsiteY3263" fmla="*/ 478221 h 5296383"/>
              <a:gd name="connsiteX3264" fmla="*/ 3390184 w 9310410"/>
              <a:gd name="connsiteY3264" fmla="*/ 478221 h 5296383"/>
              <a:gd name="connsiteX3265" fmla="*/ 3400971 w 9310410"/>
              <a:gd name="connsiteY3265" fmla="*/ 474026 h 5296383"/>
              <a:gd name="connsiteX3266" fmla="*/ 3402769 w 9310410"/>
              <a:gd name="connsiteY3266" fmla="*/ 473426 h 5296383"/>
              <a:gd name="connsiteX3267" fmla="*/ 3405765 w 9310410"/>
              <a:gd name="connsiteY3267" fmla="*/ 472228 h 5296383"/>
              <a:gd name="connsiteX3268" fmla="*/ 3406364 w 9310410"/>
              <a:gd name="connsiteY3268" fmla="*/ 472228 h 5296383"/>
              <a:gd name="connsiteX3269" fmla="*/ 3409361 w 9310410"/>
              <a:gd name="connsiteY3269" fmla="*/ 473426 h 5296383"/>
              <a:gd name="connsiteX3270" fmla="*/ 3409361 w 9310410"/>
              <a:gd name="connsiteY3270" fmla="*/ 473426 h 5296383"/>
              <a:gd name="connsiteX3271" fmla="*/ 3416552 w 9310410"/>
              <a:gd name="connsiteY3271" fmla="*/ 472827 h 5296383"/>
              <a:gd name="connsiteX3272" fmla="*/ 3438725 w 9310410"/>
              <a:gd name="connsiteY3272" fmla="*/ 469831 h 5296383"/>
              <a:gd name="connsiteX3273" fmla="*/ 3463295 w 9310410"/>
              <a:gd name="connsiteY3273" fmla="*/ 469831 h 5296383"/>
              <a:gd name="connsiteX3274" fmla="*/ 3462097 w 9310410"/>
              <a:gd name="connsiteY3274" fmla="*/ 466834 h 5296383"/>
              <a:gd name="connsiteX3275" fmla="*/ 3453108 w 9310410"/>
              <a:gd name="connsiteY3275" fmla="*/ 461441 h 5296383"/>
              <a:gd name="connsiteX3276" fmla="*/ 3490862 w 9310410"/>
              <a:gd name="connsiteY3276" fmla="*/ 461441 h 5296383"/>
              <a:gd name="connsiteX3277" fmla="*/ 3504046 w 9310410"/>
              <a:gd name="connsiteY3277" fmla="*/ 467434 h 5296383"/>
              <a:gd name="connsiteX3278" fmla="*/ 3505844 w 9310410"/>
              <a:gd name="connsiteY3278" fmla="*/ 471029 h 5296383"/>
              <a:gd name="connsiteX3279" fmla="*/ 3513035 w 9310410"/>
              <a:gd name="connsiteY3279" fmla="*/ 470430 h 5296383"/>
              <a:gd name="connsiteX3280" fmla="*/ 3518429 w 9310410"/>
              <a:gd name="connsiteY3280" fmla="*/ 471029 h 5296383"/>
              <a:gd name="connsiteX3281" fmla="*/ 3525620 w 9310410"/>
              <a:gd name="connsiteY3281" fmla="*/ 469831 h 5296383"/>
              <a:gd name="connsiteX3282" fmla="*/ 3542399 w 9310410"/>
              <a:gd name="connsiteY3282" fmla="*/ 461441 h 5296383"/>
              <a:gd name="connsiteX3283" fmla="*/ 3564573 w 9310410"/>
              <a:gd name="connsiteY3283" fmla="*/ 462639 h 5296383"/>
              <a:gd name="connsiteX3284" fmla="*/ 3572363 w 9310410"/>
              <a:gd name="connsiteY3284" fmla="*/ 469831 h 5296383"/>
              <a:gd name="connsiteX3285" fmla="*/ 3573562 w 9310410"/>
              <a:gd name="connsiteY3285" fmla="*/ 462639 h 5296383"/>
              <a:gd name="connsiteX3286" fmla="*/ 3563374 w 9310410"/>
              <a:gd name="connsiteY3286" fmla="*/ 451253 h 5296383"/>
              <a:gd name="connsiteX3287" fmla="*/ 3585547 w 9310410"/>
              <a:gd name="connsiteY3287" fmla="*/ 454849 h 5296383"/>
              <a:gd name="connsiteX3288" fmla="*/ 3616110 w 9310410"/>
              <a:gd name="connsiteY3288" fmla="*/ 464437 h 5296383"/>
              <a:gd name="connsiteX3289" fmla="*/ 3611915 w 9310410"/>
              <a:gd name="connsiteY3289" fmla="*/ 459044 h 5296383"/>
              <a:gd name="connsiteX3290" fmla="*/ 3609518 w 9310410"/>
              <a:gd name="connsiteY3290" fmla="*/ 439268 h 5296383"/>
              <a:gd name="connsiteX3291" fmla="*/ 3643677 w 9310410"/>
              <a:gd name="connsiteY3291" fmla="*/ 421889 h 5296383"/>
              <a:gd name="connsiteX3292" fmla="*/ 3681431 w 9310410"/>
              <a:gd name="connsiteY3292" fmla="*/ 420091 h 5296383"/>
              <a:gd name="connsiteX3293" fmla="*/ 3694615 w 9310410"/>
              <a:gd name="connsiteY3293" fmla="*/ 425485 h 5296383"/>
              <a:gd name="connsiteX3294" fmla="*/ 3693417 w 9310410"/>
              <a:gd name="connsiteY3294" fmla="*/ 432077 h 5296383"/>
              <a:gd name="connsiteX3295" fmla="*/ 3680832 w 9310410"/>
              <a:gd name="connsiteY3295" fmla="*/ 438069 h 5296383"/>
              <a:gd name="connsiteX3296" fmla="*/ 3680832 w 9310410"/>
              <a:gd name="connsiteY3296" fmla="*/ 444062 h 5296383"/>
              <a:gd name="connsiteX3297" fmla="*/ 3691019 w 9310410"/>
              <a:gd name="connsiteY3297" fmla="*/ 440466 h 5296383"/>
              <a:gd name="connsiteX3298" fmla="*/ 3694016 w 9310410"/>
              <a:gd name="connsiteY3298" fmla="*/ 444062 h 5296383"/>
              <a:gd name="connsiteX3299" fmla="*/ 3704803 w 9310410"/>
              <a:gd name="connsiteY3299" fmla="*/ 446459 h 5296383"/>
              <a:gd name="connsiteX3300" fmla="*/ 3710795 w 9310410"/>
              <a:gd name="connsiteY3300" fmla="*/ 457845 h 5296383"/>
              <a:gd name="connsiteX3301" fmla="*/ 3713792 w 9310410"/>
              <a:gd name="connsiteY3301" fmla="*/ 468632 h 5296383"/>
              <a:gd name="connsiteX3302" fmla="*/ 3725178 w 9310410"/>
              <a:gd name="connsiteY3302" fmla="*/ 462040 h 5296383"/>
              <a:gd name="connsiteX3303" fmla="*/ 3735366 w 9310410"/>
              <a:gd name="connsiteY3303" fmla="*/ 460242 h 5296383"/>
              <a:gd name="connsiteX3304" fmla="*/ 3755142 w 9310410"/>
              <a:gd name="connsiteY3304" fmla="*/ 460242 h 5296383"/>
              <a:gd name="connsiteX3305" fmla="*/ 3777315 w 9310410"/>
              <a:gd name="connsiteY3305" fmla="*/ 460242 h 5296383"/>
              <a:gd name="connsiteX3306" fmla="*/ 3784506 w 9310410"/>
              <a:gd name="connsiteY3306" fmla="*/ 465636 h 5296383"/>
              <a:gd name="connsiteX3307" fmla="*/ 3798889 w 9310410"/>
              <a:gd name="connsiteY3307" fmla="*/ 474625 h 5296383"/>
              <a:gd name="connsiteX3308" fmla="*/ 3808477 w 9310410"/>
              <a:gd name="connsiteY3308" fmla="*/ 484813 h 5296383"/>
              <a:gd name="connsiteX3309" fmla="*/ 3804881 w 9310410"/>
              <a:gd name="connsiteY3309" fmla="*/ 493202 h 5296383"/>
              <a:gd name="connsiteX3310" fmla="*/ 3804881 w 9310410"/>
              <a:gd name="connsiteY3310" fmla="*/ 497997 h 5296383"/>
              <a:gd name="connsiteX3311" fmla="*/ 3788701 w 9310410"/>
              <a:gd name="connsiteY3311" fmla="*/ 529758 h 5296383"/>
              <a:gd name="connsiteX3312" fmla="*/ 3766528 w 9310410"/>
              <a:gd name="connsiteY3312" fmla="*/ 533354 h 5296383"/>
              <a:gd name="connsiteX3313" fmla="*/ 3740160 w 9310410"/>
              <a:gd name="connsiteY3313" fmla="*/ 536949 h 5296383"/>
              <a:gd name="connsiteX3314" fmla="*/ 3735366 w 9310410"/>
              <a:gd name="connsiteY3314" fmla="*/ 541144 h 5296383"/>
              <a:gd name="connsiteX3315" fmla="*/ 3728174 w 9310410"/>
              <a:gd name="connsiteY3315" fmla="*/ 547736 h 5296383"/>
              <a:gd name="connsiteX3316" fmla="*/ 3706001 w 9310410"/>
              <a:gd name="connsiteY3316" fmla="*/ 560920 h 5296383"/>
              <a:gd name="connsiteX3317" fmla="*/ 3692817 w 9310410"/>
              <a:gd name="connsiteY3317" fmla="*/ 562718 h 5296383"/>
              <a:gd name="connsiteX3318" fmla="*/ 3678435 w 9310410"/>
              <a:gd name="connsiteY3318" fmla="*/ 565715 h 5296383"/>
              <a:gd name="connsiteX3319" fmla="*/ 3667048 w 9310410"/>
              <a:gd name="connsiteY3319" fmla="*/ 572307 h 5296383"/>
              <a:gd name="connsiteX3320" fmla="*/ 3653265 w 9310410"/>
              <a:gd name="connsiteY3320" fmla="*/ 581296 h 5296383"/>
              <a:gd name="connsiteX3321" fmla="*/ 3629294 w 9310410"/>
              <a:gd name="connsiteY3321" fmla="*/ 593281 h 5296383"/>
              <a:gd name="connsiteX3322" fmla="*/ 3609518 w 9310410"/>
              <a:gd name="connsiteY3322" fmla="*/ 601671 h 5296383"/>
              <a:gd name="connsiteX3323" fmla="*/ 3613114 w 9310410"/>
              <a:gd name="connsiteY3323" fmla="*/ 607065 h 5296383"/>
              <a:gd name="connsiteX3324" fmla="*/ 3626298 w 9310410"/>
              <a:gd name="connsiteY3324" fmla="*/ 603469 h 5296383"/>
              <a:gd name="connsiteX3325" fmla="*/ 3644276 w 9310410"/>
              <a:gd name="connsiteY3325" fmla="*/ 596877 h 5296383"/>
              <a:gd name="connsiteX3326" fmla="*/ 3652067 w 9310410"/>
              <a:gd name="connsiteY3326" fmla="*/ 591483 h 5296383"/>
              <a:gd name="connsiteX3327" fmla="*/ 3658059 w 9310410"/>
              <a:gd name="connsiteY3327" fmla="*/ 583094 h 5296383"/>
              <a:gd name="connsiteX3328" fmla="*/ 3672442 w 9310410"/>
              <a:gd name="connsiteY3328" fmla="*/ 580097 h 5296383"/>
              <a:gd name="connsiteX3329" fmla="*/ 3698810 w 9310410"/>
              <a:gd name="connsiteY3329" fmla="*/ 580097 h 5296383"/>
              <a:gd name="connsiteX3330" fmla="*/ 3716189 w 9310410"/>
              <a:gd name="connsiteY3330" fmla="*/ 574704 h 5296383"/>
              <a:gd name="connsiteX3331" fmla="*/ 3720983 w 9310410"/>
              <a:gd name="connsiteY3331" fmla="*/ 574704 h 5296383"/>
              <a:gd name="connsiteX3332" fmla="*/ 3730571 w 9310410"/>
              <a:gd name="connsiteY3332" fmla="*/ 571108 h 5296383"/>
              <a:gd name="connsiteX3333" fmla="*/ 3738961 w 9310410"/>
              <a:gd name="connsiteY3333" fmla="*/ 568711 h 5296383"/>
              <a:gd name="connsiteX3334" fmla="*/ 3737163 w 9310410"/>
              <a:gd name="connsiteY3334" fmla="*/ 563917 h 5296383"/>
              <a:gd name="connsiteX3335" fmla="*/ 3734167 w 9310410"/>
              <a:gd name="connsiteY3335" fmla="*/ 556126 h 5296383"/>
              <a:gd name="connsiteX3336" fmla="*/ 3752744 w 9310410"/>
              <a:gd name="connsiteY3336" fmla="*/ 559123 h 5296383"/>
              <a:gd name="connsiteX3337" fmla="*/ 3765929 w 9310410"/>
              <a:gd name="connsiteY3337" fmla="*/ 563318 h 5296383"/>
              <a:gd name="connsiteX3338" fmla="*/ 3788102 w 9310410"/>
              <a:gd name="connsiteY3338" fmla="*/ 562119 h 5296383"/>
              <a:gd name="connsiteX3339" fmla="*/ 3792297 w 9310410"/>
              <a:gd name="connsiteY3339" fmla="*/ 564516 h 5296383"/>
              <a:gd name="connsiteX3340" fmla="*/ 3798889 w 9310410"/>
              <a:gd name="connsiteY3340" fmla="*/ 575902 h 5296383"/>
              <a:gd name="connsiteX3341" fmla="*/ 3806080 w 9310410"/>
              <a:gd name="connsiteY3341" fmla="*/ 566913 h 5296383"/>
              <a:gd name="connsiteX3342" fmla="*/ 3834845 w 9310410"/>
              <a:gd name="connsiteY3342" fmla="*/ 567512 h 5296383"/>
              <a:gd name="connsiteX3343" fmla="*/ 3854022 w 9310410"/>
              <a:gd name="connsiteY3343" fmla="*/ 572906 h 5296383"/>
              <a:gd name="connsiteX3344" fmla="*/ 3875596 w 9310410"/>
              <a:gd name="connsiteY3344" fmla="*/ 574704 h 5296383"/>
              <a:gd name="connsiteX3345" fmla="*/ 3892375 w 9310410"/>
              <a:gd name="connsiteY3345" fmla="*/ 575303 h 5296383"/>
              <a:gd name="connsiteX3346" fmla="*/ 3896570 w 9310410"/>
              <a:gd name="connsiteY3346" fmla="*/ 581895 h 5296383"/>
              <a:gd name="connsiteX3347" fmla="*/ 3903762 w 9310410"/>
              <a:gd name="connsiteY3347" fmla="*/ 592682 h 5296383"/>
              <a:gd name="connsiteX3348" fmla="*/ 3912152 w 9310410"/>
              <a:gd name="connsiteY3348" fmla="*/ 599873 h 5296383"/>
              <a:gd name="connsiteX3349" fmla="*/ 3916946 w 9310410"/>
              <a:gd name="connsiteY3349" fmla="*/ 601671 h 5296383"/>
              <a:gd name="connsiteX3350" fmla="*/ 3928931 w 9310410"/>
              <a:gd name="connsiteY3350" fmla="*/ 599873 h 5296383"/>
              <a:gd name="connsiteX3351" fmla="*/ 3952902 w 9310410"/>
              <a:gd name="connsiteY3351" fmla="*/ 599274 h 5296383"/>
              <a:gd name="connsiteX3352" fmla="*/ 3973277 w 9310410"/>
              <a:gd name="connsiteY3352" fmla="*/ 599274 h 5296383"/>
              <a:gd name="connsiteX3353" fmla="*/ 3985862 w 9310410"/>
              <a:gd name="connsiteY3353" fmla="*/ 586090 h 5296383"/>
              <a:gd name="connsiteX3354" fmla="*/ 3991255 w 9310410"/>
              <a:gd name="connsiteY3354" fmla="*/ 579498 h 5296383"/>
              <a:gd name="connsiteX3355" fmla="*/ 4004440 w 9310410"/>
              <a:gd name="connsiteY3355" fmla="*/ 576502 h 5296383"/>
              <a:gd name="connsiteX3356" fmla="*/ 4019421 w 9310410"/>
              <a:gd name="connsiteY3356" fmla="*/ 582494 h 5296383"/>
              <a:gd name="connsiteX3357" fmla="*/ 4036201 w 9310410"/>
              <a:gd name="connsiteY3357" fmla="*/ 586689 h 5296383"/>
              <a:gd name="connsiteX3358" fmla="*/ 4042793 w 9310410"/>
              <a:gd name="connsiteY3358" fmla="*/ 589086 h 5296383"/>
              <a:gd name="connsiteX3359" fmla="*/ 4051183 w 9310410"/>
              <a:gd name="connsiteY3359" fmla="*/ 590285 h 5296383"/>
              <a:gd name="connsiteX3360" fmla="*/ 4059573 w 9310410"/>
              <a:gd name="connsiteY3360" fmla="*/ 589686 h 5296383"/>
              <a:gd name="connsiteX3361" fmla="*/ 4070959 w 9310410"/>
              <a:gd name="connsiteY3361" fmla="*/ 591483 h 5296383"/>
              <a:gd name="connsiteX3362" fmla="*/ 4076952 w 9310410"/>
              <a:gd name="connsiteY3362" fmla="*/ 593281 h 5296383"/>
              <a:gd name="connsiteX3363" fmla="*/ 4088937 w 9310410"/>
              <a:gd name="connsiteY3363" fmla="*/ 598675 h 5296383"/>
              <a:gd name="connsiteX3364" fmla="*/ 4095529 w 9310410"/>
              <a:gd name="connsiteY3364" fmla="*/ 606465 h 5296383"/>
              <a:gd name="connsiteX3365" fmla="*/ 4096728 w 9310410"/>
              <a:gd name="connsiteY3365" fmla="*/ 611859 h 5296383"/>
              <a:gd name="connsiteX3366" fmla="*/ 4089536 w 9310410"/>
              <a:gd name="connsiteY3366" fmla="*/ 619050 h 5296383"/>
              <a:gd name="connsiteX3367" fmla="*/ 4078150 w 9310410"/>
              <a:gd name="connsiteY3367" fmla="*/ 621447 h 5296383"/>
              <a:gd name="connsiteX3368" fmla="*/ 4079349 w 9310410"/>
              <a:gd name="connsiteY3368" fmla="*/ 625642 h 5296383"/>
              <a:gd name="connsiteX3369" fmla="*/ 4091934 w 9310410"/>
              <a:gd name="connsiteY3369" fmla="*/ 632234 h 5296383"/>
              <a:gd name="connsiteX3370" fmla="*/ 4083544 w 9310410"/>
              <a:gd name="connsiteY3370" fmla="*/ 640624 h 5296383"/>
              <a:gd name="connsiteX3371" fmla="*/ 4083544 w 9310410"/>
              <a:gd name="connsiteY3371" fmla="*/ 649014 h 5296383"/>
              <a:gd name="connsiteX3372" fmla="*/ 4090735 w 9310410"/>
              <a:gd name="connsiteY3372" fmla="*/ 650812 h 5296383"/>
              <a:gd name="connsiteX3373" fmla="*/ 4094331 w 9310410"/>
              <a:gd name="connsiteY3373" fmla="*/ 655006 h 5296383"/>
              <a:gd name="connsiteX3374" fmla="*/ 4087139 w 9310410"/>
              <a:gd name="connsiteY3374" fmla="*/ 662198 h 5296383"/>
              <a:gd name="connsiteX3375" fmla="*/ 4099125 w 9310410"/>
              <a:gd name="connsiteY3375" fmla="*/ 676580 h 5296383"/>
              <a:gd name="connsiteX3376" fmla="*/ 4109912 w 9310410"/>
              <a:gd name="connsiteY3376" fmla="*/ 681974 h 5296383"/>
              <a:gd name="connsiteX3377" fmla="*/ 4112908 w 9310410"/>
              <a:gd name="connsiteY3377" fmla="*/ 685569 h 5296383"/>
              <a:gd name="connsiteX3378" fmla="*/ 4126092 w 9310410"/>
              <a:gd name="connsiteY3378" fmla="*/ 684371 h 5296383"/>
              <a:gd name="connsiteX3379" fmla="*/ 4141673 w 9310410"/>
              <a:gd name="connsiteY3379" fmla="*/ 667591 h 5296383"/>
              <a:gd name="connsiteX3380" fmla="*/ 4151861 w 9310410"/>
              <a:gd name="connsiteY3380" fmla="*/ 649014 h 5296383"/>
              <a:gd name="connsiteX3381" fmla="*/ 4157254 w 9310410"/>
              <a:gd name="connsiteY3381" fmla="*/ 651411 h 5296383"/>
              <a:gd name="connsiteX3382" fmla="*/ 4183023 w 9310410"/>
              <a:gd name="connsiteY3382" fmla="*/ 668190 h 5296383"/>
              <a:gd name="connsiteX3383" fmla="*/ 4199803 w 9310410"/>
              <a:gd name="connsiteY3383" fmla="*/ 663996 h 5296383"/>
              <a:gd name="connsiteX3384" fmla="*/ 4221976 w 9310410"/>
              <a:gd name="connsiteY3384" fmla="*/ 666393 h 5296383"/>
              <a:gd name="connsiteX3385" fmla="*/ 4238756 w 9310410"/>
              <a:gd name="connsiteY3385" fmla="*/ 672385 h 5296383"/>
              <a:gd name="connsiteX3386" fmla="*/ 4250741 w 9310410"/>
              <a:gd name="connsiteY3386" fmla="*/ 678378 h 5296383"/>
              <a:gd name="connsiteX3387" fmla="*/ 4253738 w 9310410"/>
              <a:gd name="connsiteY3387" fmla="*/ 672385 h 5296383"/>
              <a:gd name="connsiteX3388" fmla="*/ 4257932 w 9310410"/>
              <a:gd name="connsiteY3388" fmla="*/ 662797 h 5296383"/>
              <a:gd name="connsiteX3389" fmla="*/ 4272914 w 9310410"/>
              <a:gd name="connsiteY3389" fmla="*/ 665194 h 5296383"/>
              <a:gd name="connsiteX3390" fmla="*/ 4281903 w 9310410"/>
              <a:gd name="connsiteY3390" fmla="*/ 667591 h 5296383"/>
              <a:gd name="connsiteX3391" fmla="*/ 4291492 w 9310410"/>
              <a:gd name="connsiteY3391" fmla="*/ 666393 h 5296383"/>
              <a:gd name="connsiteX3392" fmla="*/ 4292091 w 9310410"/>
              <a:gd name="connsiteY3392" fmla="*/ 655606 h 5296383"/>
              <a:gd name="connsiteX3393" fmla="*/ 4290893 w 9310410"/>
              <a:gd name="connsiteY3393" fmla="*/ 649014 h 5296383"/>
              <a:gd name="connsiteX3394" fmla="*/ 4292691 w 9310410"/>
              <a:gd name="connsiteY3394" fmla="*/ 641223 h 5296383"/>
              <a:gd name="connsiteX3395" fmla="*/ 4289095 w 9310410"/>
              <a:gd name="connsiteY3395" fmla="*/ 637028 h 5296383"/>
              <a:gd name="connsiteX3396" fmla="*/ 4286698 w 9310410"/>
              <a:gd name="connsiteY3396" fmla="*/ 628638 h 5296383"/>
              <a:gd name="connsiteX3397" fmla="*/ 4308272 w 9310410"/>
              <a:gd name="connsiteY3397" fmla="*/ 626241 h 5296383"/>
              <a:gd name="connsiteX3398" fmla="*/ 4317261 w 9310410"/>
              <a:gd name="connsiteY3398" fmla="*/ 622646 h 5296383"/>
              <a:gd name="connsiteX3399" fmla="*/ 4331643 w 9310410"/>
              <a:gd name="connsiteY3399" fmla="*/ 622646 h 5296383"/>
              <a:gd name="connsiteX3400" fmla="*/ 4370596 w 9310410"/>
              <a:gd name="connsiteY3400" fmla="*/ 626841 h 5296383"/>
              <a:gd name="connsiteX3401" fmla="*/ 4416141 w 9310410"/>
              <a:gd name="connsiteY3401" fmla="*/ 629837 h 5296383"/>
              <a:gd name="connsiteX3402" fmla="*/ 4411946 w 9310410"/>
              <a:gd name="connsiteY3402" fmla="*/ 632833 h 5296383"/>
              <a:gd name="connsiteX3403" fmla="*/ 4383181 w 9310410"/>
              <a:gd name="connsiteY3403" fmla="*/ 633433 h 5296383"/>
              <a:gd name="connsiteX3404" fmla="*/ 4379585 w 9310410"/>
              <a:gd name="connsiteY3404" fmla="*/ 641822 h 5296383"/>
              <a:gd name="connsiteX3405" fmla="*/ 4398163 w 9310410"/>
              <a:gd name="connsiteY3405" fmla="*/ 637628 h 5296383"/>
              <a:gd name="connsiteX3406" fmla="*/ 4422733 w 9310410"/>
              <a:gd name="connsiteY3406" fmla="*/ 634631 h 5296383"/>
              <a:gd name="connsiteX3407" fmla="*/ 4424531 w 9310410"/>
              <a:gd name="connsiteY3407" fmla="*/ 638826 h 5296383"/>
              <a:gd name="connsiteX3408" fmla="*/ 4414942 w 9310410"/>
              <a:gd name="connsiteY3408" fmla="*/ 648414 h 5296383"/>
              <a:gd name="connsiteX3409" fmla="*/ 4413145 w 9310410"/>
              <a:gd name="connsiteY3409" fmla="*/ 645418 h 5296383"/>
              <a:gd name="connsiteX3410" fmla="*/ 4411347 w 9310410"/>
              <a:gd name="connsiteY3410" fmla="*/ 641822 h 5296383"/>
              <a:gd name="connsiteX3411" fmla="*/ 4407751 w 9310410"/>
              <a:gd name="connsiteY3411" fmla="*/ 644220 h 5296383"/>
              <a:gd name="connsiteX3412" fmla="*/ 4398163 w 9310410"/>
              <a:gd name="connsiteY3412" fmla="*/ 649613 h 5296383"/>
              <a:gd name="connsiteX3413" fmla="*/ 4392769 w 9310410"/>
              <a:gd name="connsiteY3413" fmla="*/ 653209 h 5296383"/>
              <a:gd name="connsiteX3414" fmla="*/ 4392769 w 9310410"/>
              <a:gd name="connsiteY3414" fmla="*/ 659201 h 5296383"/>
              <a:gd name="connsiteX3415" fmla="*/ 4402957 w 9310410"/>
              <a:gd name="connsiteY3415" fmla="*/ 660999 h 5296383"/>
              <a:gd name="connsiteX3416" fmla="*/ 4426928 w 9310410"/>
              <a:gd name="connsiteY3416" fmla="*/ 644220 h 5296383"/>
              <a:gd name="connsiteX3417" fmla="*/ 4464682 w 9310410"/>
              <a:gd name="connsiteY3417" fmla="*/ 631035 h 5296383"/>
              <a:gd name="connsiteX3418" fmla="*/ 4498841 w 9310410"/>
              <a:gd name="connsiteY3418" fmla="*/ 647815 h 5296383"/>
              <a:gd name="connsiteX3419" fmla="*/ 4490451 w 9310410"/>
              <a:gd name="connsiteY3419" fmla="*/ 655606 h 5296383"/>
              <a:gd name="connsiteX3420" fmla="*/ 4475469 w 9310410"/>
              <a:gd name="connsiteY3420" fmla="*/ 662797 h 5296383"/>
              <a:gd name="connsiteX3421" fmla="*/ 4485657 w 9310410"/>
              <a:gd name="connsiteY3421" fmla="*/ 668790 h 5296383"/>
              <a:gd name="connsiteX3422" fmla="*/ 4509627 w 9310410"/>
              <a:gd name="connsiteY3422" fmla="*/ 671786 h 5296383"/>
              <a:gd name="connsiteX3423" fmla="*/ 4525209 w 9310410"/>
              <a:gd name="connsiteY3423" fmla="*/ 675382 h 5296383"/>
              <a:gd name="connsiteX3424" fmla="*/ 4544386 w 9310410"/>
              <a:gd name="connsiteY3424" fmla="*/ 688566 h 5296383"/>
              <a:gd name="connsiteX3425" fmla="*/ 4544386 w 9310410"/>
              <a:gd name="connsiteY3425" fmla="*/ 699353 h 5296383"/>
              <a:gd name="connsiteX3426" fmla="*/ 4586934 w 9310410"/>
              <a:gd name="connsiteY3426" fmla="*/ 693360 h 5296383"/>
              <a:gd name="connsiteX3427" fmla="*/ 4636674 w 9310410"/>
              <a:gd name="connsiteY3427" fmla="*/ 692161 h 5296383"/>
              <a:gd name="connsiteX3428" fmla="*/ 4649858 w 9310410"/>
              <a:gd name="connsiteY3428" fmla="*/ 692161 h 5296383"/>
              <a:gd name="connsiteX3429" fmla="*/ 4680421 w 9310410"/>
              <a:gd name="connsiteY3429" fmla="*/ 699952 h 5296383"/>
              <a:gd name="connsiteX3430" fmla="*/ 4693006 w 9310410"/>
              <a:gd name="connsiteY3430" fmla="*/ 720927 h 5296383"/>
              <a:gd name="connsiteX3431" fmla="*/ 4703792 w 9310410"/>
              <a:gd name="connsiteY3431" fmla="*/ 737107 h 5296383"/>
              <a:gd name="connsiteX3432" fmla="*/ 4718175 w 9310410"/>
              <a:gd name="connsiteY3432" fmla="*/ 746695 h 5296383"/>
              <a:gd name="connsiteX3433" fmla="*/ 4724767 w 9310410"/>
              <a:gd name="connsiteY3433" fmla="*/ 746096 h 5296383"/>
              <a:gd name="connsiteX3434" fmla="*/ 4730161 w 9310410"/>
              <a:gd name="connsiteY3434" fmla="*/ 750291 h 5296383"/>
              <a:gd name="connsiteX3435" fmla="*/ 4732557 w 9310410"/>
              <a:gd name="connsiteY3435" fmla="*/ 753287 h 5296383"/>
              <a:gd name="connsiteX3436" fmla="*/ 4748738 w 9310410"/>
              <a:gd name="connsiteY3436" fmla="*/ 739504 h 5296383"/>
              <a:gd name="connsiteX3437" fmla="*/ 4784694 w 9310410"/>
              <a:gd name="connsiteY3437" fmla="*/ 740103 h 5296383"/>
              <a:gd name="connsiteX3438" fmla="*/ 4837430 w 9310410"/>
              <a:gd name="connsiteY3438" fmla="*/ 735908 h 5296383"/>
              <a:gd name="connsiteX3439" fmla="*/ 4856607 w 9310410"/>
              <a:gd name="connsiteY3439" fmla="*/ 739504 h 5296383"/>
              <a:gd name="connsiteX3440" fmla="*/ 4875185 w 9310410"/>
              <a:gd name="connsiteY3440" fmla="*/ 746695 h 5296383"/>
              <a:gd name="connsiteX3441" fmla="*/ 4890166 w 9310410"/>
              <a:gd name="connsiteY3441" fmla="*/ 756883 h 5296383"/>
              <a:gd name="connsiteX3442" fmla="*/ 4908744 w 9310410"/>
              <a:gd name="connsiteY3442" fmla="*/ 760479 h 5296383"/>
              <a:gd name="connsiteX3443" fmla="*/ 4916535 w 9310410"/>
              <a:gd name="connsiteY3443" fmla="*/ 749092 h 5296383"/>
              <a:gd name="connsiteX3444" fmla="*/ 4908744 w 9310410"/>
              <a:gd name="connsiteY3444" fmla="*/ 722724 h 5296383"/>
              <a:gd name="connsiteX3445" fmla="*/ 4921329 w 9310410"/>
              <a:gd name="connsiteY3445" fmla="*/ 713735 h 5296383"/>
              <a:gd name="connsiteX3446" fmla="*/ 4951892 w 9310410"/>
              <a:gd name="connsiteY3446" fmla="*/ 722125 h 5296383"/>
              <a:gd name="connsiteX3447" fmla="*/ 4968072 w 9310410"/>
              <a:gd name="connsiteY3447" fmla="*/ 723324 h 5296383"/>
              <a:gd name="connsiteX3448" fmla="*/ 4978859 w 9310410"/>
              <a:gd name="connsiteY3448" fmla="*/ 722724 h 5296383"/>
              <a:gd name="connsiteX3449" fmla="*/ 5004628 w 9310410"/>
              <a:gd name="connsiteY3449" fmla="*/ 721526 h 5296383"/>
              <a:gd name="connsiteX3450" fmla="*/ 5025003 w 9310410"/>
              <a:gd name="connsiteY3450" fmla="*/ 722724 h 5296383"/>
              <a:gd name="connsiteX3451" fmla="*/ 5039985 w 9310410"/>
              <a:gd name="connsiteY3451" fmla="*/ 727519 h 5296383"/>
              <a:gd name="connsiteX3452" fmla="*/ 5055566 w 9310410"/>
              <a:gd name="connsiteY3452" fmla="*/ 730515 h 5296383"/>
              <a:gd name="connsiteX3453" fmla="*/ 5063956 w 9310410"/>
              <a:gd name="connsiteY3453" fmla="*/ 732313 h 5296383"/>
              <a:gd name="connsiteX3454" fmla="*/ 5083732 w 9310410"/>
              <a:gd name="connsiteY3454" fmla="*/ 738905 h 5296383"/>
              <a:gd name="connsiteX3455" fmla="*/ 5093920 w 9310410"/>
              <a:gd name="connsiteY3455" fmla="*/ 747295 h 5296383"/>
              <a:gd name="connsiteX3456" fmla="*/ 5108302 w 9310410"/>
              <a:gd name="connsiteY3456" fmla="*/ 751490 h 5296383"/>
              <a:gd name="connsiteX3457" fmla="*/ 5127479 w 9310410"/>
              <a:gd name="connsiteY3457" fmla="*/ 756883 h 5296383"/>
              <a:gd name="connsiteX3458" fmla="*/ 5143660 w 9310410"/>
              <a:gd name="connsiteY3458" fmla="*/ 759879 h 5296383"/>
              <a:gd name="connsiteX3459" fmla="*/ 5161038 w 9310410"/>
              <a:gd name="connsiteY3459" fmla="*/ 768868 h 5296383"/>
              <a:gd name="connsiteX3460" fmla="*/ 5175421 w 9310410"/>
              <a:gd name="connsiteY3460" fmla="*/ 775461 h 5296383"/>
              <a:gd name="connsiteX3461" fmla="*/ 5186208 w 9310410"/>
              <a:gd name="connsiteY3461" fmla="*/ 780854 h 5296383"/>
              <a:gd name="connsiteX3462" fmla="*/ 5191602 w 9310410"/>
              <a:gd name="connsiteY3462" fmla="*/ 788045 h 5296383"/>
              <a:gd name="connsiteX3463" fmla="*/ 5195796 w 9310410"/>
              <a:gd name="connsiteY3463" fmla="*/ 786847 h 5296383"/>
              <a:gd name="connsiteX3464" fmla="*/ 5216771 w 9310410"/>
              <a:gd name="connsiteY3464" fmla="*/ 795836 h 5296383"/>
              <a:gd name="connsiteX3465" fmla="*/ 5222763 w 9310410"/>
              <a:gd name="connsiteY3465" fmla="*/ 812016 h 5296383"/>
              <a:gd name="connsiteX3466" fmla="*/ 5230554 w 9310410"/>
              <a:gd name="connsiteY3466" fmla="*/ 829395 h 5296383"/>
              <a:gd name="connsiteX3467" fmla="*/ 5241940 w 9310410"/>
              <a:gd name="connsiteY3467" fmla="*/ 828796 h 5296383"/>
              <a:gd name="connsiteX3468" fmla="*/ 5239543 w 9310410"/>
              <a:gd name="connsiteY3468" fmla="*/ 819208 h 5296383"/>
              <a:gd name="connsiteX3469" fmla="*/ 5235348 w 9310410"/>
              <a:gd name="connsiteY3469" fmla="*/ 809619 h 5296383"/>
              <a:gd name="connsiteX3470" fmla="*/ 5244338 w 9310410"/>
              <a:gd name="connsiteY3470" fmla="*/ 800630 h 5296383"/>
              <a:gd name="connsiteX3471" fmla="*/ 5255124 w 9310410"/>
              <a:gd name="connsiteY3471" fmla="*/ 813814 h 5296383"/>
              <a:gd name="connsiteX3472" fmla="*/ 5263514 w 9310410"/>
              <a:gd name="connsiteY3472" fmla="*/ 807222 h 5296383"/>
              <a:gd name="connsiteX3473" fmla="*/ 5282691 w 9310410"/>
              <a:gd name="connsiteY3473" fmla="*/ 806023 h 5296383"/>
              <a:gd name="connsiteX3474" fmla="*/ 5316250 w 9310410"/>
              <a:gd name="connsiteY3474" fmla="*/ 825200 h 5296383"/>
              <a:gd name="connsiteX3475" fmla="*/ 5324640 w 9310410"/>
              <a:gd name="connsiteY3475" fmla="*/ 825800 h 5296383"/>
              <a:gd name="connsiteX3476" fmla="*/ 5341420 w 9310410"/>
              <a:gd name="connsiteY3476" fmla="*/ 832392 h 5296383"/>
              <a:gd name="connsiteX3477" fmla="*/ 326695 w 9310410"/>
              <a:gd name="connsiteY3477" fmla="*/ 2664971 h 5296383"/>
              <a:gd name="connsiteX3478" fmla="*/ 327295 w 9310410"/>
              <a:gd name="connsiteY3478" fmla="*/ 2663173 h 5296383"/>
              <a:gd name="connsiteX3479" fmla="*/ 326096 w 9310410"/>
              <a:gd name="connsiteY3479" fmla="*/ 2664372 h 5296383"/>
              <a:gd name="connsiteX3480" fmla="*/ 326695 w 9310410"/>
              <a:gd name="connsiteY3480" fmla="*/ 2664971 h 5296383"/>
              <a:gd name="connsiteX3481" fmla="*/ 898403 w 9310410"/>
              <a:gd name="connsiteY3481" fmla="*/ 1821194 h 5296383"/>
              <a:gd name="connsiteX3482" fmla="*/ 900201 w 9310410"/>
              <a:gd name="connsiteY3482" fmla="*/ 1820594 h 5296383"/>
              <a:gd name="connsiteX3483" fmla="*/ 905594 w 9310410"/>
              <a:gd name="connsiteY3483" fmla="*/ 1819396 h 5296383"/>
              <a:gd name="connsiteX3484" fmla="*/ 901399 w 9310410"/>
              <a:gd name="connsiteY3484" fmla="*/ 1817598 h 5296383"/>
              <a:gd name="connsiteX3485" fmla="*/ 903796 w 9310410"/>
              <a:gd name="connsiteY3485" fmla="*/ 1819396 h 5296383"/>
              <a:gd name="connsiteX3486" fmla="*/ 898403 w 9310410"/>
              <a:gd name="connsiteY3486" fmla="*/ 1821194 h 5296383"/>
              <a:gd name="connsiteX3487" fmla="*/ 1151296 w 9310410"/>
              <a:gd name="connsiteY3487" fmla="*/ 2200534 h 5296383"/>
              <a:gd name="connsiteX3488" fmla="*/ 1152495 w 9310410"/>
              <a:gd name="connsiteY3488" fmla="*/ 2200534 h 5296383"/>
              <a:gd name="connsiteX3489" fmla="*/ 1151296 w 9310410"/>
              <a:gd name="connsiteY3489" fmla="*/ 2200534 h 5296383"/>
              <a:gd name="connsiteX3490" fmla="*/ 1151296 w 9310410"/>
              <a:gd name="connsiteY3490" fmla="*/ 2200534 h 5296383"/>
              <a:gd name="connsiteX3491" fmla="*/ 916980 w 9310410"/>
              <a:gd name="connsiteY3491" fmla="*/ 2133415 h 5296383"/>
              <a:gd name="connsiteX3492" fmla="*/ 947543 w 9310410"/>
              <a:gd name="connsiteY3492" fmla="*/ 2117834 h 5296383"/>
              <a:gd name="connsiteX3493" fmla="*/ 896605 w 9310410"/>
              <a:gd name="connsiteY3493" fmla="*/ 2144202 h 5296383"/>
              <a:gd name="connsiteX3494" fmla="*/ 916980 w 9310410"/>
              <a:gd name="connsiteY3494" fmla="*/ 2133415 h 5296383"/>
              <a:gd name="connsiteX3495" fmla="*/ 1332876 w 9310410"/>
              <a:gd name="connsiteY3495" fmla="*/ 2216714 h 5296383"/>
              <a:gd name="connsiteX3496" fmla="*/ 1337071 w 9310410"/>
              <a:gd name="connsiteY3496" fmla="*/ 2217913 h 5296383"/>
              <a:gd name="connsiteX3497" fmla="*/ 1337071 w 9310410"/>
              <a:gd name="connsiteY3497" fmla="*/ 2215516 h 5296383"/>
              <a:gd name="connsiteX3498" fmla="*/ 1332876 w 9310410"/>
              <a:gd name="connsiteY3498" fmla="*/ 2216714 h 5296383"/>
              <a:gd name="connsiteX3499" fmla="*/ 1248379 w 9310410"/>
              <a:gd name="connsiteY3499" fmla="*/ 2940637 h 5296383"/>
              <a:gd name="connsiteX3500" fmla="*/ 1244783 w 9310410"/>
              <a:gd name="connsiteY3500" fmla="*/ 2932248 h 5296383"/>
              <a:gd name="connsiteX3501" fmla="*/ 1248379 w 9310410"/>
              <a:gd name="connsiteY3501" fmla="*/ 2940637 h 5296383"/>
              <a:gd name="connsiteX3502" fmla="*/ 1242985 w 9310410"/>
              <a:gd name="connsiteY3502" fmla="*/ 2930450 h 5296383"/>
              <a:gd name="connsiteX3503" fmla="*/ 1242985 w 9310410"/>
              <a:gd name="connsiteY3503" fmla="*/ 2930450 h 5296383"/>
              <a:gd name="connsiteX3504" fmla="*/ 1242985 w 9310410"/>
              <a:gd name="connsiteY3504" fmla="*/ 2930450 h 5296383"/>
              <a:gd name="connsiteX3505" fmla="*/ 1242985 w 9310410"/>
              <a:gd name="connsiteY3505" fmla="*/ 2930450 h 5296383"/>
              <a:gd name="connsiteX3506" fmla="*/ 1256769 w 9310410"/>
              <a:gd name="connsiteY3506" fmla="*/ 2762653 h 5296383"/>
              <a:gd name="connsiteX3507" fmla="*/ 1257368 w 9310410"/>
              <a:gd name="connsiteY3507" fmla="*/ 2760855 h 5296383"/>
              <a:gd name="connsiteX3508" fmla="*/ 1256769 w 9310410"/>
              <a:gd name="connsiteY3508" fmla="*/ 2762653 h 5296383"/>
              <a:gd name="connsiteX3509" fmla="*/ 1256769 w 9310410"/>
              <a:gd name="connsiteY3509" fmla="*/ 2762653 h 5296383"/>
              <a:gd name="connsiteX3510" fmla="*/ 1256769 w 9310410"/>
              <a:gd name="connsiteY3510" fmla="*/ 2762653 h 5296383"/>
              <a:gd name="connsiteX3511" fmla="*/ 1250776 w 9310410"/>
              <a:gd name="connsiteY3511" fmla="*/ 2760855 h 5296383"/>
              <a:gd name="connsiteX3512" fmla="*/ 1238790 w 9310410"/>
              <a:gd name="connsiteY3512" fmla="*/ 2760855 h 5296383"/>
              <a:gd name="connsiteX3513" fmla="*/ 1248379 w 9310410"/>
              <a:gd name="connsiteY3513" fmla="*/ 2760855 h 5296383"/>
              <a:gd name="connsiteX3514" fmla="*/ 1250776 w 9310410"/>
              <a:gd name="connsiteY3514" fmla="*/ 2760855 h 5296383"/>
              <a:gd name="connsiteX3515" fmla="*/ 1305909 w 9310410"/>
              <a:gd name="connsiteY3515" fmla="*/ 3569276 h 5296383"/>
              <a:gd name="connsiteX3516" fmla="*/ 1305310 w 9310410"/>
              <a:gd name="connsiteY3516" fmla="*/ 3569276 h 5296383"/>
              <a:gd name="connsiteX3517" fmla="*/ 1305310 w 9310410"/>
              <a:gd name="connsiteY3517" fmla="*/ 3569875 h 5296383"/>
              <a:gd name="connsiteX3518" fmla="*/ 1305909 w 9310410"/>
              <a:gd name="connsiteY3518" fmla="*/ 3569276 h 5296383"/>
              <a:gd name="connsiteX3519" fmla="*/ 1263361 w 9310410"/>
              <a:gd name="connsiteY3519" fmla="*/ 3488973 h 5296383"/>
              <a:gd name="connsiteX3520" fmla="*/ 1262761 w 9310410"/>
              <a:gd name="connsiteY3520" fmla="*/ 3487775 h 5296383"/>
              <a:gd name="connsiteX3521" fmla="*/ 1256169 w 9310410"/>
              <a:gd name="connsiteY3521" fmla="*/ 3485977 h 5296383"/>
              <a:gd name="connsiteX3522" fmla="*/ 1256769 w 9310410"/>
              <a:gd name="connsiteY3522" fmla="*/ 3487175 h 5296383"/>
              <a:gd name="connsiteX3523" fmla="*/ 1263361 w 9310410"/>
              <a:gd name="connsiteY3523" fmla="*/ 3488973 h 5296383"/>
              <a:gd name="connsiteX3524" fmla="*/ 987695 w 9310410"/>
              <a:gd name="connsiteY3524" fmla="*/ 3566879 h 5296383"/>
              <a:gd name="connsiteX3525" fmla="*/ 977507 w 9310410"/>
              <a:gd name="connsiteY3525" fmla="*/ 3571074 h 5296383"/>
              <a:gd name="connsiteX3526" fmla="*/ 982301 w 9310410"/>
              <a:gd name="connsiteY3526" fmla="*/ 3569276 h 5296383"/>
              <a:gd name="connsiteX3527" fmla="*/ 993687 w 9310410"/>
              <a:gd name="connsiteY3527" fmla="*/ 3565680 h 5296383"/>
              <a:gd name="connsiteX3528" fmla="*/ 987695 w 9310410"/>
              <a:gd name="connsiteY3528" fmla="*/ 3566879 h 5296383"/>
              <a:gd name="connsiteX3529" fmla="*/ 970915 w 9310410"/>
              <a:gd name="connsiteY3529" fmla="*/ 3558489 h 5296383"/>
              <a:gd name="connsiteX3530" fmla="*/ 971514 w 9310410"/>
              <a:gd name="connsiteY3530" fmla="*/ 3560886 h 5296383"/>
              <a:gd name="connsiteX3531" fmla="*/ 967919 w 9310410"/>
              <a:gd name="connsiteY3531" fmla="*/ 3548301 h 5296383"/>
              <a:gd name="connsiteX3532" fmla="*/ 970915 w 9310410"/>
              <a:gd name="connsiteY3532" fmla="*/ 3558489 h 5296383"/>
              <a:gd name="connsiteX3533" fmla="*/ 974511 w 9310410"/>
              <a:gd name="connsiteY3533" fmla="*/ 3568677 h 5296383"/>
              <a:gd name="connsiteX3534" fmla="*/ 974511 w 9310410"/>
              <a:gd name="connsiteY3534" fmla="*/ 3568077 h 5296383"/>
              <a:gd name="connsiteX3535" fmla="*/ 974511 w 9310410"/>
              <a:gd name="connsiteY3535" fmla="*/ 3568677 h 5296383"/>
              <a:gd name="connsiteX3536" fmla="*/ 1317895 w 9310410"/>
              <a:gd name="connsiteY3536" fmla="*/ 3567478 h 5296383"/>
              <a:gd name="connsiteX3537" fmla="*/ 1322089 w 9310410"/>
              <a:gd name="connsiteY3537" fmla="*/ 3565081 h 5296383"/>
              <a:gd name="connsiteX3538" fmla="*/ 1322089 w 9310410"/>
              <a:gd name="connsiteY3538" fmla="*/ 3565081 h 5296383"/>
              <a:gd name="connsiteX3539" fmla="*/ 1317895 w 9310410"/>
              <a:gd name="connsiteY3539" fmla="*/ 3567478 h 5296383"/>
              <a:gd name="connsiteX3540" fmla="*/ 1313700 w 9310410"/>
              <a:gd name="connsiteY3540" fmla="*/ 3567478 h 5296383"/>
              <a:gd name="connsiteX3541" fmla="*/ 1312501 w 9310410"/>
              <a:gd name="connsiteY3541" fmla="*/ 3567478 h 5296383"/>
              <a:gd name="connsiteX3542" fmla="*/ 1314299 w 9310410"/>
              <a:gd name="connsiteY3542" fmla="*/ 3567478 h 5296383"/>
              <a:gd name="connsiteX3543" fmla="*/ 1317895 w 9310410"/>
              <a:gd name="connsiteY3543" fmla="*/ 3567478 h 5296383"/>
              <a:gd name="connsiteX3544" fmla="*/ 1314898 w 9310410"/>
              <a:gd name="connsiteY3544" fmla="*/ 2214917 h 5296383"/>
              <a:gd name="connsiteX3545" fmla="*/ 1314898 w 9310410"/>
              <a:gd name="connsiteY3545" fmla="*/ 2215516 h 5296383"/>
              <a:gd name="connsiteX3546" fmla="*/ 1319093 w 9310410"/>
              <a:gd name="connsiteY3546" fmla="*/ 2216115 h 5296383"/>
              <a:gd name="connsiteX3547" fmla="*/ 1314898 w 9310410"/>
              <a:gd name="connsiteY3547" fmla="*/ 2214917 h 5296383"/>
              <a:gd name="connsiteX3548" fmla="*/ 761169 w 9310410"/>
              <a:gd name="connsiteY3548" fmla="*/ 2519947 h 5296383"/>
              <a:gd name="connsiteX3549" fmla="*/ 778548 w 9310410"/>
              <a:gd name="connsiteY3549" fmla="*/ 2515153 h 5296383"/>
              <a:gd name="connsiteX3550" fmla="*/ 778548 w 9310410"/>
              <a:gd name="connsiteY3550" fmla="*/ 2514554 h 5296383"/>
              <a:gd name="connsiteX3551" fmla="*/ 761169 w 9310410"/>
              <a:gd name="connsiteY3551" fmla="*/ 2519947 h 5296383"/>
              <a:gd name="connsiteX3552" fmla="*/ 649105 w 9310410"/>
              <a:gd name="connsiteY3552" fmla="*/ 2249674 h 5296383"/>
              <a:gd name="connsiteX3553" fmla="*/ 647307 w 9310410"/>
              <a:gd name="connsiteY3553" fmla="*/ 2251472 h 5296383"/>
              <a:gd name="connsiteX3554" fmla="*/ 649105 w 9310410"/>
              <a:gd name="connsiteY3554" fmla="*/ 2249674 h 5296383"/>
              <a:gd name="connsiteX3555" fmla="*/ 601762 w 9310410"/>
              <a:gd name="connsiteY3555" fmla="*/ 2265256 h 5296383"/>
              <a:gd name="connsiteX3556" fmla="*/ 601762 w 9310410"/>
              <a:gd name="connsiteY3556" fmla="*/ 2265256 h 5296383"/>
              <a:gd name="connsiteX3557" fmla="*/ 601762 w 9310410"/>
              <a:gd name="connsiteY3557" fmla="*/ 2265256 h 5296383"/>
              <a:gd name="connsiteX3558" fmla="*/ 601762 w 9310410"/>
              <a:gd name="connsiteY3558" fmla="*/ 2265256 h 5296383"/>
              <a:gd name="connsiteX3559" fmla="*/ 497488 w 9310410"/>
              <a:gd name="connsiteY3559" fmla="*/ 2573282 h 5296383"/>
              <a:gd name="connsiteX3560" fmla="*/ 497488 w 9310410"/>
              <a:gd name="connsiteY3560" fmla="*/ 2573282 h 5296383"/>
              <a:gd name="connsiteX3561" fmla="*/ 497488 w 9310410"/>
              <a:gd name="connsiteY3561" fmla="*/ 2573282 h 5296383"/>
              <a:gd name="connsiteX3562" fmla="*/ 497488 w 9310410"/>
              <a:gd name="connsiteY3562" fmla="*/ 2573282 h 5296383"/>
              <a:gd name="connsiteX3563" fmla="*/ 497488 w 9310410"/>
              <a:gd name="connsiteY3563" fmla="*/ 2573282 h 5296383"/>
              <a:gd name="connsiteX3564" fmla="*/ 497488 w 9310410"/>
              <a:gd name="connsiteY3564" fmla="*/ 2573282 h 5296383"/>
              <a:gd name="connsiteX3565" fmla="*/ 598167 w 9310410"/>
              <a:gd name="connsiteY3565" fmla="*/ 2277241 h 5296383"/>
              <a:gd name="connsiteX3566" fmla="*/ 598766 w 9310410"/>
              <a:gd name="connsiteY3566" fmla="*/ 2275443 h 5296383"/>
              <a:gd name="connsiteX3567" fmla="*/ 598167 w 9310410"/>
              <a:gd name="connsiteY3567" fmla="*/ 2277241 h 5296383"/>
              <a:gd name="connsiteX3568" fmla="*/ 599964 w 9310410"/>
              <a:gd name="connsiteY3568" fmla="*/ 2271248 h 5296383"/>
              <a:gd name="connsiteX3569" fmla="*/ 601163 w 9310410"/>
              <a:gd name="connsiteY3569" fmla="*/ 2268252 h 5296383"/>
              <a:gd name="connsiteX3570" fmla="*/ 599964 w 9310410"/>
              <a:gd name="connsiteY3570" fmla="*/ 2271248 h 5296383"/>
              <a:gd name="connsiteX3571" fmla="*/ 599365 w 9310410"/>
              <a:gd name="connsiteY3571" fmla="*/ 2273645 h 5296383"/>
              <a:gd name="connsiteX3572" fmla="*/ 599964 w 9310410"/>
              <a:gd name="connsiteY3572" fmla="*/ 2272447 h 5296383"/>
              <a:gd name="connsiteX3573" fmla="*/ 599365 w 9310410"/>
              <a:gd name="connsiteY3573" fmla="*/ 2273645 h 5296383"/>
              <a:gd name="connsiteX3574" fmla="*/ 595170 w 9310410"/>
              <a:gd name="connsiteY3574" fmla="*/ 2284432 h 5296383"/>
              <a:gd name="connsiteX3575" fmla="*/ 594571 w 9310410"/>
              <a:gd name="connsiteY3575" fmla="*/ 2285631 h 5296383"/>
              <a:gd name="connsiteX3576" fmla="*/ 595170 w 9310410"/>
              <a:gd name="connsiteY3576" fmla="*/ 2284432 h 5296383"/>
              <a:gd name="connsiteX3577" fmla="*/ 596968 w 9310410"/>
              <a:gd name="connsiteY3577" fmla="*/ 2279638 h 5296383"/>
              <a:gd name="connsiteX3578" fmla="*/ 596369 w 9310410"/>
              <a:gd name="connsiteY3578" fmla="*/ 2281436 h 5296383"/>
              <a:gd name="connsiteX3579" fmla="*/ 596968 w 9310410"/>
              <a:gd name="connsiteY3579" fmla="*/ 2279638 h 5296383"/>
              <a:gd name="connsiteX3580" fmla="*/ 619141 w 9310410"/>
              <a:gd name="connsiteY3580" fmla="*/ 2262259 h 5296383"/>
              <a:gd name="connsiteX3581" fmla="*/ 617943 w 9310410"/>
              <a:gd name="connsiteY3581" fmla="*/ 2262259 h 5296383"/>
              <a:gd name="connsiteX3582" fmla="*/ 619141 w 9310410"/>
              <a:gd name="connsiteY3582" fmla="*/ 2262259 h 5296383"/>
              <a:gd name="connsiteX3583" fmla="*/ 622737 w 9310410"/>
              <a:gd name="connsiteY3583" fmla="*/ 2261660 h 5296383"/>
              <a:gd name="connsiteX3584" fmla="*/ 621538 w 9310410"/>
              <a:gd name="connsiteY3584" fmla="*/ 2262259 h 5296383"/>
              <a:gd name="connsiteX3585" fmla="*/ 622737 w 9310410"/>
              <a:gd name="connsiteY3585" fmla="*/ 2261660 h 5296383"/>
              <a:gd name="connsiteX3586" fmla="*/ 626332 w 9310410"/>
              <a:gd name="connsiteY3586" fmla="*/ 2261061 h 5296383"/>
              <a:gd name="connsiteX3587" fmla="*/ 624535 w 9310410"/>
              <a:gd name="connsiteY3587" fmla="*/ 2261660 h 5296383"/>
              <a:gd name="connsiteX3588" fmla="*/ 626332 w 9310410"/>
              <a:gd name="connsiteY3588" fmla="*/ 2261061 h 5296383"/>
              <a:gd name="connsiteX3589" fmla="*/ 629329 w 9310410"/>
              <a:gd name="connsiteY3589" fmla="*/ 2259862 h 5296383"/>
              <a:gd name="connsiteX3590" fmla="*/ 627531 w 9310410"/>
              <a:gd name="connsiteY3590" fmla="*/ 2260462 h 5296383"/>
              <a:gd name="connsiteX3591" fmla="*/ 629329 w 9310410"/>
              <a:gd name="connsiteY3591" fmla="*/ 2259862 h 5296383"/>
              <a:gd name="connsiteX3592" fmla="*/ 632924 w 9310410"/>
              <a:gd name="connsiteY3592" fmla="*/ 2258664 h 5296383"/>
              <a:gd name="connsiteX3593" fmla="*/ 631127 w 9310410"/>
              <a:gd name="connsiteY3593" fmla="*/ 2259263 h 5296383"/>
              <a:gd name="connsiteX3594" fmla="*/ 632924 w 9310410"/>
              <a:gd name="connsiteY3594" fmla="*/ 2258664 h 5296383"/>
              <a:gd name="connsiteX3595" fmla="*/ 635921 w 9310410"/>
              <a:gd name="connsiteY3595" fmla="*/ 2257465 h 5296383"/>
              <a:gd name="connsiteX3596" fmla="*/ 634123 w 9310410"/>
              <a:gd name="connsiteY3596" fmla="*/ 2258064 h 5296383"/>
              <a:gd name="connsiteX3597" fmla="*/ 635921 w 9310410"/>
              <a:gd name="connsiteY3597" fmla="*/ 2257465 h 5296383"/>
              <a:gd name="connsiteX3598" fmla="*/ 639516 w 9310410"/>
              <a:gd name="connsiteY3598" fmla="*/ 2256267 h 5296383"/>
              <a:gd name="connsiteX3599" fmla="*/ 637719 w 9310410"/>
              <a:gd name="connsiteY3599" fmla="*/ 2256866 h 5296383"/>
              <a:gd name="connsiteX3600" fmla="*/ 639516 w 9310410"/>
              <a:gd name="connsiteY3600" fmla="*/ 2256267 h 5296383"/>
              <a:gd name="connsiteX3601" fmla="*/ 641914 w 9310410"/>
              <a:gd name="connsiteY3601" fmla="*/ 2255068 h 5296383"/>
              <a:gd name="connsiteX3602" fmla="*/ 640116 w 9310410"/>
              <a:gd name="connsiteY3602" fmla="*/ 2255667 h 5296383"/>
              <a:gd name="connsiteX3603" fmla="*/ 641914 w 9310410"/>
              <a:gd name="connsiteY3603" fmla="*/ 2255068 h 5296383"/>
              <a:gd name="connsiteX3604" fmla="*/ 644311 w 9310410"/>
              <a:gd name="connsiteY3604" fmla="*/ 2253270 h 5296383"/>
              <a:gd name="connsiteX3605" fmla="*/ 643112 w 9310410"/>
              <a:gd name="connsiteY3605" fmla="*/ 2253869 h 5296383"/>
              <a:gd name="connsiteX3606" fmla="*/ 644311 w 9310410"/>
              <a:gd name="connsiteY3606" fmla="*/ 2253270 h 5296383"/>
              <a:gd name="connsiteX3607" fmla="*/ 646708 w 9310410"/>
              <a:gd name="connsiteY3607" fmla="*/ 2252072 h 5296383"/>
              <a:gd name="connsiteX3608" fmla="*/ 645509 w 9310410"/>
              <a:gd name="connsiteY3608" fmla="*/ 2253270 h 5296383"/>
              <a:gd name="connsiteX3609" fmla="*/ 646708 w 9310410"/>
              <a:gd name="connsiteY3609" fmla="*/ 2252072 h 5296383"/>
              <a:gd name="connsiteX3610" fmla="*/ 828887 w 9310410"/>
              <a:gd name="connsiteY3610" fmla="*/ 3438634 h 5296383"/>
              <a:gd name="connsiteX3611" fmla="*/ 830086 w 9310410"/>
              <a:gd name="connsiteY3611" fmla="*/ 3444027 h 5296383"/>
              <a:gd name="connsiteX3612" fmla="*/ 828887 w 9310410"/>
              <a:gd name="connsiteY3612" fmla="*/ 3438634 h 5296383"/>
              <a:gd name="connsiteX3613" fmla="*/ 840872 w 9310410"/>
              <a:gd name="connsiteY3613" fmla="*/ 3447623 h 5296383"/>
              <a:gd name="connsiteX3614" fmla="*/ 845067 w 9310410"/>
              <a:gd name="connsiteY3614" fmla="*/ 3445825 h 5296383"/>
              <a:gd name="connsiteX3615" fmla="*/ 846266 w 9310410"/>
              <a:gd name="connsiteY3615" fmla="*/ 3445226 h 5296383"/>
              <a:gd name="connsiteX3616" fmla="*/ 842670 w 9310410"/>
              <a:gd name="connsiteY3616" fmla="*/ 3445825 h 5296383"/>
              <a:gd name="connsiteX3617" fmla="*/ 840872 w 9310410"/>
              <a:gd name="connsiteY3617" fmla="*/ 3447623 h 5296383"/>
              <a:gd name="connsiteX3618" fmla="*/ 833681 w 9310410"/>
              <a:gd name="connsiteY3618" fmla="*/ 3448822 h 5296383"/>
              <a:gd name="connsiteX3619" fmla="*/ 836678 w 9310410"/>
              <a:gd name="connsiteY3619" fmla="*/ 3449421 h 5296383"/>
              <a:gd name="connsiteX3620" fmla="*/ 833681 w 9310410"/>
              <a:gd name="connsiteY3620" fmla="*/ 3448822 h 5296383"/>
              <a:gd name="connsiteX3621" fmla="*/ 858251 w 9310410"/>
              <a:gd name="connsiteY3621" fmla="*/ 3439833 h 5296383"/>
              <a:gd name="connsiteX3622" fmla="*/ 861248 w 9310410"/>
              <a:gd name="connsiteY3622" fmla="*/ 3440432 h 5296383"/>
              <a:gd name="connsiteX3623" fmla="*/ 858251 w 9310410"/>
              <a:gd name="connsiteY3623" fmla="*/ 3439833 h 5296383"/>
              <a:gd name="connsiteX3624" fmla="*/ 872634 w 9310410"/>
              <a:gd name="connsiteY3624" fmla="*/ 3433840 h 5296383"/>
              <a:gd name="connsiteX3625" fmla="*/ 873233 w 9310410"/>
              <a:gd name="connsiteY3625" fmla="*/ 3439833 h 5296383"/>
              <a:gd name="connsiteX3626" fmla="*/ 872634 w 9310410"/>
              <a:gd name="connsiteY3626" fmla="*/ 3433840 h 5296383"/>
              <a:gd name="connsiteX3627" fmla="*/ 879825 w 9310410"/>
              <a:gd name="connsiteY3627" fmla="*/ 3396085 h 5296383"/>
              <a:gd name="connsiteX3628" fmla="*/ 875630 w 9310410"/>
              <a:gd name="connsiteY3628" fmla="*/ 3397884 h 5296383"/>
              <a:gd name="connsiteX3629" fmla="*/ 877428 w 9310410"/>
              <a:gd name="connsiteY3629" fmla="*/ 3409270 h 5296383"/>
              <a:gd name="connsiteX3630" fmla="*/ 876230 w 9310410"/>
              <a:gd name="connsiteY3630" fmla="*/ 3402678 h 5296383"/>
              <a:gd name="connsiteX3631" fmla="*/ 879825 w 9310410"/>
              <a:gd name="connsiteY3631" fmla="*/ 3396085 h 5296383"/>
              <a:gd name="connsiteX3632" fmla="*/ 900201 w 9310410"/>
              <a:gd name="connsiteY3632" fmla="*/ 3394887 h 5296383"/>
              <a:gd name="connsiteX3633" fmla="*/ 903197 w 9310410"/>
              <a:gd name="connsiteY3633" fmla="*/ 3399082 h 5296383"/>
              <a:gd name="connsiteX3634" fmla="*/ 903197 w 9310410"/>
              <a:gd name="connsiteY3634" fmla="*/ 3397884 h 5296383"/>
              <a:gd name="connsiteX3635" fmla="*/ 900201 w 9310410"/>
              <a:gd name="connsiteY3635" fmla="*/ 3394887 h 5296383"/>
              <a:gd name="connsiteX3636" fmla="*/ 903197 w 9310410"/>
              <a:gd name="connsiteY3636" fmla="*/ 3403277 h 5296383"/>
              <a:gd name="connsiteX3637" fmla="*/ 903197 w 9310410"/>
              <a:gd name="connsiteY3637" fmla="*/ 3403876 h 5296383"/>
              <a:gd name="connsiteX3638" fmla="*/ 903197 w 9310410"/>
              <a:gd name="connsiteY3638" fmla="*/ 3404475 h 5296383"/>
              <a:gd name="connsiteX3639" fmla="*/ 903197 w 9310410"/>
              <a:gd name="connsiteY3639" fmla="*/ 3403277 h 5296383"/>
              <a:gd name="connsiteX3640" fmla="*/ 928966 w 9310410"/>
              <a:gd name="connsiteY3640" fmla="*/ 3407472 h 5296383"/>
              <a:gd name="connsiteX3641" fmla="*/ 932561 w 9310410"/>
              <a:gd name="connsiteY3641" fmla="*/ 3407472 h 5296383"/>
              <a:gd name="connsiteX3642" fmla="*/ 932561 w 9310410"/>
              <a:gd name="connsiteY3642" fmla="*/ 3406273 h 5296383"/>
              <a:gd name="connsiteX3643" fmla="*/ 928966 w 9310410"/>
              <a:gd name="connsiteY3643" fmla="*/ 3407472 h 5296383"/>
              <a:gd name="connsiteX3644" fmla="*/ 936157 w 9310410"/>
              <a:gd name="connsiteY3644" fmla="*/ 3408071 h 5296383"/>
              <a:gd name="connsiteX3645" fmla="*/ 937955 w 9310410"/>
              <a:gd name="connsiteY3645" fmla="*/ 3407472 h 5296383"/>
              <a:gd name="connsiteX3646" fmla="*/ 936157 w 9310410"/>
              <a:gd name="connsiteY3646" fmla="*/ 3408071 h 5296383"/>
              <a:gd name="connsiteX3647" fmla="*/ 937955 w 9310410"/>
              <a:gd name="connsiteY3647" fmla="*/ 3429645 h 5296383"/>
              <a:gd name="connsiteX3648" fmla="*/ 939153 w 9310410"/>
              <a:gd name="connsiteY3648" fmla="*/ 3410468 h 5296383"/>
              <a:gd name="connsiteX3649" fmla="*/ 937955 w 9310410"/>
              <a:gd name="connsiteY3649" fmla="*/ 3429645 h 5296383"/>
              <a:gd name="connsiteX3650" fmla="*/ 967919 w 9310410"/>
              <a:gd name="connsiteY3650" fmla="*/ 3533319 h 5296383"/>
              <a:gd name="connsiteX3651" fmla="*/ 967919 w 9310410"/>
              <a:gd name="connsiteY3651" fmla="*/ 3541709 h 5296383"/>
              <a:gd name="connsiteX3652" fmla="*/ 967919 w 9310410"/>
              <a:gd name="connsiteY3652" fmla="*/ 3533319 h 5296383"/>
              <a:gd name="connsiteX3653" fmla="*/ 1331678 w 9310410"/>
              <a:gd name="connsiteY3653" fmla="*/ 3563882 h 5296383"/>
              <a:gd name="connsiteX3654" fmla="*/ 1326884 w 9310410"/>
              <a:gd name="connsiteY3654" fmla="*/ 3562684 h 5296383"/>
              <a:gd name="connsiteX3655" fmla="*/ 1326284 w 9310410"/>
              <a:gd name="connsiteY3655" fmla="*/ 3562684 h 5296383"/>
              <a:gd name="connsiteX3656" fmla="*/ 1331678 w 9310410"/>
              <a:gd name="connsiteY3656" fmla="*/ 3563882 h 5296383"/>
              <a:gd name="connsiteX3657" fmla="*/ 1365836 w 9310410"/>
              <a:gd name="connsiteY3657" fmla="*/ 2530135 h 5296383"/>
              <a:gd name="connsiteX3658" fmla="*/ 1365836 w 9310410"/>
              <a:gd name="connsiteY3658" fmla="*/ 2530135 h 5296383"/>
              <a:gd name="connsiteX3659" fmla="*/ 1368234 w 9310410"/>
              <a:gd name="connsiteY3659" fmla="*/ 2530135 h 5296383"/>
              <a:gd name="connsiteX3660" fmla="*/ 1365836 w 9310410"/>
              <a:gd name="connsiteY3660" fmla="*/ 2530135 h 5296383"/>
              <a:gd name="connsiteX3661" fmla="*/ 1365836 w 9310410"/>
              <a:gd name="connsiteY3661" fmla="*/ 2530135 h 5296383"/>
              <a:gd name="connsiteX3662" fmla="*/ 1365836 w 9310410"/>
              <a:gd name="connsiteY3662" fmla="*/ 2530135 h 5296383"/>
              <a:gd name="connsiteX3663" fmla="*/ 1364638 w 9310410"/>
              <a:gd name="connsiteY3663" fmla="*/ 2534929 h 5296383"/>
              <a:gd name="connsiteX3664" fmla="*/ 1364638 w 9310410"/>
              <a:gd name="connsiteY3664" fmla="*/ 2534330 h 5296383"/>
              <a:gd name="connsiteX3665" fmla="*/ 1364638 w 9310410"/>
              <a:gd name="connsiteY3665" fmla="*/ 2534929 h 5296383"/>
              <a:gd name="connsiteX3666" fmla="*/ 1366436 w 9310410"/>
              <a:gd name="connsiteY3666" fmla="*/ 2519348 h 5296383"/>
              <a:gd name="connsiteX3667" fmla="*/ 1366436 w 9310410"/>
              <a:gd name="connsiteY3667" fmla="*/ 2518149 h 5296383"/>
              <a:gd name="connsiteX3668" fmla="*/ 1366436 w 9310410"/>
              <a:gd name="connsiteY3668" fmla="*/ 2519348 h 5296383"/>
              <a:gd name="connsiteX3669" fmla="*/ 1365836 w 9310410"/>
              <a:gd name="connsiteY3669" fmla="*/ 2522943 h 5296383"/>
              <a:gd name="connsiteX3670" fmla="*/ 1365836 w 9310410"/>
              <a:gd name="connsiteY3670" fmla="*/ 2521745 h 5296383"/>
              <a:gd name="connsiteX3671" fmla="*/ 1365836 w 9310410"/>
              <a:gd name="connsiteY3671" fmla="*/ 2522943 h 5296383"/>
              <a:gd name="connsiteX3672" fmla="*/ 1365836 w 9310410"/>
              <a:gd name="connsiteY3672" fmla="*/ 2527138 h 5296383"/>
              <a:gd name="connsiteX3673" fmla="*/ 1365836 w 9310410"/>
              <a:gd name="connsiteY3673" fmla="*/ 2525940 h 5296383"/>
              <a:gd name="connsiteX3674" fmla="*/ 1365836 w 9310410"/>
              <a:gd name="connsiteY3674" fmla="*/ 2527138 h 5296383"/>
              <a:gd name="connsiteX3675" fmla="*/ 1179462 w 9310410"/>
              <a:gd name="connsiteY3675" fmla="*/ 2201733 h 5296383"/>
              <a:gd name="connsiteX3676" fmla="*/ 1178264 w 9310410"/>
              <a:gd name="connsiteY3676" fmla="*/ 2201733 h 5296383"/>
              <a:gd name="connsiteX3677" fmla="*/ 1179462 w 9310410"/>
              <a:gd name="connsiteY3677" fmla="*/ 2201733 h 5296383"/>
              <a:gd name="connsiteX3678" fmla="*/ 1182459 w 9310410"/>
              <a:gd name="connsiteY3678" fmla="*/ 2201733 h 5296383"/>
              <a:gd name="connsiteX3679" fmla="*/ 1181260 w 9310410"/>
              <a:gd name="connsiteY3679" fmla="*/ 2201733 h 5296383"/>
              <a:gd name="connsiteX3680" fmla="*/ 1182459 w 9310410"/>
              <a:gd name="connsiteY3680" fmla="*/ 2201733 h 5296383"/>
              <a:gd name="connsiteX3681" fmla="*/ 1186054 w 9310410"/>
              <a:gd name="connsiteY3681" fmla="*/ 2202332 h 5296383"/>
              <a:gd name="connsiteX3682" fmla="*/ 1184856 w 9310410"/>
              <a:gd name="connsiteY3682" fmla="*/ 2202332 h 5296383"/>
              <a:gd name="connsiteX3683" fmla="*/ 1186054 w 9310410"/>
              <a:gd name="connsiteY3683" fmla="*/ 2202332 h 5296383"/>
              <a:gd name="connsiteX3684" fmla="*/ 1189051 w 9310410"/>
              <a:gd name="connsiteY3684" fmla="*/ 2202332 h 5296383"/>
              <a:gd name="connsiteX3685" fmla="*/ 1187852 w 9310410"/>
              <a:gd name="connsiteY3685" fmla="*/ 2202332 h 5296383"/>
              <a:gd name="connsiteX3686" fmla="*/ 1189051 w 9310410"/>
              <a:gd name="connsiteY3686" fmla="*/ 2202332 h 5296383"/>
              <a:gd name="connsiteX3687" fmla="*/ 1191448 w 9310410"/>
              <a:gd name="connsiteY3687" fmla="*/ 2202332 h 5296383"/>
              <a:gd name="connsiteX3688" fmla="*/ 1190848 w 9310410"/>
              <a:gd name="connsiteY3688" fmla="*/ 2202332 h 5296383"/>
              <a:gd name="connsiteX3689" fmla="*/ 1191448 w 9310410"/>
              <a:gd name="connsiteY3689" fmla="*/ 2202332 h 5296383"/>
              <a:gd name="connsiteX3690" fmla="*/ 1175867 w 9310410"/>
              <a:gd name="connsiteY3690" fmla="*/ 2201733 h 5296383"/>
              <a:gd name="connsiteX3691" fmla="*/ 1174668 w 9310410"/>
              <a:gd name="connsiteY3691" fmla="*/ 2201733 h 5296383"/>
              <a:gd name="connsiteX3692" fmla="*/ 1175867 w 9310410"/>
              <a:gd name="connsiteY3692" fmla="*/ 2201733 h 5296383"/>
              <a:gd name="connsiteX3693" fmla="*/ 1169275 w 9310410"/>
              <a:gd name="connsiteY3693" fmla="*/ 2201133 h 5296383"/>
              <a:gd name="connsiteX3694" fmla="*/ 1167477 w 9310410"/>
              <a:gd name="connsiteY3694" fmla="*/ 2201133 h 5296383"/>
              <a:gd name="connsiteX3695" fmla="*/ 1169275 w 9310410"/>
              <a:gd name="connsiteY3695" fmla="*/ 2201133 h 5296383"/>
              <a:gd name="connsiteX3696" fmla="*/ 1172271 w 9310410"/>
              <a:gd name="connsiteY3696" fmla="*/ 2201133 h 5296383"/>
              <a:gd name="connsiteX3697" fmla="*/ 1171072 w 9310410"/>
              <a:gd name="connsiteY3697" fmla="*/ 2201133 h 5296383"/>
              <a:gd name="connsiteX3698" fmla="*/ 1172271 w 9310410"/>
              <a:gd name="connsiteY3698" fmla="*/ 2201133 h 5296383"/>
              <a:gd name="connsiteX3699" fmla="*/ 1162683 w 9310410"/>
              <a:gd name="connsiteY3699" fmla="*/ 2201133 h 5296383"/>
              <a:gd name="connsiteX3700" fmla="*/ 1160285 w 9310410"/>
              <a:gd name="connsiteY3700" fmla="*/ 2201133 h 5296383"/>
              <a:gd name="connsiteX3701" fmla="*/ 1162683 w 9310410"/>
              <a:gd name="connsiteY3701" fmla="*/ 2201133 h 5296383"/>
              <a:gd name="connsiteX3702" fmla="*/ 1165080 w 9310410"/>
              <a:gd name="connsiteY3702" fmla="*/ 2201133 h 5296383"/>
              <a:gd name="connsiteX3703" fmla="*/ 1164480 w 9310410"/>
              <a:gd name="connsiteY3703" fmla="*/ 2201133 h 5296383"/>
              <a:gd name="connsiteX3704" fmla="*/ 1165080 w 9310410"/>
              <a:gd name="connsiteY3704" fmla="*/ 2201133 h 5296383"/>
              <a:gd name="connsiteX3705" fmla="*/ 1157888 w 9310410"/>
              <a:gd name="connsiteY3705" fmla="*/ 2200534 h 5296383"/>
              <a:gd name="connsiteX3706" fmla="*/ 1154293 w 9310410"/>
              <a:gd name="connsiteY3706" fmla="*/ 2200534 h 5296383"/>
              <a:gd name="connsiteX3707" fmla="*/ 1157888 w 9310410"/>
              <a:gd name="connsiteY3707" fmla="*/ 2200534 h 5296383"/>
              <a:gd name="connsiteX3708" fmla="*/ 1154293 w 9310410"/>
              <a:gd name="connsiteY3708" fmla="*/ 2200534 h 5296383"/>
              <a:gd name="connsiteX3709" fmla="*/ 1153094 w 9310410"/>
              <a:gd name="connsiteY3709" fmla="*/ 2200534 h 5296383"/>
              <a:gd name="connsiteX3710" fmla="*/ 1154293 w 9310410"/>
              <a:gd name="connsiteY3710" fmla="*/ 2200534 h 5296383"/>
              <a:gd name="connsiteX3711" fmla="*/ 755176 w 9310410"/>
              <a:gd name="connsiteY3711" fmla="*/ 2519348 h 5296383"/>
              <a:gd name="connsiteX3712" fmla="*/ 745588 w 9310410"/>
              <a:gd name="connsiteY3712" fmla="*/ 2527138 h 5296383"/>
              <a:gd name="connsiteX3713" fmla="*/ 743790 w 9310410"/>
              <a:gd name="connsiteY3713" fmla="*/ 2530734 h 5296383"/>
              <a:gd name="connsiteX3714" fmla="*/ 747985 w 9310410"/>
              <a:gd name="connsiteY3714" fmla="*/ 2525940 h 5296383"/>
              <a:gd name="connsiteX3715" fmla="*/ 755176 w 9310410"/>
              <a:gd name="connsiteY3715" fmla="*/ 2519348 h 5296383"/>
              <a:gd name="connsiteX3716" fmla="*/ 398009 w 9310410"/>
              <a:gd name="connsiteY3716" fmla="*/ 1920074 h 5296383"/>
              <a:gd name="connsiteX3717" fmla="*/ 417785 w 9310410"/>
              <a:gd name="connsiteY3717" fmla="*/ 1874529 h 5296383"/>
              <a:gd name="connsiteX3718" fmla="*/ 443554 w 9310410"/>
              <a:gd name="connsiteY3718" fmla="*/ 1930261 h 5296383"/>
              <a:gd name="connsiteX3719" fmla="*/ 417785 w 9310410"/>
              <a:gd name="connsiteY3719" fmla="*/ 1873930 h 5296383"/>
              <a:gd name="connsiteX3720" fmla="*/ 398009 w 9310410"/>
              <a:gd name="connsiteY3720" fmla="*/ 1920074 h 5296383"/>
              <a:gd name="connsiteX3721" fmla="*/ 147513 w 9310410"/>
              <a:gd name="connsiteY3721" fmla="*/ 2539723 h 5296383"/>
              <a:gd name="connsiteX3722" fmla="*/ 151108 w 9310410"/>
              <a:gd name="connsiteY3722" fmla="*/ 2540322 h 5296383"/>
              <a:gd name="connsiteX3723" fmla="*/ 152307 w 9310410"/>
              <a:gd name="connsiteY3723" fmla="*/ 2539723 h 5296383"/>
              <a:gd name="connsiteX3724" fmla="*/ 151707 w 9310410"/>
              <a:gd name="connsiteY3724" fmla="*/ 2539723 h 5296383"/>
              <a:gd name="connsiteX3725" fmla="*/ 147513 w 9310410"/>
              <a:gd name="connsiteY3725" fmla="*/ 2539723 h 5296383"/>
              <a:gd name="connsiteX3726" fmla="*/ 160097 w 9310410"/>
              <a:gd name="connsiteY3726" fmla="*/ 2539723 h 5296383"/>
              <a:gd name="connsiteX3727" fmla="*/ 167289 w 9310410"/>
              <a:gd name="connsiteY3727" fmla="*/ 2542120 h 5296383"/>
              <a:gd name="connsiteX3728" fmla="*/ 160097 w 9310410"/>
              <a:gd name="connsiteY3728" fmla="*/ 2539723 h 5296383"/>
              <a:gd name="connsiteX3729" fmla="*/ 143917 w 9310410"/>
              <a:gd name="connsiteY3729" fmla="*/ 2537925 h 5296383"/>
              <a:gd name="connsiteX3730" fmla="*/ 137924 w 9310410"/>
              <a:gd name="connsiteY3730" fmla="*/ 2541521 h 5296383"/>
              <a:gd name="connsiteX3731" fmla="*/ 143917 w 9310410"/>
              <a:gd name="connsiteY3731" fmla="*/ 2537925 h 5296383"/>
              <a:gd name="connsiteX3732" fmla="*/ 396810 w 9310410"/>
              <a:gd name="connsiteY3732" fmla="*/ 2603246 h 5296383"/>
              <a:gd name="connsiteX3733" fmla="*/ 400406 w 9310410"/>
              <a:gd name="connsiteY3733" fmla="*/ 2600849 h 5296383"/>
              <a:gd name="connsiteX3734" fmla="*/ 396810 w 9310410"/>
              <a:gd name="connsiteY3734" fmla="*/ 2603246 h 5296383"/>
              <a:gd name="connsiteX3735" fmla="*/ 469323 w 9310410"/>
              <a:gd name="connsiteY3735" fmla="*/ 2569088 h 5296383"/>
              <a:gd name="connsiteX3736" fmla="*/ 470521 w 9310410"/>
              <a:gd name="connsiteY3736" fmla="*/ 2569088 h 5296383"/>
              <a:gd name="connsiteX3737" fmla="*/ 467525 w 9310410"/>
              <a:gd name="connsiteY3737" fmla="*/ 2562496 h 5296383"/>
              <a:gd name="connsiteX3738" fmla="*/ 469323 w 9310410"/>
              <a:gd name="connsiteY3738" fmla="*/ 2569088 h 5296383"/>
              <a:gd name="connsiteX3739" fmla="*/ 593372 w 9310410"/>
              <a:gd name="connsiteY3739" fmla="*/ 2291025 h 5296383"/>
              <a:gd name="connsiteX3740" fmla="*/ 593972 w 9310410"/>
              <a:gd name="connsiteY3740" fmla="*/ 2289227 h 5296383"/>
              <a:gd name="connsiteX3741" fmla="*/ 593372 w 9310410"/>
              <a:gd name="connsiteY3741" fmla="*/ 2291025 h 5296383"/>
              <a:gd name="connsiteX3742" fmla="*/ 591575 w 9310410"/>
              <a:gd name="connsiteY3742" fmla="*/ 2295819 h 5296383"/>
              <a:gd name="connsiteX3743" fmla="*/ 592174 w 9310410"/>
              <a:gd name="connsiteY3743" fmla="*/ 2294021 h 5296383"/>
              <a:gd name="connsiteX3744" fmla="*/ 591575 w 9310410"/>
              <a:gd name="connsiteY3744" fmla="*/ 2295819 h 5296383"/>
              <a:gd name="connsiteX3745" fmla="*/ 590376 w 9310410"/>
              <a:gd name="connsiteY3745" fmla="*/ 2300613 h 5296383"/>
              <a:gd name="connsiteX3746" fmla="*/ 590975 w 9310410"/>
              <a:gd name="connsiteY3746" fmla="*/ 2298815 h 5296383"/>
              <a:gd name="connsiteX3747" fmla="*/ 590376 w 9310410"/>
              <a:gd name="connsiteY3747" fmla="*/ 2300613 h 5296383"/>
              <a:gd name="connsiteX3748" fmla="*/ 588578 w 9310410"/>
              <a:gd name="connsiteY3748" fmla="*/ 2304808 h 5296383"/>
              <a:gd name="connsiteX3749" fmla="*/ 589177 w 9310410"/>
              <a:gd name="connsiteY3749" fmla="*/ 2303010 h 5296383"/>
              <a:gd name="connsiteX3750" fmla="*/ 588578 w 9310410"/>
              <a:gd name="connsiteY3750" fmla="*/ 2304808 h 5296383"/>
              <a:gd name="connsiteX3751" fmla="*/ 587380 w 9310410"/>
              <a:gd name="connsiteY3751" fmla="*/ 2309602 h 5296383"/>
              <a:gd name="connsiteX3752" fmla="*/ 587979 w 9310410"/>
              <a:gd name="connsiteY3752" fmla="*/ 2307804 h 5296383"/>
              <a:gd name="connsiteX3753" fmla="*/ 587380 w 9310410"/>
              <a:gd name="connsiteY3753" fmla="*/ 2309602 h 5296383"/>
              <a:gd name="connsiteX3754" fmla="*/ 586181 w 9310410"/>
              <a:gd name="connsiteY3754" fmla="*/ 2313198 h 5296383"/>
              <a:gd name="connsiteX3755" fmla="*/ 586780 w 9310410"/>
              <a:gd name="connsiteY3755" fmla="*/ 2311999 h 5296383"/>
              <a:gd name="connsiteX3756" fmla="*/ 586181 w 9310410"/>
              <a:gd name="connsiteY3756" fmla="*/ 2313198 h 5296383"/>
              <a:gd name="connsiteX3757" fmla="*/ 584982 w 9310410"/>
              <a:gd name="connsiteY3757" fmla="*/ 2316793 h 5296383"/>
              <a:gd name="connsiteX3758" fmla="*/ 585582 w 9310410"/>
              <a:gd name="connsiteY3758" fmla="*/ 2315595 h 5296383"/>
              <a:gd name="connsiteX3759" fmla="*/ 584982 w 9310410"/>
              <a:gd name="connsiteY3759" fmla="*/ 2316793 h 5296383"/>
              <a:gd name="connsiteX3760" fmla="*/ 584383 w 9310410"/>
              <a:gd name="connsiteY3760" fmla="*/ 2319790 h 5296383"/>
              <a:gd name="connsiteX3761" fmla="*/ 584383 w 9310410"/>
              <a:gd name="connsiteY3761" fmla="*/ 2319190 h 5296383"/>
              <a:gd name="connsiteX3762" fmla="*/ 584383 w 9310410"/>
              <a:gd name="connsiteY3762" fmla="*/ 2319790 h 5296383"/>
              <a:gd name="connsiteX3763" fmla="*/ 797126 w 9310410"/>
              <a:gd name="connsiteY3763" fmla="*/ 3366122 h 5296383"/>
              <a:gd name="connsiteX3764" fmla="*/ 796526 w 9310410"/>
              <a:gd name="connsiteY3764" fmla="*/ 3362526 h 5296383"/>
              <a:gd name="connsiteX3765" fmla="*/ 797126 w 9310410"/>
              <a:gd name="connsiteY3765" fmla="*/ 3366122 h 5296383"/>
              <a:gd name="connsiteX3766" fmla="*/ 798324 w 9310410"/>
              <a:gd name="connsiteY3766" fmla="*/ 3375111 h 5296383"/>
              <a:gd name="connsiteX3767" fmla="*/ 797126 w 9310410"/>
              <a:gd name="connsiteY3767" fmla="*/ 3366122 h 5296383"/>
              <a:gd name="connsiteX3768" fmla="*/ 795927 w 9310410"/>
              <a:gd name="connsiteY3768" fmla="*/ 3360129 h 5296383"/>
              <a:gd name="connsiteX3769" fmla="*/ 796526 w 9310410"/>
              <a:gd name="connsiteY3769" fmla="*/ 3361927 h 5296383"/>
              <a:gd name="connsiteX3770" fmla="*/ 795927 w 9310410"/>
              <a:gd name="connsiteY3770" fmla="*/ 3360129 h 5296383"/>
              <a:gd name="connsiteX3771" fmla="*/ 1322689 w 9310410"/>
              <a:gd name="connsiteY3771" fmla="*/ 4000154 h 5296383"/>
              <a:gd name="connsiteX3772" fmla="*/ 1328082 w 9310410"/>
              <a:gd name="connsiteY3772" fmla="*/ 4005547 h 5296383"/>
              <a:gd name="connsiteX3773" fmla="*/ 1328082 w 9310410"/>
              <a:gd name="connsiteY3773" fmla="*/ 4000753 h 5296383"/>
              <a:gd name="connsiteX3774" fmla="*/ 1328082 w 9310410"/>
              <a:gd name="connsiteY3774" fmla="*/ 4001352 h 5296383"/>
              <a:gd name="connsiteX3775" fmla="*/ 1326884 w 9310410"/>
              <a:gd name="connsiteY3775" fmla="*/ 4002551 h 5296383"/>
              <a:gd name="connsiteX3776" fmla="*/ 1322689 w 9310410"/>
              <a:gd name="connsiteY3776" fmla="*/ 4000154 h 5296383"/>
              <a:gd name="connsiteX3777" fmla="*/ 1338270 w 9310410"/>
              <a:gd name="connsiteY3777" fmla="*/ 3225892 h 5296383"/>
              <a:gd name="connsiteX3778" fmla="*/ 1340068 w 9310410"/>
              <a:gd name="connsiteY3778" fmla="*/ 3237278 h 5296383"/>
              <a:gd name="connsiteX3779" fmla="*/ 1338869 w 9310410"/>
              <a:gd name="connsiteY3779" fmla="*/ 3228888 h 5296383"/>
              <a:gd name="connsiteX3780" fmla="*/ 1337671 w 9310410"/>
              <a:gd name="connsiteY3780" fmla="*/ 3222896 h 5296383"/>
              <a:gd name="connsiteX3781" fmla="*/ 1338270 w 9310410"/>
              <a:gd name="connsiteY3781" fmla="*/ 3225892 h 5296383"/>
              <a:gd name="connsiteX3782" fmla="*/ 1421569 w 9310410"/>
              <a:gd name="connsiteY3782" fmla="*/ 2186751 h 5296383"/>
              <a:gd name="connsiteX3783" fmla="*/ 1420970 w 9310410"/>
              <a:gd name="connsiteY3783" fmla="*/ 2189148 h 5296383"/>
              <a:gd name="connsiteX3784" fmla="*/ 1421569 w 9310410"/>
              <a:gd name="connsiteY3784" fmla="*/ 2186751 h 5296383"/>
              <a:gd name="connsiteX3785" fmla="*/ 1423966 w 9310410"/>
              <a:gd name="connsiteY3785" fmla="*/ 2184354 h 5296383"/>
              <a:gd name="connsiteX3786" fmla="*/ 1425165 w 9310410"/>
              <a:gd name="connsiteY3786" fmla="*/ 2184953 h 5296383"/>
              <a:gd name="connsiteX3787" fmla="*/ 1423966 w 9310410"/>
              <a:gd name="connsiteY3787" fmla="*/ 2184354 h 5296383"/>
              <a:gd name="connsiteX3788" fmla="*/ 1422767 w 9310410"/>
              <a:gd name="connsiteY3788" fmla="*/ 2184953 h 5296383"/>
              <a:gd name="connsiteX3789" fmla="*/ 1423966 w 9310410"/>
              <a:gd name="connsiteY3789" fmla="*/ 2184354 h 5296383"/>
              <a:gd name="connsiteX3790" fmla="*/ 1422767 w 9310410"/>
              <a:gd name="connsiteY3790" fmla="*/ 2184953 h 5296383"/>
              <a:gd name="connsiteX3791" fmla="*/ 1421569 w 9310410"/>
              <a:gd name="connsiteY3791" fmla="*/ 2186751 h 5296383"/>
              <a:gd name="connsiteX3792" fmla="*/ 1422767 w 9310410"/>
              <a:gd name="connsiteY3792" fmla="*/ 2185552 h 5296383"/>
              <a:gd name="connsiteX3793" fmla="*/ 1421569 w 9310410"/>
              <a:gd name="connsiteY3793" fmla="*/ 2186751 h 5296383"/>
              <a:gd name="connsiteX3794" fmla="*/ 1166878 w 9310410"/>
              <a:gd name="connsiteY3794" fmla="*/ 2152592 h 5296383"/>
              <a:gd name="connsiteX3795" fmla="*/ 1168076 w 9310410"/>
              <a:gd name="connsiteY3795" fmla="*/ 2148997 h 5296383"/>
              <a:gd name="connsiteX3796" fmla="*/ 1166878 w 9310410"/>
              <a:gd name="connsiteY3796" fmla="*/ 2152592 h 5296383"/>
              <a:gd name="connsiteX3797" fmla="*/ 1163282 w 9310410"/>
              <a:gd name="connsiteY3797" fmla="*/ 2162780 h 5296383"/>
              <a:gd name="connsiteX3798" fmla="*/ 1163881 w 9310410"/>
              <a:gd name="connsiteY3798" fmla="*/ 2160383 h 5296383"/>
              <a:gd name="connsiteX3799" fmla="*/ 1163282 w 9310410"/>
              <a:gd name="connsiteY3799" fmla="*/ 2162780 h 5296383"/>
              <a:gd name="connsiteX3800" fmla="*/ 1165080 w 9310410"/>
              <a:gd name="connsiteY3800" fmla="*/ 2157386 h 5296383"/>
              <a:gd name="connsiteX3801" fmla="*/ 1165679 w 9310410"/>
              <a:gd name="connsiteY3801" fmla="*/ 2154989 h 5296383"/>
              <a:gd name="connsiteX3802" fmla="*/ 1165080 w 9310410"/>
              <a:gd name="connsiteY3802" fmla="*/ 2157386 h 5296383"/>
              <a:gd name="connsiteX3803" fmla="*/ 1160885 w 9310410"/>
              <a:gd name="connsiteY3803" fmla="*/ 2169372 h 5296383"/>
              <a:gd name="connsiteX3804" fmla="*/ 1161484 w 9310410"/>
              <a:gd name="connsiteY3804" fmla="*/ 2167574 h 5296383"/>
              <a:gd name="connsiteX3805" fmla="*/ 1160885 w 9310410"/>
              <a:gd name="connsiteY3805" fmla="*/ 2169372 h 5296383"/>
              <a:gd name="connsiteX3806" fmla="*/ 1158488 w 9310410"/>
              <a:gd name="connsiteY3806" fmla="*/ 2176563 h 5296383"/>
              <a:gd name="connsiteX3807" fmla="*/ 1159087 w 9310410"/>
              <a:gd name="connsiteY3807" fmla="*/ 2174765 h 5296383"/>
              <a:gd name="connsiteX3808" fmla="*/ 1158488 w 9310410"/>
              <a:gd name="connsiteY3808" fmla="*/ 2176563 h 5296383"/>
              <a:gd name="connsiteX3809" fmla="*/ 1156091 w 9310410"/>
              <a:gd name="connsiteY3809" fmla="*/ 2183754 h 5296383"/>
              <a:gd name="connsiteX3810" fmla="*/ 1156690 w 9310410"/>
              <a:gd name="connsiteY3810" fmla="*/ 2181357 h 5296383"/>
              <a:gd name="connsiteX3811" fmla="*/ 1156091 w 9310410"/>
              <a:gd name="connsiteY3811" fmla="*/ 2183754 h 5296383"/>
              <a:gd name="connsiteX3812" fmla="*/ 1153694 w 9310410"/>
              <a:gd name="connsiteY3812" fmla="*/ 2191545 h 5296383"/>
              <a:gd name="connsiteX3813" fmla="*/ 1154892 w 9310410"/>
              <a:gd name="connsiteY3813" fmla="*/ 2187949 h 5296383"/>
              <a:gd name="connsiteX3814" fmla="*/ 1153694 w 9310410"/>
              <a:gd name="connsiteY3814" fmla="*/ 2191545 h 5296383"/>
              <a:gd name="connsiteX3815" fmla="*/ 1150697 w 9310410"/>
              <a:gd name="connsiteY3815" fmla="*/ 2200534 h 5296383"/>
              <a:gd name="connsiteX3816" fmla="*/ 1151896 w 9310410"/>
              <a:gd name="connsiteY3816" fmla="*/ 2195740 h 5296383"/>
              <a:gd name="connsiteX3817" fmla="*/ 1150697 w 9310410"/>
              <a:gd name="connsiteY3817" fmla="*/ 2199935 h 5296383"/>
              <a:gd name="connsiteX3818" fmla="*/ 1150697 w 9310410"/>
              <a:gd name="connsiteY3818" fmla="*/ 2200534 h 5296383"/>
              <a:gd name="connsiteX3819" fmla="*/ 1138712 w 9310410"/>
              <a:gd name="connsiteY3819" fmla="*/ 2242483 h 5296383"/>
              <a:gd name="connsiteX3820" fmla="*/ 1150697 w 9310410"/>
              <a:gd name="connsiteY3820" fmla="*/ 2204130 h 5296383"/>
              <a:gd name="connsiteX3821" fmla="*/ 1138712 w 9310410"/>
              <a:gd name="connsiteY3821" fmla="*/ 2242483 h 5296383"/>
              <a:gd name="connsiteX3822" fmla="*/ 1097961 w 9310410"/>
              <a:gd name="connsiteY3822" fmla="*/ 2297616 h 5296383"/>
              <a:gd name="connsiteX3823" fmla="*/ 1099759 w 9310410"/>
              <a:gd name="connsiteY3823" fmla="*/ 2294021 h 5296383"/>
              <a:gd name="connsiteX3824" fmla="*/ 1103954 w 9310410"/>
              <a:gd name="connsiteY3824" fmla="*/ 2274844 h 5296383"/>
              <a:gd name="connsiteX3825" fmla="*/ 1097961 w 9310410"/>
              <a:gd name="connsiteY3825" fmla="*/ 2297616 h 5296383"/>
              <a:gd name="connsiteX3826" fmla="*/ 982301 w 9310410"/>
              <a:gd name="connsiteY3826" fmla="*/ 1572495 h 5296383"/>
              <a:gd name="connsiteX3827" fmla="*/ 982900 w 9310410"/>
              <a:gd name="connsiteY3827" fmla="*/ 1570697 h 5296383"/>
              <a:gd name="connsiteX3828" fmla="*/ 982301 w 9310410"/>
              <a:gd name="connsiteY3828" fmla="*/ 1572495 h 5296383"/>
              <a:gd name="connsiteX3829" fmla="*/ 409395 w 9310410"/>
              <a:gd name="connsiteY3829" fmla="*/ 1861345 h 5296383"/>
              <a:gd name="connsiteX3830" fmla="*/ 421381 w 9310410"/>
              <a:gd name="connsiteY3830" fmla="*/ 1863143 h 5296383"/>
              <a:gd name="connsiteX3831" fmla="*/ 421381 w 9310410"/>
              <a:gd name="connsiteY3831" fmla="*/ 1863143 h 5296383"/>
              <a:gd name="connsiteX3832" fmla="*/ 416587 w 9310410"/>
              <a:gd name="connsiteY3832" fmla="*/ 1861944 h 5296383"/>
              <a:gd name="connsiteX3833" fmla="*/ 409395 w 9310410"/>
              <a:gd name="connsiteY3833" fmla="*/ 1861345 h 5296383"/>
              <a:gd name="connsiteX3834" fmla="*/ 226017 w 9310410"/>
              <a:gd name="connsiteY3834" fmla="*/ 2635607 h 5296383"/>
              <a:gd name="connsiteX3835" fmla="*/ 226017 w 9310410"/>
              <a:gd name="connsiteY3835" fmla="*/ 2634408 h 5296383"/>
              <a:gd name="connsiteX3836" fmla="*/ 221223 w 9310410"/>
              <a:gd name="connsiteY3836" fmla="*/ 2635008 h 5296383"/>
              <a:gd name="connsiteX3837" fmla="*/ 217028 w 9310410"/>
              <a:gd name="connsiteY3837" fmla="*/ 2634408 h 5296383"/>
              <a:gd name="connsiteX3838" fmla="*/ 219425 w 9310410"/>
              <a:gd name="connsiteY3838" fmla="*/ 2635008 h 5296383"/>
              <a:gd name="connsiteX3839" fmla="*/ 226017 w 9310410"/>
              <a:gd name="connsiteY3839" fmla="*/ 2635607 h 5296383"/>
              <a:gd name="connsiteX3840" fmla="*/ 446550 w 9310410"/>
              <a:gd name="connsiteY3840" fmla="*/ 2788422 h 5296383"/>
              <a:gd name="connsiteX3841" fmla="*/ 446550 w 9310410"/>
              <a:gd name="connsiteY3841" fmla="*/ 2790220 h 5296383"/>
              <a:gd name="connsiteX3842" fmla="*/ 446550 w 9310410"/>
              <a:gd name="connsiteY3842" fmla="*/ 2788422 h 5296383"/>
              <a:gd name="connsiteX3843" fmla="*/ 445352 w 9310410"/>
              <a:gd name="connsiteY3843" fmla="*/ 2808797 h 5296383"/>
              <a:gd name="connsiteX3844" fmla="*/ 444153 w 9310410"/>
              <a:gd name="connsiteY3844" fmla="*/ 2818386 h 5296383"/>
              <a:gd name="connsiteX3845" fmla="*/ 445352 w 9310410"/>
              <a:gd name="connsiteY3845" fmla="*/ 2808797 h 5296383"/>
              <a:gd name="connsiteX3846" fmla="*/ 445352 w 9310410"/>
              <a:gd name="connsiteY3846" fmla="*/ 2805801 h 5296383"/>
              <a:gd name="connsiteX3847" fmla="*/ 445352 w 9310410"/>
              <a:gd name="connsiteY3847" fmla="*/ 2808198 h 5296383"/>
              <a:gd name="connsiteX3848" fmla="*/ 445352 w 9310410"/>
              <a:gd name="connsiteY3848" fmla="*/ 2805801 h 5296383"/>
              <a:gd name="connsiteX3849" fmla="*/ 445951 w 9310410"/>
              <a:gd name="connsiteY3849" fmla="*/ 2803404 h 5296383"/>
              <a:gd name="connsiteX3850" fmla="*/ 445951 w 9310410"/>
              <a:gd name="connsiteY3850" fmla="*/ 2805801 h 5296383"/>
              <a:gd name="connsiteX3851" fmla="*/ 445951 w 9310410"/>
              <a:gd name="connsiteY3851" fmla="*/ 2803404 h 5296383"/>
              <a:gd name="connsiteX3852" fmla="*/ 445951 w 9310410"/>
              <a:gd name="connsiteY3852" fmla="*/ 2800407 h 5296383"/>
              <a:gd name="connsiteX3853" fmla="*/ 445951 w 9310410"/>
              <a:gd name="connsiteY3853" fmla="*/ 2802205 h 5296383"/>
              <a:gd name="connsiteX3854" fmla="*/ 445951 w 9310410"/>
              <a:gd name="connsiteY3854" fmla="*/ 2800407 h 5296383"/>
              <a:gd name="connsiteX3855" fmla="*/ 445951 w 9310410"/>
              <a:gd name="connsiteY3855" fmla="*/ 2798010 h 5296383"/>
              <a:gd name="connsiteX3856" fmla="*/ 445951 w 9310410"/>
              <a:gd name="connsiteY3856" fmla="*/ 2799808 h 5296383"/>
              <a:gd name="connsiteX3857" fmla="*/ 445951 w 9310410"/>
              <a:gd name="connsiteY3857" fmla="*/ 2798010 h 5296383"/>
              <a:gd name="connsiteX3858" fmla="*/ 446550 w 9310410"/>
              <a:gd name="connsiteY3858" fmla="*/ 2795014 h 5296383"/>
              <a:gd name="connsiteX3859" fmla="*/ 446550 w 9310410"/>
              <a:gd name="connsiteY3859" fmla="*/ 2796812 h 5296383"/>
              <a:gd name="connsiteX3860" fmla="*/ 446550 w 9310410"/>
              <a:gd name="connsiteY3860" fmla="*/ 2795014 h 5296383"/>
              <a:gd name="connsiteX3861" fmla="*/ 446550 w 9310410"/>
              <a:gd name="connsiteY3861" fmla="*/ 2794415 h 5296383"/>
              <a:gd name="connsiteX3862" fmla="*/ 446550 w 9310410"/>
              <a:gd name="connsiteY3862" fmla="*/ 2792617 h 5296383"/>
              <a:gd name="connsiteX3863" fmla="*/ 446550 w 9310410"/>
              <a:gd name="connsiteY3863" fmla="*/ 2794415 h 5296383"/>
              <a:gd name="connsiteX3864" fmla="*/ 446550 w 9310410"/>
              <a:gd name="connsiteY3864" fmla="*/ 2790819 h 5296383"/>
              <a:gd name="connsiteX3865" fmla="*/ 446550 w 9310410"/>
              <a:gd name="connsiteY3865" fmla="*/ 2792017 h 5296383"/>
              <a:gd name="connsiteX3866" fmla="*/ 446550 w 9310410"/>
              <a:gd name="connsiteY3866" fmla="*/ 2790819 h 5296383"/>
              <a:gd name="connsiteX3867" fmla="*/ 607755 w 9310410"/>
              <a:gd name="connsiteY3867" fmla="*/ 3004161 h 5296383"/>
              <a:gd name="connsiteX3868" fmla="*/ 615545 w 9310410"/>
              <a:gd name="connsiteY3868" fmla="*/ 3007756 h 5296383"/>
              <a:gd name="connsiteX3869" fmla="*/ 612549 w 9310410"/>
              <a:gd name="connsiteY3869" fmla="*/ 3005958 h 5296383"/>
              <a:gd name="connsiteX3870" fmla="*/ 607755 w 9310410"/>
              <a:gd name="connsiteY3870" fmla="*/ 3004161 h 5296383"/>
              <a:gd name="connsiteX3871" fmla="*/ 791732 w 9310410"/>
              <a:gd name="connsiteY3871" fmla="*/ 3357133 h 5296383"/>
              <a:gd name="connsiteX3872" fmla="*/ 740794 w 9310410"/>
              <a:gd name="connsiteY3872" fmla="*/ 3357133 h 5296383"/>
              <a:gd name="connsiteX3873" fmla="*/ 729408 w 9310410"/>
              <a:gd name="connsiteY3873" fmla="*/ 3357732 h 5296383"/>
              <a:gd name="connsiteX3874" fmla="*/ 791732 w 9310410"/>
              <a:gd name="connsiteY3874" fmla="*/ 3357133 h 5296383"/>
              <a:gd name="connsiteX3875" fmla="*/ 1417973 w 9310410"/>
              <a:gd name="connsiteY3875" fmla="*/ 3544706 h 5296383"/>
              <a:gd name="connsiteX3876" fmla="*/ 1417973 w 9310410"/>
              <a:gd name="connsiteY3876" fmla="*/ 3544706 h 5296383"/>
              <a:gd name="connsiteX3877" fmla="*/ 1419771 w 9310410"/>
              <a:gd name="connsiteY3877" fmla="*/ 3542908 h 5296383"/>
              <a:gd name="connsiteX3878" fmla="*/ 1417973 w 9310410"/>
              <a:gd name="connsiteY3878" fmla="*/ 3544706 h 5296383"/>
              <a:gd name="connsiteX3879" fmla="*/ 1404190 w 9310410"/>
              <a:gd name="connsiteY3879" fmla="*/ 3552496 h 5296383"/>
              <a:gd name="connsiteX3880" fmla="*/ 1404789 w 9310410"/>
              <a:gd name="connsiteY3880" fmla="*/ 3551897 h 5296383"/>
              <a:gd name="connsiteX3881" fmla="*/ 1404190 w 9310410"/>
              <a:gd name="connsiteY3881" fmla="*/ 3552496 h 5296383"/>
              <a:gd name="connsiteX3882" fmla="*/ 1364638 w 9310410"/>
              <a:gd name="connsiteY3882" fmla="*/ 3565081 h 5296383"/>
              <a:gd name="connsiteX3883" fmla="*/ 1353851 w 9310410"/>
              <a:gd name="connsiteY3883" fmla="*/ 3566879 h 5296383"/>
              <a:gd name="connsiteX3884" fmla="*/ 1348458 w 9310410"/>
              <a:gd name="connsiteY3884" fmla="*/ 3568677 h 5296383"/>
              <a:gd name="connsiteX3885" fmla="*/ 1355050 w 9310410"/>
              <a:gd name="connsiteY3885" fmla="*/ 3566879 h 5296383"/>
              <a:gd name="connsiteX3886" fmla="*/ 1365836 w 9310410"/>
              <a:gd name="connsiteY3886" fmla="*/ 3565081 h 5296383"/>
              <a:gd name="connsiteX3887" fmla="*/ 1377822 w 9310410"/>
              <a:gd name="connsiteY3887" fmla="*/ 3559688 h 5296383"/>
              <a:gd name="connsiteX3888" fmla="*/ 1384414 w 9310410"/>
              <a:gd name="connsiteY3888" fmla="*/ 3551897 h 5296383"/>
              <a:gd name="connsiteX3889" fmla="*/ 1386811 w 9310410"/>
              <a:gd name="connsiteY3889" fmla="*/ 3550698 h 5296383"/>
              <a:gd name="connsiteX3890" fmla="*/ 1383215 w 9310410"/>
              <a:gd name="connsiteY3890" fmla="*/ 3551897 h 5296383"/>
              <a:gd name="connsiteX3891" fmla="*/ 1376623 w 9310410"/>
              <a:gd name="connsiteY3891" fmla="*/ 3559688 h 5296383"/>
              <a:gd name="connsiteX3892" fmla="*/ 1364638 w 9310410"/>
              <a:gd name="connsiteY3892" fmla="*/ 3565081 h 5296383"/>
              <a:gd name="connsiteX3893" fmla="*/ 1464117 w 9310410"/>
              <a:gd name="connsiteY3893" fmla="*/ 2934645 h 5296383"/>
              <a:gd name="connsiteX3894" fmla="*/ 1464717 w 9310410"/>
              <a:gd name="connsiteY3894" fmla="*/ 2932248 h 5296383"/>
              <a:gd name="connsiteX3895" fmla="*/ 1463518 w 9310410"/>
              <a:gd name="connsiteY3895" fmla="*/ 2932248 h 5296383"/>
              <a:gd name="connsiteX3896" fmla="*/ 1462919 w 9310410"/>
              <a:gd name="connsiteY3896" fmla="*/ 2935843 h 5296383"/>
              <a:gd name="connsiteX3897" fmla="*/ 1464117 w 9310410"/>
              <a:gd name="connsiteY3897" fmla="*/ 2934645 h 5296383"/>
              <a:gd name="connsiteX3898" fmla="*/ 1523446 w 9310410"/>
              <a:gd name="connsiteY3898" fmla="*/ 2649990 h 5296383"/>
              <a:gd name="connsiteX3899" fmla="*/ 1522846 w 9310410"/>
              <a:gd name="connsiteY3899" fmla="*/ 2650589 h 5296383"/>
              <a:gd name="connsiteX3900" fmla="*/ 1524045 w 9310410"/>
              <a:gd name="connsiteY3900" fmla="*/ 2651787 h 5296383"/>
              <a:gd name="connsiteX3901" fmla="*/ 1523446 w 9310410"/>
              <a:gd name="connsiteY3901" fmla="*/ 2649990 h 5296383"/>
              <a:gd name="connsiteX3902" fmla="*/ 1504269 w 9310410"/>
              <a:gd name="connsiteY3902" fmla="*/ 2607441 h 5296383"/>
              <a:gd name="connsiteX3903" fmla="*/ 1504269 w 9310410"/>
              <a:gd name="connsiteY3903" fmla="*/ 2608040 h 5296383"/>
              <a:gd name="connsiteX3904" fmla="*/ 1505467 w 9310410"/>
              <a:gd name="connsiteY3904" fmla="*/ 2607441 h 5296383"/>
              <a:gd name="connsiteX3905" fmla="*/ 1504269 w 9310410"/>
              <a:gd name="connsiteY3905" fmla="*/ 2607441 h 5296383"/>
              <a:gd name="connsiteX3906" fmla="*/ 3065377 w 9310410"/>
              <a:gd name="connsiteY3906" fmla="*/ 2865728 h 5296383"/>
              <a:gd name="connsiteX3907" fmla="*/ 3068973 w 9310410"/>
              <a:gd name="connsiteY3907" fmla="*/ 2866927 h 5296383"/>
              <a:gd name="connsiteX3908" fmla="*/ 3065377 w 9310410"/>
              <a:gd name="connsiteY3908" fmla="*/ 2865728 h 5296383"/>
              <a:gd name="connsiteX3909" fmla="*/ 1477901 w 9310410"/>
              <a:gd name="connsiteY3909" fmla="*/ 1448445 h 5296383"/>
              <a:gd name="connsiteX3910" fmla="*/ 1479099 w 9310410"/>
              <a:gd name="connsiteY3910" fmla="*/ 1448445 h 5296383"/>
              <a:gd name="connsiteX3911" fmla="*/ 1477301 w 9310410"/>
              <a:gd name="connsiteY3911" fmla="*/ 1448445 h 5296383"/>
              <a:gd name="connsiteX3912" fmla="*/ 1478500 w 9310410"/>
              <a:gd name="connsiteY3912" fmla="*/ 1449644 h 5296383"/>
              <a:gd name="connsiteX3913" fmla="*/ 1477901 w 9310410"/>
              <a:gd name="connsiteY3913" fmla="*/ 1448445 h 5296383"/>
              <a:gd name="connsiteX3914" fmla="*/ 1448536 w 9310410"/>
              <a:gd name="connsiteY3914" fmla="*/ 845576 h 5296383"/>
              <a:gd name="connsiteX3915" fmla="*/ 1448536 w 9310410"/>
              <a:gd name="connsiteY3915" fmla="*/ 845576 h 5296383"/>
              <a:gd name="connsiteX3916" fmla="*/ 1448536 w 9310410"/>
              <a:gd name="connsiteY3916" fmla="*/ 845576 h 5296383"/>
              <a:gd name="connsiteX3917" fmla="*/ 1450334 w 9310410"/>
              <a:gd name="connsiteY3917" fmla="*/ 849171 h 5296383"/>
              <a:gd name="connsiteX3918" fmla="*/ 1452132 w 9310410"/>
              <a:gd name="connsiteY3918" fmla="*/ 851568 h 5296383"/>
              <a:gd name="connsiteX3919" fmla="*/ 1450334 w 9310410"/>
              <a:gd name="connsiteY3919" fmla="*/ 849171 h 5296383"/>
              <a:gd name="connsiteX3920" fmla="*/ 1448536 w 9310410"/>
              <a:gd name="connsiteY3920" fmla="*/ 845576 h 5296383"/>
              <a:gd name="connsiteX3921" fmla="*/ 1514456 w 9310410"/>
              <a:gd name="connsiteY3921" fmla="*/ 916290 h 5296383"/>
              <a:gd name="connsiteX3922" fmla="*/ 1521648 w 9310410"/>
              <a:gd name="connsiteY3922" fmla="*/ 917488 h 5296383"/>
              <a:gd name="connsiteX3923" fmla="*/ 1523446 w 9310410"/>
              <a:gd name="connsiteY3923" fmla="*/ 918088 h 5296383"/>
              <a:gd name="connsiteX3924" fmla="*/ 1521648 w 9310410"/>
              <a:gd name="connsiteY3924" fmla="*/ 917488 h 5296383"/>
              <a:gd name="connsiteX3925" fmla="*/ 1514456 w 9310410"/>
              <a:gd name="connsiteY3925" fmla="*/ 916290 h 5296383"/>
              <a:gd name="connsiteX3926" fmla="*/ 1529438 w 9310410"/>
              <a:gd name="connsiteY3926" fmla="*/ 854565 h 5296383"/>
              <a:gd name="connsiteX3927" fmla="*/ 1528839 w 9310410"/>
              <a:gd name="connsiteY3927" fmla="*/ 850370 h 5296383"/>
              <a:gd name="connsiteX3928" fmla="*/ 1528240 w 9310410"/>
              <a:gd name="connsiteY3928" fmla="*/ 848572 h 5296383"/>
              <a:gd name="connsiteX3929" fmla="*/ 1528839 w 9310410"/>
              <a:gd name="connsiteY3929" fmla="*/ 850370 h 5296383"/>
              <a:gd name="connsiteX3930" fmla="*/ 1529438 w 9310410"/>
              <a:gd name="connsiteY3930" fmla="*/ 854565 h 5296383"/>
              <a:gd name="connsiteX3931" fmla="*/ 1528839 w 9310410"/>
              <a:gd name="connsiteY3931" fmla="*/ 859359 h 5296383"/>
              <a:gd name="connsiteX3932" fmla="*/ 1529438 w 9310410"/>
              <a:gd name="connsiteY3932" fmla="*/ 856962 h 5296383"/>
              <a:gd name="connsiteX3933" fmla="*/ 1528839 w 9310410"/>
              <a:gd name="connsiteY3933" fmla="*/ 859359 h 5296383"/>
              <a:gd name="connsiteX3934" fmla="*/ 1527640 w 9310410"/>
              <a:gd name="connsiteY3934" fmla="*/ 872543 h 5296383"/>
              <a:gd name="connsiteX3935" fmla="*/ 1527640 w 9310410"/>
              <a:gd name="connsiteY3935" fmla="*/ 869547 h 5296383"/>
              <a:gd name="connsiteX3936" fmla="*/ 1527640 w 9310410"/>
              <a:gd name="connsiteY3936" fmla="*/ 872543 h 5296383"/>
              <a:gd name="connsiteX3937" fmla="*/ 2859227 w 9310410"/>
              <a:gd name="connsiteY3937" fmla="*/ 734111 h 5296383"/>
              <a:gd name="connsiteX3938" fmla="*/ 2859227 w 9310410"/>
              <a:gd name="connsiteY3938" fmla="*/ 734111 h 5296383"/>
              <a:gd name="connsiteX3939" fmla="*/ 2859227 w 9310410"/>
              <a:gd name="connsiteY3939" fmla="*/ 734111 h 5296383"/>
              <a:gd name="connsiteX3940" fmla="*/ 2861025 w 9310410"/>
              <a:gd name="connsiteY3940" fmla="*/ 735309 h 5296383"/>
              <a:gd name="connsiteX3941" fmla="*/ 2859227 w 9310410"/>
              <a:gd name="connsiteY3941" fmla="*/ 734111 h 5296383"/>
              <a:gd name="connsiteX3942" fmla="*/ 2858029 w 9310410"/>
              <a:gd name="connsiteY3942" fmla="*/ 732912 h 5296383"/>
              <a:gd name="connsiteX3943" fmla="*/ 2858029 w 9310410"/>
              <a:gd name="connsiteY3943" fmla="*/ 732313 h 5296383"/>
              <a:gd name="connsiteX3944" fmla="*/ 2858029 w 9310410"/>
              <a:gd name="connsiteY3944" fmla="*/ 732912 h 5296383"/>
              <a:gd name="connsiteX3945" fmla="*/ 2859227 w 9310410"/>
              <a:gd name="connsiteY3945" fmla="*/ 734111 h 5296383"/>
              <a:gd name="connsiteX3946" fmla="*/ 2886195 w 9310410"/>
              <a:gd name="connsiteY3946" fmla="*/ 631635 h 5296383"/>
              <a:gd name="connsiteX3947" fmla="*/ 2887992 w 9310410"/>
              <a:gd name="connsiteY3947" fmla="*/ 632234 h 5296383"/>
              <a:gd name="connsiteX3948" fmla="*/ 2891588 w 9310410"/>
              <a:gd name="connsiteY3948" fmla="*/ 634631 h 5296383"/>
              <a:gd name="connsiteX3949" fmla="*/ 2893386 w 9310410"/>
              <a:gd name="connsiteY3949" fmla="*/ 635830 h 5296383"/>
              <a:gd name="connsiteX3950" fmla="*/ 2891588 w 9310410"/>
              <a:gd name="connsiteY3950" fmla="*/ 634631 h 5296383"/>
              <a:gd name="connsiteX3951" fmla="*/ 2887992 w 9310410"/>
              <a:gd name="connsiteY3951" fmla="*/ 632234 h 5296383"/>
              <a:gd name="connsiteX3952" fmla="*/ 2886195 w 9310410"/>
              <a:gd name="connsiteY3952" fmla="*/ 631635 h 5296383"/>
              <a:gd name="connsiteX3953" fmla="*/ 2899378 w 9310410"/>
              <a:gd name="connsiteY3953" fmla="*/ 589086 h 5296383"/>
              <a:gd name="connsiteX3954" fmla="*/ 2899978 w 9310410"/>
              <a:gd name="connsiteY3954" fmla="*/ 590285 h 5296383"/>
              <a:gd name="connsiteX3955" fmla="*/ 2900577 w 9310410"/>
              <a:gd name="connsiteY3955" fmla="*/ 591483 h 5296383"/>
              <a:gd name="connsiteX3956" fmla="*/ 2899978 w 9310410"/>
              <a:gd name="connsiteY3956" fmla="*/ 590285 h 5296383"/>
              <a:gd name="connsiteX3957" fmla="*/ 2899378 w 9310410"/>
              <a:gd name="connsiteY3957" fmla="*/ 589086 h 5296383"/>
              <a:gd name="connsiteX3958" fmla="*/ 3074966 w 9310410"/>
              <a:gd name="connsiteY3958" fmla="*/ 573505 h 5296383"/>
              <a:gd name="connsiteX3959" fmla="*/ 3074966 w 9310410"/>
              <a:gd name="connsiteY3959" fmla="*/ 576502 h 5296383"/>
              <a:gd name="connsiteX3960" fmla="*/ 3074966 w 9310410"/>
              <a:gd name="connsiteY3960" fmla="*/ 573505 h 5296383"/>
              <a:gd name="connsiteX3961" fmla="*/ 3068973 w 9310410"/>
              <a:gd name="connsiteY3961" fmla="*/ 589086 h 5296383"/>
              <a:gd name="connsiteX3962" fmla="*/ 3071370 w 9310410"/>
              <a:gd name="connsiteY3962" fmla="*/ 587289 h 5296383"/>
              <a:gd name="connsiteX3963" fmla="*/ 3068973 w 9310410"/>
              <a:gd name="connsiteY3963" fmla="*/ 589086 h 5296383"/>
              <a:gd name="connsiteX3964" fmla="*/ 3099536 w 9310410"/>
              <a:gd name="connsiteY3964" fmla="*/ 601671 h 5296383"/>
              <a:gd name="connsiteX3965" fmla="*/ 3068973 w 9310410"/>
              <a:gd name="connsiteY3965" fmla="*/ 589086 h 5296383"/>
              <a:gd name="connsiteX3966" fmla="*/ 3121709 w 9310410"/>
              <a:gd name="connsiteY3966" fmla="*/ 566913 h 5296383"/>
              <a:gd name="connsiteX3967" fmla="*/ 3122908 w 9310410"/>
              <a:gd name="connsiteY3967" fmla="*/ 568711 h 5296383"/>
              <a:gd name="connsiteX3968" fmla="*/ 3121709 w 9310410"/>
              <a:gd name="connsiteY3968" fmla="*/ 566913 h 5296383"/>
              <a:gd name="connsiteX3969" fmla="*/ 3179839 w 9310410"/>
              <a:gd name="connsiteY3969" fmla="*/ 627440 h 5296383"/>
              <a:gd name="connsiteX3970" fmla="*/ 3180438 w 9310410"/>
              <a:gd name="connsiteY3970" fmla="*/ 626841 h 5296383"/>
              <a:gd name="connsiteX3971" fmla="*/ 3182835 w 9310410"/>
              <a:gd name="connsiteY3971" fmla="*/ 624443 h 5296383"/>
              <a:gd name="connsiteX3972" fmla="*/ 3180438 w 9310410"/>
              <a:gd name="connsiteY3972" fmla="*/ 626841 h 5296383"/>
              <a:gd name="connsiteX3973" fmla="*/ 3179839 w 9310410"/>
              <a:gd name="connsiteY3973" fmla="*/ 627440 h 5296383"/>
              <a:gd name="connsiteX3974" fmla="*/ 3299094 w 9310410"/>
              <a:gd name="connsiteY3974" fmla="*/ 539347 h 5296383"/>
              <a:gd name="connsiteX3975" fmla="*/ 3304488 w 9310410"/>
              <a:gd name="connsiteY3975" fmla="*/ 541744 h 5296383"/>
              <a:gd name="connsiteX3976" fmla="*/ 3304488 w 9310410"/>
              <a:gd name="connsiteY3976" fmla="*/ 538747 h 5296383"/>
              <a:gd name="connsiteX3977" fmla="*/ 3314675 w 9310410"/>
              <a:gd name="connsiteY3977" fmla="*/ 532755 h 5296383"/>
              <a:gd name="connsiteX3978" fmla="*/ 3299094 w 9310410"/>
              <a:gd name="connsiteY3978" fmla="*/ 539347 h 5296383"/>
              <a:gd name="connsiteX3979" fmla="*/ 3313477 w 9310410"/>
              <a:gd name="connsiteY3979" fmla="*/ 541144 h 5296383"/>
              <a:gd name="connsiteX3980" fmla="*/ 3322466 w 9310410"/>
              <a:gd name="connsiteY3980" fmla="*/ 523765 h 5296383"/>
              <a:gd name="connsiteX3981" fmla="*/ 3317672 w 9310410"/>
              <a:gd name="connsiteY3981" fmla="*/ 511780 h 5296383"/>
              <a:gd name="connsiteX3982" fmla="*/ 3322466 w 9310410"/>
              <a:gd name="connsiteY3982" fmla="*/ 523765 h 5296383"/>
              <a:gd name="connsiteX3983" fmla="*/ 3313477 w 9310410"/>
              <a:gd name="connsiteY3983" fmla="*/ 541144 h 5296383"/>
              <a:gd name="connsiteX3984" fmla="*/ 3328459 w 9310410"/>
              <a:gd name="connsiteY3984" fmla="*/ 512379 h 5296383"/>
              <a:gd name="connsiteX3985" fmla="*/ 3328459 w 9310410"/>
              <a:gd name="connsiteY3985" fmla="*/ 512379 h 5296383"/>
              <a:gd name="connsiteX3986" fmla="*/ 3328459 w 9310410"/>
              <a:gd name="connsiteY3986" fmla="*/ 512379 h 5296383"/>
              <a:gd name="connsiteX3987" fmla="*/ 1233397 w 9310410"/>
              <a:gd name="connsiteY3987" fmla="*/ 1167386 h 5296383"/>
              <a:gd name="connsiteX3988" fmla="*/ 1226206 w 9310410"/>
              <a:gd name="connsiteY3988" fmla="*/ 1169184 h 5296383"/>
              <a:gd name="connsiteX3989" fmla="*/ 1228603 w 9310410"/>
              <a:gd name="connsiteY3989" fmla="*/ 1167386 h 5296383"/>
              <a:gd name="connsiteX3990" fmla="*/ 1233397 w 9310410"/>
              <a:gd name="connsiteY3990" fmla="*/ 1167386 h 5296383"/>
              <a:gd name="connsiteX3991" fmla="*/ 1225007 w 9310410"/>
              <a:gd name="connsiteY3991" fmla="*/ 1072700 h 5296383"/>
              <a:gd name="connsiteX3992" fmla="*/ 1223209 w 9310410"/>
              <a:gd name="connsiteY3992" fmla="*/ 1081090 h 5296383"/>
              <a:gd name="connsiteX3993" fmla="*/ 1223809 w 9310410"/>
              <a:gd name="connsiteY3993" fmla="*/ 1080491 h 5296383"/>
              <a:gd name="connsiteX3994" fmla="*/ 1225606 w 9310410"/>
              <a:gd name="connsiteY3994" fmla="*/ 1076296 h 5296383"/>
              <a:gd name="connsiteX3995" fmla="*/ 1225606 w 9310410"/>
              <a:gd name="connsiteY3995" fmla="*/ 1072101 h 5296383"/>
              <a:gd name="connsiteX3996" fmla="*/ 1225007 w 9310410"/>
              <a:gd name="connsiteY3996" fmla="*/ 1072700 h 5296383"/>
              <a:gd name="connsiteX3997" fmla="*/ 1219614 w 9310410"/>
              <a:gd name="connsiteY3997" fmla="*/ 1160794 h 5296383"/>
              <a:gd name="connsiteX3998" fmla="*/ 1223809 w 9310410"/>
              <a:gd name="connsiteY3998" fmla="*/ 1164389 h 5296383"/>
              <a:gd name="connsiteX3999" fmla="*/ 1222610 w 9310410"/>
              <a:gd name="connsiteY3999" fmla="*/ 1160194 h 5296383"/>
              <a:gd name="connsiteX4000" fmla="*/ 1219614 w 9310410"/>
              <a:gd name="connsiteY4000" fmla="*/ 1160794 h 5296383"/>
              <a:gd name="connsiteX4001" fmla="*/ 1235195 w 9310410"/>
              <a:gd name="connsiteY4001" fmla="*/ 1173978 h 5296383"/>
              <a:gd name="connsiteX4002" fmla="*/ 1239390 w 9310410"/>
              <a:gd name="connsiteY4002" fmla="*/ 1175776 h 5296383"/>
              <a:gd name="connsiteX4003" fmla="*/ 1234596 w 9310410"/>
              <a:gd name="connsiteY4003" fmla="*/ 1171581 h 5296383"/>
              <a:gd name="connsiteX4004" fmla="*/ 1235195 w 9310410"/>
              <a:gd name="connsiteY4004" fmla="*/ 1173978 h 5296383"/>
              <a:gd name="connsiteX4005" fmla="*/ 1486291 w 9310410"/>
              <a:gd name="connsiteY4005" fmla="*/ 844377 h 5296383"/>
              <a:gd name="connsiteX4006" fmla="*/ 1487489 w 9310410"/>
              <a:gd name="connsiteY4006" fmla="*/ 849171 h 5296383"/>
              <a:gd name="connsiteX4007" fmla="*/ 1483294 w 9310410"/>
              <a:gd name="connsiteY4007" fmla="*/ 856962 h 5296383"/>
              <a:gd name="connsiteX4008" fmla="*/ 1487489 w 9310410"/>
              <a:gd name="connsiteY4008" fmla="*/ 849171 h 5296383"/>
              <a:gd name="connsiteX4009" fmla="*/ 1486291 w 9310410"/>
              <a:gd name="connsiteY4009" fmla="*/ 844377 h 5296383"/>
              <a:gd name="connsiteX4010" fmla="*/ 1501272 w 9310410"/>
              <a:gd name="connsiteY4010" fmla="*/ 900110 h 5296383"/>
              <a:gd name="connsiteX4011" fmla="*/ 1500673 w 9310410"/>
              <a:gd name="connsiteY4011" fmla="*/ 900709 h 5296383"/>
              <a:gd name="connsiteX4012" fmla="*/ 1501272 w 9310410"/>
              <a:gd name="connsiteY4012" fmla="*/ 900110 h 5296383"/>
              <a:gd name="connsiteX4013" fmla="*/ 1504269 w 9310410"/>
              <a:gd name="connsiteY4013" fmla="*/ 895915 h 5296383"/>
              <a:gd name="connsiteX4014" fmla="*/ 1501272 w 9310410"/>
              <a:gd name="connsiteY4014" fmla="*/ 900110 h 5296383"/>
              <a:gd name="connsiteX4015" fmla="*/ 1659481 w 9310410"/>
              <a:gd name="connsiteY4015" fmla="*/ 821005 h 5296383"/>
              <a:gd name="connsiteX4016" fmla="*/ 1660080 w 9310410"/>
              <a:gd name="connsiteY4016" fmla="*/ 819208 h 5296383"/>
              <a:gd name="connsiteX4017" fmla="*/ 1661878 w 9310410"/>
              <a:gd name="connsiteY4017" fmla="*/ 818009 h 5296383"/>
              <a:gd name="connsiteX4018" fmla="*/ 1660080 w 9310410"/>
              <a:gd name="connsiteY4018" fmla="*/ 819208 h 5296383"/>
              <a:gd name="connsiteX4019" fmla="*/ 1659481 w 9310410"/>
              <a:gd name="connsiteY4019" fmla="*/ 821005 h 5296383"/>
              <a:gd name="connsiteX4020" fmla="*/ 1794317 w 9310410"/>
              <a:gd name="connsiteY4020" fmla="*/ 858160 h 5296383"/>
              <a:gd name="connsiteX4021" fmla="*/ 1804505 w 9310410"/>
              <a:gd name="connsiteY4021" fmla="*/ 837785 h 5296383"/>
              <a:gd name="connsiteX4022" fmla="*/ 1794317 w 9310410"/>
              <a:gd name="connsiteY4022" fmla="*/ 858160 h 5296383"/>
              <a:gd name="connsiteX4023" fmla="*/ 2894584 w 9310410"/>
              <a:gd name="connsiteY4023" fmla="*/ 748493 h 5296383"/>
              <a:gd name="connsiteX4024" fmla="*/ 2896382 w 9310410"/>
              <a:gd name="connsiteY4024" fmla="*/ 747894 h 5296383"/>
              <a:gd name="connsiteX4025" fmla="*/ 2902375 w 9310410"/>
              <a:gd name="connsiteY4025" fmla="*/ 746096 h 5296383"/>
              <a:gd name="connsiteX4026" fmla="*/ 2896382 w 9310410"/>
              <a:gd name="connsiteY4026" fmla="*/ 747894 h 5296383"/>
              <a:gd name="connsiteX4027" fmla="*/ 2894584 w 9310410"/>
              <a:gd name="connsiteY4027" fmla="*/ 748493 h 5296383"/>
              <a:gd name="connsiteX4028" fmla="*/ 2890389 w 9310410"/>
              <a:gd name="connsiteY4028" fmla="*/ 754486 h 5296383"/>
              <a:gd name="connsiteX4029" fmla="*/ 2908368 w 9310410"/>
              <a:gd name="connsiteY4029" fmla="*/ 756284 h 5296383"/>
              <a:gd name="connsiteX4030" fmla="*/ 2916757 w 9310410"/>
              <a:gd name="connsiteY4030" fmla="*/ 758082 h 5296383"/>
              <a:gd name="connsiteX4031" fmla="*/ 2908368 w 9310410"/>
              <a:gd name="connsiteY4031" fmla="*/ 756284 h 5296383"/>
              <a:gd name="connsiteX4032" fmla="*/ 2890389 w 9310410"/>
              <a:gd name="connsiteY4032" fmla="*/ 754486 h 5296383"/>
              <a:gd name="connsiteX4033" fmla="*/ 2950916 w 9310410"/>
              <a:gd name="connsiteY4033" fmla="*/ 741901 h 5296383"/>
              <a:gd name="connsiteX4034" fmla="*/ 2944324 w 9310410"/>
              <a:gd name="connsiteY4034" fmla="*/ 744298 h 5296383"/>
              <a:gd name="connsiteX4035" fmla="*/ 2950916 w 9310410"/>
              <a:gd name="connsiteY4035" fmla="*/ 741901 h 5296383"/>
              <a:gd name="connsiteX4036" fmla="*/ 1796714 w 9310410"/>
              <a:gd name="connsiteY4036" fmla="*/ 874940 h 5296383"/>
              <a:gd name="connsiteX4037" fmla="*/ 1800909 w 9310410"/>
              <a:gd name="connsiteY4037" fmla="*/ 871944 h 5296383"/>
              <a:gd name="connsiteX4038" fmla="*/ 1803306 w 9310410"/>
              <a:gd name="connsiteY4038" fmla="*/ 869547 h 5296383"/>
              <a:gd name="connsiteX4039" fmla="*/ 1800909 w 9310410"/>
              <a:gd name="connsiteY4039" fmla="*/ 871944 h 5296383"/>
              <a:gd name="connsiteX4040" fmla="*/ 1796714 w 9310410"/>
              <a:gd name="connsiteY4040" fmla="*/ 874940 h 5296383"/>
              <a:gd name="connsiteX4041" fmla="*/ 1798512 w 9310410"/>
              <a:gd name="connsiteY4041" fmla="*/ 864752 h 5296383"/>
              <a:gd name="connsiteX4042" fmla="*/ 1798512 w 9310410"/>
              <a:gd name="connsiteY4042" fmla="*/ 864752 h 5296383"/>
              <a:gd name="connsiteX4043" fmla="*/ 1796714 w 9310410"/>
              <a:gd name="connsiteY4043" fmla="*/ 864752 h 5296383"/>
              <a:gd name="connsiteX4044" fmla="*/ 1798512 w 9310410"/>
              <a:gd name="connsiteY4044" fmla="*/ 864752 h 5296383"/>
              <a:gd name="connsiteX4045" fmla="*/ 1803306 w 9310410"/>
              <a:gd name="connsiteY4045" fmla="*/ 868348 h 5296383"/>
              <a:gd name="connsiteX4046" fmla="*/ 1802707 w 9310410"/>
              <a:gd name="connsiteY4046" fmla="*/ 865951 h 5296383"/>
              <a:gd name="connsiteX4047" fmla="*/ 1803306 w 9310410"/>
              <a:gd name="connsiteY4047" fmla="*/ 868348 h 5296383"/>
              <a:gd name="connsiteX4048" fmla="*/ 3013240 w 9310410"/>
              <a:gd name="connsiteY4048" fmla="*/ 675981 h 5296383"/>
              <a:gd name="connsiteX4049" fmla="*/ 3004251 w 9310410"/>
              <a:gd name="connsiteY4049" fmla="*/ 680176 h 5296383"/>
              <a:gd name="connsiteX4050" fmla="*/ 3001255 w 9310410"/>
              <a:gd name="connsiteY4050" fmla="*/ 687367 h 5296383"/>
              <a:gd name="connsiteX4051" fmla="*/ 3004251 w 9310410"/>
              <a:gd name="connsiteY4051" fmla="*/ 680176 h 5296383"/>
              <a:gd name="connsiteX4052" fmla="*/ 3013240 w 9310410"/>
              <a:gd name="connsiteY4052" fmla="*/ 675981 h 5296383"/>
              <a:gd name="connsiteX4053" fmla="*/ 3019833 w 9310410"/>
              <a:gd name="connsiteY4053" fmla="*/ 675981 h 5296383"/>
              <a:gd name="connsiteX4054" fmla="*/ 3013240 w 9310410"/>
              <a:gd name="connsiteY4054" fmla="*/ 675981 h 5296383"/>
              <a:gd name="connsiteX4055" fmla="*/ 2496666 w 9310410"/>
              <a:gd name="connsiteY4055" fmla="*/ 1665982 h 5296383"/>
              <a:gd name="connsiteX4056" fmla="*/ 2493670 w 9310410"/>
              <a:gd name="connsiteY4056" fmla="*/ 1665382 h 5296383"/>
              <a:gd name="connsiteX4057" fmla="*/ 2496666 w 9310410"/>
              <a:gd name="connsiteY4057" fmla="*/ 1665982 h 5296383"/>
              <a:gd name="connsiteX4058" fmla="*/ 2503258 w 9310410"/>
              <a:gd name="connsiteY4058" fmla="*/ 1659989 h 5296383"/>
              <a:gd name="connsiteX4059" fmla="*/ 2500861 w 9310410"/>
              <a:gd name="connsiteY4059" fmla="*/ 1657592 h 5296383"/>
              <a:gd name="connsiteX4060" fmla="*/ 2500262 w 9310410"/>
              <a:gd name="connsiteY4060" fmla="*/ 1658790 h 5296383"/>
              <a:gd name="connsiteX4061" fmla="*/ 2503258 w 9310410"/>
              <a:gd name="connsiteY4061" fmla="*/ 1659989 h 5296383"/>
              <a:gd name="connsiteX4062" fmla="*/ 1814693 w 9310410"/>
              <a:gd name="connsiteY4062" fmla="*/ 805424 h 5296383"/>
              <a:gd name="connsiteX4063" fmla="*/ 1817090 w 9310410"/>
              <a:gd name="connsiteY4063" fmla="*/ 803626 h 5296383"/>
              <a:gd name="connsiteX4064" fmla="*/ 1814693 w 9310410"/>
              <a:gd name="connsiteY4064" fmla="*/ 805424 h 5296383"/>
              <a:gd name="connsiteX4065" fmla="*/ 1812895 w 9310410"/>
              <a:gd name="connsiteY4065" fmla="*/ 807222 h 5296383"/>
              <a:gd name="connsiteX4066" fmla="*/ 1814693 w 9310410"/>
              <a:gd name="connsiteY4066" fmla="*/ 805424 h 5296383"/>
              <a:gd name="connsiteX4067" fmla="*/ 1838664 w 9310410"/>
              <a:gd name="connsiteY4067" fmla="*/ 827597 h 5296383"/>
              <a:gd name="connsiteX4068" fmla="*/ 1833869 w 9310410"/>
              <a:gd name="connsiteY4068" fmla="*/ 828796 h 5296383"/>
              <a:gd name="connsiteX4069" fmla="*/ 1838664 w 9310410"/>
              <a:gd name="connsiteY4069" fmla="*/ 827597 h 5296383"/>
              <a:gd name="connsiteX4070" fmla="*/ 1841660 w 9310410"/>
              <a:gd name="connsiteY4070" fmla="*/ 826998 h 5296383"/>
              <a:gd name="connsiteX4071" fmla="*/ 1838664 w 9310410"/>
              <a:gd name="connsiteY4071" fmla="*/ 827597 h 5296383"/>
              <a:gd name="connsiteX4072" fmla="*/ 1845256 w 9310410"/>
              <a:gd name="connsiteY4072" fmla="*/ 826998 h 5296383"/>
              <a:gd name="connsiteX4073" fmla="*/ 1843458 w 9310410"/>
              <a:gd name="connsiteY4073" fmla="*/ 826399 h 5296383"/>
              <a:gd name="connsiteX4074" fmla="*/ 1845256 w 9310410"/>
              <a:gd name="connsiteY4074" fmla="*/ 826998 h 5296383"/>
              <a:gd name="connsiteX4075" fmla="*/ 1933948 w 9310410"/>
              <a:gd name="connsiteY4075" fmla="*/ 816211 h 5296383"/>
              <a:gd name="connsiteX4076" fmla="*/ 1935746 w 9310410"/>
              <a:gd name="connsiteY4076" fmla="*/ 822803 h 5296383"/>
              <a:gd name="connsiteX4077" fmla="*/ 1933948 w 9310410"/>
              <a:gd name="connsiteY4077" fmla="*/ 816211 h 5296383"/>
              <a:gd name="connsiteX4078" fmla="*/ 1933948 w 9310410"/>
              <a:gd name="connsiteY4078" fmla="*/ 813215 h 5296383"/>
              <a:gd name="connsiteX4079" fmla="*/ 1933948 w 9310410"/>
              <a:gd name="connsiteY4079" fmla="*/ 816211 h 5296383"/>
              <a:gd name="connsiteX4080" fmla="*/ 1939342 w 9310410"/>
              <a:gd name="connsiteY4080" fmla="*/ 807222 h 5296383"/>
              <a:gd name="connsiteX4081" fmla="*/ 1940540 w 9310410"/>
              <a:gd name="connsiteY4081" fmla="*/ 805424 h 5296383"/>
              <a:gd name="connsiteX4082" fmla="*/ 1939342 w 9310410"/>
              <a:gd name="connsiteY4082" fmla="*/ 807222 h 5296383"/>
              <a:gd name="connsiteX4083" fmla="*/ 1938143 w 9310410"/>
              <a:gd name="connsiteY4083" fmla="*/ 809020 h 5296383"/>
              <a:gd name="connsiteX4084" fmla="*/ 1939342 w 9310410"/>
              <a:gd name="connsiteY4084" fmla="*/ 807222 h 5296383"/>
              <a:gd name="connsiteX4085" fmla="*/ 1937544 w 9310410"/>
              <a:gd name="connsiteY4085" fmla="*/ 803626 h 5296383"/>
              <a:gd name="connsiteX4086" fmla="*/ 1934547 w 9310410"/>
              <a:gd name="connsiteY4086" fmla="*/ 805424 h 5296383"/>
              <a:gd name="connsiteX4087" fmla="*/ 1923161 w 9310410"/>
              <a:gd name="connsiteY4087" fmla="*/ 809020 h 5296383"/>
              <a:gd name="connsiteX4088" fmla="*/ 1923161 w 9310410"/>
              <a:gd name="connsiteY4088" fmla="*/ 809020 h 5296383"/>
              <a:gd name="connsiteX4089" fmla="*/ 1934547 w 9310410"/>
              <a:gd name="connsiteY4089" fmla="*/ 805424 h 5296383"/>
              <a:gd name="connsiteX4090" fmla="*/ 1937544 w 9310410"/>
              <a:gd name="connsiteY4090" fmla="*/ 803626 h 5296383"/>
              <a:gd name="connsiteX4091" fmla="*/ 1920165 w 9310410"/>
              <a:gd name="connsiteY4091" fmla="*/ 808421 h 5296383"/>
              <a:gd name="connsiteX4092" fmla="*/ 1921363 w 9310410"/>
              <a:gd name="connsiteY4092" fmla="*/ 808421 h 5296383"/>
              <a:gd name="connsiteX4093" fmla="*/ 1920165 w 9310410"/>
              <a:gd name="connsiteY4093" fmla="*/ 808421 h 5296383"/>
              <a:gd name="connsiteX4094" fmla="*/ 1908779 w 9310410"/>
              <a:gd name="connsiteY4094" fmla="*/ 832991 h 5296383"/>
              <a:gd name="connsiteX4095" fmla="*/ 1908179 w 9310410"/>
              <a:gd name="connsiteY4095" fmla="*/ 832991 h 5296383"/>
              <a:gd name="connsiteX4096" fmla="*/ 1908779 w 9310410"/>
              <a:gd name="connsiteY4096" fmla="*/ 832991 h 5296383"/>
              <a:gd name="connsiteX4097" fmla="*/ 1903984 w 9310410"/>
              <a:gd name="connsiteY4097" fmla="*/ 840182 h 5296383"/>
              <a:gd name="connsiteX4098" fmla="*/ 1903385 w 9310410"/>
              <a:gd name="connsiteY4098" fmla="*/ 841980 h 5296383"/>
              <a:gd name="connsiteX4099" fmla="*/ 1903984 w 9310410"/>
              <a:gd name="connsiteY4099" fmla="*/ 840182 h 5296383"/>
              <a:gd name="connsiteX4100" fmla="*/ 1904584 w 9310410"/>
              <a:gd name="connsiteY4100" fmla="*/ 838384 h 5296383"/>
              <a:gd name="connsiteX4101" fmla="*/ 1903984 w 9310410"/>
              <a:gd name="connsiteY4101" fmla="*/ 839583 h 5296383"/>
              <a:gd name="connsiteX4102" fmla="*/ 1904584 w 9310410"/>
              <a:gd name="connsiteY4102" fmla="*/ 838384 h 5296383"/>
              <a:gd name="connsiteX4103" fmla="*/ 1905183 w 9310410"/>
              <a:gd name="connsiteY4103" fmla="*/ 835987 h 5296383"/>
              <a:gd name="connsiteX4104" fmla="*/ 1904584 w 9310410"/>
              <a:gd name="connsiteY4104" fmla="*/ 837785 h 5296383"/>
              <a:gd name="connsiteX4105" fmla="*/ 1905183 w 9310410"/>
              <a:gd name="connsiteY4105" fmla="*/ 835987 h 5296383"/>
              <a:gd name="connsiteX4106" fmla="*/ 1903385 w 9310410"/>
              <a:gd name="connsiteY4106" fmla="*/ 841980 h 5296383"/>
              <a:gd name="connsiteX4107" fmla="*/ 1902786 w 9310410"/>
              <a:gd name="connsiteY4107" fmla="*/ 843179 h 5296383"/>
              <a:gd name="connsiteX4108" fmla="*/ 1902786 w 9310410"/>
              <a:gd name="connsiteY4108" fmla="*/ 843179 h 5296383"/>
              <a:gd name="connsiteX4109" fmla="*/ 1903385 w 9310410"/>
              <a:gd name="connsiteY4109" fmla="*/ 841980 h 5296383"/>
              <a:gd name="connsiteX4110" fmla="*/ 1947731 w 9310410"/>
              <a:gd name="connsiteY4110" fmla="*/ 831792 h 5296383"/>
              <a:gd name="connsiteX4111" fmla="*/ 1945934 w 9310410"/>
              <a:gd name="connsiteY4111" fmla="*/ 834189 h 5296383"/>
              <a:gd name="connsiteX4112" fmla="*/ 1947731 w 9310410"/>
              <a:gd name="connsiteY4112" fmla="*/ 831792 h 5296383"/>
              <a:gd name="connsiteX4113" fmla="*/ 1918966 w 9310410"/>
              <a:gd name="connsiteY4113" fmla="*/ 808421 h 5296383"/>
              <a:gd name="connsiteX4114" fmla="*/ 1917768 w 9310410"/>
              <a:gd name="connsiteY4114" fmla="*/ 808421 h 5296383"/>
              <a:gd name="connsiteX4115" fmla="*/ 1918966 w 9310410"/>
              <a:gd name="connsiteY4115" fmla="*/ 808421 h 5296383"/>
              <a:gd name="connsiteX4116" fmla="*/ 1915371 w 9310410"/>
              <a:gd name="connsiteY4116" fmla="*/ 807821 h 5296383"/>
              <a:gd name="connsiteX4117" fmla="*/ 1914172 w 9310410"/>
              <a:gd name="connsiteY4117" fmla="*/ 807821 h 5296383"/>
              <a:gd name="connsiteX4118" fmla="*/ 1915371 w 9310410"/>
              <a:gd name="connsiteY4118" fmla="*/ 807821 h 5296383"/>
              <a:gd name="connsiteX4119" fmla="*/ 1909977 w 9310410"/>
              <a:gd name="connsiteY4119" fmla="*/ 806623 h 5296383"/>
              <a:gd name="connsiteX4120" fmla="*/ 1908179 w 9310410"/>
              <a:gd name="connsiteY4120" fmla="*/ 806023 h 5296383"/>
              <a:gd name="connsiteX4121" fmla="*/ 1909977 w 9310410"/>
              <a:gd name="connsiteY4121" fmla="*/ 806623 h 5296383"/>
              <a:gd name="connsiteX4122" fmla="*/ 1900389 w 9310410"/>
              <a:gd name="connsiteY4122" fmla="*/ 804825 h 5296383"/>
              <a:gd name="connsiteX4123" fmla="*/ 1898591 w 9310410"/>
              <a:gd name="connsiteY4123" fmla="*/ 804226 h 5296383"/>
              <a:gd name="connsiteX4124" fmla="*/ 1900389 w 9310410"/>
              <a:gd name="connsiteY4124" fmla="*/ 804825 h 5296383"/>
              <a:gd name="connsiteX4125" fmla="*/ 1904584 w 9310410"/>
              <a:gd name="connsiteY4125" fmla="*/ 806023 h 5296383"/>
              <a:gd name="connsiteX4126" fmla="*/ 1902187 w 9310410"/>
              <a:gd name="connsiteY4126" fmla="*/ 805424 h 5296383"/>
              <a:gd name="connsiteX4127" fmla="*/ 1904584 w 9310410"/>
              <a:gd name="connsiteY4127" fmla="*/ 806023 h 5296383"/>
              <a:gd name="connsiteX4128" fmla="*/ 1897392 w 9310410"/>
              <a:gd name="connsiteY4128" fmla="*/ 804226 h 5296383"/>
              <a:gd name="connsiteX4129" fmla="*/ 1894995 w 9310410"/>
              <a:gd name="connsiteY4129" fmla="*/ 803626 h 5296383"/>
              <a:gd name="connsiteX4130" fmla="*/ 1877017 w 9310410"/>
              <a:gd name="connsiteY4130" fmla="*/ 802428 h 5296383"/>
              <a:gd name="connsiteX4131" fmla="*/ 1894995 w 9310410"/>
              <a:gd name="connsiteY4131" fmla="*/ 803626 h 5296383"/>
              <a:gd name="connsiteX4132" fmla="*/ 1897392 w 9310410"/>
              <a:gd name="connsiteY4132" fmla="*/ 804226 h 5296383"/>
              <a:gd name="connsiteX4133" fmla="*/ 1896793 w 9310410"/>
              <a:gd name="connsiteY4133" fmla="*/ 844377 h 5296383"/>
              <a:gd name="connsiteX4134" fmla="*/ 1890201 w 9310410"/>
              <a:gd name="connsiteY4134" fmla="*/ 840182 h 5296383"/>
              <a:gd name="connsiteX4135" fmla="*/ 1896793 w 9310410"/>
              <a:gd name="connsiteY4135" fmla="*/ 844377 h 5296383"/>
              <a:gd name="connsiteX4136" fmla="*/ 1896793 w 9310410"/>
              <a:gd name="connsiteY4136" fmla="*/ 844377 h 5296383"/>
              <a:gd name="connsiteX4137" fmla="*/ 1896793 w 9310410"/>
              <a:gd name="connsiteY4137" fmla="*/ 844377 h 5296383"/>
              <a:gd name="connsiteX4138" fmla="*/ 1874620 w 9310410"/>
              <a:gd name="connsiteY4138" fmla="*/ 803027 h 5296383"/>
              <a:gd name="connsiteX4139" fmla="*/ 1869227 w 9310410"/>
              <a:gd name="connsiteY4139" fmla="*/ 804226 h 5296383"/>
              <a:gd name="connsiteX4140" fmla="*/ 1862035 w 9310410"/>
              <a:gd name="connsiteY4140" fmla="*/ 805424 h 5296383"/>
              <a:gd name="connsiteX4141" fmla="*/ 1869227 w 9310410"/>
              <a:gd name="connsiteY4141" fmla="*/ 804226 h 5296383"/>
              <a:gd name="connsiteX4142" fmla="*/ 1874620 w 9310410"/>
              <a:gd name="connsiteY4142" fmla="*/ 803027 h 5296383"/>
              <a:gd name="connsiteX4143" fmla="*/ 1859039 w 9310410"/>
              <a:gd name="connsiteY4143" fmla="*/ 828197 h 5296383"/>
              <a:gd name="connsiteX4144" fmla="*/ 1868627 w 9310410"/>
              <a:gd name="connsiteY4144" fmla="*/ 831193 h 5296383"/>
              <a:gd name="connsiteX4145" fmla="*/ 1859039 w 9310410"/>
              <a:gd name="connsiteY4145" fmla="*/ 828197 h 5296383"/>
              <a:gd name="connsiteX4146" fmla="*/ 1828476 w 9310410"/>
              <a:gd name="connsiteY4146" fmla="*/ 804825 h 5296383"/>
              <a:gd name="connsiteX4147" fmla="*/ 1824880 w 9310410"/>
              <a:gd name="connsiteY4147" fmla="*/ 805424 h 5296383"/>
              <a:gd name="connsiteX4148" fmla="*/ 1828476 w 9310410"/>
              <a:gd name="connsiteY4148" fmla="*/ 804825 h 5296383"/>
              <a:gd name="connsiteX4149" fmla="*/ 1818888 w 9310410"/>
              <a:gd name="connsiteY4149" fmla="*/ 782652 h 5296383"/>
              <a:gd name="connsiteX4150" fmla="*/ 1814093 w 9310410"/>
              <a:gd name="connsiteY4150" fmla="*/ 780255 h 5296383"/>
              <a:gd name="connsiteX4151" fmla="*/ 1818888 w 9310410"/>
              <a:gd name="connsiteY4151" fmla="*/ 782652 h 5296383"/>
              <a:gd name="connsiteX4152" fmla="*/ 1820685 w 9310410"/>
              <a:gd name="connsiteY4152" fmla="*/ 796435 h 5296383"/>
              <a:gd name="connsiteX4153" fmla="*/ 1818888 w 9310410"/>
              <a:gd name="connsiteY4153" fmla="*/ 802428 h 5296383"/>
              <a:gd name="connsiteX4154" fmla="*/ 1820685 w 9310410"/>
              <a:gd name="connsiteY4154" fmla="*/ 796435 h 5296383"/>
              <a:gd name="connsiteX4155" fmla="*/ 1818888 w 9310410"/>
              <a:gd name="connsiteY4155" fmla="*/ 782652 h 5296383"/>
              <a:gd name="connsiteX4156" fmla="*/ 1814093 w 9310410"/>
              <a:gd name="connsiteY4156" fmla="*/ 810218 h 5296383"/>
              <a:gd name="connsiteX4157" fmla="*/ 1815292 w 9310410"/>
              <a:gd name="connsiteY4157" fmla="*/ 810218 h 5296383"/>
              <a:gd name="connsiteX4158" fmla="*/ 1817090 w 9310410"/>
              <a:gd name="connsiteY4158" fmla="*/ 810218 h 5296383"/>
              <a:gd name="connsiteX4159" fmla="*/ 1815292 w 9310410"/>
              <a:gd name="connsiteY4159" fmla="*/ 810218 h 5296383"/>
              <a:gd name="connsiteX4160" fmla="*/ 1814093 w 9310410"/>
              <a:gd name="connsiteY4160" fmla="*/ 810218 h 5296383"/>
              <a:gd name="connsiteX4161" fmla="*/ 3045601 w 9310410"/>
              <a:gd name="connsiteY4161" fmla="*/ 680775 h 5296383"/>
              <a:gd name="connsiteX4162" fmla="*/ 3045002 w 9310410"/>
              <a:gd name="connsiteY4162" fmla="*/ 678977 h 5296383"/>
              <a:gd name="connsiteX4163" fmla="*/ 3044403 w 9310410"/>
              <a:gd name="connsiteY4163" fmla="*/ 677779 h 5296383"/>
              <a:gd name="connsiteX4164" fmla="*/ 3045002 w 9310410"/>
              <a:gd name="connsiteY4164" fmla="*/ 678977 h 5296383"/>
              <a:gd name="connsiteX4165" fmla="*/ 3045601 w 9310410"/>
              <a:gd name="connsiteY4165" fmla="*/ 680775 h 5296383"/>
              <a:gd name="connsiteX4166" fmla="*/ 3041406 w 9310410"/>
              <a:gd name="connsiteY4166" fmla="*/ 675981 h 5296383"/>
              <a:gd name="connsiteX4167" fmla="*/ 3037211 w 9310410"/>
              <a:gd name="connsiteY4167" fmla="*/ 675981 h 5296383"/>
              <a:gd name="connsiteX4168" fmla="*/ 3041406 w 9310410"/>
              <a:gd name="connsiteY4168" fmla="*/ 675981 h 5296383"/>
              <a:gd name="connsiteX4169" fmla="*/ 3033017 w 9310410"/>
              <a:gd name="connsiteY4169" fmla="*/ 675981 h 5296383"/>
              <a:gd name="connsiteX4170" fmla="*/ 3029421 w 9310410"/>
              <a:gd name="connsiteY4170" fmla="*/ 675981 h 5296383"/>
              <a:gd name="connsiteX4171" fmla="*/ 3033017 w 9310410"/>
              <a:gd name="connsiteY4171" fmla="*/ 675981 h 5296383"/>
              <a:gd name="connsiteX4172" fmla="*/ 3011443 w 9310410"/>
              <a:gd name="connsiteY4172" fmla="*/ 661598 h 5296383"/>
              <a:gd name="connsiteX4173" fmla="*/ 3004851 w 9310410"/>
              <a:gd name="connsiteY4173" fmla="*/ 659801 h 5296383"/>
              <a:gd name="connsiteX4174" fmla="*/ 3003652 w 9310410"/>
              <a:gd name="connsiteY4174" fmla="*/ 659201 h 5296383"/>
              <a:gd name="connsiteX4175" fmla="*/ 3004851 w 9310410"/>
              <a:gd name="connsiteY4175" fmla="*/ 659801 h 5296383"/>
              <a:gd name="connsiteX4176" fmla="*/ 3011443 w 9310410"/>
              <a:gd name="connsiteY4176" fmla="*/ 661598 h 5296383"/>
              <a:gd name="connsiteX4177" fmla="*/ 2991667 w 9310410"/>
              <a:gd name="connsiteY4177" fmla="*/ 715533 h 5296383"/>
              <a:gd name="connsiteX4178" fmla="*/ 2987472 w 9310410"/>
              <a:gd name="connsiteY4178" fmla="*/ 719129 h 5296383"/>
              <a:gd name="connsiteX4179" fmla="*/ 2980280 w 9310410"/>
              <a:gd name="connsiteY4179" fmla="*/ 723324 h 5296383"/>
              <a:gd name="connsiteX4180" fmla="*/ 2987472 w 9310410"/>
              <a:gd name="connsiteY4180" fmla="*/ 719129 h 5296383"/>
              <a:gd name="connsiteX4181" fmla="*/ 2991667 w 9310410"/>
              <a:gd name="connsiteY4181" fmla="*/ 715533 h 5296383"/>
              <a:gd name="connsiteX4182" fmla="*/ 2983876 w 9310410"/>
              <a:gd name="connsiteY4182" fmla="*/ 676580 h 5296383"/>
              <a:gd name="connsiteX4183" fmla="*/ 2981479 w 9310410"/>
              <a:gd name="connsiteY4183" fmla="*/ 672385 h 5296383"/>
              <a:gd name="connsiteX4184" fmla="*/ 2978483 w 9310410"/>
              <a:gd name="connsiteY4184" fmla="*/ 666393 h 5296383"/>
              <a:gd name="connsiteX4185" fmla="*/ 2981479 w 9310410"/>
              <a:gd name="connsiteY4185" fmla="*/ 672385 h 5296383"/>
              <a:gd name="connsiteX4186" fmla="*/ 2983876 w 9310410"/>
              <a:gd name="connsiteY4186" fmla="*/ 676580 h 5296383"/>
              <a:gd name="connsiteX4187" fmla="*/ 2867018 w 9310410"/>
              <a:gd name="connsiteY4187" fmla="*/ 742500 h 5296383"/>
              <a:gd name="connsiteX4188" fmla="*/ 2865819 w 9310410"/>
              <a:gd name="connsiteY4188" fmla="*/ 740703 h 5296383"/>
              <a:gd name="connsiteX4189" fmla="*/ 2867018 w 9310410"/>
              <a:gd name="connsiteY4189" fmla="*/ 742500 h 5296383"/>
              <a:gd name="connsiteX4190" fmla="*/ 2870014 w 9310410"/>
              <a:gd name="connsiteY4190" fmla="*/ 746695 h 5296383"/>
              <a:gd name="connsiteX4191" fmla="*/ 2867018 w 9310410"/>
              <a:gd name="connsiteY4191" fmla="*/ 742500 h 5296383"/>
              <a:gd name="connsiteX4192" fmla="*/ 1809898 w 9310410"/>
              <a:gd name="connsiteY4192" fmla="*/ 833590 h 5296383"/>
              <a:gd name="connsiteX4193" fmla="*/ 1813494 w 9310410"/>
              <a:gd name="connsiteY4193" fmla="*/ 832392 h 5296383"/>
              <a:gd name="connsiteX4194" fmla="*/ 1809898 w 9310410"/>
              <a:gd name="connsiteY4194" fmla="*/ 833590 h 5296383"/>
              <a:gd name="connsiteX4195" fmla="*/ 1791920 w 9310410"/>
              <a:gd name="connsiteY4195" fmla="*/ 878536 h 5296383"/>
              <a:gd name="connsiteX4196" fmla="*/ 1796714 w 9310410"/>
              <a:gd name="connsiteY4196" fmla="*/ 874940 h 5296383"/>
              <a:gd name="connsiteX4197" fmla="*/ 1791920 w 9310410"/>
              <a:gd name="connsiteY4197" fmla="*/ 878536 h 5296383"/>
              <a:gd name="connsiteX4198" fmla="*/ 1619329 w 9310410"/>
              <a:gd name="connsiteY4198" fmla="*/ 970824 h 5296383"/>
              <a:gd name="connsiteX4199" fmla="*/ 1619929 w 9310410"/>
              <a:gd name="connsiteY4199" fmla="*/ 969625 h 5296383"/>
              <a:gd name="connsiteX4200" fmla="*/ 1619329 w 9310410"/>
              <a:gd name="connsiteY4200" fmla="*/ 970824 h 5296383"/>
              <a:gd name="connsiteX4201" fmla="*/ 1619329 w 9310410"/>
              <a:gd name="connsiteY4201" fmla="*/ 970824 h 5296383"/>
              <a:gd name="connsiteX4202" fmla="*/ 1627120 w 9310410"/>
              <a:gd name="connsiteY4202" fmla="*/ 959438 h 5296383"/>
              <a:gd name="connsiteX4203" fmla="*/ 1623524 w 9310410"/>
              <a:gd name="connsiteY4203" fmla="*/ 964831 h 5296383"/>
              <a:gd name="connsiteX4204" fmla="*/ 1627120 w 9310410"/>
              <a:gd name="connsiteY4204" fmla="*/ 959438 h 5296383"/>
              <a:gd name="connsiteX4205" fmla="*/ 1667271 w 9310410"/>
              <a:gd name="connsiteY4205" fmla="*/ 951647 h 5296383"/>
              <a:gd name="connsiteX4206" fmla="*/ 1660679 w 9310410"/>
              <a:gd name="connsiteY4206" fmla="*/ 962434 h 5296383"/>
              <a:gd name="connsiteX4207" fmla="*/ 1657683 w 9310410"/>
              <a:gd name="connsiteY4207" fmla="*/ 964831 h 5296383"/>
              <a:gd name="connsiteX4208" fmla="*/ 1660679 w 9310410"/>
              <a:gd name="connsiteY4208" fmla="*/ 962434 h 5296383"/>
              <a:gd name="connsiteX4209" fmla="*/ 1665473 w 9310410"/>
              <a:gd name="connsiteY4209" fmla="*/ 954643 h 5296383"/>
              <a:gd name="connsiteX4210" fmla="*/ 1667271 w 9310410"/>
              <a:gd name="connsiteY4210" fmla="*/ 951647 h 5296383"/>
              <a:gd name="connsiteX4211" fmla="*/ 1641502 w 9310410"/>
              <a:gd name="connsiteY4211" fmla="*/ 958239 h 5296383"/>
              <a:gd name="connsiteX4212" fmla="*/ 1637307 w 9310410"/>
              <a:gd name="connsiteY4212" fmla="*/ 955842 h 5296383"/>
              <a:gd name="connsiteX4213" fmla="*/ 1641502 w 9310410"/>
              <a:gd name="connsiteY4213" fmla="*/ 958239 h 5296383"/>
              <a:gd name="connsiteX4214" fmla="*/ 1646297 w 9310410"/>
              <a:gd name="connsiteY4214" fmla="*/ 961835 h 5296383"/>
              <a:gd name="connsiteX4215" fmla="*/ 1641502 w 9310410"/>
              <a:gd name="connsiteY4215" fmla="*/ 958239 h 5296383"/>
              <a:gd name="connsiteX4216" fmla="*/ 1633712 w 9310410"/>
              <a:gd name="connsiteY4216" fmla="*/ 955243 h 5296383"/>
              <a:gd name="connsiteX4217" fmla="*/ 1628918 w 9310410"/>
              <a:gd name="connsiteY4217" fmla="*/ 957640 h 5296383"/>
              <a:gd name="connsiteX4218" fmla="*/ 1633712 w 9310410"/>
              <a:gd name="connsiteY4218" fmla="*/ 955243 h 5296383"/>
              <a:gd name="connsiteX4219" fmla="*/ 1598954 w 9310410"/>
              <a:gd name="connsiteY4219" fmla="*/ 972022 h 5296383"/>
              <a:gd name="connsiteX4220" fmla="*/ 1602550 w 9310410"/>
              <a:gd name="connsiteY4220" fmla="*/ 973820 h 5296383"/>
              <a:gd name="connsiteX4221" fmla="*/ 1598954 w 9310410"/>
              <a:gd name="connsiteY4221" fmla="*/ 972022 h 5296383"/>
              <a:gd name="connsiteX4222" fmla="*/ 1682852 w 9310410"/>
              <a:gd name="connsiteY4222" fmla="*/ 923481 h 5296383"/>
              <a:gd name="connsiteX4223" fmla="*/ 1685849 w 9310410"/>
              <a:gd name="connsiteY4223" fmla="*/ 916889 h 5296383"/>
              <a:gd name="connsiteX4224" fmla="*/ 1690643 w 9310410"/>
              <a:gd name="connsiteY4224" fmla="*/ 910297 h 5296383"/>
              <a:gd name="connsiteX4225" fmla="*/ 1685849 w 9310410"/>
              <a:gd name="connsiteY4225" fmla="*/ 916889 h 5296383"/>
              <a:gd name="connsiteX4226" fmla="*/ 1682852 w 9310410"/>
              <a:gd name="connsiteY4226" fmla="*/ 923481 h 5296383"/>
              <a:gd name="connsiteX4227" fmla="*/ 1678658 w 9310410"/>
              <a:gd name="connsiteY4227" fmla="*/ 931272 h 5296383"/>
              <a:gd name="connsiteX4228" fmla="*/ 1675661 w 9310410"/>
              <a:gd name="connsiteY4228" fmla="*/ 934268 h 5296383"/>
              <a:gd name="connsiteX4229" fmla="*/ 1678658 w 9310410"/>
              <a:gd name="connsiteY4229" fmla="*/ 931272 h 5296383"/>
              <a:gd name="connsiteX4230" fmla="*/ 1682852 w 9310410"/>
              <a:gd name="connsiteY4230" fmla="*/ 923481 h 5296383"/>
              <a:gd name="connsiteX4231" fmla="*/ 1751769 w 9310410"/>
              <a:gd name="connsiteY4231" fmla="*/ 881532 h 5296383"/>
              <a:gd name="connsiteX4232" fmla="*/ 1750570 w 9310410"/>
              <a:gd name="connsiteY4232" fmla="*/ 883929 h 5296383"/>
              <a:gd name="connsiteX4233" fmla="*/ 1751769 w 9310410"/>
              <a:gd name="connsiteY4233" fmla="*/ 881532 h 5296383"/>
              <a:gd name="connsiteX4234" fmla="*/ 1751769 w 9310410"/>
              <a:gd name="connsiteY4234" fmla="*/ 880333 h 5296383"/>
              <a:gd name="connsiteX4235" fmla="*/ 1751769 w 9310410"/>
              <a:gd name="connsiteY4235" fmla="*/ 881532 h 5296383"/>
              <a:gd name="connsiteX4236" fmla="*/ 1770346 w 9310410"/>
              <a:gd name="connsiteY4236" fmla="*/ 784450 h 5296383"/>
              <a:gd name="connsiteX4237" fmla="*/ 1767350 w 9310410"/>
              <a:gd name="connsiteY4237" fmla="*/ 785049 h 5296383"/>
              <a:gd name="connsiteX4238" fmla="*/ 1770346 w 9310410"/>
              <a:gd name="connsiteY4238" fmla="*/ 784450 h 5296383"/>
              <a:gd name="connsiteX4239" fmla="*/ 1770346 w 9310410"/>
              <a:gd name="connsiteY4239" fmla="*/ 784450 h 5296383"/>
              <a:gd name="connsiteX4240" fmla="*/ 1754166 w 9310410"/>
              <a:gd name="connsiteY4240" fmla="*/ 898312 h 5296383"/>
              <a:gd name="connsiteX4241" fmla="*/ 1761957 w 9310410"/>
              <a:gd name="connsiteY4241" fmla="*/ 907301 h 5296383"/>
              <a:gd name="connsiteX4242" fmla="*/ 1764953 w 9310410"/>
              <a:gd name="connsiteY4242" fmla="*/ 907900 h 5296383"/>
              <a:gd name="connsiteX4243" fmla="*/ 1761957 w 9310410"/>
              <a:gd name="connsiteY4243" fmla="*/ 907301 h 5296383"/>
              <a:gd name="connsiteX4244" fmla="*/ 1754166 w 9310410"/>
              <a:gd name="connsiteY4244" fmla="*/ 898312 h 5296383"/>
              <a:gd name="connsiteX4245" fmla="*/ 1774541 w 9310410"/>
              <a:gd name="connsiteY4245" fmla="*/ 901907 h 5296383"/>
              <a:gd name="connsiteX4246" fmla="*/ 1777538 w 9310410"/>
              <a:gd name="connsiteY4246" fmla="*/ 898312 h 5296383"/>
              <a:gd name="connsiteX4247" fmla="*/ 1783530 w 9310410"/>
              <a:gd name="connsiteY4247" fmla="*/ 889323 h 5296383"/>
              <a:gd name="connsiteX4248" fmla="*/ 1777538 w 9310410"/>
              <a:gd name="connsiteY4248" fmla="*/ 898312 h 5296383"/>
              <a:gd name="connsiteX4249" fmla="*/ 1774541 w 9310410"/>
              <a:gd name="connsiteY4249" fmla="*/ 901907 h 5296383"/>
              <a:gd name="connsiteX4250" fmla="*/ 1785328 w 9310410"/>
              <a:gd name="connsiteY4250" fmla="*/ 885727 h 5296383"/>
              <a:gd name="connsiteX4251" fmla="*/ 1785328 w 9310410"/>
              <a:gd name="connsiteY4251" fmla="*/ 885727 h 5296383"/>
              <a:gd name="connsiteX4252" fmla="*/ 1785328 w 9310410"/>
              <a:gd name="connsiteY4252" fmla="*/ 885727 h 5296383"/>
              <a:gd name="connsiteX4253" fmla="*/ 1787725 w 9310410"/>
              <a:gd name="connsiteY4253" fmla="*/ 882131 h 5296383"/>
              <a:gd name="connsiteX4254" fmla="*/ 1787126 w 9310410"/>
              <a:gd name="connsiteY4254" fmla="*/ 882731 h 5296383"/>
              <a:gd name="connsiteX4255" fmla="*/ 1787725 w 9310410"/>
              <a:gd name="connsiteY4255" fmla="*/ 882131 h 5296383"/>
              <a:gd name="connsiteX4256" fmla="*/ 1789523 w 9310410"/>
              <a:gd name="connsiteY4256" fmla="*/ 880933 h 5296383"/>
              <a:gd name="connsiteX4257" fmla="*/ 1790122 w 9310410"/>
              <a:gd name="connsiteY4257" fmla="*/ 880333 h 5296383"/>
              <a:gd name="connsiteX4258" fmla="*/ 1789523 w 9310410"/>
              <a:gd name="connsiteY4258" fmla="*/ 880933 h 5296383"/>
              <a:gd name="connsiteX4259" fmla="*/ 1746975 w 9310410"/>
              <a:gd name="connsiteY4259" fmla="*/ 877337 h 5296383"/>
              <a:gd name="connsiteX4260" fmla="*/ 1745177 w 9310410"/>
              <a:gd name="connsiteY4260" fmla="*/ 877337 h 5296383"/>
              <a:gd name="connsiteX4261" fmla="*/ 1740982 w 9310410"/>
              <a:gd name="connsiteY4261" fmla="*/ 877337 h 5296383"/>
              <a:gd name="connsiteX4262" fmla="*/ 1745177 w 9310410"/>
              <a:gd name="connsiteY4262" fmla="*/ 877337 h 5296383"/>
              <a:gd name="connsiteX4263" fmla="*/ 1746975 w 9310410"/>
              <a:gd name="connsiteY4263" fmla="*/ 877337 h 5296383"/>
              <a:gd name="connsiteX4264" fmla="*/ 1731993 w 9310410"/>
              <a:gd name="connsiteY4264" fmla="*/ 877337 h 5296383"/>
              <a:gd name="connsiteX4265" fmla="*/ 1731993 w 9310410"/>
              <a:gd name="connsiteY4265" fmla="*/ 877337 h 5296383"/>
              <a:gd name="connsiteX4266" fmla="*/ 1725401 w 9310410"/>
              <a:gd name="connsiteY4266" fmla="*/ 880933 h 5296383"/>
              <a:gd name="connsiteX4267" fmla="*/ 1709820 w 9310410"/>
              <a:gd name="connsiteY4267" fmla="*/ 893517 h 5296383"/>
              <a:gd name="connsiteX4268" fmla="*/ 1704426 w 9310410"/>
              <a:gd name="connsiteY4268" fmla="*/ 896514 h 5296383"/>
              <a:gd name="connsiteX4269" fmla="*/ 1701430 w 9310410"/>
              <a:gd name="connsiteY4269" fmla="*/ 899510 h 5296383"/>
              <a:gd name="connsiteX4270" fmla="*/ 1704426 w 9310410"/>
              <a:gd name="connsiteY4270" fmla="*/ 896514 h 5296383"/>
              <a:gd name="connsiteX4271" fmla="*/ 1709820 w 9310410"/>
              <a:gd name="connsiteY4271" fmla="*/ 893517 h 5296383"/>
              <a:gd name="connsiteX4272" fmla="*/ 1725401 w 9310410"/>
              <a:gd name="connsiteY4272" fmla="*/ 880933 h 5296383"/>
              <a:gd name="connsiteX4273" fmla="*/ 1731993 w 9310410"/>
              <a:gd name="connsiteY4273" fmla="*/ 877337 h 5296383"/>
              <a:gd name="connsiteX4274" fmla="*/ 1715812 w 9310410"/>
              <a:gd name="connsiteY4274" fmla="*/ 804825 h 5296383"/>
              <a:gd name="connsiteX4275" fmla="*/ 1715213 w 9310410"/>
              <a:gd name="connsiteY4275" fmla="*/ 808421 h 5296383"/>
              <a:gd name="connsiteX4276" fmla="*/ 1712816 w 9310410"/>
              <a:gd name="connsiteY4276" fmla="*/ 811417 h 5296383"/>
              <a:gd name="connsiteX4277" fmla="*/ 1715213 w 9310410"/>
              <a:gd name="connsiteY4277" fmla="*/ 808421 h 5296383"/>
              <a:gd name="connsiteX4278" fmla="*/ 1715812 w 9310410"/>
              <a:gd name="connsiteY4278" fmla="*/ 804825 h 5296383"/>
              <a:gd name="connsiteX4279" fmla="*/ 1715812 w 9310410"/>
              <a:gd name="connsiteY4279" fmla="*/ 802428 h 5296383"/>
              <a:gd name="connsiteX4280" fmla="*/ 1715812 w 9310410"/>
              <a:gd name="connsiteY4280" fmla="*/ 804825 h 5296383"/>
              <a:gd name="connsiteX4281" fmla="*/ 1692441 w 9310410"/>
              <a:gd name="connsiteY4281" fmla="*/ 816211 h 5296383"/>
              <a:gd name="connsiteX4282" fmla="*/ 1691242 w 9310410"/>
              <a:gd name="connsiteY4282" fmla="*/ 816211 h 5296383"/>
              <a:gd name="connsiteX4283" fmla="*/ 1692441 w 9310410"/>
              <a:gd name="connsiteY4283" fmla="*/ 816211 h 5296383"/>
              <a:gd name="connsiteX4284" fmla="*/ 1692441 w 9310410"/>
              <a:gd name="connsiteY4284" fmla="*/ 809619 h 5296383"/>
              <a:gd name="connsiteX4285" fmla="*/ 1692441 w 9310410"/>
              <a:gd name="connsiteY4285" fmla="*/ 809619 h 5296383"/>
              <a:gd name="connsiteX4286" fmla="*/ 1692441 w 9310410"/>
              <a:gd name="connsiteY4286" fmla="*/ 809619 h 5296383"/>
              <a:gd name="connsiteX4287" fmla="*/ 1679856 w 9310410"/>
              <a:gd name="connsiteY4287" fmla="*/ 816810 h 5296383"/>
              <a:gd name="connsiteX4288" fmla="*/ 1691242 w 9310410"/>
              <a:gd name="connsiteY4288" fmla="*/ 809619 h 5296383"/>
              <a:gd name="connsiteX4289" fmla="*/ 1679856 w 9310410"/>
              <a:gd name="connsiteY4289" fmla="*/ 816810 h 5296383"/>
              <a:gd name="connsiteX4290" fmla="*/ 1669668 w 9310410"/>
              <a:gd name="connsiteY4290" fmla="*/ 819807 h 5296383"/>
              <a:gd name="connsiteX4291" fmla="*/ 1663676 w 9310410"/>
              <a:gd name="connsiteY4291" fmla="*/ 818608 h 5296383"/>
              <a:gd name="connsiteX4292" fmla="*/ 1662477 w 9310410"/>
              <a:gd name="connsiteY4292" fmla="*/ 818009 h 5296383"/>
              <a:gd name="connsiteX4293" fmla="*/ 1663676 w 9310410"/>
              <a:gd name="connsiteY4293" fmla="*/ 818608 h 5296383"/>
              <a:gd name="connsiteX4294" fmla="*/ 1669668 w 9310410"/>
              <a:gd name="connsiteY4294" fmla="*/ 819807 h 5296383"/>
              <a:gd name="connsiteX4295" fmla="*/ 1649892 w 9310410"/>
              <a:gd name="connsiteY4295" fmla="*/ 823402 h 5296383"/>
              <a:gd name="connsiteX4296" fmla="*/ 1650492 w 9310410"/>
              <a:gd name="connsiteY4296" fmla="*/ 824601 h 5296383"/>
              <a:gd name="connsiteX4297" fmla="*/ 1651690 w 9310410"/>
              <a:gd name="connsiteY4297" fmla="*/ 825800 h 5296383"/>
              <a:gd name="connsiteX4298" fmla="*/ 1650492 w 9310410"/>
              <a:gd name="connsiteY4298" fmla="*/ 824601 h 5296383"/>
              <a:gd name="connsiteX4299" fmla="*/ 1649892 w 9310410"/>
              <a:gd name="connsiteY4299" fmla="*/ 823402 h 5296383"/>
              <a:gd name="connsiteX4300" fmla="*/ 1644499 w 9310410"/>
              <a:gd name="connsiteY4300" fmla="*/ 834789 h 5296383"/>
              <a:gd name="connsiteX4301" fmla="*/ 1643300 w 9310410"/>
              <a:gd name="connsiteY4301" fmla="*/ 836586 h 5296383"/>
              <a:gd name="connsiteX4302" fmla="*/ 1642701 w 9310410"/>
              <a:gd name="connsiteY4302" fmla="*/ 837785 h 5296383"/>
              <a:gd name="connsiteX4303" fmla="*/ 1642102 w 9310410"/>
              <a:gd name="connsiteY4303" fmla="*/ 840182 h 5296383"/>
              <a:gd name="connsiteX4304" fmla="*/ 1642701 w 9310410"/>
              <a:gd name="connsiteY4304" fmla="*/ 837785 h 5296383"/>
              <a:gd name="connsiteX4305" fmla="*/ 1643300 w 9310410"/>
              <a:gd name="connsiteY4305" fmla="*/ 836586 h 5296383"/>
              <a:gd name="connsiteX4306" fmla="*/ 1644499 w 9310410"/>
              <a:gd name="connsiteY4306" fmla="*/ 834789 h 5296383"/>
              <a:gd name="connsiteX4307" fmla="*/ 1637907 w 9310410"/>
              <a:gd name="connsiteY4307" fmla="*/ 837785 h 5296383"/>
              <a:gd name="connsiteX4308" fmla="*/ 1637307 w 9310410"/>
              <a:gd name="connsiteY4308" fmla="*/ 838384 h 5296383"/>
              <a:gd name="connsiteX4309" fmla="*/ 1636708 w 9310410"/>
              <a:gd name="connsiteY4309" fmla="*/ 841381 h 5296383"/>
              <a:gd name="connsiteX4310" fmla="*/ 1637307 w 9310410"/>
              <a:gd name="connsiteY4310" fmla="*/ 838384 h 5296383"/>
              <a:gd name="connsiteX4311" fmla="*/ 1637907 w 9310410"/>
              <a:gd name="connsiteY4311" fmla="*/ 837785 h 5296383"/>
              <a:gd name="connsiteX4312" fmla="*/ 1636109 w 9310410"/>
              <a:gd name="connsiteY4312" fmla="*/ 843179 h 5296383"/>
              <a:gd name="connsiteX4313" fmla="*/ 1633113 w 9310410"/>
              <a:gd name="connsiteY4313" fmla="*/ 850370 h 5296383"/>
              <a:gd name="connsiteX4314" fmla="*/ 1630716 w 9310410"/>
              <a:gd name="connsiteY4314" fmla="*/ 852767 h 5296383"/>
              <a:gd name="connsiteX4315" fmla="*/ 1633113 w 9310410"/>
              <a:gd name="connsiteY4315" fmla="*/ 850370 h 5296383"/>
              <a:gd name="connsiteX4316" fmla="*/ 1636109 w 9310410"/>
              <a:gd name="connsiteY4316" fmla="*/ 843179 h 5296383"/>
              <a:gd name="connsiteX4317" fmla="*/ 1596557 w 9310410"/>
              <a:gd name="connsiteY4317" fmla="*/ 884528 h 5296383"/>
              <a:gd name="connsiteX4318" fmla="*/ 1589965 w 9310410"/>
              <a:gd name="connsiteY4318" fmla="*/ 890521 h 5296383"/>
              <a:gd name="connsiteX4319" fmla="*/ 1584571 w 9310410"/>
              <a:gd name="connsiteY4319" fmla="*/ 894716 h 5296383"/>
              <a:gd name="connsiteX4320" fmla="*/ 1589965 w 9310410"/>
              <a:gd name="connsiteY4320" fmla="*/ 890521 h 5296383"/>
              <a:gd name="connsiteX4321" fmla="*/ 1596557 w 9310410"/>
              <a:gd name="connsiteY4321" fmla="*/ 884528 h 5296383"/>
              <a:gd name="connsiteX4322" fmla="*/ 1481496 w 9310410"/>
              <a:gd name="connsiteY4322" fmla="*/ 859958 h 5296383"/>
              <a:gd name="connsiteX4323" fmla="*/ 1483893 w 9310410"/>
              <a:gd name="connsiteY4323" fmla="*/ 865352 h 5296383"/>
              <a:gd name="connsiteX4324" fmla="*/ 1481496 w 9310410"/>
              <a:gd name="connsiteY4324" fmla="*/ 859958 h 5296383"/>
              <a:gd name="connsiteX4325" fmla="*/ 1450933 w 9310410"/>
              <a:gd name="connsiteY4325" fmla="*/ 945654 h 5296383"/>
              <a:gd name="connsiteX4326" fmla="*/ 1453930 w 9310410"/>
              <a:gd name="connsiteY4326" fmla="*/ 941459 h 5296383"/>
              <a:gd name="connsiteX4327" fmla="*/ 1450933 w 9310410"/>
              <a:gd name="connsiteY4327" fmla="*/ 945654 h 5296383"/>
              <a:gd name="connsiteX4328" fmla="*/ 1449735 w 9310410"/>
              <a:gd name="connsiteY4328" fmla="*/ 946853 h 5296383"/>
              <a:gd name="connsiteX4329" fmla="*/ 1450933 w 9310410"/>
              <a:gd name="connsiteY4329" fmla="*/ 945654 h 5296383"/>
              <a:gd name="connsiteX4330" fmla="*/ 1483893 w 9310410"/>
              <a:gd name="connsiteY4330" fmla="*/ 964232 h 5296383"/>
              <a:gd name="connsiteX4331" fmla="*/ 1486291 w 9310410"/>
              <a:gd name="connsiteY4331" fmla="*/ 966030 h 5296383"/>
              <a:gd name="connsiteX4332" fmla="*/ 1486291 w 9310410"/>
              <a:gd name="connsiteY4332" fmla="*/ 966030 h 5296383"/>
              <a:gd name="connsiteX4333" fmla="*/ 1486291 w 9310410"/>
              <a:gd name="connsiteY4333" fmla="*/ 966030 h 5296383"/>
              <a:gd name="connsiteX4334" fmla="*/ 1483893 w 9310410"/>
              <a:gd name="connsiteY4334" fmla="*/ 964232 h 5296383"/>
              <a:gd name="connsiteX4335" fmla="*/ 1485092 w 9310410"/>
              <a:gd name="connsiteY4335" fmla="*/ 956441 h 5296383"/>
              <a:gd name="connsiteX4336" fmla="*/ 1485691 w 9310410"/>
              <a:gd name="connsiteY4336" fmla="*/ 955842 h 5296383"/>
              <a:gd name="connsiteX4337" fmla="*/ 1486890 w 9310410"/>
              <a:gd name="connsiteY4337" fmla="*/ 954643 h 5296383"/>
              <a:gd name="connsiteX4338" fmla="*/ 1485691 w 9310410"/>
              <a:gd name="connsiteY4338" fmla="*/ 955842 h 5296383"/>
              <a:gd name="connsiteX4339" fmla="*/ 1485092 w 9310410"/>
              <a:gd name="connsiteY4339" fmla="*/ 956441 h 5296383"/>
              <a:gd name="connsiteX4340" fmla="*/ 1484493 w 9310410"/>
              <a:gd name="connsiteY4340" fmla="*/ 957041 h 5296383"/>
              <a:gd name="connsiteX4341" fmla="*/ 1485092 w 9310410"/>
              <a:gd name="connsiteY4341" fmla="*/ 956441 h 5296383"/>
              <a:gd name="connsiteX4342" fmla="*/ 1486890 w 9310410"/>
              <a:gd name="connsiteY4342" fmla="*/ 952246 h 5296383"/>
              <a:gd name="connsiteX4343" fmla="*/ 1485691 w 9310410"/>
              <a:gd name="connsiteY4343" fmla="*/ 950449 h 5296383"/>
              <a:gd name="connsiteX4344" fmla="*/ 1486890 w 9310410"/>
              <a:gd name="connsiteY4344" fmla="*/ 952246 h 5296383"/>
              <a:gd name="connsiteX4345" fmla="*/ 1480897 w 9310410"/>
              <a:gd name="connsiteY4345" fmla="*/ 937265 h 5296383"/>
              <a:gd name="connsiteX4346" fmla="*/ 1482695 w 9310410"/>
              <a:gd name="connsiteY4346" fmla="*/ 942059 h 5296383"/>
              <a:gd name="connsiteX4347" fmla="*/ 1480897 w 9310410"/>
              <a:gd name="connsiteY4347" fmla="*/ 937265 h 5296383"/>
              <a:gd name="connsiteX4348" fmla="*/ 1479699 w 9310410"/>
              <a:gd name="connsiteY4348" fmla="*/ 937864 h 5296383"/>
              <a:gd name="connsiteX4349" fmla="*/ 1477301 w 9310410"/>
              <a:gd name="connsiteY4349" fmla="*/ 936066 h 5296383"/>
              <a:gd name="connsiteX4350" fmla="*/ 1479699 w 9310410"/>
              <a:gd name="connsiteY4350" fmla="*/ 937864 h 5296383"/>
              <a:gd name="connsiteX4351" fmla="*/ 1489287 w 9310410"/>
              <a:gd name="connsiteY4351" fmla="*/ 967228 h 5296383"/>
              <a:gd name="connsiteX4352" fmla="*/ 1489287 w 9310410"/>
              <a:gd name="connsiteY4352" fmla="*/ 967228 h 5296383"/>
              <a:gd name="connsiteX4353" fmla="*/ 1489287 w 9310410"/>
              <a:gd name="connsiteY4353" fmla="*/ 967228 h 5296383"/>
              <a:gd name="connsiteX4354" fmla="*/ 1489287 w 9310410"/>
              <a:gd name="connsiteY4354" fmla="*/ 967228 h 5296383"/>
              <a:gd name="connsiteX4355" fmla="*/ 1491684 w 9310410"/>
              <a:gd name="connsiteY4355" fmla="*/ 967827 h 5296383"/>
              <a:gd name="connsiteX4356" fmla="*/ 1491684 w 9310410"/>
              <a:gd name="connsiteY4356" fmla="*/ 967827 h 5296383"/>
              <a:gd name="connsiteX4357" fmla="*/ 1491684 w 9310410"/>
              <a:gd name="connsiteY4357" fmla="*/ 967827 h 5296383"/>
              <a:gd name="connsiteX4358" fmla="*/ 1494680 w 9310410"/>
              <a:gd name="connsiteY4358" fmla="*/ 968427 h 5296383"/>
              <a:gd name="connsiteX4359" fmla="*/ 1494680 w 9310410"/>
              <a:gd name="connsiteY4359" fmla="*/ 968427 h 5296383"/>
              <a:gd name="connsiteX4360" fmla="*/ 1494680 w 9310410"/>
              <a:gd name="connsiteY4360" fmla="*/ 968427 h 5296383"/>
              <a:gd name="connsiteX4361" fmla="*/ 1497677 w 9310410"/>
              <a:gd name="connsiteY4361" fmla="*/ 967827 h 5296383"/>
              <a:gd name="connsiteX4362" fmla="*/ 1497677 w 9310410"/>
              <a:gd name="connsiteY4362" fmla="*/ 967827 h 5296383"/>
              <a:gd name="connsiteX4363" fmla="*/ 1497677 w 9310410"/>
              <a:gd name="connsiteY4363" fmla="*/ 967827 h 5296383"/>
              <a:gd name="connsiteX4364" fmla="*/ 1500673 w 9310410"/>
              <a:gd name="connsiteY4364" fmla="*/ 906102 h 5296383"/>
              <a:gd name="connsiteX4365" fmla="*/ 1498875 w 9310410"/>
              <a:gd name="connsiteY4365" fmla="*/ 904304 h 5296383"/>
              <a:gd name="connsiteX4366" fmla="*/ 1500673 w 9310410"/>
              <a:gd name="connsiteY4366" fmla="*/ 906102 h 5296383"/>
              <a:gd name="connsiteX4367" fmla="*/ 1479099 w 9310410"/>
              <a:gd name="connsiteY4367" fmla="*/ 874341 h 5296383"/>
              <a:gd name="connsiteX4368" fmla="*/ 1477901 w 9310410"/>
              <a:gd name="connsiteY4368" fmla="*/ 874940 h 5296383"/>
              <a:gd name="connsiteX4369" fmla="*/ 1477901 w 9310410"/>
              <a:gd name="connsiteY4369" fmla="*/ 874940 h 5296383"/>
              <a:gd name="connsiteX4370" fmla="*/ 1477901 w 9310410"/>
              <a:gd name="connsiteY4370" fmla="*/ 874940 h 5296383"/>
              <a:gd name="connsiteX4371" fmla="*/ 1479099 w 9310410"/>
              <a:gd name="connsiteY4371" fmla="*/ 874341 h 5296383"/>
              <a:gd name="connsiteX4372" fmla="*/ 1420970 w 9310410"/>
              <a:gd name="connsiteY4372" fmla="*/ 1162591 h 5296383"/>
              <a:gd name="connsiteX4373" fmla="*/ 1419771 w 9310410"/>
              <a:gd name="connsiteY4373" fmla="*/ 1161393 h 5296383"/>
              <a:gd name="connsiteX4374" fmla="*/ 1419771 w 9310410"/>
              <a:gd name="connsiteY4374" fmla="*/ 1161393 h 5296383"/>
              <a:gd name="connsiteX4375" fmla="*/ 1420970 w 9310410"/>
              <a:gd name="connsiteY4375" fmla="*/ 1162591 h 5296383"/>
              <a:gd name="connsiteX4376" fmla="*/ 1422168 w 9310410"/>
              <a:gd name="connsiteY4376" fmla="*/ 1164989 h 5296383"/>
              <a:gd name="connsiteX4377" fmla="*/ 1421569 w 9310410"/>
              <a:gd name="connsiteY4377" fmla="*/ 1163191 h 5296383"/>
              <a:gd name="connsiteX4378" fmla="*/ 1422168 w 9310410"/>
              <a:gd name="connsiteY4378" fmla="*/ 1164989 h 5296383"/>
              <a:gd name="connsiteX4379" fmla="*/ 1405988 w 9310410"/>
              <a:gd name="connsiteY4379" fmla="*/ 1185963 h 5296383"/>
              <a:gd name="connsiteX4380" fmla="*/ 1414977 w 9310410"/>
              <a:gd name="connsiteY4380" fmla="*/ 1194952 h 5296383"/>
              <a:gd name="connsiteX4381" fmla="*/ 1405988 w 9310410"/>
              <a:gd name="connsiteY4381" fmla="*/ 1185963 h 5296383"/>
              <a:gd name="connsiteX4382" fmla="*/ 1405988 w 9310410"/>
              <a:gd name="connsiteY4382" fmla="*/ 1185963 h 5296383"/>
              <a:gd name="connsiteX4383" fmla="*/ 1406587 w 9310410"/>
              <a:gd name="connsiteY4383" fmla="*/ 1184765 h 5296383"/>
              <a:gd name="connsiteX4384" fmla="*/ 1406587 w 9310410"/>
              <a:gd name="connsiteY4384" fmla="*/ 1184765 h 5296383"/>
              <a:gd name="connsiteX4385" fmla="*/ 1406587 w 9310410"/>
              <a:gd name="connsiteY4385" fmla="*/ 1184765 h 5296383"/>
              <a:gd name="connsiteX4386" fmla="*/ 1407786 w 9310410"/>
              <a:gd name="connsiteY4386" fmla="*/ 1181768 h 5296383"/>
              <a:gd name="connsiteX4387" fmla="*/ 1407786 w 9310410"/>
              <a:gd name="connsiteY4387" fmla="*/ 1181768 h 5296383"/>
              <a:gd name="connsiteX4388" fmla="*/ 1407786 w 9310410"/>
              <a:gd name="connsiteY4388" fmla="*/ 1181768 h 5296383"/>
              <a:gd name="connsiteX4389" fmla="*/ 1408385 w 9310410"/>
              <a:gd name="connsiteY4389" fmla="*/ 1181169 h 5296383"/>
              <a:gd name="connsiteX4390" fmla="*/ 1408385 w 9310410"/>
              <a:gd name="connsiteY4390" fmla="*/ 1181169 h 5296383"/>
              <a:gd name="connsiteX4391" fmla="*/ 1408385 w 9310410"/>
              <a:gd name="connsiteY4391" fmla="*/ 1181169 h 5296383"/>
              <a:gd name="connsiteX4392" fmla="*/ 1408984 w 9310410"/>
              <a:gd name="connsiteY4392" fmla="*/ 1179970 h 5296383"/>
              <a:gd name="connsiteX4393" fmla="*/ 1408984 w 9310410"/>
              <a:gd name="connsiteY4393" fmla="*/ 1179970 h 5296383"/>
              <a:gd name="connsiteX4394" fmla="*/ 1408984 w 9310410"/>
              <a:gd name="connsiteY4394" fmla="*/ 1179970 h 5296383"/>
              <a:gd name="connsiteX4395" fmla="*/ 1409583 w 9310410"/>
              <a:gd name="connsiteY4395" fmla="*/ 1178772 h 5296383"/>
              <a:gd name="connsiteX4396" fmla="*/ 1409583 w 9310410"/>
              <a:gd name="connsiteY4396" fmla="*/ 1178772 h 5296383"/>
              <a:gd name="connsiteX4397" fmla="*/ 1409583 w 9310410"/>
              <a:gd name="connsiteY4397" fmla="*/ 1178772 h 5296383"/>
              <a:gd name="connsiteX4398" fmla="*/ 1405389 w 9310410"/>
              <a:gd name="connsiteY4398" fmla="*/ 1188960 h 5296383"/>
              <a:gd name="connsiteX4399" fmla="*/ 1405988 w 9310410"/>
              <a:gd name="connsiteY4399" fmla="*/ 1185963 h 5296383"/>
              <a:gd name="connsiteX4400" fmla="*/ 1405389 w 9310410"/>
              <a:gd name="connsiteY4400" fmla="*/ 1188960 h 5296383"/>
              <a:gd name="connsiteX4401" fmla="*/ 1363439 w 9310410"/>
              <a:gd name="connsiteY4401" fmla="*/ 1241096 h 5296383"/>
              <a:gd name="connsiteX4402" fmla="*/ 1363439 w 9310410"/>
              <a:gd name="connsiteY4402" fmla="*/ 1241096 h 5296383"/>
              <a:gd name="connsiteX4403" fmla="*/ 1364039 w 9310410"/>
              <a:gd name="connsiteY4403" fmla="*/ 1241696 h 5296383"/>
              <a:gd name="connsiteX4404" fmla="*/ 1364039 w 9310410"/>
              <a:gd name="connsiteY4404" fmla="*/ 1239299 h 5296383"/>
              <a:gd name="connsiteX4405" fmla="*/ 1363439 w 9310410"/>
              <a:gd name="connsiteY4405" fmla="*/ 1241096 h 5296383"/>
              <a:gd name="connsiteX4406" fmla="*/ 1364039 w 9310410"/>
              <a:gd name="connsiteY4406" fmla="*/ 1236302 h 5296383"/>
              <a:gd name="connsiteX4407" fmla="*/ 1363439 w 9310410"/>
              <a:gd name="connsiteY4407" fmla="*/ 1231508 h 5296383"/>
              <a:gd name="connsiteX4408" fmla="*/ 1362840 w 9310410"/>
              <a:gd name="connsiteY4408" fmla="*/ 1226115 h 5296383"/>
              <a:gd name="connsiteX4409" fmla="*/ 1362840 w 9310410"/>
              <a:gd name="connsiteY4409" fmla="*/ 1226115 h 5296383"/>
              <a:gd name="connsiteX4410" fmla="*/ 1362840 w 9310410"/>
              <a:gd name="connsiteY4410" fmla="*/ 1233306 h 5296383"/>
              <a:gd name="connsiteX4411" fmla="*/ 1364039 w 9310410"/>
              <a:gd name="connsiteY4411" fmla="*/ 1236302 h 5296383"/>
              <a:gd name="connsiteX4412" fmla="*/ 1370631 w 9310410"/>
              <a:gd name="connsiteY4412" fmla="*/ 1245891 h 5296383"/>
              <a:gd name="connsiteX4413" fmla="*/ 1374826 w 9310410"/>
              <a:gd name="connsiteY4413" fmla="*/ 1250086 h 5296383"/>
              <a:gd name="connsiteX4414" fmla="*/ 1370631 w 9310410"/>
              <a:gd name="connsiteY4414" fmla="*/ 1245891 h 5296383"/>
              <a:gd name="connsiteX4415" fmla="*/ 1364638 w 9310410"/>
              <a:gd name="connsiteY4415" fmla="*/ 1225515 h 5296383"/>
              <a:gd name="connsiteX4416" fmla="*/ 1363439 w 9310410"/>
              <a:gd name="connsiteY4416" fmla="*/ 1226115 h 5296383"/>
              <a:gd name="connsiteX4417" fmla="*/ 1364638 w 9310410"/>
              <a:gd name="connsiteY4417" fmla="*/ 1225515 h 5296383"/>
              <a:gd name="connsiteX4418" fmla="*/ 1367634 w 9310410"/>
              <a:gd name="connsiteY4418" fmla="*/ 1224916 h 5296383"/>
              <a:gd name="connsiteX4419" fmla="*/ 1365237 w 9310410"/>
              <a:gd name="connsiteY4419" fmla="*/ 1225515 h 5296383"/>
              <a:gd name="connsiteX4420" fmla="*/ 1367634 w 9310410"/>
              <a:gd name="connsiteY4420" fmla="*/ 1224916 h 5296383"/>
              <a:gd name="connsiteX4421" fmla="*/ 1358645 w 9310410"/>
              <a:gd name="connsiteY4421" fmla="*/ 1228512 h 5296383"/>
              <a:gd name="connsiteX4422" fmla="*/ 1358645 w 9310410"/>
              <a:gd name="connsiteY4422" fmla="*/ 1228512 h 5296383"/>
              <a:gd name="connsiteX4423" fmla="*/ 1358645 w 9310410"/>
              <a:gd name="connsiteY4423" fmla="*/ 1228512 h 5296383"/>
              <a:gd name="connsiteX4424" fmla="*/ 1361042 w 9310410"/>
              <a:gd name="connsiteY4424" fmla="*/ 1226714 h 5296383"/>
              <a:gd name="connsiteX4425" fmla="*/ 1359244 w 9310410"/>
              <a:gd name="connsiteY4425" fmla="*/ 1227912 h 5296383"/>
              <a:gd name="connsiteX4426" fmla="*/ 1361042 w 9310410"/>
              <a:gd name="connsiteY4426" fmla="*/ 1226714 h 5296383"/>
              <a:gd name="connsiteX4427" fmla="*/ 1362840 w 9310410"/>
              <a:gd name="connsiteY4427" fmla="*/ 1226115 h 5296383"/>
              <a:gd name="connsiteX4428" fmla="*/ 1361642 w 9310410"/>
              <a:gd name="connsiteY4428" fmla="*/ 1226714 h 5296383"/>
              <a:gd name="connsiteX4429" fmla="*/ 1362840 w 9310410"/>
              <a:gd name="connsiteY4429" fmla="*/ 1226115 h 5296383"/>
              <a:gd name="connsiteX4430" fmla="*/ 1441944 w 9310410"/>
              <a:gd name="connsiteY4430" fmla="*/ 1268663 h 5296383"/>
              <a:gd name="connsiteX4431" fmla="*/ 1437749 w 9310410"/>
              <a:gd name="connsiteY4431" fmla="*/ 1270461 h 5296383"/>
              <a:gd name="connsiteX4432" fmla="*/ 1437749 w 9310410"/>
              <a:gd name="connsiteY4432" fmla="*/ 1270461 h 5296383"/>
              <a:gd name="connsiteX4433" fmla="*/ 1441944 w 9310410"/>
              <a:gd name="connsiteY4433" fmla="*/ 1268663 h 5296383"/>
              <a:gd name="connsiteX4434" fmla="*/ 1549814 w 9310410"/>
              <a:gd name="connsiteY4434" fmla="*/ 956441 h 5296383"/>
              <a:gd name="connsiteX4435" fmla="*/ 1552810 w 9310410"/>
              <a:gd name="connsiteY4435" fmla="*/ 954044 h 5296383"/>
              <a:gd name="connsiteX4436" fmla="*/ 1557005 w 9310410"/>
              <a:gd name="connsiteY4436" fmla="*/ 952246 h 5296383"/>
              <a:gd name="connsiteX4437" fmla="*/ 1552810 w 9310410"/>
              <a:gd name="connsiteY4437" fmla="*/ 954044 h 5296383"/>
              <a:gd name="connsiteX4438" fmla="*/ 1549814 w 9310410"/>
              <a:gd name="connsiteY4438" fmla="*/ 956441 h 5296383"/>
              <a:gd name="connsiteX4439" fmla="*/ 1571387 w 9310410"/>
              <a:gd name="connsiteY4439" fmla="*/ 898911 h 5296383"/>
              <a:gd name="connsiteX4440" fmla="*/ 1574384 w 9310410"/>
              <a:gd name="connsiteY4440" fmla="*/ 900110 h 5296383"/>
              <a:gd name="connsiteX4441" fmla="*/ 1571387 w 9310410"/>
              <a:gd name="connsiteY4441" fmla="*/ 898911 h 5296383"/>
              <a:gd name="connsiteX4442" fmla="*/ 1564795 w 9310410"/>
              <a:gd name="connsiteY4442" fmla="*/ 894117 h 5296383"/>
              <a:gd name="connsiteX4443" fmla="*/ 1557005 w 9310410"/>
              <a:gd name="connsiteY4443" fmla="*/ 891120 h 5296383"/>
              <a:gd name="connsiteX4444" fmla="*/ 1564795 w 9310410"/>
              <a:gd name="connsiteY4444" fmla="*/ 894117 h 5296383"/>
              <a:gd name="connsiteX4445" fmla="*/ 1571387 w 9310410"/>
              <a:gd name="connsiteY4445" fmla="*/ 898911 h 5296383"/>
              <a:gd name="connsiteX4446" fmla="*/ 1552810 w 9310410"/>
              <a:gd name="connsiteY4446" fmla="*/ 898312 h 5296383"/>
              <a:gd name="connsiteX4447" fmla="*/ 1549814 w 9310410"/>
              <a:gd name="connsiteY4447" fmla="*/ 897113 h 5296383"/>
              <a:gd name="connsiteX4448" fmla="*/ 1545019 w 9310410"/>
              <a:gd name="connsiteY4448" fmla="*/ 895315 h 5296383"/>
              <a:gd name="connsiteX4449" fmla="*/ 1549814 w 9310410"/>
              <a:gd name="connsiteY4449" fmla="*/ 897113 h 5296383"/>
              <a:gd name="connsiteX4450" fmla="*/ 1552810 w 9310410"/>
              <a:gd name="connsiteY4450" fmla="*/ 898312 h 5296383"/>
              <a:gd name="connsiteX4451" fmla="*/ 1526442 w 9310410"/>
              <a:gd name="connsiteY4451" fmla="*/ 961835 h 5296383"/>
              <a:gd name="connsiteX4452" fmla="*/ 1539626 w 9310410"/>
              <a:gd name="connsiteY4452" fmla="*/ 960037 h 5296383"/>
              <a:gd name="connsiteX4453" fmla="*/ 1542622 w 9310410"/>
              <a:gd name="connsiteY4453" fmla="*/ 959438 h 5296383"/>
              <a:gd name="connsiteX4454" fmla="*/ 1539626 w 9310410"/>
              <a:gd name="connsiteY4454" fmla="*/ 960037 h 5296383"/>
              <a:gd name="connsiteX4455" fmla="*/ 1526442 w 9310410"/>
              <a:gd name="connsiteY4455" fmla="*/ 961835 h 5296383"/>
              <a:gd name="connsiteX4456" fmla="*/ 1503669 w 9310410"/>
              <a:gd name="connsiteY4456" fmla="*/ 964831 h 5296383"/>
              <a:gd name="connsiteX4457" fmla="*/ 1501272 w 9310410"/>
              <a:gd name="connsiteY4457" fmla="*/ 966030 h 5296383"/>
              <a:gd name="connsiteX4458" fmla="*/ 1500074 w 9310410"/>
              <a:gd name="connsiteY4458" fmla="*/ 966629 h 5296383"/>
              <a:gd name="connsiteX4459" fmla="*/ 1500074 w 9310410"/>
              <a:gd name="connsiteY4459" fmla="*/ 966629 h 5296383"/>
              <a:gd name="connsiteX4460" fmla="*/ 1500074 w 9310410"/>
              <a:gd name="connsiteY4460" fmla="*/ 966629 h 5296383"/>
              <a:gd name="connsiteX4461" fmla="*/ 1501272 w 9310410"/>
              <a:gd name="connsiteY4461" fmla="*/ 966030 h 5296383"/>
              <a:gd name="connsiteX4462" fmla="*/ 1503669 w 9310410"/>
              <a:gd name="connsiteY4462" fmla="*/ 964831 h 5296383"/>
              <a:gd name="connsiteX4463" fmla="*/ 1468312 w 9310410"/>
              <a:gd name="connsiteY4463" fmla="*/ 873741 h 5296383"/>
              <a:gd name="connsiteX4464" fmla="*/ 1471908 w 9310410"/>
              <a:gd name="connsiteY4464" fmla="*/ 873142 h 5296383"/>
              <a:gd name="connsiteX4465" fmla="*/ 1468312 w 9310410"/>
              <a:gd name="connsiteY4465" fmla="*/ 873741 h 5296383"/>
              <a:gd name="connsiteX4466" fmla="*/ 1461720 w 9310410"/>
              <a:gd name="connsiteY4466" fmla="*/ 882731 h 5296383"/>
              <a:gd name="connsiteX4467" fmla="*/ 1460522 w 9310410"/>
              <a:gd name="connsiteY4467" fmla="*/ 883330 h 5296383"/>
              <a:gd name="connsiteX4468" fmla="*/ 1461720 w 9310410"/>
              <a:gd name="connsiteY4468" fmla="*/ 882731 h 5296383"/>
              <a:gd name="connsiteX4469" fmla="*/ 1458125 w 9310410"/>
              <a:gd name="connsiteY4469" fmla="*/ 882131 h 5296383"/>
              <a:gd name="connsiteX4470" fmla="*/ 1456327 w 9310410"/>
              <a:gd name="connsiteY4470" fmla="*/ 882131 h 5296383"/>
              <a:gd name="connsiteX4471" fmla="*/ 1458125 w 9310410"/>
              <a:gd name="connsiteY4471" fmla="*/ 882131 h 5296383"/>
              <a:gd name="connsiteX4472" fmla="*/ 1437749 w 9310410"/>
              <a:gd name="connsiteY4472" fmla="*/ 955243 h 5296383"/>
              <a:gd name="connsiteX4473" fmla="*/ 1441345 w 9310410"/>
              <a:gd name="connsiteY4473" fmla="*/ 951048 h 5296383"/>
              <a:gd name="connsiteX4474" fmla="*/ 1437749 w 9310410"/>
              <a:gd name="connsiteY4474" fmla="*/ 955243 h 5296383"/>
              <a:gd name="connsiteX4475" fmla="*/ 1432356 w 9310410"/>
              <a:gd name="connsiteY4475" fmla="*/ 943257 h 5296383"/>
              <a:gd name="connsiteX4476" fmla="*/ 1435352 w 9310410"/>
              <a:gd name="connsiteY4476" fmla="*/ 941459 h 5296383"/>
              <a:gd name="connsiteX4477" fmla="*/ 1432356 w 9310410"/>
              <a:gd name="connsiteY4477" fmla="*/ 943257 h 5296383"/>
              <a:gd name="connsiteX4478" fmla="*/ 1425165 w 9310410"/>
              <a:gd name="connsiteY4478" fmla="*/ 948051 h 5296383"/>
              <a:gd name="connsiteX4479" fmla="*/ 1426962 w 9310410"/>
              <a:gd name="connsiteY4479" fmla="*/ 951048 h 5296383"/>
              <a:gd name="connsiteX4480" fmla="*/ 1431757 w 9310410"/>
              <a:gd name="connsiteY4480" fmla="*/ 952846 h 5296383"/>
              <a:gd name="connsiteX4481" fmla="*/ 1433554 w 9310410"/>
              <a:gd name="connsiteY4481" fmla="*/ 953445 h 5296383"/>
              <a:gd name="connsiteX4482" fmla="*/ 1431757 w 9310410"/>
              <a:gd name="connsiteY4482" fmla="*/ 952846 h 5296383"/>
              <a:gd name="connsiteX4483" fmla="*/ 1426962 w 9310410"/>
              <a:gd name="connsiteY4483" fmla="*/ 951048 h 5296383"/>
              <a:gd name="connsiteX4484" fmla="*/ 1425165 w 9310410"/>
              <a:gd name="connsiteY4484" fmla="*/ 948051 h 5296383"/>
              <a:gd name="connsiteX4485" fmla="*/ 1411381 w 9310410"/>
              <a:gd name="connsiteY4485" fmla="*/ 1160194 h 5296383"/>
              <a:gd name="connsiteX4486" fmla="*/ 1419172 w 9310410"/>
              <a:gd name="connsiteY4486" fmla="*/ 1161393 h 5296383"/>
              <a:gd name="connsiteX4487" fmla="*/ 1419172 w 9310410"/>
              <a:gd name="connsiteY4487" fmla="*/ 1161393 h 5296383"/>
              <a:gd name="connsiteX4488" fmla="*/ 1419172 w 9310410"/>
              <a:gd name="connsiteY4488" fmla="*/ 1161393 h 5296383"/>
              <a:gd name="connsiteX4489" fmla="*/ 1419172 w 9310410"/>
              <a:gd name="connsiteY4489" fmla="*/ 1161393 h 5296383"/>
              <a:gd name="connsiteX4490" fmla="*/ 1419172 w 9310410"/>
              <a:gd name="connsiteY4490" fmla="*/ 1161393 h 5296383"/>
              <a:gd name="connsiteX4491" fmla="*/ 1411381 w 9310410"/>
              <a:gd name="connsiteY4491" fmla="*/ 1160194 h 5296383"/>
              <a:gd name="connsiteX4492" fmla="*/ 1525243 w 9310410"/>
              <a:gd name="connsiteY4492" fmla="*/ 1193155 h 5296383"/>
              <a:gd name="connsiteX4493" fmla="*/ 1523446 w 9310410"/>
              <a:gd name="connsiteY4493" fmla="*/ 1192555 h 5296383"/>
              <a:gd name="connsiteX4494" fmla="*/ 1523446 w 9310410"/>
              <a:gd name="connsiteY4494" fmla="*/ 1192555 h 5296383"/>
              <a:gd name="connsiteX4495" fmla="*/ 1525243 w 9310410"/>
              <a:gd name="connsiteY4495" fmla="*/ 1193155 h 5296383"/>
              <a:gd name="connsiteX4496" fmla="*/ 1533034 w 9310410"/>
              <a:gd name="connsiteY4496" fmla="*/ 1212931 h 5296383"/>
              <a:gd name="connsiteX4497" fmla="*/ 1533034 w 9310410"/>
              <a:gd name="connsiteY4497" fmla="*/ 1212931 h 5296383"/>
              <a:gd name="connsiteX4498" fmla="*/ 1530637 w 9310410"/>
              <a:gd name="connsiteY4498" fmla="*/ 1213530 h 5296383"/>
              <a:gd name="connsiteX4499" fmla="*/ 1533034 w 9310410"/>
              <a:gd name="connsiteY4499" fmla="*/ 1212931 h 5296383"/>
              <a:gd name="connsiteX4500" fmla="*/ 1542622 w 9310410"/>
              <a:gd name="connsiteY4500" fmla="*/ 1213530 h 5296383"/>
              <a:gd name="connsiteX4501" fmla="*/ 1543222 w 9310410"/>
              <a:gd name="connsiteY4501" fmla="*/ 1214728 h 5296383"/>
              <a:gd name="connsiteX4502" fmla="*/ 1542622 w 9310410"/>
              <a:gd name="connsiteY4502" fmla="*/ 1213530 h 5296383"/>
              <a:gd name="connsiteX4503" fmla="*/ 1570788 w 9310410"/>
              <a:gd name="connsiteY4503" fmla="*/ 951048 h 5296383"/>
              <a:gd name="connsiteX4504" fmla="*/ 1567193 w 9310410"/>
              <a:gd name="connsiteY4504" fmla="*/ 951048 h 5296383"/>
              <a:gd name="connsiteX4505" fmla="*/ 1570788 w 9310410"/>
              <a:gd name="connsiteY4505" fmla="*/ 951048 h 5296383"/>
              <a:gd name="connsiteX4506" fmla="*/ 1592362 w 9310410"/>
              <a:gd name="connsiteY4506" fmla="*/ 966030 h 5296383"/>
              <a:gd name="connsiteX4507" fmla="*/ 1592961 w 9310410"/>
              <a:gd name="connsiteY4507" fmla="*/ 968427 h 5296383"/>
              <a:gd name="connsiteX4508" fmla="*/ 1592362 w 9310410"/>
              <a:gd name="connsiteY4508" fmla="*/ 966030 h 5296383"/>
              <a:gd name="connsiteX4509" fmla="*/ 1595958 w 9310410"/>
              <a:gd name="connsiteY4509" fmla="*/ 963033 h 5296383"/>
              <a:gd name="connsiteX4510" fmla="*/ 1597156 w 9310410"/>
              <a:gd name="connsiteY4510" fmla="*/ 963033 h 5296383"/>
              <a:gd name="connsiteX4511" fmla="*/ 1595958 w 9310410"/>
              <a:gd name="connsiteY4511" fmla="*/ 963033 h 5296383"/>
              <a:gd name="connsiteX4512" fmla="*/ 1592362 w 9310410"/>
              <a:gd name="connsiteY4512" fmla="*/ 966030 h 5296383"/>
              <a:gd name="connsiteX4513" fmla="*/ 1907580 w 9310410"/>
              <a:gd name="connsiteY4513" fmla="*/ 1533542 h 5296383"/>
              <a:gd name="connsiteX4514" fmla="*/ 1899790 w 9310410"/>
              <a:gd name="connsiteY4514" fmla="*/ 1535340 h 5296383"/>
              <a:gd name="connsiteX4515" fmla="*/ 1905183 w 9310410"/>
              <a:gd name="connsiteY4515" fmla="*/ 1534741 h 5296383"/>
              <a:gd name="connsiteX4516" fmla="*/ 1907580 w 9310410"/>
              <a:gd name="connsiteY4516" fmla="*/ 1533542 h 5296383"/>
              <a:gd name="connsiteX4517" fmla="*/ 3184633 w 9310410"/>
              <a:gd name="connsiteY4517" fmla="*/ 641223 h 5296383"/>
              <a:gd name="connsiteX4518" fmla="*/ 3182236 w 9310410"/>
              <a:gd name="connsiteY4518" fmla="*/ 643620 h 5296383"/>
              <a:gd name="connsiteX4519" fmla="*/ 3184633 w 9310410"/>
              <a:gd name="connsiteY4519" fmla="*/ 641223 h 5296383"/>
              <a:gd name="connsiteX4520" fmla="*/ 3190626 w 9310410"/>
              <a:gd name="connsiteY4520" fmla="*/ 635230 h 5296383"/>
              <a:gd name="connsiteX4521" fmla="*/ 3184633 w 9310410"/>
              <a:gd name="connsiteY4521" fmla="*/ 641223 h 5296383"/>
              <a:gd name="connsiteX4522" fmla="*/ 3191824 w 9310410"/>
              <a:gd name="connsiteY4522" fmla="*/ 643021 h 5296383"/>
              <a:gd name="connsiteX4523" fmla="*/ 3193023 w 9310410"/>
              <a:gd name="connsiteY4523" fmla="*/ 643620 h 5296383"/>
              <a:gd name="connsiteX4524" fmla="*/ 3194221 w 9310410"/>
              <a:gd name="connsiteY4524" fmla="*/ 644220 h 5296383"/>
              <a:gd name="connsiteX4525" fmla="*/ 3193023 w 9310410"/>
              <a:gd name="connsiteY4525" fmla="*/ 643620 h 5296383"/>
              <a:gd name="connsiteX4526" fmla="*/ 3191824 w 9310410"/>
              <a:gd name="connsiteY4526" fmla="*/ 643021 h 5296383"/>
              <a:gd name="connsiteX4527" fmla="*/ 3200813 w 9310410"/>
              <a:gd name="connsiteY4527" fmla="*/ 669988 h 5296383"/>
              <a:gd name="connsiteX4528" fmla="*/ 3202012 w 9310410"/>
              <a:gd name="connsiteY4528" fmla="*/ 668190 h 5296383"/>
              <a:gd name="connsiteX4529" fmla="*/ 3200813 w 9310410"/>
              <a:gd name="connsiteY4529" fmla="*/ 669988 h 5296383"/>
              <a:gd name="connsiteX4530" fmla="*/ 3203810 w 9310410"/>
              <a:gd name="connsiteY4530" fmla="*/ 641223 h 5296383"/>
              <a:gd name="connsiteX4531" fmla="*/ 3204409 w 9310410"/>
              <a:gd name="connsiteY4531" fmla="*/ 638826 h 5296383"/>
              <a:gd name="connsiteX4532" fmla="*/ 3203810 w 9310410"/>
              <a:gd name="connsiteY4532" fmla="*/ 641223 h 5296383"/>
              <a:gd name="connsiteX4533" fmla="*/ 3211600 w 9310410"/>
              <a:gd name="connsiteY4533" fmla="*/ 593881 h 5296383"/>
              <a:gd name="connsiteX4534" fmla="*/ 3209802 w 9310410"/>
              <a:gd name="connsiteY4534" fmla="*/ 596877 h 5296383"/>
              <a:gd name="connsiteX4535" fmla="*/ 3205607 w 9310410"/>
              <a:gd name="connsiteY4535" fmla="*/ 601072 h 5296383"/>
              <a:gd name="connsiteX4536" fmla="*/ 3209802 w 9310410"/>
              <a:gd name="connsiteY4536" fmla="*/ 596877 h 5296383"/>
              <a:gd name="connsiteX4537" fmla="*/ 3211600 w 9310410"/>
              <a:gd name="connsiteY4537" fmla="*/ 593881 h 5296383"/>
              <a:gd name="connsiteX4538" fmla="*/ 3199615 w 9310410"/>
              <a:gd name="connsiteY4538" fmla="*/ 602870 h 5296383"/>
              <a:gd name="connsiteX4539" fmla="*/ 3197817 w 9310410"/>
              <a:gd name="connsiteY4539" fmla="*/ 602870 h 5296383"/>
              <a:gd name="connsiteX4540" fmla="*/ 3194821 w 9310410"/>
              <a:gd name="connsiteY4540" fmla="*/ 603469 h 5296383"/>
              <a:gd name="connsiteX4541" fmla="*/ 3197817 w 9310410"/>
              <a:gd name="connsiteY4541" fmla="*/ 602870 h 5296383"/>
              <a:gd name="connsiteX4542" fmla="*/ 3199615 w 9310410"/>
              <a:gd name="connsiteY4542" fmla="*/ 602870 h 5296383"/>
              <a:gd name="connsiteX4543" fmla="*/ 3204409 w 9310410"/>
              <a:gd name="connsiteY4543" fmla="*/ 601671 h 5296383"/>
              <a:gd name="connsiteX4544" fmla="*/ 3199615 w 9310410"/>
              <a:gd name="connsiteY4544" fmla="*/ 602870 h 5296383"/>
              <a:gd name="connsiteX4545" fmla="*/ 3208604 w 9310410"/>
              <a:gd name="connsiteY4545" fmla="*/ 592083 h 5296383"/>
              <a:gd name="connsiteX4546" fmla="*/ 3211600 w 9310410"/>
              <a:gd name="connsiteY4546" fmla="*/ 593281 h 5296383"/>
              <a:gd name="connsiteX4547" fmla="*/ 3208604 w 9310410"/>
              <a:gd name="connsiteY4547" fmla="*/ 592083 h 5296383"/>
              <a:gd name="connsiteX4548" fmla="*/ 3182236 w 9310410"/>
              <a:gd name="connsiteY4548" fmla="*/ 629837 h 5296383"/>
              <a:gd name="connsiteX4549" fmla="*/ 3179239 w 9310410"/>
              <a:gd name="connsiteY4549" fmla="*/ 632833 h 5296383"/>
              <a:gd name="connsiteX4550" fmla="*/ 3182236 w 9310410"/>
              <a:gd name="connsiteY4550" fmla="*/ 629837 h 5296383"/>
              <a:gd name="connsiteX4551" fmla="*/ 3180438 w 9310410"/>
              <a:gd name="connsiteY4551" fmla="*/ 648414 h 5296383"/>
              <a:gd name="connsiteX4552" fmla="*/ 3182835 w 9310410"/>
              <a:gd name="connsiteY4552" fmla="*/ 652010 h 5296383"/>
              <a:gd name="connsiteX4553" fmla="*/ 3186431 w 9310410"/>
              <a:gd name="connsiteY4553" fmla="*/ 655606 h 5296383"/>
              <a:gd name="connsiteX4554" fmla="*/ 3182835 w 9310410"/>
              <a:gd name="connsiteY4554" fmla="*/ 652010 h 5296383"/>
              <a:gd name="connsiteX4555" fmla="*/ 3180438 w 9310410"/>
              <a:gd name="connsiteY4555" fmla="*/ 648414 h 5296383"/>
              <a:gd name="connsiteX4556" fmla="*/ 3205008 w 9310410"/>
              <a:gd name="connsiteY4556" fmla="*/ 575303 h 5296383"/>
              <a:gd name="connsiteX4557" fmla="*/ 3200813 w 9310410"/>
              <a:gd name="connsiteY4557" fmla="*/ 569310 h 5296383"/>
              <a:gd name="connsiteX4558" fmla="*/ 3205008 w 9310410"/>
              <a:gd name="connsiteY4558" fmla="*/ 575303 h 5296383"/>
              <a:gd name="connsiteX4559" fmla="*/ 3209802 w 9310410"/>
              <a:gd name="connsiteY4559" fmla="*/ 584292 h 5296383"/>
              <a:gd name="connsiteX4560" fmla="*/ 3205008 w 9310410"/>
              <a:gd name="connsiteY4560" fmla="*/ 575303 h 5296383"/>
              <a:gd name="connsiteX4561" fmla="*/ 3183434 w 9310410"/>
              <a:gd name="connsiteY4561" fmla="*/ 618451 h 5296383"/>
              <a:gd name="connsiteX4562" fmla="*/ 3183434 w 9310410"/>
              <a:gd name="connsiteY4562" fmla="*/ 621447 h 5296383"/>
              <a:gd name="connsiteX4563" fmla="*/ 3183434 w 9310410"/>
              <a:gd name="connsiteY4563" fmla="*/ 618451 h 5296383"/>
              <a:gd name="connsiteX4564" fmla="*/ 3188228 w 9310410"/>
              <a:gd name="connsiteY4564" fmla="*/ 613057 h 5296383"/>
              <a:gd name="connsiteX4565" fmla="*/ 3191225 w 9310410"/>
              <a:gd name="connsiteY4565" fmla="*/ 610061 h 5296383"/>
              <a:gd name="connsiteX4566" fmla="*/ 3188228 w 9310410"/>
              <a:gd name="connsiteY4566" fmla="*/ 613057 h 5296383"/>
              <a:gd name="connsiteX4567" fmla="*/ 3183434 w 9310410"/>
              <a:gd name="connsiteY4567" fmla="*/ 618451 h 5296383"/>
              <a:gd name="connsiteX4568" fmla="*/ 3116315 w 9310410"/>
              <a:gd name="connsiteY4568" fmla="*/ 610061 h 5296383"/>
              <a:gd name="connsiteX4569" fmla="*/ 3112121 w 9310410"/>
              <a:gd name="connsiteY4569" fmla="*/ 607664 h 5296383"/>
              <a:gd name="connsiteX4570" fmla="*/ 3116315 w 9310410"/>
              <a:gd name="connsiteY4570" fmla="*/ 610061 h 5296383"/>
              <a:gd name="connsiteX4571" fmla="*/ 3121110 w 9310410"/>
              <a:gd name="connsiteY4571" fmla="*/ 610061 h 5296383"/>
              <a:gd name="connsiteX4572" fmla="*/ 3119911 w 9310410"/>
              <a:gd name="connsiteY4572" fmla="*/ 611259 h 5296383"/>
              <a:gd name="connsiteX4573" fmla="*/ 3121110 w 9310410"/>
              <a:gd name="connsiteY4573" fmla="*/ 610061 h 5296383"/>
              <a:gd name="connsiteX4574" fmla="*/ 3093543 w 9310410"/>
              <a:gd name="connsiteY4574" fmla="*/ 584891 h 5296383"/>
              <a:gd name="connsiteX4575" fmla="*/ 3101334 w 9310410"/>
              <a:gd name="connsiteY4575" fmla="*/ 590884 h 5296383"/>
              <a:gd name="connsiteX4576" fmla="*/ 3093543 w 9310410"/>
              <a:gd name="connsiteY4576" fmla="*/ 584891 h 5296383"/>
              <a:gd name="connsiteX4577" fmla="*/ 3091146 w 9310410"/>
              <a:gd name="connsiteY4577" fmla="*/ 583094 h 5296383"/>
              <a:gd name="connsiteX4578" fmla="*/ 3093543 w 9310410"/>
              <a:gd name="connsiteY4578" fmla="*/ 584891 h 5296383"/>
              <a:gd name="connsiteX4579" fmla="*/ 3064179 w 9310410"/>
              <a:gd name="connsiteY4579" fmla="*/ 720327 h 5296383"/>
              <a:gd name="connsiteX4580" fmla="*/ 3059385 w 9310410"/>
              <a:gd name="connsiteY4580" fmla="*/ 720327 h 5296383"/>
              <a:gd name="connsiteX4581" fmla="*/ 3064179 w 9310410"/>
              <a:gd name="connsiteY4581" fmla="*/ 720327 h 5296383"/>
              <a:gd name="connsiteX4582" fmla="*/ 3065977 w 9310410"/>
              <a:gd name="connsiteY4582" fmla="*/ 719129 h 5296383"/>
              <a:gd name="connsiteX4583" fmla="*/ 3056988 w 9310410"/>
              <a:gd name="connsiteY4583" fmla="*/ 715533 h 5296383"/>
              <a:gd name="connsiteX4584" fmla="*/ 3054590 w 9310410"/>
              <a:gd name="connsiteY4584" fmla="*/ 714934 h 5296383"/>
              <a:gd name="connsiteX4585" fmla="*/ 3052193 w 9310410"/>
              <a:gd name="connsiteY4585" fmla="*/ 713735 h 5296383"/>
              <a:gd name="connsiteX4586" fmla="*/ 3050995 w 9310410"/>
              <a:gd name="connsiteY4586" fmla="*/ 710140 h 5296383"/>
              <a:gd name="connsiteX4587" fmla="*/ 3052193 w 9310410"/>
              <a:gd name="connsiteY4587" fmla="*/ 713735 h 5296383"/>
              <a:gd name="connsiteX4588" fmla="*/ 3054590 w 9310410"/>
              <a:gd name="connsiteY4588" fmla="*/ 714934 h 5296383"/>
              <a:gd name="connsiteX4589" fmla="*/ 3056988 w 9310410"/>
              <a:gd name="connsiteY4589" fmla="*/ 715533 h 5296383"/>
              <a:gd name="connsiteX4590" fmla="*/ 3065977 w 9310410"/>
              <a:gd name="connsiteY4590" fmla="*/ 719129 h 5296383"/>
              <a:gd name="connsiteX4591" fmla="*/ 3065977 w 9310410"/>
              <a:gd name="connsiteY4591" fmla="*/ 698154 h 5296383"/>
              <a:gd name="connsiteX4592" fmla="*/ 3064179 w 9310410"/>
              <a:gd name="connsiteY4592" fmla="*/ 699952 h 5296383"/>
              <a:gd name="connsiteX4593" fmla="*/ 3065977 w 9310410"/>
              <a:gd name="connsiteY4593" fmla="*/ 698154 h 5296383"/>
              <a:gd name="connsiteX4594" fmla="*/ 3065377 w 9310410"/>
              <a:gd name="connsiteY4594" fmla="*/ 689764 h 5296383"/>
              <a:gd name="connsiteX4595" fmla="*/ 3061782 w 9310410"/>
              <a:gd name="connsiteY4595" fmla="*/ 679577 h 5296383"/>
              <a:gd name="connsiteX4596" fmla="*/ 3065377 w 9310410"/>
              <a:gd name="connsiteY4596" fmla="*/ 689764 h 5296383"/>
              <a:gd name="connsiteX4597" fmla="*/ 3057587 w 9310410"/>
              <a:gd name="connsiteY4597" fmla="*/ 674783 h 5296383"/>
              <a:gd name="connsiteX4598" fmla="*/ 3055789 w 9310410"/>
              <a:gd name="connsiteY4598" fmla="*/ 674183 h 5296383"/>
              <a:gd name="connsiteX4599" fmla="*/ 3049197 w 9310410"/>
              <a:gd name="connsiteY4599" fmla="*/ 673584 h 5296383"/>
              <a:gd name="connsiteX4600" fmla="*/ 3045002 w 9310410"/>
              <a:gd name="connsiteY4600" fmla="*/ 671187 h 5296383"/>
              <a:gd name="connsiteX4601" fmla="*/ 3049197 w 9310410"/>
              <a:gd name="connsiteY4601" fmla="*/ 673584 h 5296383"/>
              <a:gd name="connsiteX4602" fmla="*/ 3055789 w 9310410"/>
              <a:gd name="connsiteY4602" fmla="*/ 674183 h 5296383"/>
              <a:gd name="connsiteX4603" fmla="*/ 3057587 w 9310410"/>
              <a:gd name="connsiteY4603" fmla="*/ 674783 h 5296383"/>
              <a:gd name="connsiteX4604" fmla="*/ 3034814 w 9310410"/>
              <a:gd name="connsiteY4604" fmla="*/ 666393 h 5296383"/>
              <a:gd name="connsiteX4605" fmla="*/ 3031818 w 9310410"/>
              <a:gd name="connsiteY4605" fmla="*/ 666992 h 5296383"/>
              <a:gd name="connsiteX4606" fmla="*/ 3030020 w 9310410"/>
              <a:gd name="connsiteY4606" fmla="*/ 666992 h 5296383"/>
              <a:gd name="connsiteX4607" fmla="*/ 3031818 w 9310410"/>
              <a:gd name="connsiteY4607" fmla="*/ 666992 h 5296383"/>
              <a:gd name="connsiteX4608" fmla="*/ 3034814 w 9310410"/>
              <a:gd name="connsiteY4608" fmla="*/ 666393 h 5296383"/>
              <a:gd name="connsiteX4609" fmla="*/ 3009046 w 9310410"/>
              <a:gd name="connsiteY4609" fmla="*/ 607664 h 5296383"/>
              <a:gd name="connsiteX4610" fmla="*/ 3006049 w 9310410"/>
              <a:gd name="connsiteY4610" fmla="*/ 613657 h 5296383"/>
              <a:gd name="connsiteX4611" fmla="*/ 3004251 w 9310410"/>
              <a:gd name="connsiteY4611" fmla="*/ 616653 h 5296383"/>
              <a:gd name="connsiteX4612" fmla="*/ 3006049 w 9310410"/>
              <a:gd name="connsiteY4612" fmla="*/ 613657 h 5296383"/>
              <a:gd name="connsiteX4613" fmla="*/ 3009046 w 9310410"/>
              <a:gd name="connsiteY4613" fmla="*/ 607664 h 5296383"/>
              <a:gd name="connsiteX4614" fmla="*/ 3012042 w 9310410"/>
              <a:gd name="connsiteY4614" fmla="*/ 596278 h 5296383"/>
              <a:gd name="connsiteX4615" fmla="*/ 3009046 w 9310410"/>
              <a:gd name="connsiteY4615" fmla="*/ 607664 h 5296383"/>
              <a:gd name="connsiteX4616" fmla="*/ 2992865 w 9310410"/>
              <a:gd name="connsiteY4616" fmla="*/ 639425 h 5296383"/>
              <a:gd name="connsiteX4617" fmla="*/ 2985075 w 9310410"/>
              <a:gd name="connsiteY4617" fmla="*/ 648414 h 5296383"/>
              <a:gd name="connsiteX4618" fmla="*/ 2983277 w 9310410"/>
              <a:gd name="connsiteY4618" fmla="*/ 650812 h 5296383"/>
              <a:gd name="connsiteX4619" fmla="*/ 2985075 w 9310410"/>
              <a:gd name="connsiteY4619" fmla="*/ 648414 h 5296383"/>
              <a:gd name="connsiteX4620" fmla="*/ 2992865 w 9310410"/>
              <a:gd name="connsiteY4620" fmla="*/ 639425 h 5296383"/>
              <a:gd name="connsiteX4621" fmla="*/ 2980280 w 9310410"/>
              <a:gd name="connsiteY4621" fmla="*/ 656205 h 5296383"/>
              <a:gd name="connsiteX4622" fmla="*/ 2978483 w 9310410"/>
              <a:gd name="connsiteY4622" fmla="*/ 661598 h 5296383"/>
              <a:gd name="connsiteX4623" fmla="*/ 2980280 w 9310410"/>
              <a:gd name="connsiteY4623" fmla="*/ 656205 h 5296383"/>
              <a:gd name="connsiteX4624" fmla="*/ 2967097 w 9310410"/>
              <a:gd name="connsiteY4624" fmla="*/ 702948 h 5296383"/>
              <a:gd name="connsiteX4625" fmla="*/ 2964100 w 9310410"/>
              <a:gd name="connsiteY4625" fmla="*/ 708342 h 5296383"/>
              <a:gd name="connsiteX4626" fmla="*/ 2953912 w 9310410"/>
              <a:gd name="connsiteY4626" fmla="*/ 714934 h 5296383"/>
              <a:gd name="connsiteX4627" fmla="*/ 2948519 w 9310410"/>
              <a:gd name="connsiteY4627" fmla="*/ 716732 h 5296383"/>
              <a:gd name="connsiteX4628" fmla="*/ 2953912 w 9310410"/>
              <a:gd name="connsiteY4628" fmla="*/ 714934 h 5296383"/>
              <a:gd name="connsiteX4629" fmla="*/ 2964100 w 9310410"/>
              <a:gd name="connsiteY4629" fmla="*/ 708342 h 5296383"/>
              <a:gd name="connsiteX4630" fmla="*/ 2967097 w 9310410"/>
              <a:gd name="connsiteY4630" fmla="*/ 702948 h 5296383"/>
              <a:gd name="connsiteX4631" fmla="*/ 2941328 w 9310410"/>
              <a:gd name="connsiteY4631" fmla="*/ 721526 h 5296383"/>
              <a:gd name="connsiteX4632" fmla="*/ 2937732 w 9310410"/>
              <a:gd name="connsiteY4632" fmla="*/ 722125 h 5296383"/>
              <a:gd name="connsiteX4633" fmla="*/ 2936534 w 9310410"/>
              <a:gd name="connsiteY4633" fmla="*/ 722125 h 5296383"/>
              <a:gd name="connsiteX4634" fmla="*/ 2937732 w 9310410"/>
              <a:gd name="connsiteY4634" fmla="*/ 722125 h 5296383"/>
              <a:gd name="connsiteX4635" fmla="*/ 2941328 w 9310410"/>
              <a:gd name="connsiteY4635" fmla="*/ 721526 h 5296383"/>
              <a:gd name="connsiteX4636" fmla="*/ 2913761 w 9310410"/>
              <a:gd name="connsiteY4636" fmla="*/ 735908 h 5296383"/>
              <a:gd name="connsiteX4637" fmla="*/ 2911963 w 9310410"/>
              <a:gd name="connsiteY4637" fmla="*/ 735908 h 5296383"/>
              <a:gd name="connsiteX4638" fmla="*/ 2913761 w 9310410"/>
              <a:gd name="connsiteY4638" fmla="*/ 735908 h 5296383"/>
              <a:gd name="connsiteX4639" fmla="*/ 2907768 w 9310410"/>
              <a:gd name="connsiteY4639" fmla="*/ 735309 h 5296383"/>
              <a:gd name="connsiteX4640" fmla="*/ 2906570 w 9310410"/>
              <a:gd name="connsiteY4640" fmla="*/ 738306 h 5296383"/>
              <a:gd name="connsiteX4641" fmla="*/ 2907768 w 9310410"/>
              <a:gd name="connsiteY4641" fmla="*/ 735309 h 5296383"/>
              <a:gd name="connsiteX4642" fmla="*/ 2898180 w 9310410"/>
              <a:gd name="connsiteY4642" fmla="*/ 635230 h 5296383"/>
              <a:gd name="connsiteX4643" fmla="*/ 2898180 w 9310410"/>
              <a:gd name="connsiteY4643" fmla="*/ 635230 h 5296383"/>
              <a:gd name="connsiteX4644" fmla="*/ 2899378 w 9310410"/>
              <a:gd name="connsiteY4644" fmla="*/ 638227 h 5296383"/>
              <a:gd name="connsiteX4645" fmla="*/ 2898180 w 9310410"/>
              <a:gd name="connsiteY4645" fmla="*/ 635230 h 5296383"/>
              <a:gd name="connsiteX4646" fmla="*/ 2890989 w 9310410"/>
              <a:gd name="connsiteY4646" fmla="*/ 675981 h 5296383"/>
              <a:gd name="connsiteX4647" fmla="*/ 2890389 w 9310410"/>
              <a:gd name="connsiteY4647" fmla="*/ 678378 h 5296383"/>
              <a:gd name="connsiteX4648" fmla="*/ 2890989 w 9310410"/>
              <a:gd name="connsiteY4648" fmla="*/ 675981 h 5296383"/>
              <a:gd name="connsiteX4649" fmla="*/ 2893386 w 9310410"/>
              <a:gd name="connsiteY4649" fmla="*/ 671187 h 5296383"/>
              <a:gd name="connsiteX4650" fmla="*/ 2890989 w 9310410"/>
              <a:gd name="connsiteY4650" fmla="*/ 675981 h 5296383"/>
              <a:gd name="connsiteX4651" fmla="*/ 2884996 w 9310410"/>
              <a:gd name="connsiteY4651" fmla="*/ 743100 h 5296383"/>
              <a:gd name="connsiteX4652" fmla="*/ 2883797 w 9310410"/>
              <a:gd name="connsiteY4652" fmla="*/ 740703 h 5296383"/>
              <a:gd name="connsiteX4653" fmla="*/ 2882000 w 9310410"/>
              <a:gd name="connsiteY4653" fmla="*/ 738306 h 5296383"/>
              <a:gd name="connsiteX4654" fmla="*/ 2874209 w 9310410"/>
              <a:gd name="connsiteY4654" fmla="*/ 733511 h 5296383"/>
              <a:gd name="connsiteX4655" fmla="*/ 2882000 w 9310410"/>
              <a:gd name="connsiteY4655" fmla="*/ 738306 h 5296383"/>
              <a:gd name="connsiteX4656" fmla="*/ 2883797 w 9310410"/>
              <a:gd name="connsiteY4656" fmla="*/ 740703 h 5296383"/>
              <a:gd name="connsiteX4657" fmla="*/ 2884996 w 9310410"/>
              <a:gd name="connsiteY4657" fmla="*/ 743100 h 5296383"/>
              <a:gd name="connsiteX4658" fmla="*/ 2871213 w 9310410"/>
              <a:gd name="connsiteY4658" fmla="*/ 732912 h 5296383"/>
              <a:gd name="connsiteX4659" fmla="*/ 2862823 w 9310410"/>
              <a:gd name="connsiteY4659" fmla="*/ 731714 h 5296383"/>
              <a:gd name="connsiteX4660" fmla="*/ 2861025 w 9310410"/>
              <a:gd name="connsiteY4660" fmla="*/ 731714 h 5296383"/>
              <a:gd name="connsiteX4661" fmla="*/ 2862823 w 9310410"/>
              <a:gd name="connsiteY4661" fmla="*/ 731714 h 5296383"/>
              <a:gd name="connsiteX4662" fmla="*/ 2871213 w 9310410"/>
              <a:gd name="connsiteY4662" fmla="*/ 732912 h 5296383"/>
              <a:gd name="connsiteX4663" fmla="*/ 2721993 w 9310410"/>
              <a:gd name="connsiteY4663" fmla="*/ 641223 h 5296383"/>
              <a:gd name="connsiteX4664" fmla="*/ 2720196 w 9310410"/>
              <a:gd name="connsiteY4664" fmla="*/ 642422 h 5296383"/>
              <a:gd name="connsiteX4665" fmla="*/ 2721993 w 9310410"/>
              <a:gd name="connsiteY4665" fmla="*/ 641223 h 5296383"/>
              <a:gd name="connsiteX4666" fmla="*/ 2724391 w 9310410"/>
              <a:gd name="connsiteY4666" fmla="*/ 637628 h 5296383"/>
              <a:gd name="connsiteX4667" fmla="*/ 2721993 w 9310410"/>
              <a:gd name="connsiteY4667" fmla="*/ 641223 h 5296383"/>
              <a:gd name="connsiteX4668" fmla="*/ 2606334 w 9310410"/>
              <a:gd name="connsiteY4668" fmla="*/ 633433 h 5296383"/>
              <a:gd name="connsiteX4669" fmla="*/ 2604536 w 9310410"/>
              <a:gd name="connsiteY4669" fmla="*/ 633433 h 5296383"/>
              <a:gd name="connsiteX4670" fmla="*/ 2603337 w 9310410"/>
              <a:gd name="connsiteY4670" fmla="*/ 634631 h 5296383"/>
              <a:gd name="connsiteX4671" fmla="*/ 2604536 w 9310410"/>
              <a:gd name="connsiteY4671" fmla="*/ 633433 h 5296383"/>
              <a:gd name="connsiteX4672" fmla="*/ 2606334 w 9310410"/>
              <a:gd name="connsiteY4672" fmla="*/ 633433 h 5296383"/>
              <a:gd name="connsiteX4673" fmla="*/ 2212610 w 9310410"/>
              <a:gd name="connsiteY4673" fmla="*/ 712537 h 5296383"/>
              <a:gd name="connsiteX4674" fmla="*/ 2213809 w 9310410"/>
              <a:gd name="connsiteY4674" fmla="*/ 718530 h 5296383"/>
              <a:gd name="connsiteX4675" fmla="*/ 2212610 w 9310410"/>
              <a:gd name="connsiteY4675" fmla="*/ 712537 h 5296383"/>
              <a:gd name="connsiteX4676" fmla="*/ 1729596 w 9310410"/>
              <a:gd name="connsiteY4676" fmla="*/ 792240 h 5296383"/>
              <a:gd name="connsiteX4677" fmla="*/ 1759559 w 9310410"/>
              <a:gd name="connsiteY4677" fmla="*/ 786847 h 5296383"/>
              <a:gd name="connsiteX4678" fmla="*/ 1762556 w 9310410"/>
              <a:gd name="connsiteY4678" fmla="*/ 780854 h 5296383"/>
              <a:gd name="connsiteX4679" fmla="*/ 1764354 w 9310410"/>
              <a:gd name="connsiteY4679" fmla="*/ 780854 h 5296383"/>
              <a:gd name="connsiteX4680" fmla="*/ 1766751 w 9310410"/>
              <a:gd name="connsiteY4680" fmla="*/ 777858 h 5296383"/>
              <a:gd name="connsiteX4681" fmla="*/ 1769747 w 9310410"/>
              <a:gd name="connsiteY4681" fmla="*/ 773663 h 5296383"/>
              <a:gd name="connsiteX4682" fmla="*/ 1772144 w 9310410"/>
              <a:gd name="connsiteY4682" fmla="*/ 776060 h 5296383"/>
              <a:gd name="connsiteX4683" fmla="*/ 1774541 w 9310410"/>
              <a:gd name="connsiteY4683" fmla="*/ 781453 h 5296383"/>
              <a:gd name="connsiteX4684" fmla="*/ 1775140 w 9310410"/>
              <a:gd name="connsiteY4684" fmla="*/ 783850 h 5296383"/>
              <a:gd name="connsiteX4685" fmla="*/ 1775140 w 9310410"/>
              <a:gd name="connsiteY4685" fmla="*/ 784450 h 5296383"/>
              <a:gd name="connsiteX4686" fmla="*/ 1785928 w 9310410"/>
              <a:gd name="connsiteY4686" fmla="*/ 782652 h 5296383"/>
              <a:gd name="connsiteX4687" fmla="*/ 1785928 w 9310410"/>
              <a:gd name="connsiteY4687" fmla="*/ 782652 h 5296383"/>
              <a:gd name="connsiteX4688" fmla="*/ 1785328 w 9310410"/>
              <a:gd name="connsiteY4688" fmla="*/ 782652 h 5296383"/>
              <a:gd name="connsiteX4689" fmla="*/ 1784729 w 9310410"/>
              <a:gd name="connsiteY4689" fmla="*/ 782053 h 5296383"/>
              <a:gd name="connsiteX4690" fmla="*/ 1785328 w 9310410"/>
              <a:gd name="connsiteY4690" fmla="*/ 780854 h 5296383"/>
              <a:gd name="connsiteX4691" fmla="*/ 1785928 w 9310410"/>
              <a:gd name="connsiteY4691" fmla="*/ 780854 h 5296383"/>
              <a:gd name="connsiteX4692" fmla="*/ 1786527 w 9310410"/>
              <a:gd name="connsiteY4692" fmla="*/ 782652 h 5296383"/>
              <a:gd name="connsiteX4693" fmla="*/ 1786527 w 9310410"/>
              <a:gd name="connsiteY4693" fmla="*/ 783251 h 5296383"/>
              <a:gd name="connsiteX4694" fmla="*/ 1809898 w 9310410"/>
              <a:gd name="connsiteY4694" fmla="*/ 779056 h 5296383"/>
              <a:gd name="connsiteX4695" fmla="*/ 1811097 w 9310410"/>
              <a:gd name="connsiteY4695" fmla="*/ 782053 h 5296383"/>
              <a:gd name="connsiteX4696" fmla="*/ 1809898 w 9310410"/>
              <a:gd name="connsiteY4696" fmla="*/ 779056 h 5296383"/>
              <a:gd name="connsiteX4697" fmla="*/ 1809898 w 9310410"/>
              <a:gd name="connsiteY4697" fmla="*/ 779056 h 5296383"/>
              <a:gd name="connsiteX4698" fmla="*/ 1809898 w 9310410"/>
              <a:gd name="connsiteY4698" fmla="*/ 775461 h 5296383"/>
              <a:gd name="connsiteX4699" fmla="*/ 1814093 w 9310410"/>
              <a:gd name="connsiteY4699" fmla="*/ 766471 h 5296383"/>
              <a:gd name="connsiteX4700" fmla="*/ 1816491 w 9310410"/>
              <a:gd name="connsiteY4700" fmla="*/ 764074 h 5296383"/>
              <a:gd name="connsiteX4701" fmla="*/ 1819487 w 9310410"/>
              <a:gd name="connsiteY4701" fmla="*/ 761078 h 5296383"/>
              <a:gd name="connsiteX4702" fmla="*/ 1821285 w 9310410"/>
              <a:gd name="connsiteY4702" fmla="*/ 759280 h 5296383"/>
              <a:gd name="connsiteX4703" fmla="*/ 1824281 w 9310410"/>
              <a:gd name="connsiteY4703" fmla="*/ 755085 h 5296383"/>
              <a:gd name="connsiteX4704" fmla="*/ 1827277 w 9310410"/>
              <a:gd name="connsiteY4704" fmla="*/ 749092 h 5296383"/>
              <a:gd name="connsiteX4705" fmla="*/ 1833869 w 9310410"/>
              <a:gd name="connsiteY4705" fmla="*/ 737706 h 5296383"/>
              <a:gd name="connsiteX4706" fmla="*/ 1847653 w 9310410"/>
              <a:gd name="connsiteY4706" fmla="*/ 722125 h 5296383"/>
              <a:gd name="connsiteX4707" fmla="*/ 1848851 w 9310410"/>
              <a:gd name="connsiteY4707" fmla="*/ 721526 h 5296383"/>
              <a:gd name="connsiteX4708" fmla="*/ 1848851 w 9310410"/>
              <a:gd name="connsiteY4708" fmla="*/ 721526 h 5296383"/>
              <a:gd name="connsiteX4709" fmla="*/ 1850050 w 9310410"/>
              <a:gd name="connsiteY4709" fmla="*/ 720927 h 5296383"/>
              <a:gd name="connsiteX4710" fmla="*/ 1851248 w 9310410"/>
              <a:gd name="connsiteY4710" fmla="*/ 720327 h 5296383"/>
              <a:gd name="connsiteX4711" fmla="*/ 1853046 w 9310410"/>
              <a:gd name="connsiteY4711" fmla="*/ 718530 h 5296383"/>
              <a:gd name="connsiteX4712" fmla="*/ 1853046 w 9310410"/>
              <a:gd name="connsiteY4712" fmla="*/ 717331 h 5296383"/>
              <a:gd name="connsiteX4713" fmla="*/ 1852447 w 9310410"/>
              <a:gd name="connsiteY4713" fmla="*/ 714934 h 5296383"/>
              <a:gd name="connsiteX4714" fmla="*/ 1853645 w 9310410"/>
              <a:gd name="connsiteY4714" fmla="*/ 712537 h 5296383"/>
              <a:gd name="connsiteX4715" fmla="*/ 1854844 w 9310410"/>
              <a:gd name="connsiteY4715" fmla="*/ 711338 h 5296383"/>
              <a:gd name="connsiteX4716" fmla="*/ 1862035 w 9310410"/>
              <a:gd name="connsiteY4716" fmla="*/ 706544 h 5296383"/>
              <a:gd name="connsiteX4717" fmla="*/ 1865631 w 9310410"/>
              <a:gd name="connsiteY4717" fmla="*/ 704746 h 5296383"/>
              <a:gd name="connsiteX4718" fmla="*/ 1868627 w 9310410"/>
              <a:gd name="connsiteY4718" fmla="*/ 702948 h 5296383"/>
              <a:gd name="connsiteX4719" fmla="*/ 1872223 w 9310410"/>
              <a:gd name="connsiteY4719" fmla="*/ 701151 h 5296383"/>
              <a:gd name="connsiteX4720" fmla="*/ 1875819 w 9310410"/>
              <a:gd name="connsiteY4720" fmla="*/ 698753 h 5296383"/>
              <a:gd name="connsiteX4721" fmla="*/ 1883010 w 9310410"/>
              <a:gd name="connsiteY4721" fmla="*/ 693360 h 5296383"/>
              <a:gd name="connsiteX4722" fmla="*/ 1884808 w 9310410"/>
              <a:gd name="connsiteY4722" fmla="*/ 690364 h 5296383"/>
              <a:gd name="connsiteX4723" fmla="*/ 1887804 w 9310410"/>
              <a:gd name="connsiteY4723" fmla="*/ 687367 h 5296383"/>
              <a:gd name="connsiteX4724" fmla="*/ 1890800 w 9310410"/>
              <a:gd name="connsiteY4724" fmla="*/ 689165 h 5296383"/>
              <a:gd name="connsiteX4725" fmla="*/ 1894995 w 9310410"/>
              <a:gd name="connsiteY4725" fmla="*/ 690963 h 5296383"/>
              <a:gd name="connsiteX4726" fmla="*/ 1896793 w 9310410"/>
              <a:gd name="connsiteY4726" fmla="*/ 690963 h 5296383"/>
              <a:gd name="connsiteX4727" fmla="*/ 1899190 w 9310410"/>
              <a:gd name="connsiteY4727" fmla="*/ 690364 h 5296383"/>
              <a:gd name="connsiteX4728" fmla="*/ 1900389 w 9310410"/>
              <a:gd name="connsiteY4728" fmla="*/ 689764 h 5296383"/>
              <a:gd name="connsiteX4729" fmla="*/ 1906981 w 9310410"/>
              <a:gd name="connsiteY4729" fmla="*/ 681375 h 5296383"/>
              <a:gd name="connsiteX4730" fmla="*/ 1929753 w 9310410"/>
              <a:gd name="connsiteY4730" fmla="*/ 675981 h 5296383"/>
              <a:gd name="connsiteX4731" fmla="*/ 1932150 w 9310410"/>
              <a:gd name="connsiteY4731" fmla="*/ 675981 h 5296383"/>
              <a:gd name="connsiteX4732" fmla="*/ 1938143 w 9310410"/>
              <a:gd name="connsiteY4732" fmla="*/ 673584 h 5296383"/>
              <a:gd name="connsiteX4733" fmla="*/ 1939342 w 9310410"/>
              <a:gd name="connsiteY4733" fmla="*/ 672385 h 5296383"/>
              <a:gd name="connsiteX4734" fmla="*/ 1941139 w 9310410"/>
              <a:gd name="connsiteY4734" fmla="*/ 670588 h 5296383"/>
              <a:gd name="connsiteX4735" fmla="*/ 1942937 w 9310410"/>
              <a:gd name="connsiteY4735" fmla="*/ 670588 h 5296383"/>
              <a:gd name="connsiteX4736" fmla="*/ 1944136 w 9310410"/>
              <a:gd name="connsiteY4736" fmla="*/ 670588 h 5296383"/>
              <a:gd name="connsiteX4737" fmla="*/ 1948331 w 9310410"/>
              <a:gd name="connsiteY4737" fmla="*/ 668190 h 5296383"/>
              <a:gd name="connsiteX4738" fmla="*/ 1950129 w 9310410"/>
              <a:gd name="connsiteY4738" fmla="*/ 665194 h 5296383"/>
              <a:gd name="connsiteX4739" fmla="*/ 1957320 w 9310410"/>
              <a:gd name="connsiteY4739" fmla="*/ 660999 h 5296383"/>
              <a:gd name="connsiteX4740" fmla="*/ 1967507 w 9310410"/>
              <a:gd name="connsiteY4740" fmla="*/ 657404 h 5296383"/>
              <a:gd name="connsiteX4741" fmla="*/ 1972901 w 9310410"/>
              <a:gd name="connsiteY4741" fmla="*/ 655006 h 5296383"/>
              <a:gd name="connsiteX4742" fmla="*/ 1976497 w 9310410"/>
              <a:gd name="connsiteY4742" fmla="*/ 653209 h 5296383"/>
              <a:gd name="connsiteX4743" fmla="*/ 1980092 w 9310410"/>
              <a:gd name="connsiteY4743" fmla="*/ 652010 h 5296383"/>
              <a:gd name="connsiteX4744" fmla="*/ 1986684 w 9310410"/>
              <a:gd name="connsiteY4744" fmla="*/ 650812 h 5296383"/>
              <a:gd name="connsiteX4745" fmla="*/ 1994475 w 9310410"/>
              <a:gd name="connsiteY4745" fmla="*/ 649613 h 5296383"/>
              <a:gd name="connsiteX4746" fmla="*/ 1998070 w 9310410"/>
              <a:gd name="connsiteY4746" fmla="*/ 647815 h 5296383"/>
              <a:gd name="connsiteX4747" fmla="*/ 2000468 w 9310410"/>
              <a:gd name="connsiteY4747" fmla="*/ 645418 h 5296383"/>
              <a:gd name="connsiteX4748" fmla="*/ 2002865 w 9310410"/>
              <a:gd name="connsiteY4748" fmla="*/ 641223 h 5296383"/>
              <a:gd name="connsiteX4749" fmla="*/ 2009457 w 9310410"/>
              <a:gd name="connsiteY4749" fmla="*/ 634032 h 5296383"/>
              <a:gd name="connsiteX4750" fmla="*/ 2010655 w 9310410"/>
              <a:gd name="connsiteY4750" fmla="*/ 632234 h 5296383"/>
              <a:gd name="connsiteX4751" fmla="*/ 2011255 w 9310410"/>
              <a:gd name="connsiteY4751" fmla="*/ 630436 h 5296383"/>
              <a:gd name="connsiteX4752" fmla="*/ 2010056 w 9310410"/>
              <a:gd name="connsiteY4752" fmla="*/ 626841 h 5296383"/>
              <a:gd name="connsiteX4753" fmla="*/ 2004063 w 9310410"/>
              <a:gd name="connsiteY4753" fmla="*/ 620848 h 5296383"/>
              <a:gd name="connsiteX4754" fmla="*/ 2001067 w 9310410"/>
              <a:gd name="connsiteY4754" fmla="*/ 619050 h 5296383"/>
              <a:gd name="connsiteX4755" fmla="*/ 1999868 w 9310410"/>
              <a:gd name="connsiteY4755" fmla="*/ 618451 h 5296383"/>
              <a:gd name="connsiteX4756" fmla="*/ 1997471 w 9310410"/>
              <a:gd name="connsiteY4756" fmla="*/ 617252 h 5296383"/>
              <a:gd name="connsiteX4757" fmla="*/ 1996273 w 9310410"/>
              <a:gd name="connsiteY4757" fmla="*/ 616653 h 5296383"/>
              <a:gd name="connsiteX4758" fmla="*/ 1993875 w 9310410"/>
              <a:gd name="connsiteY4758" fmla="*/ 616054 h 5296383"/>
              <a:gd name="connsiteX4759" fmla="*/ 1992677 w 9310410"/>
              <a:gd name="connsiteY4759" fmla="*/ 616054 h 5296383"/>
              <a:gd name="connsiteX4760" fmla="*/ 1989681 w 9310410"/>
              <a:gd name="connsiteY4760" fmla="*/ 615454 h 5296383"/>
              <a:gd name="connsiteX4761" fmla="*/ 1989681 w 9310410"/>
              <a:gd name="connsiteY4761" fmla="*/ 615454 h 5296383"/>
              <a:gd name="connsiteX4762" fmla="*/ 1984886 w 9310410"/>
              <a:gd name="connsiteY4762" fmla="*/ 616054 h 5296383"/>
              <a:gd name="connsiteX4763" fmla="*/ 1983688 w 9310410"/>
              <a:gd name="connsiteY4763" fmla="*/ 616054 h 5296383"/>
              <a:gd name="connsiteX4764" fmla="*/ 1981890 w 9310410"/>
              <a:gd name="connsiteY4764" fmla="*/ 614256 h 5296383"/>
              <a:gd name="connsiteX4765" fmla="*/ 1980092 w 9310410"/>
              <a:gd name="connsiteY4765" fmla="*/ 611859 h 5296383"/>
              <a:gd name="connsiteX4766" fmla="*/ 1977695 w 9310410"/>
              <a:gd name="connsiteY4766" fmla="*/ 613657 h 5296383"/>
              <a:gd name="connsiteX4767" fmla="*/ 1976497 w 9310410"/>
              <a:gd name="connsiteY4767" fmla="*/ 614256 h 5296383"/>
              <a:gd name="connsiteX4768" fmla="*/ 1968107 w 9310410"/>
              <a:gd name="connsiteY4768" fmla="*/ 611259 h 5296383"/>
              <a:gd name="connsiteX4769" fmla="*/ 1965710 w 9310410"/>
              <a:gd name="connsiteY4769" fmla="*/ 610061 h 5296383"/>
              <a:gd name="connsiteX4770" fmla="*/ 1960316 w 9310410"/>
              <a:gd name="connsiteY4770" fmla="*/ 608263 h 5296383"/>
              <a:gd name="connsiteX4771" fmla="*/ 1957919 w 9310410"/>
              <a:gd name="connsiteY4771" fmla="*/ 607664 h 5296383"/>
              <a:gd name="connsiteX4772" fmla="*/ 1954324 w 9310410"/>
              <a:gd name="connsiteY4772" fmla="*/ 608862 h 5296383"/>
              <a:gd name="connsiteX4773" fmla="*/ 1953125 w 9310410"/>
              <a:gd name="connsiteY4773" fmla="*/ 610061 h 5296383"/>
              <a:gd name="connsiteX4774" fmla="*/ 1949529 w 9310410"/>
              <a:gd name="connsiteY4774" fmla="*/ 616054 h 5296383"/>
              <a:gd name="connsiteX4775" fmla="*/ 1948331 w 9310410"/>
              <a:gd name="connsiteY4775" fmla="*/ 618451 h 5296383"/>
              <a:gd name="connsiteX4776" fmla="*/ 1947731 w 9310410"/>
              <a:gd name="connsiteY4776" fmla="*/ 619050 h 5296383"/>
              <a:gd name="connsiteX4777" fmla="*/ 1944136 w 9310410"/>
              <a:gd name="connsiteY4777" fmla="*/ 620848 h 5296383"/>
              <a:gd name="connsiteX4778" fmla="*/ 1935746 w 9310410"/>
              <a:gd name="connsiteY4778" fmla="*/ 626241 h 5296383"/>
              <a:gd name="connsiteX4779" fmla="*/ 1928555 w 9310410"/>
              <a:gd name="connsiteY4779" fmla="*/ 631635 h 5296383"/>
              <a:gd name="connsiteX4780" fmla="*/ 1920165 w 9310410"/>
              <a:gd name="connsiteY4780" fmla="*/ 635230 h 5296383"/>
              <a:gd name="connsiteX4781" fmla="*/ 1918367 w 9310410"/>
              <a:gd name="connsiteY4781" fmla="*/ 637028 h 5296383"/>
              <a:gd name="connsiteX4782" fmla="*/ 1918367 w 9310410"/>
              <a:gd name="connsiteY4782" fmla="*/ 641822 h 5296383"/>
              <a:gd name="connsiteX4783" fmla="*/ 1917168 w 9310410"/>
              <a:gd name="connsiteY4783" fmla="*/ 642422 h 5296383"/>
              <a:gd name="connsiteX4784" fmla="*/ 1916569 w 9310410"/>
              <a:gd name="connsiteY4784" fmla="*/ 643021 h 5296383"/>
              <a:gd name="connsiteX4785" fmla="*/ 1916569 w 9310410"/>
              <a:gd name="connsiteY4785" fmla="*/ 643620 h 5296383"/>
              <a:gd name="connsiteX4786" fmla="*/ 1917168 w 9310410"/>
              <a:gd name="connsiteY4786" fmla="*/ 645418 h 5296383"/>
              <a:gd name="connsiteX4787" fmla="*/ 1917768 w 9310410"/>
              <a:gd name="connsiteY4787" fmla="*/ 646617 h 5296383"/>
              <a:gd name="connsiteX4788" fmla="*/ 1912374 w 9310410"/>
              <a:gd name="connsiteY4788" fmla="*/ 651411 h 5296383"/>
              <a:gd name="connsiteX4789" fmla="*/ 1893198 w 9310410"/>
              <a:gd name="connsiteY4789" fmla="*/ 659801 h 5296383"/>
              <a:gd name="connsiteX4790" fmla="*/ 1893198 w 9310410"/>
              <a:gd name="connsiteY4790" fmla="*/ 659801 h 5296383"/>
              <a:gd name="connsiteX4791" fmla="*/ 1875219 w 9310410"/>
              <a:gd name="connsiteY4791" fmla="*/ 668790 h 5296383"/>
              <a:gd name="connsiteX4792" fmla="*/ 1859039 w 9310410"/>
              <a:gd name="connsiteY4792" fmla="*/ 671187 h 5296383"/>
              <a:gd name="connsiteX4793" fmla="*/ 1858440 w 9310410"/>
              <a:gd name="connsiteY4793" fmla="*/ 669988 h 5296383"/>
              <a:gd name="connsiteX4794" fmla="*/ 1858440 w 9310410"/>
              <a:gd name="connsiteY4794" fmla="*/ 669988 h 5296383"/>
              <a:gd name="connsiteX4795" fmla="*/ 1857241 w 9310410"/>
              <a:gd name="connsiteY4795" fmla="*/ 668790 h 5296383"/>
              <a:gd name="connsiteX4796" fmla="*/ 1844057 w 9310410"/>
              <a:gd name="connsiteY4796" fmla="*/ 674783 h 5296383"/>
              <a:gd name="connsiteX4797" fmla="*/ 1841061 w 9310410"/>
              <a:gd name="connsiteY4797" fmla="*/ 676580 h 5296383"/>
              <a:gd name="connsiteX4798" fmla="*/ 1838664 w 9310410"/>
              <a:gd name="connsiteY4798" fmla="*/ 677779 h 5296383"/>
              <a:gd name="connsiteX4799" fmla="*/ 1834469 w 9310410"/>
              <a:gd name="connsiteY4799" fmla="*/ 678977 h 5296383"/>
              <a:gd name="connsiteX4800" fmla="*/ 1833270 w 9310410"/>
              <a:gd name="connsiteY4800" fmla="*/ 678378 h 5296383"/>
              <a:gd name="connsiteX4801" fmla="*/ 1832671 w 9310410"/>
              <a:gd name="connsiteY4801" fmla="*/ 677180 h 5296383"/>
              <a:gd name="connsiteX4802" fmla="*/ 1832671 w 9310410"/>
              <a:gd name="connsiteY4802" fmla="*/ 675981 h 5296383"/>
              <a:gd name="connsiteX4803" fmla="*/ 1832671 w 9310410"/>
              <a:gd name="connsiteY4803" fmla="*/ 675382 h 5296383"/>
              <a:gd name="connsiteX4804" fmla="*/ 1831472 w 9310410"/>
              <a:gd name="connsiteY4804" fmla="*/ 674783 h 5296383"/>
              <a:gd name="connsiteX4805" fmla="*/ 1829075 w 9310410"/>
              <a:gd name="connsiteY4805" fmla="*/ 675382 h 5296383"/>
              <a:gd name="connsiteX4806" fmla="*/ 1827277 w 9310410"/>
              <a:gd name="connsiteY4806" fmla="*/ 675981 h 5296383"/>
              <a:gd name="connsiteX4807" fmla="*/ 1823082 w 9310410"/>
              <a:gd name="connsiteY4807" fmla="*/ 677180 h 5296383"/>
              <a:gd name="connsiteX4808" fmla="*/ 1821285 w 9310410"/>
              <a:gd name="connsiteY4808" fmla="*/ 677779 h 5296383"/>
              <a:gd name="connsiteX4809" fmla="*/ 1820086 w 9310410"/>
              <a:gd name="connsiteY4809" fmla="*/ 678378 h 5296383"/>
              <a:gd name="connsiteX4810" fmla="*/ 1820086 w 9310410"/>
              <a:gd name="connsiteY4810" fmla="*/ 680176 h 5296383"/>
              <a:gd name="connsiteX4811" fmla="*/ 1821285 w 9310410"/>
              <a:gd name="connsiteY4811" fmla="*/ 681974 h 5296383"/>
              <a:gd name="connsiteX4812" fmla="*/ 1820685 w 9310410"/>
              <a:gd name="connsiteY4812" fmla="*/ 682573 h 5296383"/>
              <a:gd name="connsiteX4813" fmla="*/ 1817689 w 9310410"/>
              <a:gd name="connsiteY4813" fmla="*/ 684371 h 5296383"/>
              <a:gd name="connsiteX4814" fmla="*/ 1815891 w 9310410"/>
              <a:gd name="connsiteY4814" fmla="*/ 685569 h 5296383"/>
              <a:gd name="connsiteX4815" fmla="*/ 1811097 w 9310410"/>
              <a:gd name="connsiteY4815" fmla="*/ 686768 h 5296383"/>
              <a:gd name="connsiteX4816" fmla="*/ 1806303 w 9310410"/>
              <a:gd name="connsiteY4816" fmla="*/ 685569 h 5296383"/>
              <a:gd name="connsiteX4817" fmla="*/ 1805104 w 9310410"/>
              <a:gd name="connsiteY4817" fmla="*/ 684970 h 5296383"/>
              <a:gd name="connsiteX4818" fmla="*/ 1804505 w 9310410"/>
              <a:gd name="connsiteY4818" fmla="*/ 684970 h 5296383"/>
              <a:gd name="connsiteX4819" fmla="*/ 1802707 w 9310410"/>
              <a:gd name="connsiteY4819" fmla="*/ 689764 h 5296383"/>
              <a:gd name="connsiteX4820" fmla="*/ 1802108 w 9310410"/>
              <a:gd name="connsiteY4820" fmla="*/ 691562 h 5296383"/>
              <a:gd name="connsiteX4821" fmla="*/ 1800909 w 9310410"/>
              <a:gd name="connsiteY4821" fmla="*/ 692761 h 5296383"/>
              <a:gd name="connsiteX4822" fmla="*/ 1797314 w 9310410"/>
              <a:gd name="connsiteY4822" fmla="*/ 695158 h 5296383"/>
              <a:gd name="connsiteX4823" fmla="*/ 1794317 w 9310410"/>
              <a:gd name="connsiteY4823" fmla="*/ 695158 h 5296383"/>
              <a:gd name="connsiteX4824" fmla="*/ 1793119 w 9310410"/>
              <a:gd name="connsiteY4824" fmla="*/ 695158 h 5296383"/>
              <a:gd name="connsiteX4825" fmla="*/ 1791920 w 9310410"/>
              <a:gd name="connsiteY4825" fmla="*/ 695158 h 5296383"/>
              <a:gd name="connsiteX4826" fmla="*/ 1791321 w 9310410"/>
              <a:gd name="connsiteY4826" fmla="*/ 695158 h 5296383"/>
              <a:gd name="connsiteX4827" fmla="*/ 1790122 w 9310410"/>
              <a:gd name="connsiteY4827" fmla="*/ 699353 h 5296383"/>
              <a:gd name="connsiteX4828" fmla="*/ 1788924 w 9310410"/>
              <a:gd name="connsiteY4828" fmla="*/ 704746 h 5296383"/>
              <a:gd name="connsiteX4829" fmla="*/ 1786527 w 9310410"/>
              <a:gd name="connsiteY4829" fmla="*/ 706544 h 5296383"/>
              <a:gd name="connsiteX4830" fmla="*/ 1782332 w 9310410"/>
              <a:gd name="connsiteY4830" fmla="*/ 708342 h 5296383"/>
              <a:gd name="connsiteX4831" fmla="*/ 1776938 w 9310410"/>
              <a:gd name="connsiteY4831" fmla="*/ 710739 h 5296383"/>
              <a:gd name="connsiteX4832" fmla="*/ 1766751 w 9310410"/>
              <a:gd name="connsiteY4832" fmla="*/ 719728 h 5296383"/>
              <a:gd name="connsiteX4833" fmla="*/ 1761957 w 9310410"/>
              <a:gd name="connsiteY4833" fmla="*/ 721526 h 5296383"/>
              <a:gd name="connsiteX4834" fmla="*/ 1760758 w 9310410"/>
              <a:gd name="connsiteY4834" fmla="*/ 720327 h 5296383"/>
              <a:gd name="connsiteX4835" fmla="*/ 1758960 w 9310410"/>
              <a:gd name="connsiteY4835" fmla="*/ 720327 h 5296383"/>
              <a:gd name="connsiteX4836" fmla="*/ 1756563 w 9310410"/>
              <a:gd name="connsiteY4836" fmla="*/ 722724 h 5296383"/>
              <a:gd name="connsiteX4837" fmla="*/ 1755964 w 9310410"/>
              <a:gd name="connsiteY4837" fmla="*/ 724522 h 5296383"/>
              <a:gd name="connsiteX4838" fmla="*/ 1753567 w 9310410"/>
              <a:gd name="connsiteY4838" fmla="*/ 727519 h 5296383"/>
              <a:gd name="connsiteX4839" fmla="*/ 1751170 w 9310410"/>
              <a:gd name="connsiteY4839" fmla="*/ 729916 h 5296383"/>
              <a:gd name="connsiteX4840" fmla="*/ 1746975 w 9310410"/>
              <a:gd name="connsiteY4840" fmla="*/ 734111 h 5296383"/>
              <a:gd name="connsiteX4841" fmla="*/ 1744578 w 9310410"/>
              <a:gd name="connsiteY4841" fmla="*/ 736508 h 5296383"/>
              <a:gd name="connsiteX4842" fmla="*/ 1736188 w 9310410"/>
              <a:gd name="connsiteY4842" fmla="*/ 746096 h 5296383"/>
              <a:gd name="connsiteX4843" fmla="*/ 1734989 w 9310410"/>
              <a:gd name="connsiteY4843" fmla="*/ 753287 h 5296383"/>
              <a:gd name="connsiteX4844" fmla="*/ 1734989 w 9310410"/>
              <a:gd name="connsiteY4844" fmla="*/ 759879 h 5296383"/>
              <a:gd name="connsiteX4845" fmla="*/ 1734989 w 9310410"/>
              <a:gd name="connsiteY4845" fmla="*/ 760479 h 5296383"/>
              <a:gd name="connsiteX4846" fmla="*/ 1736787 w 9310410"/>
              <a:gd name="connsiteY4846" fmla="*/ 760479 h 5296383"/>
              <a:gd name="connsiteX4847" fmla="*/ 1742180 w 9310410"/>
              <a:gd name="connsiteY4847" fmla="*/ 765273 h 5296383"/>
              <a:gd name="connsiteX4848" fmla="*/ 1742180 w 9310410"/>
              <a:gd name="connsiteY4848" fmla="*/ 771865 h 5296383"/>
              <a:gd name="connsiteX4849" fmla="*/ 1739783 w 9310410"/>
              <a:gd name="connsiteY4849" fmla="*/ 773063 h 5296383"/>
              <a:gd name="connsiteX4850" fmla="*/ 1737386 w 9310410"/>
              <a:gd name="connsiteY4850" fmla="*/ 776060 h 5296383"/>
              <a:gd name="connsiteX4851" fmla="*/ 1739184 w 9310410"/>
              <a:gd name="connsiteY4851" fmla="*/ 777858 h 5296383"/>
              <a:gd name="connsiteX4852" fmla="*/ 1739783 w 9310410"/>
              <a:gd name="connsiteY4852" fmla="*/ 780255 h 5296383"/>
              <a:gd name="connsiteX4853" fmla="*/ 1739184 w 9310410"/>
              <a:gd name="connsiteY4853" fmla="*/ 783850 h 5296383"/>
              <a:gd name="connsiteX4854" fmla="*/ 1736188 w 9310410"/>
              <a:gd name="connsiteY4854" fmla="*/ 791641 h 5296383"/>
              <a:gd name="connsiteX4855" fmla="*/ 1736188 w 9310410"/>
              <a:gd name="connsiteY4855" fmla="*/ 791641 h 5296383"/>
              <a:gd name="connsiteX4856" fmla="*/ 1736188 w 9310410"/>
              <a:gd name="connsiteY4856" fmla="*/ 791641 h 5296383"/>
              <a:gd name="connsiteX4857" fmla="*/ 1731394 w 9310410"/>
              <a:gd name="connsiteY4857" fmla="*/ 789244 h 5296383"/>
              <a:gd name="connsiteX4858" fmla="*/ 1730195 w 9310410"/>
              <a:gd name="connsiteY4858" fmla="*/ 789244 h 5296383"/>
              <a:gd name="connsiteX4859" fmla="*/ 1730195 w 9310410"/>
              <a:gd name="connsiteY4859" fmla="*/ 791641 h 5296383"/>
              <a:gd name="connsiteX4860" fmla="*/ 1729596 w 9310410"/>
              <a:gd name="connsiteY4860" fmla="*/ 792240 h 5296383"/>
              <a:gd name="connsiteX4861" fmla="*/ 1729596 w 9310410"/>
              <a:gd name="connsiteY4861" fmla="*/ 792240 h 5296383"/>
              <a:gd name="connsiteX4862" fmla="*/ 1534832 w 9310410"/>
              <a:gd name="connsiteY4862" fmla="*/ 910297 h 5296383"/>
              <a:gd name="connsiteX4863" fmla="*/ 1531236 w 9310410"/>
              <a:gd name="connsiteY4863" fmla="*/ 915691 h 5296383"/>
              <a:gd name="connsiteX4864" fmla="*/ 1534832 w 9310410"/>
              <a:gd name="connsiteY4864" fmla="*/ 910297 h 5296383"/>
              <a:gd name="connsiteX4865" fmla="*/ 1536030 w 9310410"/>
              <a:gd name="connsiteY4865" fmla="*/ 906702 h 5296383"/>
              <a:gd name="connsiteX4866" fmla="*/ 1534832 w 9310410"/>
              <a:gd name="connsiteY4866" fmla="*/ 910297 h 5296383"/>
              <a:gd name="connsiteX4867" fmla="*/ 1487489 w 9310410"/>
              <a:gd name="connsiteY4867" fmla="*/ 840781 h 5296383"/>
              <a:gd name="connsiteX4868" fmla="*/ 1487489 w 9310410"/>
              <a:gd name="connsiteY4868" fmla="*/ 840781 h 5296383"/>
              <a:gd name="connsiteX4869" fmla="*/ 1486291 w 9310410"/>
              <a:gd name="connsiteY4869" fmla="*/ 840781 h 5296383"/>
              <a:gd name="connsiteX4870" fmla="*/ 1487489 w 9310410"/>
              <a:gd name="connsiteY4870" fmla="*/ 840781 h 5296383"/>
              <a:gd name="connsiteX4871" fmla="*/ 1474904 w 9310410"/>
              <a:gd name="connsiteY4871" fmla="*/ 841980 h 5296383"/>
              <a:gd name="connsiteX4872" fmla="*/ 1473106 w 9310410"/>
              <a:gd name="connsiteY4872" fmla="*/ 842579 h 5296383"/>
              <a:gd name="connsiteX4873" fmla="*/ 1474904 w 9310410"/>
              <a:gd name="connsiteY4873" fmla="*/ 841980 h 5296383"/>
              <a:gd name="connsiteX4874" fmla="*/ 1460522 w 9310410"/>
              <a:gd name="connsiteY4874" fmla="*/ 849770 h 5296383"/>
              <a:gd name="connsiteX4875" fmla="*/ 1462320 w 9310410"/>
              <a:gd name="connsiteY4875" fmla="*/ 850969 h 5296383"/>
              <a:gd name="connsiteX4876" fmla="*/ 1460522 w 9310410"/>
              <a:gd name="connsiteY4876" fmla="*/ 849770 h 5296383"/>
              <a:gd name="connsiteX4877" fmla="*/ 1458724 w 9310410"/>
              <a:gd name="connsiteY4877" fmla="*/ 848572 h 5296383"/>
              <a:gd name="connsiteX4878" fmla="*/ 1456327 w 9310410"/>
              <a:gd name="connsiteY4878" fmla="*/ 849171 h 5296383"/>
              <a:gd name="connsiteX4879" fmla="*/ 1458724 w 9310410"/>
              <a:gd name="connsiteY4879" fmla="*/ 848572 h 5296383"/>
              <a:gd name="connsiteX4880" fmla="*/ 1450334 w 9310410"/>
              <a:gd name="connsiteY4880" fmla="*/ 885727 h 5296383"/>
              <a:gd name="connsiteX4881" fmla="*/ 1452731 w 9310410"/>
              <a:gd name="connsiteY4881" fmla="*/ 883929 h 5296383"/>
              <a:gd name="connsiteX4882" fmla="*/ 1455728 w 9310410"/>
              <a:gd name="connsiteY4882" fmla="*/ 882131 h 5296383"/>
              <a:gd name="connsiteX4883" fmla="*/ 1452731 w 9310410"/>
              <a:gd name="connsiteY4883" fmla="*/ 883929 h 5296383"/>
              <a:gd name="connsiteX4884" fmla="*/ 1450334 w 9310410"/>
              <a:gd name="connsiteY4884" fmla="*/ 885727 h 5296383"/>
              <a:gd name="connsiteX4885" fmla="*/ 1432356 w 9310410"/>
              <a:gd name="connsiteY4885" fmla="*/ 936066 h 5296383"/>
              <a:gd name="connsiteX4886" fmla="*/ 1430558 w 9310410"/>
              <a:gd name="connsiteY4886" fmla="*/ 936066 h 5296383"/>
              <a:gd name="connsiteX4887" fmla="*/ 1432356 w 9310410"/>
              <a:gd name="connsiteY4887" fmla="*/ 936066 h 5296383"/>
              <a:gd name="connsiteX4888" fmla="*/ 1436551 w 9310410"/>
              <a:gd name="connsiteY4888" fmla="*/ 937864 h 5296383"/>
              <a:gd name="connsiteX4889" fmla="*/ 1435951 w 9310410"/>
              <a:gd name="connsiteY4889" fmla="*/ 940261 h 5296383"/>
              <a:gd name="connsiteX4890" fmla="*/ 1436551 w 9310410"/>
              <a:gd name="connsiteY4890" fmla="*/ 937864 h 5296383"/>
              <a:gd name="connsiteX4891" fmla="*/ 1432356 w 9310410"/>
              <a:gd name="connsiteY4891" fmla="*/ 936066 h 5296383"/>
              <a:gd name="connsiteX4892" fmla="*/ 1426363 w 9310410"/>
              <a:gd name="connsiteY4892" fmla="*/ 934867 h 5296383"/>
              <a:gd name="connsiteX4893" fmla="*/ 1426363 w 9310410"/>
              <a:gd name="connsiteY4893" fmla="*/ 934867 h 5296383"/>
              <a:gd name="connsiteX4894" fmla="*/ 1425165 w 9310410"/>
              <a:gd name="connsiteY4894" fmla="*/ 933070 h 5296383"/>
              <a:gd name="connsiteX4895" fmla="*/ 1426363 w 9310410"/>
              <a:gd name="connsiteY4895" fmla="*/ 934867 h 5296383"/>
              <a:gd name="connsiteX4896" fmla="*/ 1426363 w 9310410"/>
              <a:gd name="connsiteY4896" fmla="*/ 934867 h 5296383"/>
              <a:gd name="connsiteX4897" fmla="*/ 1423367 w 9310410"/>
              <a:gd name="connsiteY4897" fmla="*/ 920485 h 5296383"/>
              <a:gd name="connsiteX4898" fmla="*/ 1421569 w 9310410"/>
              <a:gd name="connsiteY4898" fmla="*/ 918687 h 5296383"/>
              <a:gd name="connsiteX4899" fmla="*/ 1423367 w 9310410"/>
              <a:gd name="connsiteY4899" fmla="*/ 920485 h 5296383"/>
              <a:gd name="connsiteX4900" fmla="*/ 1361042 w 9310410"/>
              <a:gd name="connsiteY4900" fmla="*/ 1416084 h 5296383"/>
              <a:gd name="connsiteX4901" fmla="*/ 1361042 w 9310410"/>
              <a:gd name="connsiteY4901" fmla="*/ 1414886 h 5296383"/>
              <a:gd name="connsiteX4902" fmla="*/ 1361042 w 9310410"/>
              <a:gd name="connsiteY4902" fmla="*/ 1416084 h 5296383"/>
              <a:gd name="connsiteX4903" fmla="*/ 1360443 w 9310410"/>
              <a:gd name="connsiteY4903" fmla="*/ 1419081 h 5296383"/>
              <a:gd name="connsiteX4904" fmla="*/ 1361042 w 9310410"/>
              <a:gd name="connsiteY4904" fmla="*/ 1417882 h 5296383"/>
              <a:gd name="connsiteX4905" fmla="*/ 1360443 w 9310410"/>
              <a:gd name="connsiteY4905" fmla="*/ 1419081 h 5296383"/>
              <a:gd name="connsiteX4906" fmla="*/ 1358645 w 9310410"/>
              <a:gd name="connsiteY4906" fmla="*/ 1422077 h 5296383"/>
              <a:gd name="connsiteX4907" fmla="*/ 1359244 w 9310410"/>
              <a:gd name="connsiteY4907" fmla="*/ 1420879 h 5296383"/>
              <a:gd name="connsiteX4908" fmla="*/ 1358645 w 9310410"/>
              <a:gd name="connsiteY4908" fmla="*/ 1422077 h 5296383"/>
              <a:gd name="connsiteX4909" fmla="*/ 1409583 w 9310410"/>
              <a:gd name="connsiteY4909" fmla="*/ 1416084 h 5296383"/>
              <a:gd name="connsiteX4910" fmla="*/ 1409583 w 9310410"/>
              <a:gd name="connsiteY4910" fmla="*/ 1414886 h 5296383"/>
              <a:gd name="connsiteX4911" fmla="*/ 1409583 w 9310410"/>
              <a:gd name="connsiteY4911" fmla="*/ 1413687 h 5296383"/>
              <a:gd name="connsiteX4912" fmla="*/ 1409583 w 9310410"/>
              <a:gd name="connsiteY4912" fmla="*/ 1414886 h 5296383"/>
              <a:gd name="connsiteX4913" fmla="*/ 1402392 w 9310410"/>
              <a:gd name="connsiteY4913" fmla="*/ 1415485 h 5296383"/>
              <a:gd name="connsiteX4914" fmla="*/ 1409583 w 9310410"/>
              <a:gd name="connsiteY4914" fmla="*/ 1416084 h 5296383"/>
              <a:gd name="connsiteX4915" fmla="*/ 1409583 w 9310410"/>
              <a:gd name="connsiteY4915" fmla="*/ 1416084 h 5296383"/>
              <a:gd name="connsiteX4916" fmla="*/ 1459323 w 9310410"/>
              <a:gd name="connsiteY4916" fmla="*/ 1483203 h 5296383"/>
              <a:gd name="connsiteX4917" fmla="*/ 1461121 w 9310410"/>
              <a:gd name="connsiteY4917" fmla="*/ 1482005 h 5296383"/>
              <a:gd name="connsiteX4918" fmla="*/ 1459323 w 9310410"/>
              <a:gd name="connsiteY4918" fmla="*/ 1483203 h 5296383"/>
              <a:gd name="connsiteX4919" fmla="*/ 1464717 w 9310410"/>
              <a:gd name="connsiteY4919" fmla="*/ 1479008 h 5296383"/>
              <a:gd name="connsiteX4920" fmla="*/ 1467114 w 9310410"/>
              <a:gd name="connsiteY4920" fmla="*/ 1476611 h 5296383"/>
              <a:gd name="connsiteX4921" fmla="*/ 1464717 w 9310410"/>
              <a:gd name="connsiteY4921" fmla="*/ 1479008 h 5296383"/>
              <a:gd name="connsiteX4922" fmla="*/ 1461720 w 9310410"/>
              <a:gd name="connsiteY4922" fmla="*/ 1481405 h 5296383"/>
              <a:gd name="connsiteX4923" fmla="*/ 1463518 w 9310410"/>
              <a:gd name="connsiteY4923" fmla="*/ 1479607 h 5296383"/>
              <a:gd name="connsiteX4924" fmla="*/ 1461720 w 9310410"/>
              <a:gd name="connsiteY4924" fmla="*/ 1481405 h 5296383"/>
              <a:gd name="connsiteX4925" fmla="*/ 1470110 w 9310410"/>
              <a:gd name="connsiteY4925" fmla="*/ 1455637 h 5296383"/>
              <a:gd name="connsiteX4926" fmla="*/ 1471309 w 9310410"/>
              <a:gd name="connsiteY4926" fmla="*/ 1453839 h 5296383"/>
              <a:gd name="connsiteX4927" fmla="*/ 1470110 w 9310410"/>
              <a:gd name="connsiteY4927" fmla="*/ 1455637 h 5296383"/>
              <a:gd name="connsiteX4928" fmla="*/ 1468912 w 9310410"/>
              <a:gd name="connsiteY4928" fmla="*/ 1458633 h 5296383"/>
              <a:gd name="connsiteX4929" fmla="*/ 1470110 w 9310410"/>
              <a:gd name="connsiteY4929" fmla="*/ 1456236 h 5296383"/>
              <a:gd name="connsiteX4930" fmla="*/ 1468912 w 9310410"/>
              <a:gd name="connsiteY4930" fmla="*/ 1458633 h 5296383"/>
              <a:gd name="connsiteX4931" fmla="*/ 1471908 w 9310410"/>
              <a:gd name="connsiteY4931" fmla="*/ 1453239 h 5296383"/>
              <a:gd name="connsiteX4932" fmla="*/ 1473706 w 9310410"/>
              <a:gd name="connsiteY4932" fmla="*/ 1450842 h 5296383"/>
              <a:gd name="connsiteX4933" fmla="*/ 1471908 w 9310410"/>
              <a:gd name="connsiteY4933" fmla="*/ 1453239 h 5296383"/>
              <a:gd name="connsiteX4934" fmla="*/ 1476702 w 9310410"/>
              <a:gd name="connsiteY4934" fmla="*/ 1448445 h 5296383"/>
              <a:gd name="connsiteX4935" fmla="*/ 1476702 w 9310410"/>
              <a:gd name="connsiteY4935" fmla="*/ 1448445 h 5296383"/>
              <a:gd name="connsiteX4936" fmla="*/ 1476702 w 9310410"/>
              <a:gd name="connsiteY4936" fmla="*/ 1448445 h 5296383"/>
              <a:gd name="connsiteX4937" fmla="*/ 1473706 w 9310410"/>
              <a:gd name="connsiteY4937" fmla="*/ 1450243 h 5296383"/>
              <a:gd name="connsiteX4938" fmla="*/ 1475504 w 9310410"/>
              <a:gd name="connsiteY4938" fmla="*/ 1449044 h 5296383"/>
              <a:gd name="connsiteX4939" fmla="*/ 1473706 w 9310410"/>
              <a:gd name="connsiteY4939" fmla="*/ 1450243 h 5296383"/>
              <a:gd name="connsiteX4940" fmla="*/ 1524644 w 9310410"/>
              <a:gd name="connsiteY4940" fmla="*/ 1216526 h 5296383"/>
              <a:gd name="connsiteX4941" fmla="*/ 1525243 w 9310410"/>
              <a:gd name="connsiteY4941" fmla="*/ 1215927 h 5296383"/>
              <a:gd name="connsiteX4942" fmla="*/ 1524644 w 9310410"/>
              <a:gd name="connsiteY4942" fmla="*/ 1216526 h 5296383"/>
              <a:gd name="connsiteX4943" fmla="*/ 1522846 w 9310410"/>
              <a:gd name="connsiteY4943" fmla="*/ 1217725 h 5296383"/>
              <a:gd name="connsiteX4944" fmla="*/ 1522846 w 9310410"/>
              <a:gd name="connsiteY4944" fmla="*/ 1217725 h 5296383"/>
              <a:gd name="connsiteX4945" fmla="*/ 1522846 w 9310410"/>
              <a:gd name="connsiteY4945" fmla="*/ 1217725 h 5296383"/>
              <a:gd name="connsiteX4946" fmla="*/ 1521048 w 9310410"/>
              <a:gd name="connsiteY4946" fmla="*/ 1218324 h 5296383"/>
              <a:gd name="connsiteX4947" fmla="*/ 1521048 w 9310410"/>
              <a:gd name="connsiteY4947" fmla="*/ 1218324 h 5296383"/>
              <a:gd name="connsiteX4948" fmla="*/ 1521048 w 9310410"/>
              <a:gd name="connsiteY4948" fmla="*/ 1218324 h 5296383"/>
              <a:gd name="connsiteX4949" fmla="*/ 1519850 w 9310410"/>
              <a:gd name="connsiteY4949" fmla="*/ 1218923 h 5296383"/>
              <a:gd name="connsiteX4950" fmla="*/ 1519850 w 9310410"/>
              <a:gd name="connsiteY4950" fmla="*/ 1218923 h 5296383"/>
              <a:gd name="connsiteX4951" fmla="*/ 1519850 w 9310410"/>
              <a:gd name="connsiteY4951" fmla="*/ 1218923 h 5296383"/>
              <a:gd name="connsiteX4952" fmla="*/ 1528240 w 9310410"/>
              <a:gd name="connsiteY4952" fmla="*/ 1214728 h 5296383"/>
              <a:gd name="connsiteX4953" fmla="*/ 1529438 w 9310410"/>
              <a:gd name="connsiteY4953" fmla="*/ 1214129 h 5296383"/>
              <a:gd name="connsiteX4954" fmla="*/ 1528240 w 9310410"/>
              <a:gd name="connsiteY4954" fmla="*/ 1214728 h 5296383"/>
              <a:gd name="connsiteX4955" fmla="*/ 1526442 w 9310410"/>
              <a:gd name="connsiteY4955" fmla="*/ 1215927 h 5296383"/>
              <a:gd name="connsiteX4956" fmla="*/ 1527041 w 9310410"/>
              <a:gd name="connsiteY4956" fmla="*/ 1215328 h 5296383"/>
              <a:gd name="connsiteX4957" fmla="*/ 1526442 w 9310410"/>
              <a:gd name="connsiteY4957" fmla="*/ 1215927 h 5296383"/>
              <a:gd name="connsiteX4958" fmla="*/ 1549814 w 9310410"/>
              <a:gd name="connsiteY4958" fmla="*/ 1218923 h 5296383"/>
              <a:gd name="connsiteX4959" fmla="*/ 1554608 w 9310410"/>
              <a:gd name="connsiteY4959" fmla="*/ 1220122 h 5296383"/>
              <a:gd name="connsiteX4960" fmla="*/ 1549814 w 9310410"/>
              <a:gd name="connsiteY4960" fmla="*/ 1218923 h 5296383"/>
              <a:gd name="connsiteX4961" fmla="*/ 3341043 w 9310410"/>
              <a:gd name="connsiteY4961" fmla="*/ 498596 h 5296383"/>
              <a:gd name="connsiteX4962" fmla="*/ 3342841 w 9310410"/>
              <a:gd name="connsiteY4962" fmla="*/ 497997 h 5296383"/>
              <a:gd name="connsiteX4963" fmla="*/ 3345238 w 9310410"/>
              <a:gd name="connsiteY4963" fmla="*/ 496798 h 5296383"/>
              <a:gd name="connsiteX4964" fmla="*/ 3342841 w 9310410"/>
              <a:gd name="connsiteY4964" fmla="*/ 497997 h 5296383"/>
              <a:gd name="connsiteX4965" fmla="*/ 3341043 w 9310410"/>
              <a:gd name="connsiteY4965" fmla="*/ 498596 h 5296383"/>
              <a:gd name="connsiteX4966" fmla="*/ 3332054 w 9310410"/>
              <a:gd name="connsiteY4966" fmla="*/ 504589 h 5296383"/>
              <a:gd name="connsiteX4967" fmla="*/ 3334451 w 9310410"/>
              <a:gd name="connsiteY4967" fmla="*/ 503390 h 5296383"/>
              <a:gd name="connsiteX4968" fmla="*/ 3335050 w 9310410"/>
              <a:gd name="connsiteY4968" fmla="*/ 502192 h 5296383"/>
              <a:gd name="connsiteX4969" fmla="*/ 3334451 w 9310410"/>
              <a:gd name="connsiteY4969" fmla="*/ 503390 h 5296383"/>
              <a:gd name="connsiteX4970" fmla="*/ 3332054 w 9310410"/>
              <a:gd name="connsiteY4970" fmla="*/ 504589 h 5296383"/>
              <a:gd name="connsiteX4971" fmla="*/ 3318271 w 9310410"/>
              <a:gd name="connsiteY4971" fmla="*/ 499795 h 5296383"/>
              <a:gd name="connsiteX4972" fmla="*/ 3320668 w 9310410"/>
              <a:gd name="connsiteY4972" fmla="*/ 500394 h 5296383"/>
              <a:gd name="connsiteX4973" fmla="*/ 3318271 w 9310410"/>
              <a:gd name="connsiteY4973" fmla="*/ 499795 h 5296383"/>
              <a:gd name="connsiteX4974" fmla="*/ 3316473 w 9310410"/>
              <a:gd name="connsiteY4974" fmla="*/ 506986 h 5296383"/>
              <a:gd name="connsiteX4975" fmla="*/ 3323065 w 9310410"/>
              <a:gd name="connsiteY4975" fmla="*/ 509383 h 5296383"/>
              <a:gd name="connsiteX4976" fmla="*/ 3324264 w 9310410"/>
              <a:gd name="connsiteY4976" fmla="*/ 509982 h 5296383"/>
              <a:gd name="connsiteX4977" fmla="*/ 3323065 w 9310410"/>
              <a:gd name="connsiteY4977" fmla="*/ 509383 h 5296383"/>
              <a:gd name="connsiteX4978" fmla="*/ 3316473 w 9310410"/>
              <a:gd name="connsiteY4978" fmla="*/ 506986 h 5296383"/>
              <a:gd name="connsiteX4979" fmla="*/ 3311080 w 9310410"/>
              <a:gd name="connsiteY4979" fmla="*/ 508784 h 5296383"/>
              <a:gd name="connsiteX4980" fmla="*/ 3315874 w 9310410"/>
              <a:gd name="connsiteY4980" fmla="*/ 511780 h 5296383"/>
              <a:gd name="connsiteX4981" fmla="*/ 3311080 w 9310410"/>
              <a:gd name="connsiteY4981" fmla="*/ 508784 h 5296383"/>
              <a:gd name="connsiteX4982" fmla="*/ 3291903 w 9310410"/>
              <a:gd name="connsiteY4982" fmla="*/ 535152 h 5296383"/>
              <a:gd name="connsiteX4983" fmla="*/ 3302690 w 9310410"/>
              <a:gd name="connsiteY4983" fmla="*/ 530957 h 5296383"/>
              <a:gd name="connsiteX4984" fmla="*/ 3308683 w 9310410"/>
              <a:gd name="connsiteY4984" fmla="*/ 530357 h 5296383"/>
              <a:gd name="connsiteX4985" fmla="*/ 3302690 w 9310410"/>
              <a:gd name="connsiteY4985" fmla="*/ 530957 h 5296383"/>
              <a:gd name="connsiteX4986" fmla="*/ 3291903 w 9310410"/>
              <a:gd name="connsiteY4986" fmla="*/ 535152 h 5296383"/>
              <a:gd name="connsiteX4987" fmla="*/ 3288307 w 9310410"/>
              <a:gd name="connsiteY4987" fmla="*/ 537549 h 5296383"/>
              <a:gd name="connsiteX4988" fmla="*/ 3285910 w 9310410"/>
              <a:gd name="connsiteY4988" fmla="*/ 537549 h 5296383"/>
              <a:gd name="connsiteX4989" fmla="*/ 3288307 w 9310410"/>
              <a:gd name="connsiteY4989" fmla="*/ 537549 h 5296383"/>
              <a:gd name="connsiteX4990" fmla="*/ 3190026 w 9310410"/>
              <a:gd name="connsiteY4990" fmla="*/ 542343 h 5296383"/>
              <a:gd name="connsiteX4991" fmla="*/ 3190626 w 9310410"/>
              <a:gd name="connsiteY4991" fmla="*/ 544141 h 5296383"/>
              <a:gd name="connsiteX4992" fmla="*/ 3191225 w 9310410"/>
              <a:gd name="connsiteY4992" fmla="*/ 548935 h 5296383"/>
              <a:gd name="connsiteX4993" fmla="*/ 3190626 w 9310410"/>
              <a:gd name="connsiteY4993" fmla="*/ 544141 h 5296383"/>
              <a:gd name="connsiteX4994" fmla="*/ 3190026 w 9310410"/>
              <a:gd name="connsiteY4994" fmla="*/ 542343 h 5296383"/>
              <a:gd name="connsiteX4995" fmla="*/ 3176243 w 9310410"/>
              <a:gd name="connsiteY4995" fmla="*/ 576502 h 5296383"/>
              <a:gd name="connsiteX4996" fmla="*/ 3177442 w 9310410"/>
              <a:gd name="connsiteY4996" fmla="*/ 578899 h 5296383"/>
              <a:gd name="connsiteX4997" fmla="*/ 3176243 w 9310410"/>
              <a:gd name="connsiteY4997" fmla="*/ 581895 h 5296383"/>
              <a:gd name="connsiteX4998" fmla="*/ 3177442 w 9310410"/>
              <a:gd name="connsiteY4998" fmla="*/ 578899 h 5296383"/>
              <a:gd name="connsiteX4999" fmla="*/ 3176243 w 9310410"/>
              <a:gd name="connsiteY4999" fmla="*/ 576502 h 5296383"/>
              <a:gd name="connsiteX5000" fmla="*/ 3157666 w 9310410"/>
              <a:gd name="connsiteY5000" fmla="*/ 565715 h 5296383"/>
              <a:gd name="connsiteX5001" fmla="*/ 3163059 w 9310410"/>
              <a:gd name="connsiteY5001" fmla="*/ 568711 h 5296383"/>
              <a:gd name="connsiteX5002" fmla="*/ 3164257 w 9310410"/>
              <a:gd name="connsiteY5002" fmla="*/ 570509 h 5296383"/>
              <a:gd name="connsiteX5003" fmla="*/ 3164857 w 9310410"/>
              <a:gd name="connsiteY5003" fmla="*/ 571108 h 5296383"/>
              <a:gd name="connsiteX5004" fmla="*/ 3164257 w 9310410"/>
              <a:gd name="connsiteY5004" fmla="*/ 570509 h 5296383"/>
              <a:gd name="connsiteX5005" fmla="*/ 3163059 w 9310410"/>
              <a:gd name="connsiteY5005" fmla="*/ 568711 h 5296383"/>
              <a:gd name="connsiteX5006" fmla="*/ 3157666 w 9310410"/>
              <a:gd name="connsiteY5006" fmla="*/ 565715 h 5296383"/>
              <a:gd name="connsiteX5007" fmla="*/ 3134294 w 9310410"/>
              <a:gd name="connsiteY5007" fmla="*/ 560920 h 5296383"/>
              <a:gd name="connsiteX5008" fmla="*/ 3136691 w 9310410"/>
              <a:gd name="connsiteY5008" fmla="*/ 560321 h 5296383"/>
              <a:gd name="connsiteX5009" fmla="*/ 3134294 w 9310410"/>
              <a:gd name="connsiteY5009" fmla="*/ 560920 h 5296383"/>
              <a:gd name="connsiteX5010" fmla="*/ 3125904 w 9310410"/>
              <a:gd name="connsiteY5010" fmla="*/ 565115 h 5296383"/>
              <a:gd name="connsiteX5011" fmla="*/ 3131897 w 9310410"/>
              <a:gd name="connsiteY5011" fmla="*/ 562718 h 5296383"/>
              <a:gd name="connsiteX5012" fmla="*/ 3125904 w 9310410"/>
              <a:gd name="connsiteY5012" fmla="*/ 565115 h 5296383"/>
              <a:gd name="connsiteX5013" fmla="*/ 3127103 w 9310410"/>
              <a:gd name="connsiteY5013" fmla="*/ 570509 h 5296383"/>
              <a:gd name="connsiteX5014" fmla="*/ 3130099 w 9310410"/>
              <a:gd name="connsiteY5014" fmla="*/ 572906 h 5296383"/>
              <a:gd name="connsiteX5015" fmla="*/ 3127103 w 9310410"/>
              <a:gd name="connsiteY5015" fmla="*/ 570509 h 5296383"/>
              <a:gd name="connsiteX5016" fmla="*/ 3112720 w 9310410"/>
              <a:gd name="connsiteY5016" fmla="*/ 572307 h 5296383"/>
              <a:gd name="connsiteX5017" fmla="*/ 3115716 w 9310410"/>
              <a:gd name="connsiteY5017" fmla="*/ 574704 h 5296383"/>
              <a:gd name="connsiteX5018" fmla="*/ 3127103 w 9310410"/>
              <a:gd name="connsiteY5018" fmla="*/ 578899 h 5296383"/>
              <a:gd name="connsiteX5019" fmla="*/ 3115716 w 9310410"/>
              <a:gd name="connsiteY5019" fmla="*/ 574704 h 5296383"/>
              <a:gd name="connsiteX5020" fmla="*/ 3112720 w 9310410"/>
              <a:gd name="connsiteY5020" fmla="*/ 572307 h 5296383"/>
              <a:gd name="connsiteX5021" fmla="*/ 3089948 w 9310410"/>
              <a:gd name="connsiteY5021" fmla="*/ 578299 h 5296383"/>
              <a:gd name="connsiteX5022" fmla="*/ 3100135 w 9310410"/>
              <a:gd name="connsiteY5022" fmla="*/ 572307 h 5296383"/>
              <a:gd name="connsiteX5023" fmla="*/ 3108525 w 9310410"/>
              <a:gd name="connsiteY5023" fmla="*/ 569910 h 5296383"/>
              <a:gd name="connsiteX5024" fmla="*/ 3100135 w 9310410"/>
              <a:gd name="connsiteY5024" fmla="*/ 572307 h 5296383"/>
              <a:gd name="connsiteX5025" fmla="*/ 3089948 w 9310410"/>
              <a:gd name="connsiteY5025" fmla="*/ 578299 h 5296383"/>
              <a:gd name="connsiteX5026" fmla="*/ 3083355 w 9310410"/>
              <a:gd name="connsiteY5026" fmla="*/ 563318 h 5296383"/>
              <a:gd name="connsiteX5027" fmla="*/ 3081558 w 9310410"/>
              <a:gd name="connsiteY5027" fmla="*/ 565715 h 5296383"/>
              <a:gd name="connsiteX5028" fmla="*/ 3079760 w 9310410"/>
              <a:gd name="connsiteY5028" fmla="*/ 567512 h 5296383"/>
              <a:gd name="connsiteX5029" fmla="*/ 3081558 w 9310410"/>
              <a:gd name="connsiteY5029" fmla="*/ 565715 h 5296383"/>
              <a:gd name="connsiteX5030" fmla="*/ 3083355 w 9310410"/>
              <a:gd name="connsiteY5030" fmla="*/ 563318 h 5296383"/>
              <a:gd name="connsiteX5031" fmla="*/ 3043204 w 9310410"/>
              <a:gd name="connsiteY5031" fmla="*/ 578899 h 5296383"/>
              <a:gd name="connsiteX5032" fmla="*/ 3049197 w 9310410"/>
              <a:gd name="connsiteY5032" fmla="*/ 574704 h 5296383"/>
              <a:gd name="connsiteX5033" fmla="*/ 3055190 w 9310410"/>
              <a:gd name="connsiteY5033" fmla="*/ 572307 h 5296383"/>
              <a:gd name="connsiteX5034" fmla="*/ 3069572 w 9310410"/>
              <a:gd name="connsiteY5034" fmla="*/ 564516 h 5296383"/>
              <a:gd name="connsiteX5035" fmla="*/ 3073168 w 9310410"/>
              <a:gd name="connsiteY5035" fmla="*/ 562718 h 5296383"/>
              <a:gd name="connsiteX5036" fmla="*/ 3069572 w 9310410"/>
              <a:gd name="connsiteY5036" fmla="*/ 564516 h 5296383"/>
              <a:gd name="connsiteX5037" fmla="*/ 3055190 w 9310410"/>
              <a:gd name="connsiteY5037" fmla="*/ 572307 h 5296383"/>
              <a:gd name="connsiteX5038" fmla="*/ 3049197 w 9310410"/>
              <a:gd name="connsiteY5038" fmla="*/ 574704 h 5296383"/>
              <a:gd name="connsiteX5039" fmla="*/ 3043204 w 9310410"/>
              <a:gd name="connsiteY5039" fmla="*/ 578899 h 5296383"/>
              <a:gd name="connsiteX5040" fmla="*/ 3028822 w 9310410"/>
              <a:gd name="connsiteY5040" fmla="*/ 589686 h 5296383"/>
              <a:gd name="connsiteX5041" fmla="*/ 3039609 w 9310410"/>
              <a:gd name="connsiteY5041" fmla="*/ 582494 h 5296383"/>
              <a:gd name="connsiteX5042" fmla="*/ 3042006 w 9310410"/>
              <a:gd name="connsiteY5042" fmla="*/ 580097 h 5296383"/>
              <a:gd name="connsiteX5043" fmla="*/ 3039609 w 9310410"/>
              <a:gd name="connsiteY5043" fmla="*/ 582494 h 5296383"/>
              <a:gd name="connsiteX5044" fmla="*/ 3028822 w 9310410"/>
              <a:gd name="connsiteY5044" fmla="*/ 589686 h 5296383"/>
              <a:gd name="connsiteX5045" fmla="*/ 3027024 w 9310410"/>
              <a:gd name="connsiteY5045" fmla="*/ 593881 h 5296383"/>
              <a:gd name="connsiteX5046" fmla="*/ 3027623 w 9310410"/>
              <a:gd name="connsiteY5046" fmla="*/ 595079 h 5296383"/>
              <a:gd name="connsiteX5047" fmla="*/ 3028822 w 9310410"/>
              <a:gd name="connsiteY5047" fmla="*/ 598075 h 5296383"/>
              <a:gd name="connsiteX5048" fmla="*/ 3030619 w 9310410"/>
              <a:gd name="connsiteY5048" fmla="*/ 601671 h 5296383"/>
              <a:gd name="connsiteX5049" fmla="*/ 3028822 w 9310410"/>
              <a:gd name="connsiteY5049" fmla="*/ 598075 h 5296383"/>
              <a:gd name="connsiteX5050" fmla="*/ 3027623 w 9310410"/>
              <a:gd name="connsiteY5050" fmla="*/ 595079 h 5296383"/>
              <a:gd name="connsiteX5051" fmla="*/ 3027024 w 9310410"/>
              <a:gd name="connsiteY5051" fmla="*/ 593881 h 5296383"/>
              <a:gd name="connsiteX5052" fmla="*/ 3027623 w 9310410"/>
              <a:gd name="connsiteY5052" fmla="*/ 590884 h 5296383"/>
              <a:gd name="connsiteX5053" fmla="*/ 3027024 w 9310410"/>
              <a:gd name="connsiteY5053" fmla="*/ 593881 h 5296383"/>
              <a:gd name="connsiteX5054" fmla="*/ 3023428 w 9310410"/>
              <a:gd name="connsiteY5054" fmla="*/ 577700 h 5296383"/>
              <a:gd name="connsiteX5055" fmla="*/ 3018035 w 9310410"/>
              <a:gd name="connsiteY5055" fmla="*/ 579498 h 5296383"/>
              <a:gd name="connsiteX5056" fmla="*/ 3014439 w 9310410"/>
              <a:gd name="connsiteY5056" fmla="*/ 581296 h 5296383"/>
              <a:gd name="connsiteX5057" fmla="*/ 3018035 w 9310410"/>
              <a:gd name="connsiteY5057" fmla="*/ 579498 h 5296383"/>
              <a:gd name="connsiteX5058" fmla="*/ 3023428 w 9310410"/>
              <a:gd name="connsiteY5058" fmla="*/ 577700 h 5296383"/>
              <a:gd name="connsiteX5059" fmla="*/ 2902375 w 9310410"/>
              <a:gd name="connsiteY5059" fmla="*/ 583094 h 5296383"/>
              <a:gd name="connsiteX5060" fmla="*/ 2904173 w 9310410"/>
              <a:gd name="connsiteY5060" fmla="*/ 580697 h 5296383"/>
              <a:gd name="connsiteX5061" fmla="*/ 2913761 w 9310410"/>
              <a:gd name="connsiteY5061" fmla="*/ 574104 h 5296383"/>
              <a:gd name="connsiteX5062" fmla="*/ 2904173 w 9310410"/>
              <a:gd name="connsiteY5062" fmla="*/ 580697 h 5296383"/>
              <a:gd name="connsiteX5063" fmla="*/ 2902375 w 9310410"/>
              <a:gd name="connsiteY5063" fmla="*/ 583094 h 5296383"/>
              <a:gd name="connsiteX5064" fmla="*/ 2891588 w 9310410"/>
              <a:gd name="connsiteY5064" fmla="*/ 615454 h 5296383"/>
              <a:gd name="connsiteX5065" fmla="*/ 2892786 w 9310410"/>
              <a:gd name="connsiteY5065" fmla="*/ 611859 h 5296383"/>
              <a:gd name="connsiteX5066" fmla="*/ 2894584 w 9310410"/>
              <a:gd name="connsiteY5066" fmla="*/ 605866 h 5296383"/>
              <a:gd name="connsiteX5067" fmla="*/ 2892786 w 9310410"/>
              <a:gd name="connsiteY5067" fmla="*/ 611859 h 5296383"/>
              <a:gd name="connsiteX5068" fmla="*/ 2891588 w 9310410"/>
              <a:gd name="connsiteY5068" fmla="*/ 615454 h 5296383"/>
              <a:gd name="connsiteX5069" fmla="*/ 2885595 w 9310410"/>
              <a:gd name="connsiteY5069" fmla="*/ 614855 h 5296383"/>
              <a:gd name="connsiteX5070" fmla="*/ 2885595 w 9310410"/>
              <a:gd name="connsiteY5070" fmla="*/ 617851 h 5296383"/>
              <a:gd name="connsiteX5071" fmla="*/ 2885595 w 9310410"/>
              <a:gd name="connsiteY5071" fmla="*/ 619649 h 5296383"/>
              <a:gd name="connsiteX5072" fmla="*/ 2885595 w 9310410"/>
              <a:gd name="connsiteY5072" fmla="*/ 617851 h 5296383"/>
              <a:gd name="connsiteX5073" fmla="*/ 2885595 w 9310410"/>
              <a:gd name="connsiteY5073" fmla="*/ 614855 h 5296383"/>
              <a:gd name="connsiteX5074" fmla="*/ 2883198 w 9310410"/>
              <a:gd name="connsiteY5074" fmla="*/ 631635 h 5296383"/>
              <a:gd name="connsiteX5075" fmla="*/ 2882000 w 9310410"/>
              <a:gd name="connsiteY5075" fmla="*/ 627440 h 5296383"/>
              <a:gd name="connsiteX5076" fmla="*/ 2885595 w 9310410"/>
              <a:gd name="connsiteY5076" fmla="*/ 622646 h 5296383"/>
              <a:gd name="connsiteX5077" fmla="*/ 2882000 w 9310410"/>
              <a:gd name="connsiteY5077" fmla="*/ 627440 h 5296383"/>
              <a:gd name="connsiteX5078" fmla="*/ 2883198 w 9310410"/>
              <a:gd name="connsiteY5078" fmla="*/ 631635 h 5296383"/>
              <a:gd name="connsiteX5079" fmla="*/ 2880202 w 9310410"/>
              <a:gd name="connsiteY5079" fmla="*/ 684970 h 5296383"/>
              <a:gd name="connsiteX5080" fmla="*/ 2882000 w 9310410"/>
              <a:gd name="connsiteY5080" fmla="*/ 683772 h 5296383"/>
              <a:gd name="connsiteX5081" fmla="*/ 2884996 w 9310410"/>
              <a:gd name="connsiteY5081" fmla="*/ 681974 h 5296383"/>
              <a:gd name="connsiteX5082" fmla="*/ 2887393 w 9310410"/>
              <a:gd name="connsiteY5082" fmla="*/ 681375 h 5296383"/>
              <a:gd name="connsiteX5083" fmla="*/ 2884996 w 9310410"/>
              <a:gd name="connsiteY5083" fmla="*/ 681974 h 5296383"/>
              <a:gd name="connsiteX5084" fmla="*/ 2882000 w 9310410"/>
              <a:gd name="connsiteY5084" fmla="*/ 683772 h 5296383"/>
              <a:gd name="connsiteX5085" fmla="*/ 2880202 w 9310410"/>
              <a:gd name="connsiteY5085" fmla="*/ 684970 h 5296383"/>
              <a:gd name="connsiteX5086" fmla="*/ 2876007 w 9310410"/>
              <a:gd name="connsiteY5086" fmla="*/ 675981 h 5296383"/>
              <a:gd name="connsiteX5087" fmla="*/ 2876007 w 9310410"/>
              <a:gd name="connsiteY5087" fmla="*/ 683172 h 5296383"/>
              <a:gd name="connsiteX5088" fmla="*/ 2876007 w 9310410"/>
              <a:gd name="connsiteY5088" fmla="*/ 684970 h 5296383"/>
              <a:gd name="connsiteX5089" fmla="*/ 2877205 w 9310410"/>
              <a:gd name="connsiteY5089" fmla="*/ 686169 h 5296383"/>
              <a:gd name="connsiteX5090" fmla="*/ 2876007 w 9310410"/>
              <a:gd name="connsiteY5090" fmla="*/ 684970 h 5296383"/>
              <a:gd name="connsiteX5091" fmla="*/ 2876007 w 9310410"/>
              <a:gd name="connsiteY5091" fmla="*/ 683172 h 5296383"/>
              <a:gd name="connsiteX5092" fmla="*/ 2876007 w 9310410"/>
              <a:gd name="connsiteY5092" fmla="*/ 675981 h 5296383"/>
              <a:gd name="connsiteX5093" fmla="*/ 2856231 w 9310410"/>
              <a:gd name="connsiteY5093" fmla="*/ 653209 h 5296383"/>
              <a:gd name="connsiteX5094" fmla="*/ 2859826 w 9310410"/>
              <a:gd name="connsiteY5094" fmla="*/ 655006 h 5296383"/>
              <a:gd name="connsiteX5095" fmla="*/ 2868815 w 9310410"/>
              <a:gd name="connsiteY5095" fmla="*/ 662797 h 5296383"/>
              <a:gd name="connsiteX5096" fmla="*/ 2874808 w 9310410"/>
              <a:gd name="connsiteY5096" fmla="*/ 671187 h 5296383"/>
              <a:gd name="connsiteX5097" fmla="*/ 2868815 w 9310410"/>
              <a:gd name="connsiteY5097" fmla="*/ 662797 h 5296383"/>
              <a:gd name="connsiteX5098" fmla="*/ 2859826 w 9310410"/>
              <a:gd name="connsiteY5098" fmla="*/ 655006 h 5296383"/>
              <a:gd name="connsiteX5099" fmla="*/ 2856231 w 9310410"/>
              <a:gd name="connsiteY5099" fmla="*/ 653209 h 5296383"/>
              <a:gd name="connsiteX5100" fmla="*/ 2848440 w 9310410"/>
              <a:gd name="connsiteY5100" fmla="*/ 645418 h 5296383"/>
              <a:gd name="connsiteX5101" fmla="*/ 2850238 w 9310410"/>
              <a:gd name="connsiteY5101" fmla="*/ 647815 h 5296383"/>
              <a:gd name="connsiteX5102" fmla="*/ 2850238 w 9310410"/>
              <a:gd name="connsiteY5102" fmla="*/ 649014 h 5296383"/>
              <a:gd name="connsiteX5103" fmla="*/ 2850238 w 9310410"/>
              <a:gd name="connsiteY5103" fmla="*/ 647815 h 5296383"/>
              <a:gd name="connsiteX5104" fmla="*/ 2848440 w 9310410"/>
              <a:gd name="connsiteY5104" fmla="*/ 645418 h 5296383"/>
              <a:gd name="connsiteX5105" fmla="*/ 2836455 w 9310410"/>
              <a:gd name="connsiteY5105" fmla="*/ 641223 h 5296383"/>
              <a:gd name="connsiteX5106" fmla="*/ 2835256 w 9310410"/>
              <a:gd name="connsiteY5106" fmla="*/ 641223 h 5296383"/>
              <a:gd name="connsiteX5107" fmla="*/ 2836455 w 9310410"/>
              <a:gd name="connsiteY5107" fmla="*/ 641223 h 5296383"/>
              <a:gd name="connsiteX5108" fmla="*/ 2838253 w 9310410"/>
              <a:gd name="connsiteY5108" fmla="*/ 641223 h 5296383"/>
              <a:gd name="connsiteX5109" fmla="*/ 2836455 w 9310410"/>
              <a:gd name="connsiteY5109" fmla="*/ 641223 h 5296383"/>
              <a:gd name="connsiteX5110" fmla="*/ 2828065 w 9310410"/>
              <a:gd name="connsiteY5110" fmla="*/ 631035 h 5296383"/>
              <a:gd name="connsiteX5111" fmla="*/ 2832859 w 9310410"/>
              <a:gd name="connsiteY5111" fmla="*/ 634032 h 5296383"/>
              <a:gd name="connsiteX5112" fmla="*/ 2828065 w 9310410"/>
              <a:gd name="connsiteY5112" fmla="*/ 631035 h 5296383"/>
              <a:gd name="connsiteX5113" fmla="*/ 2754354 w 9310410"/>
              <a:gd name="connsiteY5113" fmla="*/ 628039 h 5296383"/>
              <a:gd name="connsiteX5114" fmla="*/ 2753755 w 9310410"/>
              <a:gd name="connsiteY5114" fmla="*/ 623245 h 5296383"/>
              <a:gd name="connsiteX5115" fmla="*/ 2754354 w 9310410"/>
              <a:gd name="connsiteY5115" fmla="*/ 628039 h 5296383"/>
              <a:gd name="connsiteX5116" fmla="*/ 2745365 w 9310410"/>
              <a:gd name="connsiteY5116" fmla="*/ 642422 h 5296383"/>
              <a:gd name="connsiteX5117" fmla="*/ 2739972 w 9310410"/>
              <a:gd name="connsiteY5117" fmla="*/ 642422 h 5296383"/>
              <a:gd name="connsiteX5118" fmla="*/ 2745365 w 9310410"/>
              <a:gd name="connsiteY5118" fmla="*/ 642422 h 5296383"/>
              <a:gd name="connsiteX5119" fmla="*/ 2756152 w 9310410"/>
              <a:gd name="connsiteY5119" fmla="*/ 635830 h 5296383"/>
              <a:gd name="connsiteX5120" fmla="*/ 2745365 w 9310410"/>
              <a:gd name="connsiteY5120" fmla="*/ 642422 h 5296383"/>
              <a:gd name="connsiteX5121" fmla="*/ 2727387 w 9310410"/>
              <a:gd name="connsiteY5121" fmla="*/ 647216 h 5296383"/>
              <a:gd name="connsiteX5122" fmla="*/ 2728585 w 9310410"/>
              <a:gd name="connsiteY5122" fmla="*/ 645418 h 5296383"/>
              <a:gd name="connsiteX5123" fmla="*/ 2738174 w 9310410"/>
              <a:gd name="connsiteY5123" fmla="*/ 642422 h 5296383"/>
              <a:gd name="connsiteX5124" fmla="*/ 2728585 w 9310410"/>
              <a:gd name="connsiteY5124" fmla="*/ 645418 h 5296383"/>
              <a:gd name="connsiteX5125" fmla="*/ 2727387 w 9310410"/>
              <a:gd name="connsiteY5125" fmla="*/ 647216 h 5296383"/>
              <a:gd name="connsiteX5126" fmla="*/ 2714203 w 9310410"/>
              <a:gd name="connsiteY5126" fmla="*/ 631635 h 5296383"/>
              <a:gd name="connsiteX5127" fmla="*/ 2720196 w 9310410"/>
              <a:gd name="connsiteY5127" fmla="*/ 631635 h 5296383"/>
              <a:gd name="connsiteX5128" fmla="*/ 2723791 w 9310410"/>
              <a:gd name="connsiteY5128" fmla="*/ 632833 h 5296383"/>
              <a:gd name="connsiteX5129" fmla="*/ 2720196 w 9310410"/>
              <a:gd name="connsiteY5129" fmla="*/ 631635 h 5296383"/>
              <a:gd name="connsiteX5130" fmla="*/ 2714203 w 9310410"/>
              <a:gd name="connsiteY5130" fmla="*/ 631635 h 5296383"/>
              <a:gd name="connsiteX5131" fmla="*/ 2644687 w 9310410"/>
              <a:gd name="connsiteY5131" fmla="*/ 632234 h 5296383"/>
              <a:gd name="connsiteX5132" fmla="*/ 2636297 w 9310410"/>
              <a:gd name="connsiteY5132" fmla="*/ 634032 h 5296383"/>
              <a:gd name="connsiteX5133" fmla="*/ 2644687 w 9310410"/>
              <a:gd name="connsiteY5133" fmla="*/ 632234 h 5296383"/>
              <a:gd name="connsiteX5134" fmla="*/ 2648283 w 9310410"/>
              <a:gd name="connsiteY5134" fmla="*/ 631635 h 5296383"/>
              <a:gd name="connsiteX5135" fmla="*/ 2644687 w 9310410"/>
              <a:gd name="connsiteY5135" fmla="*/ 632234 h 5296383"/>
              <a:gd name="connsiteX5136" fmla="*/ 2627308 w 9310410"/>
              <a:gd name="connsiteY5136" fmla="*/ 643620 h 5296383"/>
              <a:gd name="connsiteX5137" fmla="*/ 2627308 w 9310410"/>
              <a:gd name="connsiteY5137" fmla="*/ 643620 h 5296383"/>
              <a:gd name="connsiteX5138" fmla="*/ 2627308 w 9310410"/>
              <a:gd name="connsiteY5138" fmla="*/ 643620 h 5296383"/>
              <a:gd name="connsiteX5139" fmla="*/ 2615922 w 9310410"/>
              <a:gd name="connsiteY5139" fmla="*/ 639425 h 5296383"/>
              <a:gd name="connsiteX5140" fmla="*/ 2612326 w 9310410"/>
              <a:gd name="connsiteY5140" fmla="*/ 639425 h 5296383"/>
              <a:gd name="connsiteX5141" fmla="*/ 2612326 w 9310410"/>
              <a:gd name="connsiteY5141" fmla="*/ 639425 h 5296383"/>
              <a:gd name="connsiteX5142" fmla="*/ 2615922 w 9310410"/>
              <a:gd name="connsiteY5142" fmla="*/ 639425 h 5296383"/>
              <a:gd name="connsiteX5143" fmla="*/ 2613525 w 9310410"/>
              <a:gd name="connsiteY5143" fmla="*/ 632234 h 5296383"/>
              <a:gd name="connsiteX5144" fmla="*/ 2611128 w 9310410"/>
              <a:gd name="connsiteY5144" fmla="*/ 634032 h 5296383"/>
              <a:gd name="connsiteX5145" fmla="*/ 2613525 w 9310410"/>
              <a:gd name="connsiteY5145" fmla="*/ 632234 h 5296383"/>
              <a:gd name="connsiteX5146" fmla="*/ 2459511 w 9310410"/>
              <a:gd name="connsiteY5146" fmla="*/ 670588 h 5296383"/>
              <a:gd name="connsiteX5147" fmla="*/ 2457114 w 9310410"/>
              <a:gd name="connsiteY5147" fmla="*/ 671187 h 5296383"/>
              <a:gd name="connsiteX5148" fmla="*/ 2459511 w 9310410"/>
              <a:gd name="connsiteY5148" fmla="*/ 670588 h 5296383"/>
              <a:gd name="connsiteX5149" fmla="*/ 2439136 w 9310410"/>
              <a:gd name="connsiteY5149" fmla="*/ 669389 h 5296383"/>
              <a:gd name="connsiteX5150" fmla="*/ 2433143 w 9310410"/>
              <a:gd name="connsiteY5150" fmla="*/ 669389 h 5296383"/>
              <a:gd name="connsiteX5151" fmla="*/ 2439136 w 9310410"/>
              <a:gd name="connsiteY5151" fmla="*/ 669389 h 5296383"/>
              <a:gd name="connsiteX5152" fmla="*/ 2443930 w 9310410"/>
              <a:gd name="connsiteY5152" fmla="*/ 669389 h 5296383"/>
              <a:gd name="connsiteX5153" fmla="*/ 2439136 w 9310410"/>
              <a:gd name="connsiteY5153" fmla="*/ 669389 h 5296383"/>
              <a:gd name="connsiteX5154" fmla="*/ 2373815 w 9310410"/>
              <a:gd name="connsiteY5154" fmla="*/ 678977 h 5296383"/>
              <a:gd name="connsiteX5155" fmla="*/ 2372017 w 9310410"/>
              <a:gd name="connsiteY5155" fmla="*/ 681375 h 5296383"/>
              <a:gd name="connsiteX5156" fmla="*/ 2373815 w 9310410"/>
              <a:gd name="connsiteY5156" fmla="*/ 678977 h 5296383"/>
              <a:gd name="connsiteX5157" fmla="*/ 2272538 w 9310410"/>
              <a:gd name="connsiteY5157" fmla="*/ 708342 h 5296383"/>
              <a:gd name="connsiteX5158" fmla="*/ 2273737 w 9310410"/>
              <a:gd name="connsiteY5158" fmla="*/ 707743 h 5296383"/>
              <a:gd name="connsiteX5159" fmla="*/ 2272538 w 9310410"/>
              <a:gd name="connsiteY5159" fmla="*/ 708342 h 5296383"/>
              <a:gd name="connsiteX5160" fmla="*/ 2263549 w 9310410"/>
              <a:gd name="connsiteY5160" fmla="*/ 712537 h 5296383"/>
              <a:gd name="connsiteX5161" fmla="*/ 2264747 w 9310410"/>
              <a:gd name="connsiteY5161" fmla="*/ 713136 h 5296383"/>
              <a:gd name="connsiteX5162" fmla="*/ 2265347 w 9310410"/>
              <a:gd name="connsiteY5162" fmla="*/ 713735 h 5296383"/>
              <a:gd name="connsiteX5163" fmla="*/ 2264747 w 9310410"/>
              <a:gd name="connsiteY5163" fmla="*/ 713136 h 5296383"/>
              <a:gd name="connsiteX5164" fmla="*/ 2263549 w 9310410"/>
              <a:gd name="connsiteY5164" fmla="*/ 712537 h 5296383"/>
              <a:gd name="connsiteX5165" fmla="*/ 2258755 w 9310410"/>
              <a:gd name="connsiteY5165" fmla="*/ 716732 h 5296383"/>
              <a:gd name="connsiteX5166" fmla="*/ 2257556 w 9310410"/>
              <a:gd name="connsiteY5166" fmla="*/ 716732 h 5296383"/>
              <a:gd name="connsiteX5167" fmla="*/ 2258755 w 9310410"/>
              <a:gd name="connsiteY5167" fmla="*/ 716732 h 5296383"/>
              <a:gd name="connsiteX5168" fmla="*/ 2260552 w 9310410"/>
              <a:gd name="connsiteY5168" fmla="*/ 715533 h 5296383"/>
              <a:gd name="connsiteX5169" fmla="*/ 2258755 w 9310410"/>
              <a:gd name="connsiteY5169" fmla="*/ 716732 h 5296383"/>
              <a:gd name="connsiteX5170" fmla="*/ 2232387 w 9310410"/>
              <a:gd name="connsiteY5170" fmla="*/ 705345 h 5296383"/>
              <a:gd name="connsiteX5171" fmla="*/ 2229990 w 9310410"/>
              <a:gd name="connsiteY5171" fmla="*/ 705945 h 5296383"/>
              <a:gd name="connsiteX5172" fmla="*/ 2226993 w 9310410"/>
              <a:gd name="connsiteY5172" fmla="*/ 706544 h 5296383"/>
              <a:gd name="connsiteX5173" fmla="*/ 2229990 w 9310410"/>
              <a:gd name="connsiteY5173" fmla="*/ 705945 h 5296383"/>
              <a:gd name="connsiteX5174" fmla="*/ 2232387 w 9310410"/>
              <a:gd name="connsiteY5174" fmla="*/ 705345 h 5296383"/>
              <a:gd name="connsiteX5175" fmla="*/ 2234784 w 9310410"/>
              <a:gd name="connsiteY5175" fmla="*/ 704746 h 5296383"/>
              <a:gd name="connsiteX5176" fmla="*/ 2232387 w 9310410"/>
              <a:gd name="connsiteY5176" fmla="*/ 705345 h 5296383"/>
              <a:gd name="connsiteX5177" fmla="*/ 2230589 w 9310410"/>
              <a:gd name="connsiteY5177" fmla="*/ 700551 h 5296383"/>
              <a:gd name="connsiteX5178" fmla="*/ 2228791 w 9310410"/>
              <a:gd name="connsiteY5178" fmla="*/ 702349 h 5296383"/>
              <a:gd name="connsiteX5179" fmla="*/ 2230589 w 9310410"/>
              <a:gd name="connsiteY5179" fmla="*/ 700551 h 5296383"/>
              <a:gd name="connsiteX5180" fmla="*/ 2197030 w 9310410"/>
              <a:gd name="connsiteY5180" fmla="*/ 734111 h 5296383"/>
              <a:gd name="connsiteX5181" fmla="*/ 2194632 w 9310410"/>
              <a:gd name="connsiteY5181" fmla="*/ 735309 h 5296383"/>
              <a:gd name="connsiteX5182" fmla="*/ 2197030 w 9310410"/>
              <a:gd name="connsiteY5182" fmla="*/ 734111 h 5296383"/>
              <a:gd name="connsiteX5183" fmla="*/ 2200026 w 9310410"/>
              <a:gd name="connsiteY5183" fmla="*/ 732313 h 5296383"/>
              <a:gd name="connsiteX5184" fmla="*/ 2197030 w 9310410"/>
              <a:gd name="connsiteY5184" fmla="*/ 734111 h 5296383"/>
              <a:gd name="connsiteX5185" fmla="*/ 1528240 w 9310410"/>
              <a:gd name="connsiteY5185" fmla="*/ 841980 h 5296383"/>
              <a:gd name="connsiteX5186" fmla="*/ 1528839 w 9310410"/>
              <a:gd name="connsiteY5186" fmla="*/ 840781 h 5296383"/>
              <a:gd name="connsiteX5187" fmla="*/ 1530637 w 9310410"/>
              <a:gd name="connsiteY5187" fmla="*/ 834789 h 5296383"/>
              <a:gd name="connsiteX5188" fmla="*/ 1531236 w 9310410"/>
              <a:gd name="connsiteY5188" fmla="*/ 829994 h 5296383"/>
              <a:gd name="connsiteX5189" fmla="*/ 1530637 w 9310410"/>
              <a:gd name="connsiteY5189" fmla="*/ 834789 h 5296383"/>
              <a:gd name="connsiteX5190" fmla="*/ 1528839 w 9310410"/>
              <a:gd name="connsiteY5190" fmla="*/ 840781 h 5296383"/>
              <a:gd name="connsiteX5191" fmla="*/ 1528240 w 9310410"/>
              <a:gd name="connsiteY5191" fmla="*/ 841980 h 5296383"/>
              <a:gd name="connsiteX5192" fmla="*/ 1524045 w 9310410"/>
              <a:gd name="connsiteY5192" fmla="*/ 874341 h 5296383"/>
              <a:gd name="connsiteX5193" fmla="*/ 1525243 w 9310410"/>
              <a:gd name="connsiteY5193" fmla="*/ 874940 h 5296383"/>
              <a:gd name="connsiteX5194" fmla="*/ 1524045 w 9310410"/>
              <a:gd name="connsiteY5194" fmla="*/ 874341 h 5296383"/>
              <a:gd name="connsiteX5195" fmla="*/ 1519251 w 9310410"/>
              <a:gd name="connsiteY5195" fmla="*/ 873741 h 5296383"/>
              <a:gd name="connsiteX5196" fmla="*/ 1519251 w 9310410"/>
              <a:gd name="connsiteY5196" fmla="*/ 871944 h 5296383"/>
              <a:gd name="connsiteX5197" fmla="*/ 1519251 w 9310410"/>
              <a:gd name="connsiteY5197" fmla="*/ 873741 h 5296383"/>
              <a:gd name="connsiteX5198" fmla="*/ 1516853 w 9310410"/>
              <a:gd name="connsiteY5198" fmla="*/ 877936 h 5296383"/>
              <a:gd name="connsiteX5199" fmla="*/ 1519251 w 9310410"/>
              <a:gd name="connsiteY5199" fmla="*/ 880933 h 5296383"/>
              <a:gd name="connsiteX5200" fmla="*/ 1519850 w 9310410"/>
              <a:gd name="connsiteY5200" fmla="*/ 880933 h 5296383"/>
              <a:gd name="connsiteX5201" fmla="*/ 1519251 w 9310410"/>
              <a:gd name="connsiteY5201" fmla="*/ 880933 h 5296383"/>
              <a:gd name="connsiteX5202" fmla="*/ 1516853 w 9310410"/>
              <a:gd name="connsiteY5202" fmla="*/ 877936 h 5296383"/>
              <a:gd name="connsiteX5203" fmla="*/ 1512059 w 9310410"/>
              <a:gd name="connsiteY5203" fmla="*/ 875539 h 5296383"/>
              <a:gd name="connsiteX5204" fmla="*/ 1512659 w 9310410"/>
              <a:gd name="connsiteY5204" fmla="*/ 874940 h 5296383"/>
              <a:gd name="connsiteX5205" fmla="*/ 1512059 w 9310410"/>
              <a:gd name="connsiteY5205" fmla="*/ 875539 h 5296383"/>
              <a:gd name="connsiteX5206" fmla="*/ 1510262 w 9310410"/>
              <a:gd name="connsiteY5206" fmla="*/ 883929 h 5296383"/>
              <a:gd name="connsiteX5207" fmla="*/ 1510861 w 9310410"/>
              <a:gd name="connsiteY5207" fmla="*/ 882131 h 5296383"/>
              <a:gd name="connsiteX5208" fmla="*/ 1511460 w 9310410"/>
              <a:gd name="connsiteY5208" fmla="*/ 879135 h 5296383"/>
              <a:gd name="connsiteX5209" fmla="*/ 1510861 w 9310410"/>
              <a:gd name="connsiteY5209" fmla="*/ 882131 h 5296383"/>
              <a:gd name="connsiteX5210" fmla="*/ 1510262 w 9310410"/>
              <a:gd name="connsiteY5210" fmla="*/ 883929 h 5296383"/>
              <a:gd name="connsiteX5211" fmla="*/ 1508464 w 9310410"/>
              <a:gd name="connsiteY5211" fmla="*/ 888124 h 5296383"/>
              <a:gd name="connsiteX5212" fmla="*/ 1509662 w 9310410"/>
              <a:gd name="connsiteY5212" fmla="*/ 885128 h 5296383"/>
              <a:gd name="connsiteX5213" fmla="*/ 1508464 w 9310410"/>
              <a:gd name="connsiteY5213" fmla="*/ 888124 h 5296383"/>
              <a:gd name="connsiteX5214" fmla="*/ 1506666 w 9310410"/>
              <a:gd name="connsiteY5214" fmla="*/ 890521 h 5296383"/>
              <a:gd name="connsiteX5215" fmla="*/ 1507864 w 9310410"/>
              <a:gd name="connsiteY5215" fmla="*/ 889323 h 5296383"/>
              <a:gd name="connsiteX5216" fmla="*/ 1506666 w 9310410"/>
              <a:gd name="connsiteY5216" fmla="*/ 890521 h 5296383"/>
              <a:gd name="connsiteX5217" fmla="*/ 1450334 w 9310410"/>
              <a:gd name="connsiteY5217" fmla="*/ 843778 h 5296383"/>
              <a:gd name="connsiteX5218" fmla="*/ 1450334 w 9310410"/>
              <a:gd name="connsiteY5218" fmla="*/ 843778 h 5296383"/>
              <a:gd name="connsiteX5219" fmla="*/ 1449735 w 9310410"/>
              <a:gd name="connsiteY5219" fmla="*/ 844377 h 5296383"/>
              <a:gd name="connsiteX5220" fmla="*/ 1450334 w 9310410"/>
              <a:gd name="connsiteY5220" fmla="*/ 843778 h 5296383"/>
              <a:gd name="connsiteX5221" fmla="*/ 1474904 w 9310410"/>
              <a:gd name="connsiteY5221" fmla="*/ 838984 h 5296383"/>
              <a:gd name="connsiteX5222" fmla="*/ 1474904 w 9310410"/>
              <a:gd name="connsiteY5222" fmla="*/ 838984 h 5296383"/>
              <a:gd name="connsiteX5223" fmla="*/ 1474904 w 9310410"/>
              <a:gd name="connsiteY5223" fmla="*/ 838984 h 5296383"/>
              <a:gd name="connsiteX5224" fmla="*/ 1474904 w 9310410"/>
              <a:gd name="connsiteY5224" fmla="*/ 838984 h 5296383"/>
              <a:gd name="connsiteX5225" fmla="*/ 1465316 w 9310410"/>
              <a:gd name="connsiteY5225" fmla="*/ 838984 h 5296383"/>
              <a:gd name="connsiteX5226" fmla="*/ 1460522 w 9310410"/>
              <a:gd name="connsiteY5226" fmla="*/ 839583 h 5296383"/>
              <a:gd name="connsiteX5227" fmla="*/ 1456327 w 9310410"/>
              <a:gd name="connsiteY5227" fmla="*/ 840781 h 5296383"/>
              <a:gd name="connsiteX5228" fmla="*/ 1453330 w 9310410"/>
              <a:gd name="connsiteY5228" fmla="*/ 842579 h 5296383"/>
              <a:gd name="connsiteX5229" fmla="*/ 1450334 w 9310410"/>
              <a:gd name="connsiteY5229" fmla="*/ 843778 h 5296383"/>
              <a:gd name="connsiteX5230" fmla="*/ 1443742 w 9310410"/>
              <a:gd name="connsiteY5230" fmla="*/ 887525 h 5296383"/>
              <a:gd name="connsiteX5231" fmla="*/ 1443143 w 9310410"/>
              <a:gd name="connsiteY5231" fmla="*/ 887525 h 5296383"/>
              <a:gd name="connsiteX5232" fmla="*/ 1443742 w 9310410"/>
              <a:gd name="connsiteY5232" fmla="*/ 887525 h 5296383"/>
              <a:gd name="connsiteX5233" fmla="*/ 1444941 w 9310410"/>
              <a:gd name="connsiteY5233" fmla="*/ 887525 h 5296383"/>
              <a:gd name="connsiteX5234" fmla="*/ 1443742 w 9310410"/>
              <a:gd name="connsiteY5234" fmla="*/ 887525 h 5296383"/>
              <a:gd name="connsiteX5235" fmla="*/ 1439547 w 9310410"/>
              <a:gd name="connsiteY5235" fmla="*/ 890521 h 5296383"/>
              <a:gd name="connsiteX5236" fmla="*/ 1438948 w 9310410"/>
              <a:gd name="connsiteY5236" fmla="*/ 891720 h 5296383"/>
              <a:gd name="connsiteX5237" fmla="*/ 1439547 w 9310410"/>
              <a:gd name="connsiteY5237" fmla="*/ 890521 h 5296383"/>
              <a:gd name="connsiteX5238" fmla="*/ 1440146 w 9310410"/>
              <a:gd name="connsiteY5238" fmla="*/ 889922 h 5296383"/>
              <a:gd name="connsiteX5239" fmla="*/ 1439547 w 9310410"/>
              <a:gd name="connsiteY5239" fmla="*/ 890521 h 5296383"/>
              <a:gd name="connsiteX5240" fmla="*/ 1414378 w 9310410"/>
              <a:gd name="connsiteY5240" fmla="*/ 918088 h 5296383"/>
              <a:gd name="connsiteX5241" fmla="*/ 1414977 w 9310410"/>
              <a:gd name="connsiteY5241" fmla="*/ 919286 h 5296383"/>
              <a:gd name="connsiteX5242" fmla="*/ 1414378 w 9310410"/>
              <a:gd name="connsiteY5242" fmla="*/ 918088 h 5296383"/>
              <a:gd name="connsiteX5243" fmla="*/ 1428760 w 9310410"/>
              <a:gd name="connsiteY5243" fmla="*/ 905503 h 5296383"/>
              <a:gd name="connsiteX5244" fmla="*/ 1422168 w 9310410"/>
              <a:gd name="connsiteY5244" fmla="*/ 910297 h 5296383"/>
              <a:gd name="connsiteX5245" fmla="*/ 1414378 w 9310410"/>
              <a:gd name="connsiteY5245" fmla="*/ 918088 h 5296383"/>
              <a:gd name="connsiteX5246" fmla="*/ 1195043 w 9310410"/>
              <a:gd name="connsiteY5246" fmla="*/ 1011574 h 5296383"/>
              <a:gd name="connsiteX5247" fmla="*/ 1196242 w 9310410"/>
              <a:gd name="connsiteY5247" fmla="*/ 1011574 h 5296383"/>
              <a:gd name="connsiteX5248" fmla="*/ 1196242 w 9310410"/>
              <a:gd name="connsiteY5248" fmla="*/ 1011574 h 5296383"/>
              <a:gd name="connsiteX5249" fmla="*/ 1195043 w 9310410"/>
              <a:gd name="connsiteY5249" fmla="*/ 1011574 h 5296383"/>
              <a:gd name="connsiteX5250" fmla="*/ 1596557 w 9310410"/>
              <a:gd name="connsiteY5250" fmla="*/ 1320201 h 5296383"/>
              <a:gd name="connsiteX5251" fmla="*/ 1597156 w 9310410"/>
              <a:gd name="connsiteY5251" fmla="*/ 1318403 h 5296383"/>
              <a:gd name="connsiteX5252" fmla="*/ 1596557 w 9310410"/>
              <a:gd name="connsiteY5252" fmla="*/ 1318403 h 5296383"/>
              <a:gd name="connsiteX5253" fmla="*/ 1595958 w 9310410"/>
              <a:gd name="connsiteY5253" fmla="*/ 1318403 h 5296383"/>
              <a:gd name="connsiteX5254" fmla="*/ 1596557 w 9310410"/>
              <a:gd name="connsiteY5254" fmla="*/ 1320201 h 5296383"/>
              <a:gd name="connsiteX5255" fmla="*/ 1598355 w 9310410"/>
              <a:gd name="connsiteY5255" fmla="*/ 1323197 h 5296383"/>
              <a:gd name="connsiteX5256" fmla="*/ 1598355 w 9310410"/>
              <a:gd name="connsiteY5256" fmla="*/ 1323197 h 5296383"/>
              <a:gd name="connsiteX5257" fmla="*/ 1598355 w 9310410"/>
              <a:gd name="connsiteY5257" fmla="*/ 1323197 h 5296383"/>
              <a:gd name="connsiteX5258" fmla="*/ 1598355 w 9310410"/>
              <a:gd name="connsiteY5258" fmla="*/ 1323197 h 5296383"/>
              <a:gd name="connsiteX5259" fmla="*/ 1604947 w 9310410"/>
              <a:gd name="connsiteY5259" fmla="*/ 1326193 h 5296383"/>
              <a:gd name="connsiteX5260" fmla="*/ 1602550 w 9310410"/>
              <a:gd name="connsiteY5260" fmla="*/ 1324995 h 5296383"/>
              <a:gd name="connsiteX5261" fmla="*/ 1604947 w 9310410"/>
              <a:gd name="connsiteY5261" fmla="*/ 1326193 h 5296383"/>
              <a:gd name="connsiteX5262" fmla="*/ 1624124 w 9310410"/>
              <a:gd name="connsiteY5262" fmla="*/ 1327392 h 5296383"/>
              <a:gd name="connsiteX5263" fmla="*/ 1616932 w 9310410"/>
              <a:gd name="connsiteY5263" fmla="*/ 1326793 h 5296383"/>
              <a:gd name="connsiteX5264" fmla="*/ 1614535 w 9310410"/>
              <a:gd name="connsiteY5264" fmla="*/ 1327392 h 5296383"/>
              <a:gd name="connsiteX5265" fmla="*/ 1624124 w 9310410"/>
              <a:gd name="connsiteY5265" fmla="*/ 1327392 h 5296383"/>
              <a:gd name="connsiteX5266" fmla="*/ 1553409 w 9310410"/>
              <a:gd name="connsiteY5266" fmla="*/ 1797223 h 5296383"/>
              <a:gd name="connsiteX5267" fmla="*/ 1555806 w 9310410"/>
              <a:gd name="connsiteY5267" fmla="*/ 1800818 h 5296383"/>
              <a:gd name="connsiteX5268" fmla="*/ 1555806 w 9310410"/>
              <a:gd name="connsiteY5268" fmla="*/ 1800818 h 5296383"/>
              <a:gd name="connsiteX5269" fmla="*/ 1553409 w 9310410"/>
              <a:gd name="connsiteY5269" fmla="*/ 1797223 h 5296383"/>
              <a:gd name="connsiteX5270" fmla="*/ 4006837 w 9310410"/>
              <a:gd name="connsiteY5270" fmla="*/ 1662985 h 5296383"/>
              <a:gd name="connsiteX5271" fmla="*/ 4006237 w 9310410"/>
              <a:gd name="connsiteY5271" fmla="*/ 1662386 h 5296383"/>
              <a:gd name="connsiteX5272" fmla="*/ 4006237 w 9310410"/>
              <a:gd name="connsiteY5272" fmla="*/ 1662386 h 5296383"/>
              <a:gd name="connsiteX5273" fmla="*/ 4006237 w 9310410"/>
              <a:gd name="connsiteY5273" fmla="*/ 1662386 h 5296383"/>
              <a:gd name="connsiteX5274" fmla="*/ 4006237 w 9310410"/>
              <a:gd name="connsiteY5274" fmla="*/ 1662386 h 5296383"/>
              <a:gd name="connsiteX5275" fmla="*/ 4006237 w 9310410"/>
              <a:gd name="connsiteY5275" fmla="*/ 1662386 h 5296383"/>
              <a:gd name="connsiteX5276" fmla="*/ 4006837 w 9310410"/>
              <a:gd name="connsiteY5276" fmla="*/ 1662985 h 5296383"/>
              <a:gd name="connsiteX5277" fmla="*/ 4299282 w 9310410"/>
              <a:gd name="connsiteY5277" fmla="*/ 1547925 h 5296383"/>
              <a:gd name="connsiteX5278" fmla="*/ 4304077 w 9310410"/>
              <a:gd name="connsiteY5278" fmla="*/ 1553318 h 5296383"/>
              <a:gd name="connsiteX5279" fmla="*/ 4308272 w 9310410"/>
              <a:gd name="connsiteY5279" fmla="*/ 1533542 h 5296383"/>
              <a:gd name="connsiteX5280" fmla="*/ 4326849 w 9310410"/>
              <a:gd name="connsiteY5280" fmla="*/ 1531145 h 5296383"/>
              <a:gd name="connsiteX5281" fmla="*/ 4337037 w 9310410"/>
              <a:gd name="connsiteY5281" fmla="*/ 1541333 h 5296383"/>
              <a:gd name="connsiteX5282" fmla="*/ 4343029 w 9310410"/>
              <a:gd name="connsiteY5282" fmla="*/ 1541932 h 5296383"/>
              <a:gd name="connsiteX5283" fmla="*/ 4334640 w 9310410"/>
              <a:gd name="connsiteY5283" fmla="*/ 1528149 h 5296383"/>
              <a:gd name="connsiteX5284" fmla="*/ 4329845 w 9310410"/>
              <a:gd name="connsiteY5284" fmla="*/ 1522755 h 5296383"/>
              <a:gd name="connsiteX5285" fmla="*/ 4321456 w 9310410"/>
              <a:gd name="connsiteY5285" fmla="*/ 1507773 h 5296383"/>
              <a:gd name="connsiteX5286" fmla="*/ 4323853 w 9310410"/>
              <a:gd name="connsiteY5286" fmla="*/ 1470618 h 5296383"/>
              <a:gd name="connsiteX5287" fmla="*/ 4332243 w 9310410"/>
              <a:gd name="connsiteY5287" fmla="*/ 1450243 h 5296383"/>
              <a:gd name="connsiteX5288" fmla="*/ 4335239 w 9310410"/>
              <a:gd name="connsiteY5288" fmla="*/ 1444850 h 5296383"/>
              <a:gd name="connsiteX5289" fmla="*/ 4341831 w 9310410"/>
              <a:gd name="connsiteY5289" fmla="*/ 1440655 h 5296383"/>
              <a:gd name="connsiteX5290" fmla="*/ 4352618 w 9310410"/>
              <a:gd name="connsiteY5290" fmla="*/ 1444850 h 5296383"/>
              <a:gd name="connsiteX5291" fmla="*/ 4370596 w 9310410"/>
              <a:gd name="connsiteY5291" fmla="*/ 1461629 h 5296383"/>
              <a:gd name="connsiteX5292" fmla="*/ 4374192 w 9310410"/>
              <a:gd name="connsiteY5292" fmla="*/ 1459232 h 5296383"/>
              <a:gd name="connsiteX5293" fmla="*/ 4360409 w 9310410"/>
              <a:gd name="connsiteY5293" fmla="*/ 1433463 h 5296383"/>
              <a:gd name="connsiteX5294" fmla="*/ 4348423 w 9310410"/>
              <a:gd name="connsiteY5294" fmla="*/ 1401702 h 5296383"/>
              <a:gd name="connsiteX5295" fmla="*/ 4343029 w 9310410"/>
              <a:gd name="connsiteY5295" fmla="*/ 1374135 h 5296383"/>
              <a:gd name="connsiteX5296" fmla="*/ 4340033 w 9310410"/>
              <a:gd name="connsiteY5296" fmla="*/ 1369341 h 5296383"/>
              <a:gd name="connsiteX5297" fmla="*/ 4339434 w 9310410"/>
              <a:gd name="connsiteY5297" fmla="*/ 1364547 h 5296383"/>
              <a:gd name="connsiteX5298" fmla="*/ 4338235 w 9310410"/>
              <a:gd name="connsiteY5298" fmla="*/ 1356157 h 5296383"/>
              <a:gd name="connsiteX5299" fmla="*/ 4338235 w 9310410"/>
              <a:gd name="connsiteY5299" fmla="*/ 1347767 h 5296383"/>
              <a:gd name="connsiteX5300" fmla="*/ 4338834 w 9310410"/>
              <a:gd name="connsiteY5300" fmla="*/ 1342973 h 5296383"/>
              <a:gd name="connsiteX5301" fmla="*/ 4340633 w 9310410"/>
              <a:gd name="connsiteY5301" fmla="*/ 1336381 h 5296383"/>
              <a:gd name="connsiteX5302" fmla="*/ 4343029 w 9310410"/>
              <a:gd name="connsiteY5302" fmla="*/ 1331587 h 5296383"/>
              <a:gd name="connsiteX5303" fmla="*/ 4340633 w 9310410"/>
              <a:gd name="connsiteY5303" fmla="*/ 1316006 h 5296383"/>
              <a:gd name="connsiteX5304" fmla="*/ 4340633 w 9310410"/>
              <a:gd name="connsiteY5304" fmla="*/ 1308814 h 5296383"/>
              <a:gd name="connsiteX5305" fmla="*/ 4343629 w 9310410"/>
              <a:gd name="connsiteY5305" fmla="*/ 1307616 h 5296383"/>
              <a:gd name="connsiteX5306" fmla="*/ 4335838 w 9310410"/>
              <a:gd name="connsiteY5306" fmla="*/ 1292634 h 5296383"/>
              <a:gd name="connsiteX5307" fmla="*/ 4333441 w 9310410"/>
              <a:gd name="connsiteY5307" fmla="*/ 1281248 h 5296383"/>
              <a:gd name="connsiteX5308" fmla="*/ 4331044 w 9310410"/>
              <a:gd name="connsiteY5308" fmla="*/ 1274656 h 5296383"/>
              <a:gd name="connsiteX5309" fmla="*/ 4330445 w 9310410"/>
              <a:gd name="connsiteY5309" fmla="*/ 1266266 h 5296383"/>
              <a:gd name="connsiteX5310" fmla="*/ 4325051 w 9310410"/>
              <a:gd name="connsiteY5310" fmla="*/ 1263270 h 5296383"/>
              <a:gd name="connsiteX5311" fmla="*/ 4322654 w 9310410"/>
              <a:gd name="connsiteY5311" fmla="*/ 1271659 h 5296383"/>
              <a:gd name="connsiteX5312" fmla="*/ 4326849 w 9310410"/>
              <a:gd name="connsiteY5312" fmla="*/ 1286641 h 5296383"/>
              <a:gd name="connsiteX5313" fmla="*/ 4313665 w 9310410"/>
              <a:gd name="connsiteY5313" fmla="*/ 1300425 h 5296383"/>
              <a:gd name="connsiteX5314" fmla="*/ 4307073 w 9310410"/>
              <a:gd name="connsiteY5314" fmla="*/ 1312410 h 5296383"/>
              <a:gd name="connsiteX5315" fmla="*/ 4305275 w 9310410"/>
              <a:gd name="connsiteY5315" fmla="*/ 1335782 h 5296383"/>
              <a:gd name="connsiteX5316" fmla="*/ 4308272 w 9310410"/>
              <a:gd name="connsiteY5316" fmla="*/ 1353161 h 5296383"/>
              <a:gd name="connsiteX5317" fmla="*/ 4308272 w 9310410"/>
              <a:gd name="connsiteY5317" fmla="*/ 1362749 h 5296383"/>
              <a:gd name="connsiteX5318" fmla="*/ 4313066 w 9310410"/>
              <a:gd name="connsiteY5318" fmla="*/ 1387319 h 5296383"/>
              <a:gd name="connsiteX5319" fmla="*/ 4311867 w 9310410"/>
              <a:gd name="connsiteY5319" fmla="*/ 1416684 h 5296383"/>
              <a:gd name="connsiteX5320" fmla="*/ 4311268 w 9310410"/>
              <a:gd name="connsiteY5320" fmla="*/ 1428669 h 5296383"/>
              <a:gd name="connsiteX5321" fmla="*/ 4307672 w 9310410"/>
              <a:gd name="connsiteY5321" fmla="*/ 1442453 h 5296383"/>
              <a:gd name="connsiteX5322" fmla="*/ 4304676 w 9310410"/>
              <a:gd name="connsiteY5322" fmla="*/ 1466423 h 5296383"/>
              <a:gd name="connsiteX5323" fmla="*/ 4302279 w 9310410"/>
              <a:gd name="connsiteY5323" fmla="*/ 1507773 h 5296383"/>
              <a:gd name="connsiteX5324" fmla="*/ 4298683 w 9310410"/>
              <a:gd name="connsiteY5324" fmla="*/ 1528149 h 5296383"/>
              <a:gd name="connsiteX5325" fmla="*/ 4299282 w 9310410"/>
              <a:gd name="connsiteY5325" fmla="*/ 1547925 h 5296383"/>
              <a:gd name="connsiteX5326" fmla="*/ 2735177 w 9310410"/>
              <a:gd name="connsiteY5326" fmla="*/ 462040 h 5296383"/>
              <a:gd name="connsiteX5327" fmla="*/ 2747762 w 9310410"/>
              <a:gd name="connsiteY5327" fmla="*/ 462639 h 5296383"/>
              <a:gd name="connsiteX5328" fmla="*/ 2747163 w 9310410"/>
              <a:gd name="connsiteY5328" fmla="*/ 466235 h 5296383"/>
              <a:gd name="connsiteX5329" fmla="*/ 2736975 w 9310410"/>
              <a:gd name="connsiteY5329" fmla="*/ 467434 h 5296383"/>
              <a:gd name="connsiteX5330" fmla="*/ 2736376 w 9310410"/>
              <a:gd name="connsiteY5330" fmla="*/ 471629 h 5296383"/>
              <a:gd name="connsiteX5331" fmla="*/ 2746564 w 9310410"/>
              <a:gd name="connsiteY5331" fmla="*/ 473426 h 5296383"/>
              <a:gd name="connsiteX5332" fmla="*/ 2761545 w 9310410"/>
              <a:gd name="connsiteY5332" fmla="*/ 478820 h 5296383"/>
              <a:gd name="connsiteX5333" fmla="*/ 2779524 w 9310410"/>
              <a:gd name="connsiteY5333" fmla="*/ 481217 h 5296383"/>
              <a:gd name="connsiteX5334" fmla="*/ 2783119 w 9310410"/>
              <a:gd name="connsiteY5334" fmla="*/ 474026 h 5296383"/>
              <a:gd name="connsiteX5335" fmla="*/ 2785516 w 9310410"/>
              <a:gd name="connsiteY5335" fmla="*/ 471029 h 5296383"/>
              <a:gd name="connsiteX5336" fmla="*/ 2792108 w 9310410"/>
              <a:gd name="connsiteY5336" fmla="*/ 474625 h 5296383"/>
              <a:gd name="connsiteX5337" fmla="*/ 2787913 w 9310410"/>
              <a:gd name="connsiteY5337" fmla="*/ 465037 h 5296383"/>
              <a:gd name="connsiteX5338" fmla="*/ 2793906 w 9310410"/>
              <a:gd name="connsiteY5338" fmla="*/ 463838 h 5296383"/>
              <a:gd name="connsiteX5339" fmla="*/ 2800498 w 9310410"/>
              <a:gd name="connsiteY5339" fmla="*/ 469232 h 5296383"/>
              <a:gd name="connsiteX5340" fmla="*/ 2801098 w 9310410"/>
              <a:gd name="connsiteY5340" fmla="*/ 460842 h 5296383"/>
              <a:gd name="connsiteX5341" fmla="*/ 2803495 w 9310410"/>
              <a:gd name="connsiteY5341" fmla="*/ 456647 h 5296383"/>
              <a:gd name="connsiteX5342" fmla="*/ 2808888 w 9310410"/>
              <a:gd name="connsiteY5342" fmla="*/ 462040 h 5296383"/>
              <a:gd name="connsiteX5343" fmla="*/ 2825069 w 9310410"/>
              <a:gd name="connsiteY5343" fmla="*/ 457845 h 5296383"/>
              <a:gd name="connsiteX5344" fmla="*/ 2828664 w 9310410"/>
              <a:gd name="connsiteY5344" fmla="*/ 447658 h 5296383"/>
              <a:gd name="connsiteX5345" fmla="*/ 2833458 w 9310410"/>
              <a:gd name="connsiteY5345" fmla="*/ 447058 h 5296383"/>
              <a:gd name="connsiteX5346" fmla="*/ 2843646 w 9310410"/>
              <a:gd name="connsiteY5346" fmla="*/ 447058 h 5296383"/>
              <a:gd name="connsiteX5347" fmla="*/ 2849039 w 9310410"/>
              <a:gd name="connsiteY5347" fmla="*/ 448257 h 5296383"/>
              <a:gd name="connsiteX5348" fmla="*/ 2864621 w 9310410"/>
              <a:gd name="connsiteY5348" fmla="*/ 448856 h 5296383"/>
              <a:gd name="connsiteX5349" fmla="*/ 2868815 w 9310410"/>
              <a:gd name="connsiteY5349" fmla="*/ 440466 h 5296383"/>
              <a:gd name="connsiteX5350" fmla="*/ 2882599 w 9310410"/>
              <a:gd name="connsiteY5350" fmla="*/ 435672 h 5296383"/>
              <a:gd name="connsiteX5351" fmla="*/ 2889790 w 9310410"/>
              <a:gd name="connsiteY5351" fmla="*/ 435073 h 5296383"/>
              <a:gd name="connsiteX5352" fmla="*/ 2898779 w 9310410"/>
              <a:gd name="connsiteY5352" fmla="*/ 433874 h 5296383"/>
              <a:gd name="connsiteX5353" fmla="*/ 2912563 w 9310410"/>
              <a:gd name="connsiteY5353" fmla="*/ 432077 h 5296383"/>
              <a:gd name="connsiteX5354" fmla="*/ 2935335 w 9310410"/>
              <a:gd name="connsiteY5354" fmla="*/ 428481 h 5296383"/>
              <a:gd name="connsiteX5355" fmla="*/ 2942526 w 9310410"/>
              <a:gd name="connsiteY5355" fmla="*/ 427282 h 5296383"/>
              <a:gd name="connsiteX5356" fmla="*/ 2952714 w 9310410"/>
              <a:gd name="connsiteY5356" fmla="*/ 429679 h 5296383"/>
              <a:gd name="connsiteX5357" fmla="*/ 2972490 w 9310410"/>
              <a:gd name="connsiteY5357" fmla="*/ 426683 h 5296383"/>
              <a:gd name="connsiteX5358" fmla="*/ 3012641 w 9310410"/>
              <a:gd name="connsiteY5358" fmla="*/ 421290 h 5296383"/>
              <a:gd name="connsiteX5359" fmla="*/ 3043204 w 9310410"/>
              <a:gd name="connsiteY5359" fmla="*/ 413499 h 5296383"/>
              <a:gd name="connsiteX5360" fmla="*/ 3047399 w 9310410"/>
              <a:gd name="connsiteY5360" fmla="*/ 398517 h 5296383"/>
              <a:gd name="connsiteX5361" fmla="*/ 3028222 w 9310410"/>
              <a:gd name="connsiteY5361" fmla="*/ 393124 h 5296383"/>
              <a:gd name="connsiteX5362" fmla="*/ 3012042 w 9310410"/>
              <a:gd name="connsiteY5362" fmla="*/ 396719 h 5296383"/>
              <a:gd name="connsiteX5363" fmla="*/ 3000656 w 9310410"/>
              <a:gd name="connsiteY5363" fmla="*/ 400315 h 5296383"/>
              <a:gd name="connsiteX5364" fmla="*/ 2986872 w 9310410"/>
              <a:gd name="connsiteY5364" fmla="*/ 402113 h 5296383"/>
              <a:gd name="connsiteX5365" fmla="*/ 2970093 w 9310410"/>
              <a:gd name="connsiteY5365" fmla="*/ 405109 h 5296383"/>
              <a:gd name="connsiteX5366" fmla="*/ 2958707 w 9310410"/>
              <a:gd name="connsiteY5366" fmla="*/ 406308 h 5296383"/>
              <a:gd name="connsiteX5367" fmla="*/ 2941927 w 9310410"/>
              <a:gd name="connsiteY5367" fmla="*/ 406907 h 5296383"/>
              <a:gd name="connsiteX5368" fmla="*/ 2932938 w 9310410"/>
              <a:gd name="connsiteY5368" fmla="*/ 404510 h 5296383"/>
              <a:gd name="connsiteX5369" fmla="*/ 2918555 w 9310410"/>
              <a:gd name="connsiteY5369" fmla="*/ 399116 h 5296383"/>
              <a:gd name="connsiteX5370" fmla="*/ 2907768 w 9310410"/>
              <a:gd name="connsiteY5370" fmla="*/ 405708 h 5296383"/>
              <a:gd name="connsiteX5371" fmla="*/ 2899978 w 9310410"/>
              <a:gd name="connsiteY5371" fmla="*/ 409903 h 5296383"/>
              <a:gd name="connsiteX5372" fmla="*/ 2897581 w 9310410"/>
              <a:gd name="connsiteY5372" fmla="*/ 406308 h 5296383"/>
              <a:gd name="connsiteX5373" fmla="*/ 2892786 w 9310410"/>
              <a:gd name="connsiteY5373" fmla="*/ 406907 h 5296383"/>
              <a:gd name="connsiteX5374" fmla="*/ 2876606 w 9310410"/>
              <a:gd name="connsiteY5374" fmla="*/ 411701 h 5296383"/>
              <a:gd name="connsiteX5375" fmla="*/ 2858029 w 9310410"/>
              <a:gd name="connsiteY5375" fmla="*/ 414098 h 5296383"/>
              <a:gd name="connsiteX5376" fmla="*/ 2847841 w 9310410"/>
              <a:gd name="connsiteY5376" fmla="*/ 411102 h 5296383"/>
              <a:gd name="connsiteX5377" fmla="*/ 2844844 w 9310410"/>
              <a:gd name="connsiteY5377" fmla="*/ 414098 h 5296383"/>
              <a:gd name="connsiteX5378" fmla="*/ 2835855 w 9310410"/>
              <a:gd name="connsiteY5378" fmla="*/ 415896 h 5296383"/>
              <a:gd name="connsiteX5379" fmla="*/ 2832260 w 9310410"/>
              <a:gd name="connsiteY5379" fmla="*/ 422488 h 5296383"/>
              <a:gd name="connsiteX5380" fmla="*/ 2828065 w 9310410"/>
              <a:gd name="connsiteY5380" fmla="*/ 420690 h 5296383"/>
              <a:gd name="connsiteX5381" fmla="*/ 2817877 w 9310410"/>
              <a:gd name="connsiteY5381" fmla="*/ 423087 h 5296383"/>
              <a:gd name="connsiteX5382" fmla="*/ 2804693 w 9310410"/>
              <a:gd name="connsiteY5382" fmla="*/ 427282 h 5296383"/>
              <a:gd name="connsiteX5383" fmla="*/ 2797502 w 9310410"/>
              <a:gd name="connsiteY5383" fmla="*/ 425485 h 5296383"/>
              <a:gd name="connsiteX5384" fmla="*/ 2796903 w 9310410"/>
              <a:gd name="connsiteY5384" fmla="*/ 430279 h 5296383"/>
              <a:gd name="connsiteX5385" fmla="*/ 2793307 w 9310410"/>
              <a:gd name="connsiteY5385" fmla="*/ 433275 h 5296383"/>
              <a:gd name="connsiteX5386" fmla="*/ 2789112 w 9310410"/>
              <a:gd name="connsiteY5386" fmla="*/ 436271 h 5296383"/>
              <a:gd name="connsiteX5387" fmla="*/ 2799300 w 9310410"/>
              <a:gd name="connsiteY5387" fmla="*/ 441066 h 5296383"/>
              <a:gd name="connsiteX5388" fmla="*/ 2790910 w 9310410"/>
              <a:gd name="connsiteY5388" fmla="*/ 441665 h 5296383"/>
              <a:gd name="connsiteX5389" fmla="*/ 2780123 w 9310410"/>
              <a:gd name="connsiteY5389" fmla="*/ 439867 h 5296383"/>
              <a:gd name="connsiteX5390" fmla="*/ 2778924 w 9310410"/>
              <a:gd name="connsiteY5390" fmla="*/ 445860 h 5296383"/>
              <a:gd name="connsiteX5391" fmla="*/ 2773531 w 9310410"/>
              <a:gd name="connsiteY5391" fmla="*/ 447058 h 5296383"/>
              <a:gd name="connsiteX5392" fmla="*/ 2768137 w 9310410"/>
              <a:gd name="connsiteY5392" fmla="*/ 450055 h 5296383"/>
              <a:gd name="connsiteX5393" fmla="*/ 2770535 w 9310410"/>
              <a:gd name="connsiteY5393" fmla="*/ 456047 h 5296383"/>
              <a:gd name="connsiteX5394" fmla="*/ 2765740 w 9310410"/>
              <a:gd name="connsiteY5394" fmla="*/ 457246 h 5296383"/>
              <a:gd name="connsiteX5395" fmla="*/ 2755553 w 9310410"/>
              <a:gd name="connsiteY5395" fmla="*/ 457845 h 5296383"/>
              <a:gd name="connsiteX5396" fmla="*/ 2736975 w 9310410"/>
              <a:gd name="connsiteY5396" fmla="*/ 459044 h 5296383"/>
              <a:gd name="connsiteX5397" fmla="*/ 2729784 w 9310410"/>
              <a:gd name="connsiteY5397" fmla="*/ 462040 h 5296383"/>
              <a:gd name="connsiteX5398" fmla="*/ 2735177 w 9310410"/>
              <a:gd name="connsiteY5398" fmla="*/ 462040 h 5296383"/>
              <a:gd name="connsiteX5399" fmla="*/ 3519627 w 9310410"/>
              <a:gd name="connsiteY5399" fmla="*/ 352373 h 5296383"/>
              <a:gd name="connsiteX5400" fmla="*/ 3529215 w 9310410"/>
              <a:gd name="connsiteY5400" fmla="*/ 358366 h 5296383"/>
              <a:gd name="connsiteX5401" fmla="*/ 3538204 w 9310410"/>
              <a:gd name="connsiteY5401" fmla="*/ 366756 h 5296383"/>
              <a:gd name="connsiteX5402" fmla="*/ 3557381 w 9310410"/>
              <a:gd name="connsiteY5402" fmla="*/ 375146 h 5296383"/>
              <a:gd name="connsiteX5403" fmla="*/ 3575360 w 9310410"/>
              <a:gd name="connsiteY5403" fmla="*/ 382337 h 5296383"/>
              <a:gd name="connsiteX5404" fmla="*/ 3604724 w 9310410"/>
              <a:gd name="connsiteY5404" fmla="*/ 384734 h 5296383"/>
              <a:gd name="connsiteX5405" fmla="*/ 3613713 w 9310410"/>
              <a:gd name="connsiteY5405" fmla="*/ 370351 h 5296383"/>
              <a:gd name="connsiteX5406" fmla="*/ 3614911 w 9310410"/>
              <a:gd name="connsiteY5406" fmla="*/ 363160 h 5296383"/>
              <a:gd name="connsiteX5407" fmla="*/ 3623301 w 9310410"/>
              <a:gd name="connsiteY5407" fmla="*/ 352972 h 5296383"/>
              <a:gd name="connsiteX5408" fmla="*/ 3622702 w 9310410"/>
              <a:gd name="connsiteY5408" fmla="*/ 340388 h 5296383"/>
              <a:gd name="connsiteX5409" fmla="*/ 3606522 w 9310410"/>
              <a:gd name="connsiteY5409" fmla="*/ 341586 h 5296383"/>
              <a:gd name="connsiteX5410" fmla="*/ 3599330 w 9310410"/>
              <a:gd name="connsiteY5410" fmla="*/ 343983 h 5296383"/>
              <a:gd name="connsiteX5411" fmla="*/ 3590941 w 9310410"/>
              <a:gd name="connsiteY5411" fmla="*/ 348178 h 5296383"/>
              <a:gd name="connsiteX5412" fmla="*/ 3584948 w 9310410"/>
              <a:gd name="connsiteY5412" fmla="*/ 346980 h 5296383"/>
              <a:gd name="connsiteX5413" fmla="*/ 3593338 w 9310410"/>
              <a:gd name="connsiteY5413" fmla="*/ 330799 h 5296383"/>
              <a:gd name="connsiteX5414" fmla="*/ 3553785 w 9310410"/>
              <a:gd name="connsiteY5414" fmla="*/ 331998 h 5296383"/>
              <a:gd name="connsiteX5415" fmla="*/ 3539403 w 9310410"/>
              <a:gd name="connsiteY5415" fmla="*/ 334994 h 5296383"/>
              <a:gd name="connsiteX5416" fmla="*/ 3538804 w 9310410"/>
              <a:gd name="connsiteY5416" fmla="*/ 341586 h 5296383"/>
              <a:gd name="connsiteX5417" fmla="*/ 3532212 w 9310410"/>
              <a:gd name="connsiteY5417" fmla="*/ 341586 h 5296383"/>
              <a:gd name="connsiteX5418" fmla="*/ 3514234 w 9310410"/>
              <a:gd name="connsiteY5418" fmla="*/ 347579 h 5296383"/>
              <a:gd name="connsiteX5419" fmla="*/ 3519627 w 9310410"/>
              <a:gd name="connsiteY5419" fmla="*/ 352373 h 5296383"/>
              <a:gd name="connsiteX5420" fmla="*/ 4278907 w 9310410"/>
              <a:gd name="connsiteY5420" fmla="*/ 560321 h 5296383"/>
              <a:gd name="connsiteX5421" fmla="*/ 4296885 w 9310410"/>
              <a:gd name="connsiteY5421" fmla="*/ 558523 h 5296383"/>
              <a:gd name="connsiteX5422" fmla="*/ 4307073 w 9310410"/>
              <a:gd name="connsiteY5422" fmla="*/ 556126 h 5296383"/>
              <a:gd name="connsiteX5423" fmla="*/ 4317261 w 9310410"/>
              <a:gd name="connsiteY5423" fmla="*/ 558523 h 5296383"/>
              <a:gd name="connsiteX5424" fmla="*/ 4338235 w 9310410"/>
              <a:gd name="connsiteY5424" fmla="*/ 554328 h 5296383"/>
              <a:gd name="connsiteX5425" fmla="*/ 4348423 w 9310410"/>
              <a:gd name="connsiteY5425" fmla="*/ 554928 h 5296383"/>
              <a:gd name="connsiteX5426" fmla="*/ 4358011 w 9310410"/>
              <a:gd name="connsiteY5426" fmla="*/ 558523 h 5296383"/>
              <a:gd name="connsiteX5427" fmla="*/ 4371195 w 9310410"/>
              <a:gd name="connsiteY5427" fmla="*/ 554928 h 5296383"/>
              <a:gd name="connsiteX5428" fmla="*/ 4357412 w 9310410"/>
              <a:gd name="connsiteY5428" fmla="*/ 547736 h 5296383"/>
              <a:gd name="connsiteX5429" fmla="*/ 4350221 w 9310410"/>
              <a:gd name="connsiteY5429" fmla="*/ 530357 h 5296383"/>
              <a:gd name="connsiteX5430" fmla="*/ 4363405 w 9310410"/>
              <a:gd name="connsiteY5430" fmla="*/ 529159 h 5296383"/>
              <a:gd name="connsiteX5431" fmla="*/ 4359809 w 9310410"/>
              <a:gd name="connsiteY5431" fmla="*/ 534552 h 5296383"/>
              <a:gd name="connsiteX5432" fmla="*/ 4363405 w 9310410"/>
              <a:gd name="connsiteY5432" fmla="*/ 542942 h 5296383"/>
              <a:gd name="connsiteX5433" fmla="*/ 4380184 w 9310410"/>
              <a:gd name="connsiteY5433" fmla="*/ 548336 h 5296383"/>
              <a:gd name="connsiteX5434" fmla="*/ 4393968 w 9310410"/>
              <a:gd name="connsiteY5434" fmla="*/ 547736 h 5296383"/>
              <a:gd name="connsiteX5435" fmla="*/ 4401758 w 9310410"/>
              <a:gd name="connsiteY5435" fmla="*/ 539946 h 5296383"/>
              <a:gd name="connsiteX5436" fmla="*/ 4401159 w 9310410"/>
              <a:gd name="connsiteY5436" fmla="*/ 530957 h 5296383"/>
              <a:gd name="connsiteX5437" fmla="*/ 4373593 w 9310410"/>
              <a:gd name="connsiteY5437" fmla="*/ 523166 h 5296383"/>
              <a:gd name="connsiteX5438" fmla="*/ 4355015 w 9310410"/>
              <a:gd name="connsiteY5438" fmla="*/ 517773 h 5296383"/>
              <a:gd name="connsiteX5439" fmla="*/ 4343629 w 9310410"/>
              <a:gd name="connsiteY5439" fmla="*/ 512379 h 5296383"/>
              <a:gd name="connsiteX5440" fmla="*/ 4336438 w 9310410"/>
              <a:gd name="connsiteY5440" fmla="*/ 513578 h 5296383"/>
              <a:gd name="connsiteX5441" fmla="*/ 4331643 w 9310410"/>
              <a:gd name="connsiteY5441" fmla="*/ 514776 h 5296383"/>
              <a:gd name="connsiteX5442" fmla="*/ 4326849 w 9310410"/>
              <a:gd name="connsiteY5442" fmla="*/ 521968 h 5296383"/>
              <a:gd name="connsiteX5443" fmla="*/ 4318459 w 9310410"/>
              <a:gd name="connsiteY5443" fmla="*/ 525563 h 5296383"/>
              <a:gd name="connsiteX5444" fmla="*/ 4307672 w 9310410"/>
              <a:gd name="connsiteY5444" fmla="*/ 518372 h 5296383"/>
              <a:gd name="connsiteX5445" fmla="*/ 4297485 w 9310410"/>
              <a:gd name="connsiteY5445" fmla="*/ 512979 h 5296383"/>
              <a:gd name="connsiteX5446" fmla="*/ 4292091 w 9310410"/>
              <a:gd name="connsiteY5446" fmla="*/ 504589 h 5296383"/>
              <a:gd name="connsiteX5447" fmla="*/ 4281903 w 9310410"/>
              <a:gd name="connsiteY5447" fmla="*/ 505787 h 5296383"/>
              <a:gd name="connsiteX5448" fmla="*/ 4277109 w 9310410"/>
              <a:gd name="connsiteY5448" fmla="*/ 508784 h 5296383"/>
              <a:gd name="connsiteX5449" fmla="*/ 4271716 w 9310410"/>
              <a:gd name="connsiteY5449" fmla="*/ 513578 h 5296383"/>
              <a:gd name="connsiteX5450" fmla="*/ 4266322 w 9310410"/>
              <a:gd name="connsiteY5450" fmla="*/ 517173 h 5296383"/>
              <a:gd name="connsiteX5451" fmla="*/ 4265723 w 9310410"/>
              <a:gd name="connsiteY5451" fmla="*/ 521368 h 5296383"/>
              <a:gd name="connsiteX5452" fmla="*/ 4263326 w 9310410"/>
              <a:gd name="connsiteY5452" fmla="*/ 523765 h 5296383"/>
              <a:gd name="connsiteX5453" fmla="*/ 4257333 w 9310410"/>
              <a:gd name="connsiteY5453" fmla="*/ 532755 h 5296383"/>
              <a:gd name="connsiteX5454" fmla="*/ 4256135 w 9310410"/>
              <a:gd name="connsiteY5454" fmla="*/ 535152 h 5296383"/>
              <a:gd name="connsiteX5455" fmla="*/ 4257932 w 9310410"/>
              <a:gd name="connsiteY5455" fmla="*/ 545939 h 5296383"/>
              <a:gd name="connsiteX5456" fmla="*/ 4278907 w 9310410"/>
              <a:gd name="connsiteY5456" fmla="*/ 560321 h 5296383"/>
              <a:gd name="connsiteX5457" fmla="*/ 1492883 w 9310410"/>
              <a:gd name="connsiteY5457" fmla="*/ 1934456 h 5296383"/>
              <a:gd name="connsiteX5458" fmla="*/ 1494680 w 9310410"/>
              <a:gd name="connsiteY5458" fmla="*/ 1933258 h 5296383"/>
              <a:gd name="connsiteX5459" fmla="*/ 1492883 w 9310410"/>
              <a:gd name="connsiteY5459" fmla="*/ 1934456 h 5296383"/>
              <a:gd name="connsiteX5460" fmla="*/ 940951 w 9310410"/>
              <a:gd name="connsiteY5460" fmla="*/ 924680 h 5296383"/>
              <a:gd name="connsiteX5461" fmla="*/ 942150 w 9310410"/>
              <a:gd name="connsiteY5461" fmla="*/ 928875 h 5296383"/>
              <a:gd name="connsiteX5462" fmla="*/ 942749 w 9310410"/>
              <a:gd name="connsiteY5462" fmla="*/ 933070 h 5296383"/>
              <a:gd name="connsiteX5463" fmla="*/ 943948 w 9310410"/>
              <a:gd name="connsiteY5463" fmla="*/ 936066 h 5296383"/>
              <a:gd name="connsiteX5464" fmla="*/ 948143 w 9310410"/>
              <a:gd name="connsiteY5464" fmla="*/ 939662 h 5296383"/>
              <a:gd name="connsiteX5465" fmla="*/ 958929 w 9310410"/>
              <a:gd name="connsiteY5465" fmla="*/ 942658 h 5296383"/>
              <a:gd name="connsiteX5466" fmla="*/ 969716 w 9310410"/>
              <a:gd name="connsiteY5466" fmla="*/ 943257 h 5296383"/>
              <a:gd name="connsiteX5467" fmla="*/ 973911 w 9310410"/>
              <a:gd name="connsiteY5467" fmla="*/ 938463 h 5296383"/>
              <a:gd name="connsiteX5468" fmla="*/ 982301 w 9310410"/>
              <a:gd name="connsiteY5468" fmla="*/ 940860 h 5296383"/>
              <a:gd name="connsiteX5469" fmla="*/ 994886 w 9310410"/>
              <a:gd name="connsiteY5469" fmla="*/ 935467 h 5296383"/>
              <a:gd name="connsiteX5470" fmla="*/ 1014662 w 9310410"/>
              <a:gd name="connsiteY5470" fmla="*/ 933070 h 5296383"/>
              <a:gd name="connsiteX5471" fmla="*/ 1029644 w 9310410"/>
              <a:gd name="connsiteY5471" fmla="*/ 931871 h 5296383"/>
              <a:gd name="connsiteX5472" fmla="*/ 1038034 w 9310410"/>
              <a:gd name="connsiteY5472" fmla="*/ 923481 h 5296383"/>
              <a:gd name="connsiteX5473" fmla="*/ 1051218 w 9310410"/>
              <a:gd name="connsiteY5473" fmla="*/ 914492 h 5296383"/>
              <a:gd name="connsiteX5474" fmla="*/ 1055413 w 9310410"/>
              <a:gd name="connsiteY5474" fmla="*/ 904304 h 5296383"/>
              <a:gd name="connsiteX5475" fmla="*/ 1059607 w 9310410"/>
              <a:gd name="connsiteY5475" fmla="*/ 900110 h 5296383"/>
              <a:gd name="connsiteX5476" fmla="*/ 1068597 w 9310410"/>
              <a:gd name="connsiteY5476" fmla="*/ 888723 h 5296383"/>
              <a:gd name="connsiteX5477" fmla="*/ 1082380 w 9310410"/>
              <a:gd name="connsiteY5477" fmla="*/ 873741 h 5296383"/>
              <a:gd name="connsiteX5478" fmla="*/ 1085376 w 9310410"/>
              <a:gd name="connsiteY5478" fmla="*/ 871944 h 5296383"/>
              <a:gd name="connsiteX5479" fmla="*/ 1099759 w 9310410"/>
              <a:gd name="connsiteY5479" fmla="*/ 867749 h 5296383"/>
              <a:gd name="connsiteX5480" fmla="*/ 1106351 w 9310410"/>
              <a:gd name="connsiteY5480" fmla="*/ 862355 h 5296383"/>
              <a:gd name="connsiteX5481" fmla="*/ 1108748 w 9310410"/>
              <a:gd name="connsiteY5481" fmla="*/ 864153 h 5296383"/>
              <a:gd name="connsiteX5482" fmla="*/ 1112943 w 9310410"/>
              <a:gd name="connsiteY5482" fmla="*/ 856962 h 5296383"/>
              <a:gd name="connsiteX5483" fmla="*/ 1115340 w 9310410"/>
              <a:gd name="connsiteY5483" fmla="*/ 845576 h 5296383"/>
              <a:gd name="connsiteX5484" fmla="*/ 1110546 w 9310410"/>
              <a:gd name="connsiteY5484" fmla="*/ 832392 h 5296383"/>
              <a:gd name="connsiteX5485" fmla="*/ 1098560 w 9310410"/>
              <a:gd name="connsiteY5485" fmla="*/ 829395 h 5296383"/>
              <a:gd name="connsiteX5486" fmla="*/ 1097961 w 9310410"/>
              <a:gd name="connsiteY5486" fmla="*/ 829395 h 5296383"/>
              <a:gd name="connsiteX5487" fmla="*/ 1097961 w 9310410"/>
              <a:gd name="connsiteY5487" fmla="*/ 829395 h 5296383"/>
              <a:gd name="connsiteX5488" fmla="*/ 1099160 w 9310410"/>
              <a:gd name="connsiteY5488" fmla="*/ 827597 h 5296383"/>
              <a:gd name="connsiteX5489" fmla="*/ 1096763 w 9310410"/>
              <a:gd name="connsiteY5489" fmla="*/ 822803 h 5296383"/>
              <a:gd name="connsiteX5490" fmla="*/ 1083578 w 9310410"/>
              <a:gd name="connsiteY5490" fmla="*/ 829395 h 5296383"/>
              <a:gd name="connsiteX5491" fmla="*/ 1083578 w 9310410"/>
              <a:gd name="connsiteY5491" fmla="*/ 825800 h 5296383"/>
              <a:gd name="connsiteX5492" fmla="*/ 1084777 w 9310410"/>
              <a:gd name="connsiteY5492" fmla="*/ 821605 h 5296383"/>
              <a:gd name="connsiteX5493" fmla="*/ 1070394 w 9310410"/>
              <a:gd name="connsiteY5493" fmla="*/ 822204 h 5296383"/>
              <a:gd name="connsiteX5494" fmla="*/ 1057210 w 9310410"/>
              <a:gd name="connsiteY5494" fmla="*/ 833590 h 5296383"/>
              <a:gd name="connsiteX5495" fmla="*/ 1052416 w 9310410"/>
              <a:gd name="connsiteY5495" fmla="*/ 836586 h 5296383"/>
              <a:gd name="connsiteX5496" fmla="*/ 1056611 w 9310410"/>
              <a:gd name="connsiteY5496" fmla="*/ 839583 h 5296383"/>
              <a:gd name="connsiteX5497" fmla="*/ 1052416 w 9310410"/>
              <a:gd name="connsiteY5497" fmla="*/ 846774 h 5296383"/>
              <a:gd name="connsiteX5498" fmla="*/ 1042229 w 9310410"/>
              <a:gd name="connsiteY5498" fmla="*/ 851568 h 5296383"/>
              <a:gd name="connsiteX5499" fmla="*/ 1036835 w 9310410"/>
              <a:gd name="connsiteY5499" fmla="*/ 852168 h 5296383"/>
              <a:gd name="connsiteX5500" fmla="*/ 1027247 w 9310410"/>
              <a:gd name="connsiteY5500" fmla="*/ 846774 h 5296383"/>
              <a:gd name="connsiteX5501" fmla="*/ 1015860 w 9310410"/>
              <a:gd name="connsiteY5501" fmla="*/ 841381 h 5296383"/>
              <a:gd name="connsiteX5502" fmla="*/ 1011666 w 9310410"/>
              <a:gd name="connsiteY5502" fmla="*/ 845576 h 5296383"/>
              <a:gd name="connsiteX5503" fmla="*/ 1011066 w 9310410"/>
              <a:gd name="connsiteY5503" fmla="*/ 849770 h 5296383"/>
              <a:gd name="connsiteX5504" fmla="*/ 1006871 w 9310410"/>
              <a:gd name="connsiteY5504" fmla="*/ 856962 h 5296383"/>
              <a:gd name="connsiteX5505" fmla="*/ 1005074 w 9310410"/>
              <a:gd name="connsiteY5505" fmla="*/ 860557 h 5296383"/>
              <a:gd name="connsiteX5506" fmla="*/ 1002077 w 9310410"/>
              <a:gd name="connsiteY5506" fmla="*/ 862954 h 5296383"/>
              <a:gd name="connsiteX5507" fmla="*/ 997882 w 9310410"/>
              <a:gd name="connsiteY5507" fmla="*/ 862954 h 5296383"/>
              <a:gd name="connsiteX5508" fmla="*/ 994287 w 9310410"/>
              <a:gd name="connsiteY5508" fmla="*/ 873142 h 5296383"/>
              <a:gd name="connsiteX5509" fmla="*/ 994287 w 9310410"/>
              <a:gd name="connsiteY5509" fmla="*/ 885128 h 5296383"/>
              <a:gd name="connsiteX5510" fmla="*/ 982900 w 9310410"/>
              <a:gd name="connsiteY5510" fmla="*/ 892319 h 5296383"/>
              <a:gd name="connsiteX5511" fmla="*/ 970915 w 9310410"/>
              <a:gd name="connsiteY5511" fmla="*/ 902507 h 5296383"/>
              <a:gd name="connsiteX5512" fmla="*/ 976308 w 9310410"/>
              <a:gd name="connsiteY5512" fmla="*/ 907301 h 5296383"/>
              <a:gd name="connsiteX5513" fmla="*/ 973911 w 9310410"/>
              <a:gd name="connsiteY5513" fmla="*/ 910297 h 5296383"/>
              <a:gd name="connsiteX5514" fmla="*/ 958929 w 9310410"/>
              <a:gd name="connsiteY5514" fmla="*/ 912694 h 5296383"/>
              <a:gd name="connsiteX5515" fmla="*/ 950540 w 9310410"/>
              <a:gd name="connsiteY5515" fmla="*/ 915691 h 5296383"/>
              <a:gd name="connsiteX5516" fmla="*/ 941550 w 9310410"/>
              <a:gd name="connsiteY5516" fmla="*/ 911496 h 5296383"/>
              <a:gd name="connsiteX5517" fmla="*/ 942150 w 9310410"/>
              <a:gd name="connsiteY5517" fmla="*/ 916290 h 5296383"/>
              <a:gd name="connsiteX5518" fmla="*/ 939753 w 9310410"/>
              <a:gd name="connsiteY5518" fmla="*/ 920485 h 5296383"/>
              <a:gd name="connsiteX5519" fmla="*/ 940951 w 9310410"/>
              <a:gd name="connsiteY5519" fmla="*/ 924680 h 5296383"/>
              <a:gd name="connsiteX5520" fmla="*/ 1275346 w 9310410"/>
              <a:gd name="connsiteY5520" fmla="*/ 978614 h 5296383"/>
              <a:gd name="connsiteX5521" fmla="*/ 1275945 w 9310410"/>
              <a:gd name="connsiteY5521" fmla="*/ 982809 h 5296383"/>
              <a:gd name="connsiteX5522" fmla="*/ 1278942 w 9310410"/>
              <a:gd name="connsiteY5522" fmla="*/ 980412 h 5296383"/>
              <a:gd name="connsiteX5523" fmla="*/ 1275346 w 9310410"/>
              <a:gd name="connsiteY5523" fmla="*/ 978614 h 5296383"/>
              <a:gd name="connsiteX5524" fmla="*/ 1278342 w 9310410"/>
              <a:gd name="connsiteY5524" fmla="*/ 949250 h 5296383"/>
              <a:gd name="connsiteX5525" fmla="*/ 1278342 w 9310410"/>
              <a:gd name="connsiteY5525" fmla="*/ 953445 h 5296383"/>
              <a:gd name="connsiteX5526" fmla="*/ 1282537 w 9310410"/>
              <a:gd name="connsiteY5526" fmla="*/ 950449 h 5296383"/>
              <a:gd name="connsiteX5527" fmla="*/ 1278342 w 9310410"/>
              <a:gd name="connsiteY5527" fmla="*/ 949250 h 5296383"/>
              <a:gd name="connsiteX5528" fmla="*/ 8089091 w 9310410"/>
              <a:gd name="connsiteY5528" fmla="*/ 2772241 h 5296383"/>
              <a:gd name="connsiteX5529" fmla="*/ 8084296 w 9310410"/>
              <a:gd name="connsiteY5529" fmla="*/ 2768646 h 5296383"/>
              <a:gd name="connsiteX5530" fmla="*/ 8081300 w 9310410"/>
              <a:gd name="connsiteY5530" fmla="*/ 2770444 h 5296383"/>
              <a:gd name="connsiteX5531" fmla="*/ 8083098 w 9310410"/>
              <a:gd name="connsiteY5531" fmla="*/ 2774638 h 5296383"/>
              <a:gd name="connsiteX5532" fmla="*/ 8089091 w 9310410"/>
              <a:gd name="connsiteY5532" fmla="*/ 2772241 h 5296383"/>
              <a:gd name="connsiteX5533" fmla="*/ 8806421 w 9310410"/>
              <a:gd name="connsiteY5533" fmla="*/ 4170947 h 5296383"/>
              <a:gd name="connsiteX5534" fmla="*/ 8802826 w 9310410"/>
              <a:gd name="connsiteY5534" fmla="*/ 4172745 h 5296383"/>
              <a:gd name="connsiteX5535" fmla="*/ 8805223 w 9310410"/>
              <a:gd name="connsiteY5535" fmla="*/ 4176940 h 5296383"/>
              <a:gd name="connsiteX5536" fmla="*/ 8810017 w 9310410"/>
              <a:gd name="connsiteY5536" fmla="*/ 4172745 h 5296383"/>
              <a:gd name="connsiteX5537" fmla="*/ 8806421 w 9310410"/>
              <a:gd name="connsiteY5537" fmla="*/ 4170947 h 5296383"/>
              <a:gd name="connsiteX5538" fmla="*/ 8911893 w 9310410"/>
              <a:gd name="connsiteY5538" fmla="*/ 3069481 h 5296383"/>
              <a:gd name="connsiteX5539" fmla="*/ 8919684 w 9310410"/>
              <a:gd name="connsiteY5539" fmla="*/ 3073676 h 5296383"/>
              <a:gd name="connsiteX5540" fmla="*/ 8927475 w 9310410"/>
              <a:gd name="connsiteY5540" fmla="*/ 3068882 h 5296383"/>
              <a:gd name="connsiteX5541" fmla="*/ 8913691 w 9310410"/>
              <a:gd name="connsiteY5541" fmla="*/ 3064687 h 5296383"/>
              <a:gd name="connsiteX5542" fmla="*/ 8911893 w 9310410"/>
              <a:gd name="connsiteY5542" fmla="*/ 3069481 h 5296383"/>
              <a:gd name="connsiteX5543" fmla="*/ 8932269 w 9310410"/>
              <a:gd name="connsiteY5543" fmla="*/ 3073676 h 5296383"/>
              <a:gd name="connsiteX5544" fmla="*/ 8940659 w 9310410"/>
              <a:gd name="connsiteY5544" fmla="*/ 3073077 h 5296383"/>
              <a:gd name="connsiteX5545" fmla="*/ 8938262 w 9310410"/>
              <a:gd name="connsiteY5545" fmla="*/ 3068283 h 5296383"/>
              <a:gd name="connsiteX5546" fmla="*/ 8931670 w 9310410"/>
              <a:gd name="connsiteY5546" fmla="*/ 3068283 h 5296383"/>
              <a:gd name="connsiteX5547" fmla="*/ 8932269 w 9310410"/>
              <a:gd name="connsiteY5547" fmla="*/ 3073676 h 5296383"/>
              <a:gd name="connsiteX5548" fmla="*/ 8905901 w 9310410"/>
              <a:gd name="connsiteY5548" fmla="*/ 2977792 h 5296383"/>
              <a:gd name="connsiteX5549" fmla="*/ 8910096 w 9310410"/>
              <a:gd name="connsiteY5549" fmla="*/ 2979590 h 5296383"/>
              <a:gd name="connsiteX5550" fmla="*/ 8910695 w 9310410"/>
              <a:gd name="connsiteY5550" fmla="*/ 2971200 h 5296383"/>
              <a:gd name="connsiteX5551" fmla="*/ 8906500 w 9310410"/>
              <a:gd name="connsiteY5551" fmla="*/ 2967005 h 5296383"/>
              <a:gd name="connsiteX5552" fmla="*/ 8903504 w 9310410"/>
              <a:gd name="connsiteY5552" fmla="*/ 2971800 h 5296383"/>
              <a:gd name="connsiteX5553" fmla="*/ 8905901 w 9310410"/>
              <a:gd name="connsiteY5553" fmla="*/ 2977792 h 5296383"/>
              <a:gd name="connsiteX5554" fmla="*/ 8889720 w 9310410"/>
              <a:gd name="connsiteY5554" fmla="*/ 3081467 h 5296383"/>
              <a:gd name="connsiteX5555" fmla="*/ 8887323 w 9310410"/>
              <a:gd name="connsiteY5555" fmla="*/ 3088658 h 5296383"/>
              <a:gd name="connsiteX5556" fmla="*/ 8889121 w 9310410"/>
              <a:gd name="connsiteY5556" fmla="*/ 3089857 h 5296383"/>
              <a:gd name="connsiteX5557" fmla="*/ 8893316 w 9310410"/>
              <a:gd name="connsiteY5557" fmla="*/ 3084463 h 5296383"/>
              <a:gd name="connsiteX5558" fmla="*/ 8889720 w 9310410"/>
              <a:gd name="connsiteY5558" fmla="*/ 3081467 h 5296383"/>
              <a:gd name="connsiteX5559" fmla="*/ 8901706 w 9310410"/>
              <a:gd name="connsiteY5559" fmla="*/ 3073676 h 5296383"/>
              <a:gd name="connsiteX5560" fmla="*/ 8895713 w 9310410"/>
              <a:gd name="connsiteY5560" fmla="*/ 3076673 h 5296383"/>
              <a:gd name="connsiteX5561" fmla="*/ 8896911 w 9310410"/>
              <a:gd name="connsiteY5561" fmla="*/ 3079070 h 5296383"/>
              <a:gd name="connsiteX5562" fmla="*/ 8901706 w 9310410"/>
              <a:gd name="connsiteY5562" fmla="*/ 3073676 h 5296383"/>
              <a:gd name="connsiteX5563" fmla="*/ 8907699 w 9310410"/>
              <a:gd name="connsiteY5563" fmla="*/ 3059294 h 5296383"/>
              <a:gd name="connsiteX5564" fmla="*/ 8905301 w 9310410"/>
              <a:gd name="connsiteY5564" fmla="*/ 3063489 h 5296383"/>
              <a:gd name="connsiteX5565" fmla="*/ 8909497 w 9310410"/>
              <a:gd name="connsiteY5565" fmla="*/ 3062290 h 5296383"/>
              <a:gd name="connsiteX5566" fmla="*/ 8907699 w 9310410"/>
              <a:gd name="connsiteY5566" fmla="*/ 3059294 h 5296383"/>
              <a:gd name="connsiteX5567" fmla="*/ 8667989 w 9310410"/>
              <a:gd name="connsiteY5567" fmla="*/ 4312376 h 5296383"/>
              <a:gd name="connsiteX5568" fmla="*/ 8666791 w 9310410"/>
              <a:gd name="connsiteY5568" fmla="*/ 4318368 h 5296383"/>
              <a:gd name="connsiteX5569" fmla="*/ 8664993 w 9310410"/>
              <a:gd name="connsiteY5569" fmla="*/ 4331552 h 5296383"/>
              <a:gd name="connsiteX5570" fmla="*/ 8669787 w 9310410"/>
              <a:gd name="connsiteY5570" fmla="*/ 4319567 h 5296383"/>
              <a:gd name="connsiteX5571" fmla="*/ 8667989 w 9310410"/>
              <a:gd name="connsiteY5571" fmla="*/ 4312376 h 5296383"/>
              <a:gd name="connsiteX5572" fmla="*/ 9277450 w 9310410"/>
              <a:gd name="connsiteY5572" fmla="*/ 3420656 h 5296383"/>
              <a:gd name="connsiteX5573" fmla="*/ 9269660 w 9310410"/>
              <a:gd name="connsiteY5573" fmla="*/ 3440432 h 5296383"/>
              <a:gd name="connsiteX5574" fmla="*/ 9267263 w 9310410"/>
              <a:gd name="connsiteY5574" fmla="*/ 3453616 h 5296383"/>
              <a:gd name="connsiteX5575" fmla="*/ 9254079 w 9310410"/>
              <a:gd name="connsiteY5575" fmla="*/ 3498562 h 5296383"/>
              <a:gd name="connsiteX5576" fmla="*/ 9228909 w 9310410"/>
              <a:gd name="connsiteY5576" fmla="*/ 3547702 h 5296383"/>
              <a:gd name="connsiteX5577" fmla="*/ 9213328 w 9310410"/>
              <a:gd name="connsiteY5577" fmla="*/ 3573471 h 5296383"/>
              <a:gd name="connsiteX5578" fmla="*/ 9202541 w 9310410"/>
              <a:gd name="connsiteY5578" fmla="*/ 3586055 h 5296383"/>
              <a:gd name="connsiteX5579" fmla="*/ 9194152 w 9310410"/>
              <a:gd name="connsiteY5579" fmla="*/ 3592648 h 5296383"/>
              <a:gd name="connsiteX5580" fmla="*/ 9186361 w 9310410"/>
              <a:gd name="connsiteY5580" fmla="*/ 3599839 h 5296383"/>
              <a:gd name="connsiteX5581" fmla="*/ 9182166 w 9310410"/>
              <a:gd name="connsiteY5581" fmla="*/ 3607030 h 5296383"/>
              <a:gd name="connsiteX5582" fmla="*/ 9177971 w 9310410"/>
              <a:gd name="connsiteY5582" fmla="*/ 3620214 h 5296383"/>
              <a:gd name="connsiteX5583" fmla="*/ 9171379 w 9310410"/>
              <a:gd name="connsiteY5583" fmla="*/ 3633997 h 5296383"/>
              <a:gd name="connsiteX5584" fmla="*/ 9165386 w 9310410"/>
              <a:gd name="connsiteY5584" fmla="*/ 3650777 h 5296383"/>
              <a:gd name="connsiteX5585" fmla="*/ 9152802 w 9310410"/>
              <a:gd name="connsiteY5585" fmla="*/ 3675347 h 5296383"/>
              <a:gd name="connsiteX5586" fmla="*/ 9143214 w 9310410"/>
              <a:gd name="connsiteY5586" fmla="*/ 3674149 h 5296383"/>
              <a:gd name="connsiteX5587" fmla="*/ 9133026 w 9310410"/>
              <a:gd name="connsiteY5587" fmla="*/ 3673550 h 5296383"/>
              <a:gd name="connsiteX5588" fmla="*/ 9128232 w 9310410"/>
              <a:gd name="connsiteY5588" fmla="*/ 3674748 h 5296383"/>
              <a:gd name="connsiteX5589" fmla="*/ 9128232 w 9310410"/>
              <a:gd name="connsiteY5589" fmla="*/ 3679542 h 5296383"/>
              <a:gd name="connsiteX5590" fmla="*/ 9128831 w 9310410"/>
              <a:gd name="connsiteY5590" fmla="*/ 3685535 h 5296383"/>
              <a:gd name="connsiteX5591" fmla="*/ 9126434 w 9310410"/>
              <a:gd name="connsiteY5591" fmla="*/ 3689131 h 5296383"/>
              <a:gd name="connsiteX5592" fmla="*/ 9124036 w 9310410"/>
              <a:gd name="connsiteY5592" fmla="*/ 3693326 h 5296383"/>
              <a:gd name="connsiteX5593" fmla="*/ 9120441 w 9310410"/>
              <a:gd name="connsiteY5593" fmla="*/ 3698719 h 5296383"/>
              <a:gd name="connsiteX5594" fmla="*/ 9118044 w 9310410"/>
              <a:gd name="connsiteY5594" fmla="*/ 3704712 h 5296383"/>
              <a:gd name="connsiteX5595" fmla="*/ 9117445 w 9310410"/>
              <a:gd name="connsiteY5595" fmla="*/ 3717896 h 5296383"/>
              <a:gd name="connsiteX5596" fmla="*/ 9107257 w 9310410"/>
              <a:gd name="connsiteY5596" fmla="*/ 3726286 h 5296383"/>
              <a:gd name="connsiteX5597" fmla="*/ 9103661 w 9310410"/>
              <a:gd name="connsiteY5597" fmla="*/ 3729282 h 5296383"/>
              <a:gd name="connsiteX5598" fmla="*/ 9106058 w 9310410"/>
              <a:gd name="connsiteY5598" fmla="*/ 3737672 h 5296383"/>
              <a:gd name="connsiteX5599" fmla="*/ 9109055 w 9310410"/>
              <a:gd name="connsiteY5599" fmla="*/ 3741267 h 5296383"/>
              <a:gd name="connsiteX5600" fmla="*/ 9113250 w 9310410"/>
              <a:gd name="connsiteY5600" fmla="*/ 3737072 h 5296383"/>
              <a:gd name="connsiteX5601" fmla="*/ 9117445 w 9310410"/>
              <a:gd name="connsiteY5601" fmla="*/ 3737072 h 5296383"/>
              <a:gd name="connsiteX5602" fmla="*/ 9107856 w 9310410"/>
              <a:gd name="connsiteY5602" fmla="*/ 3757448 h 5296383"/>
              <a:gd name="connsiteX5603" fmla="*/ 9100665 w 9310410"/>
              <a:gd name="connsiteY5603" fmla="*/ 3777224 h 5296383"/>
              <a:gd name="connsiteX5604" fmla="*/ 9094073 w 9310410"/>
              <a:gd name="connsiteY5604" fmla="*/ 3802993 h 5296383"/>
              <a:gd name="connsiteX5605" fmla="*/ 9089878 w 9310410"/>
              <a:gd name="connsiteY5605" fmla="*/ 3826364 h 5296383"/>
              <a:gd name="connsiteX5606" fmla="*/ 9079690 w 9310410"/>
              <a:gd name="connsiteY5606" fmla="*/ 3847339 h 5296383"/>
              <a:gd name="connsiteX5607" fmla="*/ 9061113 w 9310410"/>
              <a:gd name="connsiteY5607" fmla="*/ 3889288 h 5296383"/>
              <a:gd name="connsiteX5608" fmla="*/ 9055719 w 9310410"/>
              <a:gd name="connsiteY5608" fmla="*/ 3912061 h 5296383"/>
              <a:gd name="connsiteX5609" fmla="*/ 9043734 w 9310410"/>
              <a:gd name="connsiteY5609" fmla="*/ 3924046 h 5296383"/>
              <a:gd name="connsiteX5610" fmla="*/ 9024557 w 9310410"/>
              <a:gd name="connsiteY5610" fmla="*/ 3977981 h 5296383"/>
              <a:gd name="connsiteX5611" fmla="*/ 9014969 w 9310410"/>
              <a:gd name="connsiteY5611" fmla="*/ 3995359 h 5296383"/>
              <a:gd name="connsiteX5612" fmla="*/ 8998788 w 9310410"/>
              <a:gd name="connsiteY5612" fmla="*/ 4012739 h 5296383"/>
              <a:gd name="connsiteX5613" fmla="*/ 8983207 w 9310410"/>
              <a:gd name="connsiteY5613" fmla="*/ 4041504 h 5296383"/>
              <a:gd name="connsiteX5614" fmla="*/ 8973020 w 9310410"/>
              <a:gd name="connsiteY5614" fmla="*/ 4052890 h 5296383"/>
              <a:gd name="connsiteX5615" fmla="*/ 8965229 w 9310410"/>
              <a:gd name="connsiteY5615" fmla="*/ 4060680 h 5296383"/>
              <a:gd name="connsiteX5616" fmla="*/ 8956839 w 9310410"/>
              <a:gd name="connsiteY5616" fmla="*/ 4072666 h 5296383"/>
              <a:gd name="connsiteX5617" fmla="*/ 8945453 w 9310410"/>
              <a:gd name="connsiteY5617" fmla="*/ 4096637 h 5296383"/>
              <a:gd name="connsiteX5618" fmla="*/ 8916089 w 9310410"/>
              <a:gd name="connsiteY5618" fmla="*/ 4122406 h 5296383"/>
              <a:gd name="connsiteX5619" fmla="*/ 8905901 w 9310410"/>
              <a:gd name="connsiteY5619" fmla="*/ 4136788 h 5296383"/>
              <a:gd name="connsiteX5620" fmla="*/ 8903504 w 9310410"/>
              <a:gd name="connsiteY5620" fmla="*/ 4144579 h 5296383"/>
              <a:gd name="connsiteX5621" fmla="*/ 8887922 w 9310410"/>
              <a:gd name="connsiteY5621" fmla="*/ 4143980 h 5296383"/>
              <a:gd name="connsiteX5622" fmla="*/ 8875937 w 9310410"/>
              <a:gd name="connsiteY5622" fmla="*/ 4140384 h 5296383"/>
              <a:gd name="connsiteX5623" fmla="*/ 8859158 w 9310410"/>
              <a:gd name="connsiteY5623" fmla="*/ 4145777 h 5296383"/>
              <a:gd name="connsiteX5624" fmla="*/ 8857360 w 9310410"/>
              <a:gd name="connsiteY5624" fmla="*/ 4141582 h 5296383"/>
              <a:gd name="connsiteX5625" fmla="*/ 8854962 w 9310410"/>
              <a:gd name="connsiteY5625" fmla="*/ 4138586 h 5296383"/>
              <a:gd name="connsiteX5626" fmla="*/ 8842977 w 9310410"/>
              <a:gd name="connsiteY5626" fmla="*/ 4138586 h 5296383"/>
              <a:gd name="connsiteX5627" fmla="*/ 8833988 w 9310410"/>
              <a:gd name="connsiteY5627" fmla="*/ 4142781 h 5296383"/>
              <a:gd name="connsiteX5628" fmla="*/ 8830991 w 9310410"/>
              <a:gd name="connsiteY5628" fmla="*/ 4152969 h 5296383"/>
              <a:gd name="connsiteX5629" fmla="*/ 8811216 w 9310410"/>
              <a:gd name="connsiteY5629" fmla="*/ 4165553 h 5296383"/>
              <a:gd name="connsiteX5630" fmla="*/ 8804024 w 9310410"/>
              <a:gd name="connsiteY5630" fmla="*/ 4170947 h 5296383"/>
              <a:gd name="connsiteX5631" fmla="*/ 8788443 w 9310410"/>
              <a:gd name="connsiteY5631" fmla="*/ 4178737 h 5296383"/>
              <a:gd name="connsiteX5632" fmla="*/ 8775259 w 9310410"/>
              <a:gd name="connsiteY5632" fmla="*/ 4182932 h 5296383"/>
              <a:gd name="connsiteX5633" fmla="*/ 8758479 w 9310410"/>
              <a:gd name="connsiteY5633" fmla="*/ 4193120 h 5296383"/>
              <a:gd name="connsiteX5634" fmla="*/ 8735707 w 9310410"/>
              <a:gd name="connsiteY5634" fmla="*/ 4211698 h 5296383"/>
              <a:gd name="connsiteX5635" fmla="*/ 8720726 w 9310410"/>
              <a:gd name="connsiteY5635" fmla="*/ 4224882 h 5296383"/>
              <a:gd name="connsiteX5636" fmla="*/ 8712935 w 9310410"/>
              <a:gd name="connsiteY5636" fmla="*/ 4229676 h 5296383"/>
              <a:gd name="connsiteX5637" fmla="*/ 8703946 w 9310410"/>
              <a:gd name="connsiteY5637" fmla="*/ 4227279 h 5296383"/>
              <a:gd name="connsiteX5638" fmla="*/ 8702147 w 9310410"/>
              <a:gd name="connsiteY5638" fmla="*/ 4232672 h 5296383"/>
              <a:gd name="connsiteX5639" fmla="*/ 8699151 w 9310410"/>
              <a:gd name="connsiteY5639" fmla="*/ 4242860 h 5296383"/>
              <a:gd name="connsiteX5640" fmla="*/ 8696755 w 9310410"/>
              <a:gd name="connsiteY5640" fmla="*/ 4247654 h 5296383"/>
              <a:gd name="connsiteX5641" fmla="*/ 8695556 w 9310410"/>
              <a:gd name="connsiteY5641" fmla="*/ 4256044 h 5296383"/>
              <a:gd name="connsiteX5642" fmla="*/ 8688365 w 9310410"/>
              <a:gd name="connsiteY5642" fmla="*/ 4262036 h 5296383"/>
              <a:gd name="connsiteX5643" fmla="*/ 8682971 w 9310410"/>
              <a:gd name="connsiteY5643" fmla="*/ 4274022 h 5296383"/>
              <a:gd name="connsiteX5644" fmla="*/ 8673982 w 9310410"/>
              <a:gd name="connsiteY5644" fmla="*/ 4293199 h 5296383"/>
              <a:gd name="connsiteX5645" fmla="*/ 8670386 w 9310410"/>
              <a:gd name="connsiteY5645" fmla="*/ 4305184 h 5296383"/>
              <a:gd name="connsiteX5646" fmla="*/ 8670985 w 9310410"/>
              <a:gd name="connsiteY5646" fmla="*/ 4309379 h 5296383"/>
              <a:gd name="connsiteX5647" fmla="*/ 8666791 w 9310410"/>
              <a:gd name="connsiteY5647" fmla="*/ 4315372 h 5296383"/>
              <a:gd name="connsiteX5648" fmla="*/ 8659000 w 9310410"/>
              <a:gd name="connsiteY5648" fmla="*/ 4334549 h 5296383"/>
              <a:gd name="connsiteX5649" fmla="*/ 8650011 w 9310410"/>
              <a:gd name="connsiteY5649" fmla="*/ 4354924 h 5296383"/>
              <a:gd name="connsiteX5650" fmla="*/ 8646415 w 9310410"/>
              <a:gd name="connsiteY5650" fmla="*/ 4356722 h 5296383"/>
              <a:gd name="connsiteX5651" fmla="*/ 8644018 w 9310410"/>
              <a:gd name="connsiteY5651" fmla="*/ 4356722 h 5296383"/>
              <a:gd name="connsiteX5652" fmla="*/ 8639824 w 9310410"/>
              <a:gd name="connsiteY5652" fmla="*/ 4362115 h 5296383"/>
              <a:gd name="connsiteX5653" fmla="*/ 8620646 w 9310410"/>
              <a:gd name="connsiteY5653" fmla="*/ 4378296 h 5296383"/>
              <a:gd name="connsiteX5654" fmla="*/ 8559521 w 9310410"/>
              <a:gd name="connsiteY5654" fmla="*/ 4455003 h 5296383"/>
              <a:gd name="connsiteX5655" fmla="*/ 8500792 w 9310410"/>
              <a:gd name="connsiteY5655" fmla="*/ 4496353 h 5296383"/>
              <a:gd name="connsiteX5656" fmla="*/ 8492402 w 9310410"/>
              <a:gd name="connsiteY5656" fmla="*/ 4496353 h 5296383"/>
              <a:gd name="connsiteX5657" fmla="*/ 8487009 w 9310410"/>
              <a:gd name="connsiteY5657" fmla="*/ 4502945 h 5296383"/>
              <a:gd name="connsiteX5658" fmla="*/ 8473225 w 9310410"/>
              <a:gd name="connsiteY5658" fmla="*/ 4523919 h 5296383"/>
              <a:gd name="connsiteX5659" fmla="*/ 8446857 w 9310410"/>
              <a:gd name="connsiteY5659" fmla="*/ 4552085 h 5296383"/>
              <a:gd name="connsiteX5660" fmla="*/ 8434871 w 9310410"/>
              <a:gd name="connsiteY5660" fmla="*/ 4558677 h 5296383"/>
              <a:gd name="connsiteX5661" fmla="*/ 8434871 w 9310410"/>
              <a:gd name="connsiteY5661" fmla="*/ 4558078 h 5296383"/>
              <a:gd name="connsiteX5662" fmla="*/ 8435471 w 9310410"/>
              <a:gd name="connsiteY5662" fmla="*/ 4559277 h 5296383"/>
              <a:gd name="connsiteX5663" fmla="*/ 8423485 w 9310410"/>
              <a:gd name="connsiteY5663" fmla="*/ 4569464 h 5296383"/>
              <a:gd name="connsiteX5664" fmla="*/ 8408503 w 9310410"/>
              <a:gd name="connsiteY5664" fmla="*/ 4583248 h 5296383"/>
              <a:gd name="connsiteX5665" fmla="*/ 8392323 w 9310410"/>
              <a:gd name="connsiteY5665" fmla="*/ 4593435 h 5296383"/>
              <a:gd name="connsiteX5666" fmla="*/ 8373147 w 9310410"/>
              <a:gd name="connsiteY5666" fmla="*/ 4597031 h 5296383"/>
              <a:gd name="connsiteX5667" fmla="*/ 8362360 w 9310410"/>
              <a:gd name="connsiteY5667" fmla="*/ 4593435 h 5296383"/>
              <a:gd name="connsiteX5668" fmla="*/ 8338988 w 9310410"/>
              <a:gd name="connsiteY5668" fmla="*/ 4575457 h 5296383"/>
              <a:gd name="connsiteX5669" fmla="*/ 8322808 w 9310410"/>
              <a:gd name="connsiteY5669" fmla="*/ 4567067 h 5296383"/>
              <a:gd name="connsiteX5670" fmla="*/ 8316216 w 9310410"/>
              <a:gd name="connsiteY5670" fmla="*/ 4552085 h 5296383"/>
              <a:gd name="connsiteX5671" fmla="*/ 8318013 w 9310410"/>
              <a:gd name="connsiteY5671" fmla="*/ 4540100 h 5296383"/>
              <a:gd name="connsiteX5672" fmla="*/ 8325804 w 9310410"/>
              <a:gd name="connsiteY5672" fmla="*/ 4525118 h 5296383"/>
              <a:gd name="connsiteX5673" fmla="*/ 8327601 w 9310410"/>
              <a:gd name="connsiteY5673" fmla="*/ 4514930 h 5296383"/>
              <a:gd name="connsiteX5674" fmla="*/ 8321609 w 9310410"/>
              <a:gd name="connsiteY5674" fmla="*/ 4526316 h 5296383"/>
              <a:gd name="connsiteX5675" fmla="*/ 8313819 w 9310410"/>
              <a:gd name="connsiteY5675" fmla="*/ 4539501 h 5296383"/>
              <a:gd name="connsiteX5676" fmla="*/ 8309623 w 9310410"/>
              <a:gd name="connsiteY5676" fmla="*/ 4547890 h 5296383"/>
              <a:gd name="connsiteX5677" fmla="*/ 8304230 w 9310410"/>
              <a:gd name="connsiteY5677" fmla="*/ 4562872 h 5296383"/>
              <a:gd name="connsiteX5678" fmla="*/ 8312620 w 9310410"/>
              <a:gd name="connsiteY5678" fmla="*/ 4590439 h 5296383"/>
              <a:gd name="connsiteX5679" fmla="*/ 8316216 w 9310410"/>
              <a:gd name="connsiteY5679" fmla="*/ 4602424 h 5296383"/>
              <a:gd name="connsiteX5680" fmla="*/ 8304830 w 9310410"/>
              <a:gd name="connsiteY5680" fmla="*/ 4616807 h 5296383"/>
              <a:gd name="connsiteX5681" fmla="*/ 8296440 w 9310410"/>
              <a:gd name="connsiteY5681" fmla="*/ 4629392 h 5296383"/>
              <a:gd name="connsiteX5682" fmla="*/ 8302432 w 9310410"/>
              <a:gd name="connsiteY5682" fmla="*/ 4645572 h 5296383"/>
              <a:gd name="connsiteX5683" fmla="*/ 8306028 w 9310410"/>
              <a:gd name="connsiteY5683" fmla="*/ 4651565 h 5296383"/>
              <a:gd name="connsiteX5684" fmla="*/ 8303631 w 9310410"/>
              <a:gd name="connsiteY5684" fmla="*/ 4659355 h 5296383"/>
              <a:gd name="connsiteX5685" fmla="*/ 8290447 w 9310410"/>
              <a:gd name="connsiteY5685" fmla="*/ 4677334 h 5296383"/>
              <a:gd name="connsiteX5686" fmla="*/ 8265877 w 9310410"/>
              <a:gd name="connsiteY5686" fmla="*/ 4698308 h 5296383"/>
              <a:gd name="connsiteX5687" fmla="*/ 8249097 w 9310410"/>
              <a:gd name="connsiteY5687" fmla="*/ 4713290 h 5296383"/>
              <a:gd name="connsiteX5688" fmla="*/ 8218534 w 9310410"/>
              <a:gd name="connsiteY5688" fmla="*/ 4727073 h 5296383"/>
              <a:gd name="connsiteX5689" fmla="*/ 8188570 w 9310410"/>
              <a:gd name="connsiteY5689" fmla="*/ 4731867 h 5296383"/>
              <a:gd name="connsiteX5690" fmla="*/ 8158007 w 9310410"/>
              <a:gd name="connsiteY5690" fmla="*/ 4731867 h 5296383"/>
              <a:gd name="connsiteX5691" fmla="*/ 8138231 w 9310410"/>
              <a:gd name="connsiteY5691" fmla="*/ 4726474 h 5296383"/>
              <a:gd name="connsiteX5692" fmla="*/ 8126246 w 9310410"/>
              <a:gd name="connsiteY5692" fmla="*/ 4724077 h 5296383"/>
              <a:gd name="connsiteX5693" fmla="*/ 8123848 w 9310410"/>
              <a:gd name="connsiteY5693" fmla="*/ 4736661 h 5296383"/>
              <a:gd name="connsiteX5694" fmla="*/ 8108267 w 9310410"/>
              <a:gd name="connsiteY5694" fmla="*/ 4754041 h 5296383"/>
              <a:gd name="connsiteX5695" fmla="*/ 8096881 w 9310410"/>
              <a:gd name="connsiteY5695" fmla="*/ 4773817 h 5296383"/>
              <a:gd name="connsiteX5696" fmla="*/ 8092686 w 9310410"/>
              <a:gd name="connsiteY5696" fmla="*/ 4784004 h 5296383"/>
              <a:gd name="connsiteX5697" fmla="*/ 8090289 w 9310410"/>
              <a:gd name="connsiteY5697" fmla="*/ 4791795 h 5296383"/>
              <a:gd name="connsiteX5698" fmla="*/ 8066318 w 9310410"/>
              <a:gd name="connsiteY5698" fmla="*/ 4796589 h 5296383"/>
              <a:gd name="connsiteX5699" fmla="*/ 8038752 w 9310410"/>
              <a:gd name="connsiteY5699" fmla="*/ 4785802 h 5296383"/>
              <a:gd name="connsiteX5700" fmla="*/ 8030362 w 9310410"/>
              <a:gd name="connsiteY5700" fmla="*/ 4782207 h 5296383"/>
              <a:gd name="connsiteX5701" fmla="*/ 8024968 w 9310410"/>
              <a:gd name="connsiteY5701" fmla="*/ 4781008 h 5296383"/>
              <a:gd name="connsiteX5702" fmla="*/ 8015979 w 9310410"/>
              <a:gd name="connsiteY5702" fmla="*/ 4799585 h 5296383"/>
              <a:gd name="connsiteX5703" fmla="*/ 8005792 w 9310410"/>
              <a:gd name="connsiteY5703" fmla="*/ 4821159 h 5296383"/>
              <a:gd name="connsiteX5704" fmla="*/ 8005193 w 9310410"/>
              <a:gd name="connsiteY5704" fmla="*/ 4833744 h 5296383"/>
              <a:gd name="connsiteX5705" fmla="*/ 8009986 w 9310410"/>
              <a:gd name="connsiteY5705" fmla="*/ 4841534 h 5296383"/>
              <a:gd name="connsiteX5706" fmla="*/ 8014182 w 9310410"/>
              <a:gd name="connsiteY5706" fmla="*/ 4844531 h 5296383"/>
              <a:gd name="connsiteX5707" fmla="*/ 8016579 w 9310410"/>
              <a:gd name="connsiteY5707" fmla="*/ 4836740 h 5296383"/>
              <a:gd name="connsiteX5708" fmla="*/ 8023171 w 9310410"/>
              <a:gd name="connsiteY5708" fmla="*/ 4833744 h 5296383"/>
              <a:gd name="connsiteX5709" fmla="*/ 8029763 w 9310410"/>
              <a:gd name="connsiteY5709" fmla="*/ 4836141 h 5296383"/>
              <a:gd name="connsiteX5710" fmla="*/ 8026167 w 9310410"/>
              <a:gd name="connsiteY5710" fmla="*/ 4845729 h 5296383"/>
              <a:gd name="connsiteX5711" fmla="*/ 8018376 w 9310410"/>
              <a:gd name="connsiteY5711" fmla="*/ 4860112 h 5296383"/>
              <a:gd name="connsiteX5712" fmla="*/ 8003394 w 9310410"/>
              <a:gd name="connsiteY5712" fmla="*/ 4854719 h 5296383"/>
              <a:gd name="connsiteX5713" fmla="*/ 7993806 w 9310410"/>
              <a:gd name="connsiteY5713" fmla="*/ 4849924 h 5296383"/>
              <a:gd name="connsiteX5714" fmla="*/ 7996203 w 9310410"/>
              <a:gd name="connsiteY5714" fmla="*/ 4861310 h 5296383"/>
              <a:gd name="connsiteX5715" fmla="*/ 7987214 w 9310410"/>
              <a:gd name="connsiteY5715" fmla="*/ 4868502 h 5296383"/>
              <a:gd name="connsiteX5716" fmla="*/ 7957251 w 9310410"/>
              <a:gd name="connsiteY5716" fmla="*/ 4889476 h 5296383"/>
              <a:gd name="connsiteX5717" fmla="*/ 7951258 w 9310410"/>
              <a:gd name="connsiteY5717" fmla="*/ 4903859 h 5296383"/>
              <a:gd name="connsiteX5718" fmla="*/ 7947063 w 9310410"/>
              <a:gd name="connsiteY5718" fmla="*/ 4911050 h 5296383"/>
              <a:gd name="connsiteX5719" fmla="*/ 7943467 w 9310410"/>
              <a:gd name="connsiteY5719" fmla="*/ 4918241 h 5296383"/>
              <a:gd name="connsiteX5720" fmla="*/ 7937474 w 9310410"/>
              <a:gd name="connsiteY5720" fmla="*/ 4920639 h 5296383"/>
              <a:gd name="connsiteX5721" fmla="*/ 7932081 w 9310410"/>
              <a:gd name="connsiteY5721" fmla="*/ 4926631 h 5296383"/>
              <a:gd name="connsiteX5722" fmla="*/ 7920695 w 9310410"/>
              <a:gd name="connsiteY5722" fmla="*/ 4930826 h 5296383"/>
              <a:gd name="connsiteX5723" fmla="*/ 7908110 w 9310410"/>
              <a:gd name="connsiteY5723" fmla="*/ 4935021 h 5296383"/>
              <a:gd name="connsiteX5724" fmla="*/ 7899121 w 9310410"/>
              <a:gd name="connsiteY5724" fmla="*/ 4936819 h 5296383"/>
              <a:gd name="connsiteX5725" fmla="*/ 7859569 w 9310410"/>
              <a:gd name="connsiteY5725" fmla="*/ 4966183 h 5296383"/>
              <a:gd name="connsiteX5726" fmla="*/ 7854775 w 9310410"/>
              <a:gd name="connsiteY5726" fmla="*/ 4994949 h 5296383"/>
              <a:gd name="connsiteX5727" fmla="*/ 7857771 w 9310410"/>
              <a:gd name="connsiteY5727" fmla="*/ 5002739 h 5296383"/>
              <a:gd name="connsiteX5728" fmla="*/ 7865561 w 9310410"/>
              <a:gd name="connsiteY5728" fmla="*/ 5006335 h 5296383"/>
              <a:gd name="connsiteX5729" fmla="*/ 7869757 w 9310410"/>
              <a:gd name="connsiteY5729" fmla="*/ 5016523 h 5296383"/>
              <a:gd name="connsiteX5730" fmla="*/ 7855374 w 9310410"/>
              <a:gd name="connsiteY5730" fmla="*/ 5032703 h 5296383"/>
              <a:gd name="connsiteX5731" fmla="*/ 7852977 w 9310410"/>
              <a:gd name="connsiteY5731" fmla="*/ 5036898 h 5296383"/>
              <a:gd name="connsiteX5732" fmla="*/ 7851779 w 9310410"/>
              <a:gd name="connsiteY5732" fmla="*/ 5041093 h 5296383"/>
              <a:gd name="connsiteX5733" fmla="*/ 7846385 w 9310410"/>
              <a:gd name="connsiteY5733" fmla="*/ 5044688 h 5296383"/>
              <a:gd name="connsiteX5734" fmla="*/ 7840392 w 9310410"/>
              <a:gd name="connsiteY5734" fmla="*/ 5047685 h 5296383"/>
              <a:gd name="connsiteX5735" fmla="*/ 7832601 w 9310410"/>
              <a:gd name="connsiteY5735" fmla="*/ 5051280 h 5296383"/>
              <a:gd name="connsiteX5736" fmla="*/ 7814623 w 9310410"/>
              <a:gd name="connsiteY5736" fmla="*/ 5056674 h 5296383"/>
              <a:gd name="connsiteX5737" fmla="*/ 7801439 w 9310410"/>
              <a:gd name="connsiteY5737" fmla="*/ 5063266 h 5296383"/>
              <a:gd name="connsiteX5738" fmla="*/ 7788255 w 9310410"/>
              <a:gd name="connsiteY5738" fmla="*/ 5070457 h 5296383"/>
              <a:gd name="connsiteX5739" fmla="*/ 7783461 w 9310410"/>
              <a:gd name="connsiteY5739" fmla="*/ 5077649 h 5296383"/>
              <a:gd name="connsiteX5740" fmla="*/ 7784659 w 9310410"/>
              <a:gd name="connsiteY5740" fmla="*/ 5081244 h 5296383"/>
              <a:gd name="connsiteX5741" fmla="*/ 7768479 w 9310410"/>
              <a:gd name="connsiteY5741" fmla="*/ 5094428 h 5296383"/>
              <a:gd name="connsiteX5742" fmla="*/ 7748703 w 9310410"/>
              <a:gd name="connsiteY5742" fmla="*/ 5096226 h 5296383"/>
              <a:gd name="connsiteX5743" fmla="*/ 7745108 w 9310410"/>
              <a:gd name="connsiteY5743" fmla="*/ 5099822 h 5296383"/>
              <a:gd name="connsiteX5744" fmla="*/ 7734320 w 9310410"/>
              <a:gd name="connsiteY5744" fmla="*/ 5109410 h 5296383"/>
              <a:gd name="connsiteX5745" fmla="*/ 7718140 w 9310410"/>
              <a:gd name="connsiteY5745" fmla="*/ 5121395 h 5296383"/>
              <a:gd name="connsiteX5746" fmla="*/ 7707353 w 9310410"/>
              <a:gd name="connsiteY5746" fmla="*/ 5127987 h 5296383"/>
              <a:gd name="connsiteX5747" fmla="*/ 7706754 w 9310410"/>
              <a:gd name="connsiteY5747" fmla="*/ 5132182 h 5296383"/>
              <a:gd name="connsiteX5748" fmla="*/ 7708552 w 9310410"/>
              <a:gd name="connsiteY5748" fmla="*/ 5135179 h 5296383"/>
              <a:gd name="connsiteX5749" fmla="*/ 7705556 w 9310410"/>
              <a:gd name="connsiteY5749" fmla="*/ 5144168 h 5296383"/>
              <a:gd name="connsiteX5750" fmla="*/ 7699563 w 9310410"/>
              <a:gd name="connsiteY5750" fmla="*/ 5150760 h 5296383"/>
              <a:gd name="connsiteX5751" fmla="*/ 7683382 w 9310410"/>
              <a:gd name="connsiteY5751" fmla="*/ 5151359 h 5296383"/>
              <a:gd name="connsiteX5752" fmla="*/ 7691772 w 9310410"/>
              <a:gd name="connsiteY5752" fmla="*/ 5154356 h 5296383"/>
              <a:gd name="connsiteX5753" fmla="*/ 7695368 w 9310410"/>
              <a:gd name="connsiteY5753" fmla="*/ 5163345 h 5296383"/>
              <a:gd name="connsiteX5754" fmla="*/ 7695368 w 9310410"/>
              <a:gd name="connsiteY5754" fmla="*/ 5175330 h 5296383"/>
              <a:gd name="connsiteX5755" fmla="*/ 7695368 w 9310410"/>
              <a:gd name="connsiteY5755" fmla="*/ 5181922 h 5296383"/>
              <a:gd name="connsiteX5756" fmla="*/ 7694768 w 9310410"/>
              <a:gd name="connsiteY5756" fmla="*/ 5180724 h 5296383"/>
              <a:gd name="connsiteX5757" fmla="*/ 7694768 w 9310410"/>
              <a:gd name="connsiteY5757" fmla="*/ 5181922 h 5296383"/>
              <a:gd name="connsiteX5758" fmla="*/ 7695967 w 9310410"/>
              <a:gd name="connsiteY5758" fmla="*/ 5181323 h 5296383"/>
              <a:gd name="connsiteX5759" fmla="*/ 7696566 w 9310410"/>
              <a:gd name="connsiteY5759" fmla="*/ 5181922 h 5296383"/>
              <a:gd name="connsiteX5760" fmla="*/ 7694768 w 9310410"/>
              <a:gd name="connsiteY5760" fmla="*/ 5181922 h 5296383"/>
              <a:gd name="connsiteX5761" fmla="*/ 7693570 w 9310410"/>
              <a:gd name="connsiteY5761" fmla="*/ 5181922 h 5296383"/>
              <a:gd name="connsiteX5762" fmla="*/ 7685779 w 9310410"/>
              <a:gd name="connsiteY5762" fmla="*/ 5177727 h 5296383"/>
              <a:gd name="connsiteX5763" fmla="*/ 7673794 w 9310410"/>
              <a:gd name="connsiteY5763" fmla="*/ 5175929 h 5296383"/>
              <a:gd name="connsiteX5764" fmla="*/ 7664805 w 9310410"/>
              <a:gd name="connsiteY5764" fmla="*/ 5178926 h 5296383"/>
              <a:gd name="connsiteX5765" fmla="*/ 7654018 w 9310410"/>
              <a:gd name="connsiteY5765" fmla="*/ 5178326 h 5296383"/>
              <a:gd name="connsiteX5766" fmla="*/ 7643830 w 9310410"/>
              <a:gd name="connsiteY5766" fmla="*/ 5178926 h 5296383"/>
              <a:gd name="connsiteX5767" fmla="*/ 7630646 w 9310410"/>
              <a:gd name="connsiteY5767" fmla="*/ 5187915 h 5296383"/>
              <a:gd name="connsiteX5768" fmla="*/ 7612668 w 9310410"/>
              <a:gd name="connsiteY5768" fmla="*/ 5213684 h 5296383"/>
              <a:gd name="connsiteX5769" fmla="*/ 7589296 w 9310410"/>
              <a:gd name="connsiteY5769" fmla="*/ 5219077 h 5296383"/>
              <a:gd name="connsiteX5770" fmla="*/ 7585102 w 9310410"/>
              <a:gd name="connsiteY5770" fmla="*/ 5202897 h 5296383"/>
              <a:gd name="connsiteX5771" fmla="*/ 7590495 w 9310410"/>
              <a:gd name="connsiteY5771" fmla="*/ 5202297 h 5296383"/>
              <a:gd name="connsiteX5772" fmla="*/ 7593491 w 9310410"/>
              <a:gd name="connsiteY5772" fmla="*/ 5201698 h 5296383"/>
              <a:gd name="connsiteX5773" fmla="*/ 7597686 w 9310410"/>
              <a:gd name="connsiteY5773" fmla="*/ 5197503 h 5296383"/>
              <a:gd name="connsiteX5774" fmla="*/ 7594690 w 9310410"/>
              <a:gd name="connsiteY5774" fmla="*/ 5205294 h 5296383"/>
              <a:gd name="connsiteX5775" fmla="*/ 7594091 w 9310410"/>
              <a:gd name="connsiteY5775" fmla="*/ 5211886 h 5296383"/>
              <a:gd name="connsiteX5776" fmla="*/ 7602480 w 9310410"/>
              <a:gd name="connsiteY5776" fmla="*/ 5198702 h 5296383"/>
              <a:gd name="connsiteX5777" fmla="*/ 7613267 w 9310410"/>
              <a:gd name="connsiteY5777" fmla="*/ 5192709 h 5296383"/>
              <a:gd name="connsiteX5778" fmla="*/ 7621657 w 9310410"/>
              <a:gd name="connsiteY5778" fmla="*/ 5180724 h 5296383"/>
              <a:gd name="connsiteX5779" fmla="*/ 7621657 w 9310410"/>
              <a:gd name="connsiteY5779" fmla="*/ 5171735 h 5296383"/>
              <a:gd name="connsiteX5780" fmla="*/ 7611469 w 9310410"/>
              <a:gd name="connsiteY5780" fmla="*/ 5169936 h 5296383"/>
              <a:gd name="connsiteX5781" fmla="*/ 7603080 w 9310410"/>
              <a:gd name="connsiteY5781" fmla="*/ 5169337 h 5296383"/>
              <a:gd name="connsiteX5782" fmla="*/ 7592892 w 9310410"/>
              <a:gd name="connsiteY5782" fmla="*/ 5168738 h 5296383"/>
              <a:gd name="connsiteX5783" fmla="*/ 7592293 w 9310410"/>
              <a:gd name="connsiteY5783" fmla="*/ 5174731 h 5296383"/>
              <a:gd name="connsiteX5784" fmla="*/ 7586300 w 9310410"/>
              <a:gd name="connsiteY5784" fmla="*/ 5181922 h 5296383"/>
              <a:gd name="connsiteX5785" fmla="*/ 7576712 w 9310410"/>
              <a:gd name="connsiteY5785" fmla="*/ 5184918 h 5296383"/>
              <a:gd name="connsiteX5786" fmla="*/ 7577311 w 9310410"/>
              <a:gd name="connsiteY5786" fmla="*/ 5179525 h 5296383"/>
              <a:gd name="connsiteX5787" fmla="*/ 7582704 w 9310410"/>
              <a:gd name="connsiteY5787" fmla="*/ 5169337 h 5296383"/>
              <a:gd name="connsiteX5788" fmla="*/ 7588098 w 9310410"/>
              <a:gd name="connsiteY5788" fmla="*/ 5162745 h 5296383"/>
              <a:gd name="connsiteX5789" fmla="*/ 7590495 w 9310410"/>
              <a:gd name="connsiteY5789" fmla="*/ 5151359 h 5296383"/>
              <a:gd name="connsiteX5790" fmla="*/ 7594690 w 9310410"/>
              <a:gd name="connsiteY5790" fmla="*/ 5152558 h 5296383"/>
              <a:gd name="connsiteX5791" fmla="*/ 7597087 w 9310410"/>
              <a:gd name="connsiteY5791" fmla="*/ 5155554 h 5296383"/>
              <a:gd name="connsiteX5792" fmla="*/ 7604877 w 9310410"/>
              <a:gd name="connsiteY5792" fmla="*/ 5152558 h 5296383"/>
              <a:gd name="connsiteX5793" fmla="*/ 7610271 w 9310410"/>
              <a:gd name="connsiteY5793" fmla="*/ 5153756 h 5296383"/>
              <a:gd name="connsiteX5794" fmla="*/ 7613866 w 9310410"/>
              <a:gd name="connsiteY5794" fmla="*/ 5151359 h 5296383"/>
              <a:gd name="connsiteX5795" fmla="*/ 7609672 w 9310410"/>
              <a:gd name="connsiteY5795" fmla="*/ 5161547 h 5296383"/>
              <a:gd name="connsiteX5796" fmla="*/ 7613866 w 9310410"/>
              <a:gd name="connsiteY5796" fmla="*/ 5162745 h 5296383"/>
              <a:gd name="connsiteX5797" fmla="*/ 7620458 w 9310410"/>
              <a:gd name="connsiteY5797" fmla="*/ 5156153 h 5296383"/>
              <a:gd name="connsiteX5798" fmla="*/ 7622856 w 9310410"/>
              <a:gd name="connsiteY5798" fmla="*/ 5146565 h 5296383"/>
              <a:gd name="connsiteX5799" fmla="*/ 7625253 w 9310410"/>
              <a:gd name="connsiteY5799" fmla="*/ 5129186 h 5296383"/>
              <a:gd name="connsiteX5800" fmla="*/ 7619859 w 9310410"/>
              <a:gd name="connsiteY5800" fmla="*/ 5128587 h 5296383"/>
              <a:gd name="connsiteX5801" fmla="*/ 7615665 w 9310410"/>
              <a:gd name="connsiteY5801" fmla="*/ 5133980 h 5296383"/>
              <a:gd name="connsiteX5802" fmla="*/ 7612668 w 9310410"/>
              <a:gd name="connsiteY5802" fmla="*/ 5138175 h 5296383"/>
              <a:gd name="connsiteX5803" fmla="*/ 7607874 w 9310410"/>
              <a:gd name="connsiteY5803" fmla="*/ 5145366 h 5296383"/>
              <a:gd name="connsiteX5804" fmla="*/ 7607275 w 9310410"/>
              <a:gd name="connsiteY5804" fmla="*/ 5139973 h 5296383"/>
              <a:gd name="connsiteX5805" fmla="*/ 7604877 w 9310410"/>
              <a:gd name="connsiteY5805" fmla="*/ 5138175 h 5296383"/>
              <a:gd name="connsiteX5806" fmla="*/ 7598885 w 9310410"/>
              <a:gd name="connsiteY5806" fmla="*/ 5149561 h 5296383"/>
              <a:gd name="connsiteX5807" fmla="*/ 7598885 w 9310410"/>
              <a:gd name="connsiteY5807" fmla="*/ 5142969 h 5296383"/>
              <a:gd name="connsiteX5808" fmla="*/ 7600084 w 9310410"/>
              <a:gd name="connsiteY5808" fmla="*/ 5132182 h 5296383"/>
              <a:gd name="connsiteX5809" fmla="*/ 7604877 w 9310410"/>
              <a:gd name="connsiteY5809" fmla="*/ 5129785 h 5296383"/>
              <a:gd name="connsiteX5810" fmla="*/ 7607874 w 9310410"/>
              <a:gd name="connsiteY5810" fmla="*/ 5131583 h 5296383"/>
              <a:gd name="connsiteX5811" fmla="*/ 7607275 w 9310410"/>
              <a:gd name="connsiteY5811" fmla="*/ 5121995 h 5296383"/>
              <a:gd name="connsiteX5812" fmla="*/ 7610271 w 9310410"/>
              <a:gd name="connsiteY5812" fmla="*/ 5110009 h 5296383"/>
              <a:gd name="connsiteX5813" fmla="*/ 7619859 w 9310410"/>
              <a:gd name="connsiteY5813" fmla="*/ 5104616 h 5296383"/>
              <a:gd name="connsiteX5814" fmla="*/ 7628249 w 9310410"/>
              <a:gd name="connsiteY5814" fmla="*/ 5101619 h 5296383"/>
              <a:gd name="connsiteX5815" fmla="*/ 7627650 w 9310410"/>
              <a:gd name="connsiteY5815" fmla="*/ 5096825 h 5296383"/>
              <a:gd name="connsiteX5816" fmla="*/ 7624654 w 9310410"/>
              <a:gd name="connsiteY5816" fmla="*/ 5094428 h 5296383"/>
              <a:gd name="connsiteX5817" fmla="*/ 7628848 w 9310410"/>
              <a:gd name="connsiteY5817" fmla="*/ 5089035 h 5296383"/>
              <a:gd name="connsiteX5818" fmla="*/ 7629447 w 9310410"/>
              <a:gd name="connsiteY5818" fmla="*/ 5078847 h 5296383"/>
              <a:gd name="connsiteX5819" fmla="*/ 7639036 w 9310410"/>
              <a:gd name="connsiteY5819" fmla="*/ 5062067 h 5296383"/>
              <a:gd name="connsiteX5820" fmla="*/ 7649224 w 9310410"/>
              <a:gd name="connsiteY5820" fmla="*/ 5056674 h 5296383"/>
              <a:gd name="connsiteX5821" fmla="*/ 7653418 w 9310410"/>
              <a:gd name="connsiteY5821" fmla="*/ 5054277 h 5296383"/>
              <a:gd name="connsiteX5822" fmla="*/ 7657614 w 9310410"/>
              <a:gd name="connsiteY5822" fmla="*/ 5045887 h 5296383"/>
              <a:gd name="connsiteX5823" fmla="*/ 7654018 w 9310410"/>
              <a:gd name="connsiteY5823" fmla="*/ 5042891 h 5296383"/>
              <a:gd name="connsiteX5824" fmla="*/ 7648625 w 9310410"/>
              <a:gd name="connsiteY5824" fmla="*/ 5047085 h 5296383"/>
              <a:gd name="connsiteX5825" fmla="*/ 7657015 w 9310410"/>
              <a:gd name="connsiteY5825" fmla="*/ 5033302 h 5296383"/>
              <a:gd name="connsiteX5826" fmla="*/ 7670198 w 9310410"/>
              <a:gd name="connsiteY5826" fmla="*/ 5020118 h 5296383"/>
              <a:gd name="connsiteX5827" fmla="*/ 7672596 w 9310410"/>
              <a:gd name="connsiteY5827" fmla="*/ 5015324 h 5296383"/>
              <a:gd name="connsiteX5828" fmla="*/ 7667202 w 9310410"/>
              <a:gd name="connsiteY5828" fmla="*/ 5003338 h 5296383"/>
              <a:gd name="connsiteX5829" fmla="*/ 7671397 w 9310410"/>
              <a:gd name="connsiteY5829" fmla="*/ 5005736 h 5296383"/>
              <a:gd name="connsiteX5830" fmla="*/ 7675592 w 9310410"/>
              <a:gd name="connsiteY5830" fmla="*/ 5007533 h 5296383"/>
              <a:gd name="connsiteX5831" fmla="*/ 7686978 w 9310410"/>
              <a:gd name="connsiteY5831" fmla="*/ 5011728 h 5296383"/>
              <a:gd name="connsiteX5832" fmla="*/ 7690574 w 9310410"/>
              <a:gd name="connsiteY5832" fmla="*/ 5009331 h 5296383"/>
              <a:gd name="connsiteX5833" fmla="*/ 7694768 w 9310410"/>
              <a:gd name="connsiteY5833" fmla="*/ 5003938 h 5296383"/>
              <a:gd name="connsiteX5834" fmla="*/ 7698964 w 9310410"/>
              <a:gd name="connsiteY5834" fmla="*/ 5000942 h 5296383"/>
              <a:gd name="connsiteX5835" fmla="*/ 7680986 w 9310410"/>
              <a:gd name="connsiteY5835" fmla="*/ 4992552 h 5296383"/>
              <a:gd name="connsiteX5836" fmla="*/ 7689375 w 9310410"/>
              <a:gd name="connsiteY5836" fmla="*/ 4988357 h 5296383"/>
              <a:gd name="connsiteX5837" fmla="*/ 7687577 w 9310410"/>
              <a:gd name="connsiteY5837" fmla="*/ 4983562 h 5296383"/>
              <a:gd name="connsiteX5838" fmla="*/ 7691173 w 9310410"/>
              <a:gd name="connsiteY5838" fmla="*/ 4976971 h 5296383"/>
              <a:gd name="connsiteX5839" fmla="*/ 7699563 w 9310410"/>
              <a:gd name="connsiteY5839" fmla="*/ 4975772 h 5296383"/>
              <a:gd name="connsiteX5840" fmla="*/ 7704357 w 9310410"/>
              <a:gd name="connsiteY5840" fmla="*/ 4968581 h 5296383"/>
              <a:gd name="connsiteX5841" fmla="*/ 7703757 w 9310410"/>
              <a:gd name="connsiteY5841" fmla="*/ 4961989 h 5296383"/>
              <a:gd name="connsiteX5842" fmla="*/ 7701360 w 9310410"/>
              <a:gd name="connsiteY5842" fmla="*/ 4956595 h 5296383"/>
              <a:gd name="connsiteX5843" fmla="*/ 7697765 w 9310410"/>
              <a:gd name="connsiteY5843" fmla="*/ 4949404 h 5296383"/>
              <a:gd name="connsiteX5844" fmla="*/ 7693570 w 9310410"/>
              <a:gd name="connsiteY5844" fmla="*/ 4946407 h 5296383"/>
              <a:gd name="connsiteX5845" fmla="*/ 7685180 w 9310410"/>
              <a:gd name="connsiteY5845" fmla="*/ 4948805 h 5296383"/>
              <a:gd name="connsiteX5846" fmla="*/ 7678588 w 9310410"/>
              <a:gd name="connsiteY5846" fmla="*/ 4956595 h 5296383"/>
              <a:gd name="connsiteX5847" fmla="*/ 7673794 w 9310410"/>
              <a:gd name="connsiteY5847" fmla="*/ 4957794 h 5296383"/>
              <a:gd name="connsiteX5848" fmla="*/ 7678588 w 9310410"/>
              <a:gd name="connsiteY5848" fmla="*/ 4945209 h 5296383"/>
              <a:gd name="connsiteX5849" fmla="*/ 7687577 w 9310410"/>
              <a:gd name="connsiteY5849" fmla="*/ 4939816 h 5296383"/>
              <a:gd name="connsiteX5850" fmla="*/ 7700761 w 9310410"/>
              <a:gd name="connsiteY5850" fmla="*/ 4937418 h 5296383"/>
              <a:gd name="connsiteX5851" fmla="*/ 7705556 w 9310410"/>
              <a:gd name="connsiteY5851" fmla="*/ 4931426 h 5296383"/>
              <a:gd name="connsiteX5852" fmla="*/ 7702559 w 9310410"/>
              <a:gd name="connsiteY5852" fmla="*/ 4926032 h 5296383"/>
              <a:gd name="connsiteX5853" fmla="*/ 7717541 w 9310410"/>
              <a:gd name="connsiteY5853" fmla="*/ 4920639 h 5296383"/>
              <a:gd name="connsiteX5854" fmla="*/ 7724133 w 9310410"/>
              <a:gd name="connsiteY5854" fmla="*/ 4929029 h 5296383"/>
              <a:gd name="connsiteX5855" fmla="*/ 7713946 w 9310410"/>
              <a:gd name="connsiteY5855" fmla="*/ 4939816 h 5296383"/>
              <a:gd name="connsiteX5856" fmla="*/ 7721137 w 9310410"/>
              <a:gd name="connsiteY5856" fmla="*/ 4938018 h 5296383"/>
              <a:gd name="connsiteX5857" fmla="*/ 7725331 w 9310410"/>
              <a:gd name="connsiteY5857" fmla="*/ 4938617 h 5296383"/>
              <a:gd name="connsiteX5858" fmla="*/ 7715144 w 9310410"/>
              <a:gd name="connsiteY5858" fmla="*/ 4948805 h 5296383"/>
              <a:gd name="connsiteX5859" fmla="*/ 7718739 w 9310410"/>
              <a:gd name="connsiteY5859" fmla="*/ 4952400 h 5296383"/>
              <a:gd name="connsiteX5860" fmla="*/ 7724133 w 9310410"/>
              <a:gd name="connsiteY5860" fmla="*/ 4950003 h 5296383"/>
              <a:gd name="connsiteX5861" fmla="*/ 7734320 w 9310410"/>
              <a:gd name="connsiteY5861" fmla="*/ 4942812 h 5296383"/>
              <a:gd name="connsiteX5862" fmla="*/ 7736118 w 9310410"/>
              <a:gd name="connsiteY5862" fmla="*/ 4938617 h 5296383"/>
              <a:gd name="connsiteX5863" fmla="*/ 7734920 w 9310410"/>
              <a:gd name="connsiteY5863" fmla="*/ 4934422 h 5296383"/>
              <a:gd name="connsiteX5864" fmla="*/ 7743909 w 9310410"/>
              <a:gd name="connsiteY5864" fmla="*/ 4924834 h 5296383"/>
              <a:gd name="connsiteX5865" fmla="*/ 7748104 w 9310410"/>
              <a:gd name="connsiteY5865" fmla="*/ 4919440 h 5296383"/>
              <a:gd name="connsiteX5866" fmla="*/ 7753498 w 9310410"/>
              <a:gd name="connsiteY5866" fmla="*/ 4912848 h 5296383"/>
              <a:gd name="connsiteX5867" fmla="*/ 7757692 w 9310410"/>
              <a:gd name="connsiteY5867" fmla="*/ 4909852 h 5296383"/>
              <a:gd name="connsiteX5868" fmla="*/ 7758291 w 9310410"/>
              <a:gd name="connsiteY5868" fmla="*/ 4902660 h 5296383"/>
              <a:gd name="connsiteX5869" fmla="*/ 7779266 w 9310410"/>
              <a:gd name="connsiteY5869" fmla="*/ 4894270 h 5296383"/>
              <a:gd name="connsiteX5870" fmla="*/ 7789454 w 9310410"/>
              <a:gd name="connsiteY5870" fmla="*/ 4888877 h 5296383"/>
              <a:gd name="connsiteX5871" fmla="*/ 7793049 w 9310410"/>
              <a:gd name="connsiteY5871" fmla="*/ 4882285 h 5296383"/>
              <a:gd name="connsiteX5872" fmla="*/ 7791851 w 9310410"/>
              <a:gd name="connsiteY5872" fmla="*/ 4876292 h 5296383"/>
              <a:gd name="connsiteX5873" fmla="*/ 7783461 w 9310410"/>
              <a:gd name="connsiteY5873" fmla="*/ 4871498 h 5296383"/>
              <a:gd name="connsiteX5874" fmla="*/ 7793049 w 9310410"/>
              <a:gd name="connsiteY5874" fmla="*/ 4859513 h 5296383"/>
              <a:gd name="connsiteX5875" fmla="*/ 7798443 w 9310410"/>
              <a:gd name="connsiteY5875" fmla="*/ 4854119 h 5296383"/>
              <a:gd name="connsiteX5876" fmla="*/ 7800240 w 9310410"/>
              <a:gd name="connsiteY5876" fmla="*/ 4845729 h 5296383"/>
              <a:gd name="connsiteX5877" fmla="*/ 7805634 w 9310410"/>
              <a:gd name="connsiteY5877" fmla="*/ 4838538 h 5296383"/>
              <a:gd name="connsiteX5878" fmla="*/ 7818219 w 9310410"/>
              <a:gd name="connsiteY5878" fmla="*/ 4821758 h 5296383"/>
              <a:gd name="connsiteX5879" fmla="*/ 7827208 w 9310410"/>
              <a:gd name="connsiteY5879" fmla="*/ 4811571 h 5296383"/>
              <a:gd name="connsiteX5880" fmla="*/ 7830204 w 9310410"/>
              <a:gd name="connsiteY5880" fmla="*/ 4804979 h 5296383"/>
              <a:gd name="connsiteX5881" fmla="*/ 7834999 w 9310410"/>
              <a:gd name="connsiteY5881" fmla="*/ 4805578 h 5296383"/>
              <a:gd name="connsiteX5882" fmla="*/ 7839193 w 9310410"/>
              <a:gd name="connsiteY5882" fmla="*/ 4801383 h 5296383"/>
              <a:gd name="connsiteX5883" fmla="*/ 7840991 w 9310410"/>
              <a:gd name="connsiteY5883" fmla="*/ 4791196 h 5296383"/>
              <a:gd name="connsiteX5884" fmla="*/ 7845186 w 9310410"/>
              <a:gd name="connsiteY5884" fmla="*/ 4784603 h 5296383"/>
              <a:gd name="connsiteX5885" fmla="*/ 7852977 w 9310410"/>
              <a:gd name="connsiteY5885" fmla="*/ 4781008 h 5296383"/>
              <a:gd name="connsiteX5886" fmla="*/ 7851779 w 9310410"/>
              <a:gd name="connsiteY5886" fmla="*/ 4776813 h 5296383"/>
              <a:gd name="connsiteX5887" fmla="*/ 7846984 w 9310410"/>
              <a:gd name="connsiteY5887" fmla="*/ 4773817 h 5296383"/>
              <a:gd name="connsiteX5888" fmla="*/ 7838594 w 9310410"/>
              <a:gd name="connsiteY5888" fmla="*/ 4778012 h 5296383"/>
              <a:gd name="connsiteX5889" fmla="*/ 7825410 w 9310410"/>
              <a:gd name="connsiteY5889" fmla="*/ 4779809 h 5296383"/>
              <a:gd name="connsiteX5890" fmla="*/ 7826010 w 9310410"/>
              <a:gd name="connsiteY5890" fmla="*/ 4772618 h 5296383"/>
              <a:gd name="connsiteX5891" fmla="*/ 7827208 w 9310410"/>
              <a:gd name="connsiteY5891" fmla="*/ 4764827 h 5296383"/>
              <a:gd name="connsiteX5892" fmla="*/ 7840392 w 9310410"/>
              <a:gd name="connsiteY5892" fmla="*/ 4741456 h 5296383"/>
              <a:gd name="connsiteX5893" fmla="*/ 7851779 w 9310410"/>
              <a:gd name="connsiteY5893" fmla="*/ 4724077 h 5296383"/>
              <a:gd name="connsiteX5894" fmla="*/ 7862565 w 9310410"/>
              <a:gd name="connsiteY5894" fmla="*/ 4707297 h 5296383"/>
              <a:gd name="connsiteX5895" fmla="*/ 7874551 w 9310410"/>
              <a:gd name="connsiteY5895" fmla="*/ 4695911 h 5296383"/>
              <a:gd name="connsiteX5896" fmla="*/ 7884739 w 9310410"/>
              <a:gd name="connsiteY5896" fmla="*/ 4672539 h 5296383"/>
              <a:gd name="connsiteX5897" fmla="*/ 7894327 w 9310410"/>
              <a:gd name="connsiteY5897" fmla="*/ 4649767 h 5296383"/>
              <a:gd name="connsiteX5898" fmla="*/ 7909309 w 9310410"/>
              <a:gd name="connsiteY5898" fmla="*/ 4614410 h 5296383"/>
              <a:gd name="connsiteX5899" fmla="*/ 7920695 w 9310410"/>
              <a:gd name="connsiteY5899" fmla="*/ 4610215 h 5296383"/>
              <a:gd name="connsiteX5900" fmla="*/ 7928485 w 9310410"/>
              <a:gd name="connsiteY5900" fmla="*/ 4601825 h 5296383"/>
              <a:gd name="connsiteX5901" fmla="*/ 7936875 w 9310410"/>
              <a:gd name="connsiteY5901" fmla="*/ 4589839 h 5296383"/>
              <a:gd name="connsiteX5902" fmla="*/ 7952456 w 9310410"/>
              <a:gd name="connsiteY5902" fmla="*/ 4570063 h 5296383"/>
              <a:gd name="connsiteX5903" fmla="*/ 7963843 w 9310410"/>
              <a:gd name="connsiteY5903" fmla="*/ 4555681 h 5296383"/>
              <a:gd name="connsiteX5904" fmla="*/ 7965041 w 9310410"/>
              <a:gd name="connsiteY5904" fmla="*/ 4547890 h 5296383"/>
              <a:gd name="connsiteX5905" fmla="*/ 7970434 w 9310410"/>
              <a:gd name="connsiteY5905" fmla="*/ 4544894 h 5296383"/>
              <a:gd name="connsiteX5906" fmla="*/ 7981821 w 9310410"/>
              <a:gd name="connsiteY5906" fmla="*/ 4536504 h 5296383"/>
              <a:gd name="connsiteX5907" fmla="*/ 7990810 w 9310410"/>
              <a:gd name="connsiteY5907" fmla="*/ 4524519 h 5296383"/>
              <a:gd name="connsiteX5908" fmla="*/ 8002795 w 9310410"/>
              <a:gd name="connsiteY5908" fmla="*/ 4505342 h 5296383"/>
              <a:gd name="connsiteX5909" fmla="*/ 8006990 w 9310410"/>
              <a:gd name="connsiteY5909" fmla="*/ 4493356 h 5296383"/>
              <a:gd name="connsiteX5910" fmla="*/ 8012384 w 9310410"/>
              <a:gd name="connsiteY5910" fmla="*/ 4489161 h 5296383"/>
              <a:gd name="connsiteX5911" fmla="*/ 8020774 w 9310410"/>
              <a:gd name="connsiteY5911" fmla="*/ 4481371 h 5296383"/>
              <a:gd name="connsiteX5912" fmla="*/ 8040550 w 9310410"/>
              <a:gd name="connsiteY5912" fmla="*/ 4446613 h 5296383"/>
              <a:gd name="connsiteX5913" fmla="*/ 8047741 w 9310410"/>
              <a:gd name="connsiteY5913" fmla="*/ 4428635 h 5296383"/>
              <a:gd name="connsiteX5914" fmla="*/ 8057928 w 9310410"/>
              <a:gd name="connsiteY5914" fmla="*/ 4404664 h 5296383"/>
              <a:gd name="connsiteX5915" fmla="*/ 8068116 w 9310410"/>
              <a:gd name="connsiteY5915" fmla="*/ 4375899 h 5296383"/>
              <a:gd name="connsiteX5916" fmla="*/ 8075906 w 9310410"/>
              <a:gd name="connsiteY5916" fmla="*/ 4351928 h 5296383"/>
              <a:gd name="connsiteX5917" fmla="*/ 8084896 w 9310410"/>
              <a:gd name="connsiteY5917" fmla="*/ 4344737 h 5296383"/>
              <a:gd name="connsiteX5918" fmla="*/ 8090289 w 9310410"/>
              <a:gd name="connsiteY5918" fmla="*/ 4339343 h 5296383"/>
              <a:gd name="connsiteX5919" fmla="*/ 8096282 w 9310410"/>
              <a:gd name="connsiteY5919" fmla="*/ 4328556 h 5296383"/>
              <a:gd name="connsiteX5920" fmla="*/ 8099877 w 9310410"/>
              <a:gd name="connsiteY5920" fmla="*/ 4315372 h 5296383"/>
              <a:gd name="connsiteX5921" fmla="*/ 8102275 w 9310410"/>
              <a:gd name="connsiteY5921" fmla="*/ 4295596 h 5296383"/>
              <a:gd name="connsiteX5922" fmla="*/ 8119055 w 9310410"/>
              <a:gd name="connsiteY5922" fmla="*/ 4271026 h 5296383"/>
              <a:gd name="connsiteX5923" fmla="*/ 8134036 w 9310410"/>
              <a:gd name="connsiteY5923" fmla="*/ 4249452 h 5296383"/>
              <a:gd name="connsiteX5924" fmla="*/ 8146022 w 9310410"/>
              <a:gd name="connsiteY5924" fmla="*/ 4229676 h 5296383"/>
              <a:gd name="connsiteX5925" fmla="*/ 8152614 w 9310410"/>
              <a:gd name="connsiteY5925" fmla="*/ 4224282 h 5296383"/>
              <a:gd name="connsiteX5926" fmla="*/ 8161004 w 9310410"/>
              <a:gd name="connsiteY5926" fmla="*/ 4209900 h 5296383"/>
              <a:gd name="connsiteX5927" fmla="*/ 8171191 w 9310410"/>
              <a:gd name="connsiteY5927" fmla="*/ 4185329 h 5296383"/>
              <a:gd name="connsiteX5928" fmla="*/ 8183177 w 9310410"/>
              <a:gd name="connsiteY5928" fmla="*/ 4160759 h 5296383"/>
              <a:gd name="connsiteX5929" fmla="*/ 8193964 w 9310410"/>
              <a:gd name="connsiteY5929" fmla="*/ 4135590 h 5296383"/>
              <a:gd name="connsiteX5930" fmla="*/ 8211343 w 9310410"/>
              <a:gd name="connsiteY5930" fmla="*/ 4088247 h 5296383"/>
              <a:gd name="connsiteX5931" fmla="*/ 8213739 w 9310410"/>
              <a:gd name="connsiteY5931" fmla="*/ 4081056 h 5296383"/>
              <a:gd name="connsiteX5932" fmla="*/ 8212541 w 9310410"/>
              <a:gd name="connsiteY5932" fmla="*/ 4068471 h 5296383"/>
              <a:gd name="connsiteX5933" fmla="*/ 8219732 w 9310410"/>
              <a:gd name="connsiteY5933" fmla="*/ 4064276 h 5296383"/>
              <a:gd name="connsiteX5934" fmla="*/ 8226325 w 9310410"/>
              <a:gd name="connsiteY5934" fmla="*/ 4056485 h 5296383"/>
              <a:gd name="connsiteX5935" fmla="*/ 8232318 w 9310410"/>
              <a:gd name="connsiteY5935" fmla="*/ 4039706 h 5296383"/>
              <a:gd name="connsiteX5936" fmla="*/ 8243703 w 9310410"/>
              <a:gd name="connsiteY5936" fmla="*/ 4012739 h 5296383"/>
              <a:gd name="connsiteX5937" fmla="*/ 8249696 w 9310410"/>
              <a:gd name="connsiteY5937" fmla="*/ 3992963 h 5296383"/>
              <a:gd name="connsiteX5938" fmla="*/ 8264079 w 9310410"/>
              <a:gd name="connsiteY5938" fmla="*/ 3952212 h 5296383"/>
              <a:gd name="connsiteX5939" fmla="*/ 8274866 w 9310410"/>
              <a:gd name="connsiteY5939" fmla="*/ 3919851 h 5296383"/>
              <a:gd name="connsiteX5940" fmla="*/ 8277862 w 9310410"/>
              <a:gd name="connsiteY5940" fmla="*/ 3898876 h 5296383"/>
              <a:gd name="connsiteX5941" fmla="*/ 8284454 w 9310410"/>
              <a:gd name="connsiteY5941" fmla="*/ 3880898 h 5296383"/>
              <a:gd name="connsiteX5942" fmla="*/ 8285053 w 9310410"/>
              <a:gd name="connsiteY5942" fmla="*/ 3864718 h 5296383"/>
              <a:gd name="connsiteX5943" fmla="*/ 8280859 w 9310410"/>
              <a:gd name="connsiteY5943" fmla="*/ 3852732 h 5296383"/>
              <a:gd name="connsiteX5944" fmla="*/ 8273068 w 9310410"/>
              <a:gd name="connsiteY5944" fmla="*/ 3843144 h 5296383"/>
              <a:gd name="connsiteX5945" fmla="*/ 8267674 w 9310410"/>
              <a:gd name="connsiteY5945" fmla="*/ 3827563 h 5296383"/>
              <a:gd name="connsiteX5946" fmla="*/ 8259884 w 9310410"/>
              <a:gd name="connsiteY5946" fmla="*/ 3803592 h 5296383"/>
              <a:gd name="connsiteX5947" fmla="*/ 8241906 w 9310410"/>
              <a:gd name="connsiteY5947" fmla="*/ 3786213 h 5296383"/>
              <a:gd name="connsiteX5948" fmla="*/ 8234714 w 9310410"/>
              <a:gd name="connsiteY5948" fmla="*/ 3774228 h 5296383"/>
              <a:gd name="connsiteX5949" fmla="*/ 8229321 w 9310410"/>
              <a:gd name="connsiteY5949" fmla="*/ 3766437 h 5296383"/>
              <a:gd name="connsiteX5950" fmla="*/ 8219133 w 9310410"/>
              <a:gd name="connsiteY5950" fmla="*/ 3753852 h 5296383"/>
              <a:gd name="connsiteX5951" fmla="*/ 8203552 w 9310410"/>
              <a:gd name="connsiteY5951" fmla="*/ 3735275 h 5296383"/>
              <a:gd name="connsiteX5952" fmla="*/ 8198158 w 9310410"/>
              <a:gd name="connsiteY5952" fmla="*/ 3727484 h 5296383"/>
              <a:gd name="connsiteX5953" fmla="*/ 8193964 w 9310410"/>
              <a:gd name="connsiteY5953" fmla="*/ 3711304 h 5296383"/>
              <a:gd name="connsiteX5954" fmla="*/ 8189768 w 9310410"/>
              <a:gd name="connsiteY5954" fmla="*/ 3699318 h 5296383"/>
              <a:gd name="connsiteX5955" fmla="*/ 8187372 w 9310410"/>
              <a:gd name="connsiteY5955" fmla="*/ 3692726 h 5296383"/>
              <a:gd name="connsiteX5956" fmla="*/ 8184975 w 9310410"/>
              <a:gd name="connsiteY5956" fmla="*/ 3687333 h 5296383"/>
              <a:gd name="connsiteX5957" fmla="*/ 8182578 w 9310410"/>
              <a:gd name="connsiteY5957" fmla="*/ 3675946 h 5296383"/>
              <a:gd name="connsiteX5958" fmla="*/ 8178383 w 9310410"/>
              <a:gd name="connsiteY5958" fmla="*/ 3668156 h 5296383"/>
              <a:gd name="connsiteX5959" fmla="*/ 8180779 w 9310410"/>
              <a:gd name="connsiteY5959" fmla="*/ 3661564 h 5296383"/>
              <a:gd name="connsiteX5960" fmla="*/ 8186173 w 9310410"/>
              <a:gd name="connsiteY5960" fmla="*/ 3654373 h 5296383"/>
              <a:gd name="connsiteX5961" fmla="*/ 8186173 w 9310410"/>
              <a:gd name="connsiteY5961" fmla="*/ 3631001 h 5296383"/>
              <a:gd name="connsiteX5962" fmla="*/ 8185574 w 9310410"/>
              <a:gd name="connsiteY5962" fmla="*/ 3617817 h 5296383"/>
              <a:gd name="connsiteX5963" fmla="*/ 8183177 w 9310410"/>
              <a:gd name="connsiteY5963" fmla="*/ 3602835 h 5296383"/>
              <a:gd name="connsiteX5964" fmla="*/ 8178982 w 9310410"/>
              <a:gd name="connsiteY5964" fmla="*/ 3586055 h 5296383"/>
              <a:gd name="connsiteX5965" fmla="*/ 8175986 w 9310410"/>
              <a:gd name="connsiteY5965" fmla="*/ 3562684 h 5296383"/>
              <a:gd name="connsiteX5966" fmla="*/ 8175387 w 9310410"/>
              <a:gd name="connsiteY5966" fmla="*/ 3547702 h 5296383"/>
              <a:gd name="connsiteX5967" fmla="*/ 8174787 w 9310410"/>
              <a:gd name="connsiteY5967" fmla="*/ 3538713 h 5296383"/>
              <a:gd name="connsiteX5968" fmla="*/ 8172989 w 9310410"/>
              <a:gd name="connsiteY5968" fmla="*/ 3527926 h 5296383"/>
              <a:gd name="connsiteX5969" fmla="*/ 8167596 w 9310410"/>
              <a:gd name="connsiteY5969" fmla="*/ 3512345 h 5296383"/>
              <a:gd name="connsiteX5970" fmla="*/ 8165198 w 9310410"/>
              <a:gd name="connsiteY5970" fmla="*/ 3491370 h 5296383"/>
              <a:gd name="connsiteX5971" fmla="*/ 8164599 w 9310410"/>
              <a:gd name="connsiteY5971" fmla="*/ 3476388 h 5296383"/>
              <a:gd name="connsiteX5972" fmla="*/ 8160405 w 9310410"/>
              <a:gd name="connsiteY5972" fmla="*/ 3455414 h 5296383"/>
              <a:gd name="connsiteX5973" fmla="*/ 8159805 w 9310410"/>
              <a:gd name="connsiteY5973" fmla="*/ 3446425 h 5296383"/>
              <a:gd name="connsiteX5974" fmla="*/ 8160405 w 9310410"/>
              <a:gd name="connsiteY5974" fmla="*/ 3430244 h 5296383"/>
              <a:gd name="connsiteX5975" fmla="*/ 8156209 w 9310410"/>
              <a:gd name="connsiteY5975" fmla="*/ 3419457 h 5296383"/>
              <a:gd name="connsiteX5976" fmla="*/ 8149018 w 9310410"/>
              <a:gd name="connsiteY5976" fmla="*/ 3409270 h 5296383"/>
              <a:gd name="connsiteX5977" fmla="*/ 8146621 w 9310410"/>
              <a:gd name="connsiteY5977" fmla="*/ 3399082 h 5296383"/>
              <a:gd name="connsiteX5978" fmla="*/ 8149617 w 9310410"/>
              <a:gd name="connsiteY5978" fmla="*/ 3385898 h 5296383"/>
              <a:gd name="connsiteX5979" fmla="*/ 8144224 w 9310410"/>
              <a:gd name="connsiteY5979" fmla="*/ 3370317 h 5296383"/>
              <a:gd name="connsiteX5980" fmla="*/ 8129242 w 9310410"/>
              <a:gd name="connsiteY5980" fmla="*/ 3348743 h 5296383"/>
              <a:gd name="connsiteX5981" fmla="*/ 8109466 w 9310410"/>
              <a:gd name="connsiteY5981" fmla="*/ 3340353 h 5296383"/>
              <a:gd name="connsiteX5982" fmla="*/ 8109466 w 9310410"/>
              <a:gd name="connsiteY5982" fmla="*/ 3323573 h 5296383"/>
              <a:gd name="connsiteX5983" fmla="*/ 8117256 w 9310410"/>
              <a:gd name="connsiteY5983" fmla="*/ 3323573 h 5296383"/>
              <a:gd name="connsiteX5984" fmla="*/ 8124448 w 9310410"/>
              <a:gd name="connsiteY5984" fmla="*/ 3315183 h 5296383"/>
              <a:gd name="connsiteX5985" fmla="*/ 8115459 w 9310410"/>
              <a:gd name="connsiteY5985" fmla="*/ 3304996 h 5296383"/>
              <a:gd name="connsiteX5986" fmla="*/ 8111863 w 9310410"/>
              <a:gd name="connsiteY5986" fmla="*/ 3292411 h 5296383"/>
              <a:gd name="connsiteX5987" fmla="*/ 8111264 w 9310410"/>
              <a:gd name="connsiteY5987" fmla="*/ 3270837 h 5296383"/>
              <a:gd name="connsiteX5988" fmla="*/ 8113661 w 9310410"/>
              <a:gd name="connsiteY5988" fmla="*/ 3259451 h 5296383"/>
              <a:gd name="connsiteX5989" fmla="*/ 8120852 w 9310410"/>
              <a:gd name="connsiteY5989" fmla="*/ 3247466 h 5296383"/>
              <a:gd name="connsiteX5990" fmla="*/ 8128044 w 9310410"/>
              <a:gd name="connsiteY5990" fmla="*/ 3239076 h 5296383"/>
              <a:gd name="connsiteX5991" fmla="*/ 8133437 w 9310410"/>
              <a:gd name="connsiteY5991" fmla="*/ 3226491 h 5296383"/>
              <a:gd name="connsiteX5992" fmla="*/ 8140029 w 9310410"/>
              <a:gd name="connsiteY5992" fmla="*/ 3216303 h 5296383"/>
              <a:gd name="connsiteX5993" fmla="*/ 8141827 w 9310410"/>
              <a:gd name="connsiteY5993" fmla="*/ 3212109 h 5296383"/>
              <a:gd name="connsiteX5994" fmla="*/ 8146022 w 9310410"/>
              <a:gd name="connsiteY5994" fmla="*/ 3211509 h 5296383"/>
              <a:gd name="connsiteX5995" fmla="*/ 8152614 w 9310410"/>
              <a:gd name="connsiteY5995" fmla="*/ 3206116 h 5296383"/>
              <a:gd name="connsiteX5996" fmla="*/ 8158007 w 9310410"/>
              <a:gd name="connsiteY5996" fmla="*/ 3194130 h 5296383"/>
              <a:gd name="connsiteX5997" fmla="*/ 8159206 w 9310410"/>
              <a:gd name="connsiteY5997" fmla="*/ 3172556 h 5296383"/>
              <a:gd name="connsiteX5998" fmla="*/ 8152015 w 9310410"/>
              <a:gd name="connsiteY5998" fmla="*/ 3176751 h 5296383"/>
              <a:gd name="connsiteX5999" fmla="*/ 8142426 w 9310410"/>
              <a:gd name="connsiteY5999" fmla="*/ 3188737 h 5296383"/>
              <a:gd name="connsiteX6000" fmla="*/ 8135834 w 9310410"/>
              <a:gd name="connsiteY6000" fmla="*/ 3189336 h 5296383"/>
              <a:gd name="connsiteX6001" fmla="*/ 8130441 w 9310410"/>
              <a:gd name="connsiteY6001" fmla="*/ 3177350 h 5296383"/>
              <a:gd name="connsiteX6002" fmla="*/ 8131639 w 9310410"/>
              <a:gd name="connsiteY6002" fmla="*/ 3167163 h 5296383"/>
              <a:gd name="connsiteX6003" fmla="*/ 8132837 w 9310410"/>
              <a:gd name="connsiteY6003" fmla="*/ 3155178 h 5296383"/>
              <a:gd name="connsiteX6004" fmla="*/ 8133437 w 9310410"/>
              <a:gd name="connsiteY6004" fmla="*/ 3143192 h 5296383"/>
              <a:gd name="connsiteX6005" fmla="*/ 8132837 w 9310410"/>
              <a:gd name="connsiteY6005" fmla="*/ 3133004 h 5296383"/>
              <a:gd name="connsiteX6006" fmla="*/ 8130441 w 9310410"/>
              <a:gd name="connsiteY6006" fmla="*/ 3123416 h 5296383"/>
              <a:gd name="connsiteX6007" fmla="*/ 8136434 w 9310410"/>
              <a:gd name="connsiteY6007" fmla="*/ 3117423 h 5296383"/>
              <a:gd name="connsiteX6008" fmla="*/ 8141827 w 9310410"/>
              <a:gd name="connsiteY6008" fmla="*/ 3109033 h 5296383"/>
              <a:gd name="connsiteX6009" fmla="*/ 8140029 w 9310410"/>
              <a:gd name="connsiteY6009" fmla="*/ 3102441 h 5296383"/>
              <a:gd name="connsiteX6010" fmla="*/ 8140029 w 9310410"/>
              <a:gd name="connsiteY6010" fmla="*/ 3094651 h 5296383"/>
              <a:gd name="connsiteX6011" fmla="*/ 8143625 w 9310410"/>
              <a:gd name="connsiteY6011" fmla="*/ 3085063 h 5296383"/>
              <a:gd name="connsiteX6012" fmla="*/ 8147819 w 9310410"/>
              <a:gd name="connsiteY6012" fmla="*/ 3068882 h 5296383"/>
              <a:gd name="connsiteX6013" fmla="*/ 8152614 w 9310410"/>
              <a:gd name="connsiteY6013" fmla="*/ 3061092 h 5296383"/>
              <a:gd name="connsiteX6014" fmla="*/ 8152015 w 9310410"/>
              <a:gd name="connsiteY6014" fmla="*/ 3056297 h 5296383"/>
              <a:gd name="connsiteX6015" fmla="*/ 8148419 w 9310410"/>
              <a:gd name="connsiteY6015" fmla="*/ 3047308 h 5296383"/>
              <a:gd name="connsiteX6016" fmla="*/ 8152614 w 9310410"/>
              <a:gd name="connsiteY6016" fmla="*/ 3035922 h 5296383"/>
              <a:gd name="connsiteX6017" fmla="*/ 8163401 w 9310410"/>
              <a:gd name="connsiteY6017" fmla="*/ 3030529 h 5296383"/>
              <a:gd name="connsiteX6018" fmla="*/ 8175387 w 9310410"/>
              <a:gd name="connsiteY6018" fmla="*/ 3021539 h 5296383"/>
              <a:gd name="connsiteX6019" fmla="*/ 8177783 w 9310410"/>
              <a:gd name="connsiteY6019" fmla="*/ 3013150 h 5296383"/>
              <a:gd name="connsiteX6020" fmla="*/ 8177783 w 9310410"/>
              <a:gd name="connsiteY6020" fmla="*/ 3005359 h 5296383"/>
              <a:gd name="connsiteX6021" fmla="*/ 8186772 w 9310410"/>
              <a:gd name="connsiteY6021" fmla="*/ 3004760 h 5296383"/>
              <a:gd name="connsiteX6022" fmla="*/ 8183177 w 9310410"/>
              <a:gd name="connsiteY6022" fmla="*/ 2996370 h 5296383"/>
              <a:gd name="connsiteX6023" fmla="*/ 8188570 w 9310410"/>
              <a:gd name="connsiteY6023" fmla="*/ 2970601 h 5296383"/>
              <a:gd name="connsiteX6024" fmla="*/ 8198158 w 9310410"/>
              <a:gd name="connsiteY6024" fmla="*/ 2968204 h 5296383"/>
              <a:gd name="connsiteX6025" fmla="*/ 8201754 w 9310410"/>
              <a:gd name="connsiteY6025" fmla="*/ 2972399 h 5296383"/>
              <a:gd name="connsiteX6026" fmla="*/ 8210144 w 9310410"/>
              <a:gd name="connsiteY6026" fmla="*/ 2974197 h 5296383"/>
              <a:gd name="connsiteX6027" fmla="*/ 8209545 w 9310410"/>
              <a:gd name="connsiteY6027" fmla="*/ 2970002 h 5296383"/>
              <a:gd name="connsiteX6028" fmla="*/ 8211343 w 9310410"/>
              <a:gd name="connsiteY6028" fmla="*/ 2962211 h 5296383"/>
              <a:gd name="connsiteX6029" fmla="*/ 8211343 w 9310410"/>
              <a:gd name="connsiteY6029" fmla="*/ 2955020 h 5296383"/>
              <a:gd name="connsiteX6030" fmla="*/ 8213739 w 9310410"/>
              <a:gd name="connsiteY6030" fmla="*/ 2944832 h 5296383"/>
              <a:gd name="connsiteX6031" fmla="*/ 8214938 w 9310410"/>
              <a:gd name="connsiteY6031" fmla="*/ 2936442 h 5296383"/>
              <a:gd name="connsiteX6032" fmla="*/ 8217935 w 9310410"/>
              <a:gd name="connsiteY6032" fmla="*/ 2922659 h 5296383"/>
              <a:gd name="connsiteX6033" fmla="*/ 8217336 w 9310410"/>
              <a:gd name="connsiteY6033" fmla="*/ 2914269 h 5296383"/>
              <a:gd name="connsiteX6034" fmla="*/ 8216736 w 9310410"/>
              <a:gd name="connsiteY6034" fmla="*/ 2908876 h 5296383"/>
              <a:gd name="connsiteX6035" fmla="*/ 8210743 w 9310410"/>
              <a:gd name="connsiteY6035" fmla="*/ 2904681 h 5296383"/>
              <a:gd name="connsiteX6036" fmla="*/ 8213739 w 9310410"/>
              <a:gd name="connsiteY6036" fmla="*/ 2887901 h 5296383"/>
              <a:gd name="connsiteX6037" fmla="*/ 8210743 w 9310410"/>
              <a:gd name="connsiteY6037" fmla="*/ 2866328 h 5296383"/>
              <a:gd name="connsiteX6038" fmla="*/ 8208347 w 9310410"/>
              <a:gd name="connsiteY6038" fmla="*/ 2856140 h 5296383"/>
              <a:gd name="connsiteX6039" fmla="*/ 8201754 w 9310410"/>
              <a:gd name="connsiteY6039" fmla="*/ 2844754 h 5296383"/>
              <a:gd name="connsiteX6040" fmla="*/ 8202953 w 9310410"/>
              <a:gd name="connsiteY6040" fmla="*/ 2839959 h 5296383"/>
              <a:gd name="connsiteX6041" fmla="*/ 8207747 w 9310410"/>
              <a:gd name="connsiteY6041" fmla="*/ 2832768 h 5296383"/>
              <a:gd name="connsiteX6042" fmla="*/ 8204750 w 9310410"/>
              <a:gd name="connsiteY6042" fmla="*/ 2818985 h 5296383"/>
              <a:gd name="connsiteX6043" fmla="*/ 8202953 w 9310410"/>
              <a:gd name="connsiteY6043" fmla="*/ 2806400 h 5296383"/>
              <a:gd name="connsiteX6044" fmla="*/ 8200556 w 9310410"/>
              <a:gd name="connsiteY6044" fmla="*/ 2798010 h 5296383"/>
              <a:gd name="connsiteX6045" fmla="*/ 8195162 w 9310410"/>
              <a:gd name="connsiteY6045" fmla="*/ 2790220 h 5296383"/>
              <a:gd name="connsiteX6046" fmla="*/ 8191567 w 9310410"/>
              <a:gd name="connsiteY6046" fmla="*/ 2784227 h 5296383"/>
              <a:gd name="connsiteX6047" fmla="*/ 8189768 w 9310410"/>
              <a:gd name="connsiteY6047" fmla="*/ 2779433 h 5296383"/>
              <a:gd name="connsiteX6048" fmla="*/ 8186173 w 9310410"/>
              <a:gd name="connsiteY6048" fmla="*/ 2774039 h 5296383"/>
              <a:gd name="connsiteX6049" fmla="*/ 8175986 w 9310410"/>
              <a:gd name="connsiteY6049" fmla="*/ 2756061 h 5296383"/>
              <a:gd name="connsiteX6050" fmla="*/ 8172390 w 9310410"/>
              <a:gd name="connsiteY6050" fmla="*/ 2745274 h 5296383"/>
              <a:gd name="connsiteX6051" fmla="*/ 8171191 w 9310410"/>
              <a:gd name="connsiteY6051" fmla="*/ 2735086 h 5296383"/>
              <a:gd name="connsiteX6052" fmla="*/ 8172390 w 9310410"/>
              <a:gd name="connsiteY6052" fmla="*/ 2729693 h 5296383"/>
              <a:gd name="connsiteX6053" fmla="*/ 8175387 w 9310410"/>
              <a:gd name="connsiteY6053" fmla="*/ 2725498 h 5296383"/>
              <a:gd name="connsiteX6054" fmla="*/ 8177783 w 9310410"/>
              <a:gd name="connsiteY6054" fmla="*/ 2721902 h 5296383"/>
              <a:gd name="connsiteX6055" fmla="*/ 8174188 w 9310410"/>
              <a:gd name="connsiteY6055" fmla="*/ 2715910 h 5296383"/>
              <a:gd name="connsiteX6056" fmla="*/ 8169993 w 9310410"/>
              <a:gd name="connsiteY6056" fmla="*/ 2719505 h 5296383"/>
              <a:gd name="connsiteX6057" fmla="*/ 8164000 w 9310410"/>
              <a:gd name="connsiteY6057" fmla="*/ 2714711 h 5296383"/>
              <a:gd name="connsiteX6058" fmla="*/ 8158007 w 9310410"/>
              <a:gd name="connsiteY6058" fmla="*/ 2706921 h 5296383"/>
              <a:gd name="connsiteX6059" fmla="*/ 8145423 w 9310410"/>
              <a:gd name="connsiteY6059" fmla="*/ 2698531 h 5296383"/>
              <a:gd name="connsiteX6060" fmla="*/ 8133437 w 9310410"/>
              <a:gd name="connsiteY6060" fmla="*/ 2706321 h 5296383"/>
              <a:gd name="connsiteX6061" fmla="*/ 8133437 w 9310410"/>
              <a:gd name="connsiteY6061" fmla="*/ 2720704 h 5296383"/>
              <a:gd name="connsiteX6062" fmla="*/ 8132837 w 9310410"/>
              <a:gd name="connsiteY6062" fmla="*/ 2724300 h 5296383"/>
              <a:gd name="connsiteX6063" fmla="*/ 8120253 w 9310410"/>
              <a:gd name="connsiteY6063" fmla="*/ 2733888 h 5296383"/>
              <a:gd name="connsiteX6064" fmla="*/ 8120852 w 9310410"/>
              <a:gd name="connsiteY6064" fmla="*/ 2743476 h 5296383"/>
              <a:gd name="connsiteX6065" fmla="*/ 8123848 w 9310410"/>
              <a:gd name="connsiteY6065" fmla="*/ 2747671 h 5296383"/>
              <a:gd name="connsiteX6066" fmla="*/ 8131040 w 9310410"/>
              <a:gd name="connsiteY6066" fmla="*/ 2762653 h 5296383"/>
              <a:gd name="connsiteX6067" fmla="*/ 8130441 w 9310410"/>
              <a:gd name="connsiteY6067" fmla="*/ 2770444 h 5296383"/>
              <a:gd name="connsiteX6068" fmla="*/ 8125646 w 9310410"/>
              <a:gd name="connsiteY6068" fmla="*/ 2774039 h 5296383"/>
              <a:gd name="connsiteX6069" fmla="*/ 8117256 w 9310410"/>
              <a:gd name="connsiteY6069" fmla="*/ 2779433 h 5296383"/>
              <a:gd name="connsiteX6070" fmla="*/ 8108267 w 9310410"/>
              <a:gd name="connsiteY6070" fmla="*/ 2768646 h 5296383"/>
              <a:gd name="connsiteX6071" fmla="*/ 8099877 w 9310410"/>
              <a:gd name="connsiteY6071" fmla="*/ 2753664 h 5296383"/>
              <a:gd name="connsiteX6072" fmla="*/ 8095084 w 9310410"/>
              <a:gd name="connsiteY6072" fmla="*/ 2754863 h 5296383"/>
              <a:gd name="connsiteX6073" fmla="*/ 8092087 w 9310410"/>
              <a:gd name="connsiteY6073" fmla="*/ 2762054 h 5296383"/>
              <a:gd name="connsiteX6074" fmla="*/ 8086694 w 9310410"/>
              <a:gd name="connsiteY6074" fmla="*/ 2744075 h 5296383"/>
              <a:gd name="connsiteX6075" fmla="*/ 8077705 w 9310410"/>
              <a:gd name="connsiteY6075" fmla="*/ 2739881 h 5296383"/>
              <a:gd name="connsiteX6076" fmla="*/ 8069914 w 9310410"/>
              <a:gd name="connsiteY6076" fmla="*/ 2737484 h 5296383"/>
              <a:gd name="connsiteX6077" fmla="*/ 8065719 w 9310410"/>
              <a:gd name="connsiteY6077" fmla="*/ 2735686 h 5296383"/>
              <a:gd name="connsiteX6078" fmla="*/ 8058528 w 9310410"/>
              <a:gd name="connsiteY6078" fmla="*/ 2736285 h 5296383"/>
              <a:gd name="connsiteX6079" fmla="*/ 8054333 w 9310410"/>
              <a:gd name="connsiteY6079" fmla="*/ 2740480 h 5296383"/>
              <a:gd name="connsiteX6080" fmla="*/ 8050138 w 9310410"/>
              <a:gd name="connsiteY6080" fmla="*/ 2744675 h 5296383"/>
              <a:gd name="connsiteX6081" fmla="*/ 8045943 w 9310410"/>
              <a:gd name="connsiteY6081" fmla="*/ 2734487 h 5296383"/>
              <a:gd name="connsiteX6082" fmla="*/ 8042347 w 9310410"/>
              <a:gd name="connsiteY6082" fmla="*/ 2724899 h 5296383"/>
              <a:gd name="connsiteX6083" fmla="*/ 8035755 w 9310410"/>
              <a:gd name="connsiteY6083" fmla="*/ 2718307 h 5296383"/>
              <a:gd name="connsiteX6084" fmla="*/ 8036954 w 9310410"/>
              <a:gd name="connsiteY6084" fmla="*/ 2724899 h 5296383"/>
              <a:gd name="connsiteX6085" fmla="*/ 8030961 w 9310410"/>
              <a:gd name="connsiteY6085" fmla="*/ 2730292 h 5296383"/>
              <a:gd name="connsiteX6086" fmla="*/ 8026766 w 9310410"/>
              <a:gd name="connsiteY6086" fmla="*/ 2720704 h 5296383"/>
              <a:gd name="connsiteX6087" fmla="*/ 8026766 w 9310410"/>
              <a:gd name="connsiteY6087" fmla="*/ 2707520 h 5296383"/>
              <a:gd name="connsiteX6088" fmla="*/ 8019575 w 9310410"/>
              <a:gd name="connsiteY6088" fmla="*/ 2695534 h 5296383"/>
              <a:gd name="connsiteX6089" fmla="*/ 8007590 w 9310410"/>
              <a:gd name="connsiteY6089" fmla="*/ 2683549 h 5296383"/>
              <a:gd name="connsiteX6090" fmla="*/ 7999200 w 9310410"/>
              <a:gd name="connsiteY6090" fmla="*/ 2672163 h 5296383"/>
              <a:gd name="connsiteX6091" fmla="*/ 7989012 w 9310410"/>
              <a:gd name="connsiteY6091" fmla="*/ 2661975 h 5296383"/>
              <a:gd name="connsiteX6092" fmla="*/ 7978824 w 9310410"/>
              <a:gd name="connsiteY6092" fmla="*/ 2661376 h 5296383"/>
              <a:gd name="connsiteX6093" fmla="*/ 7990211 w 9310410"/>
              <a:gd name="connsiteY6093" fmla="*/ 2669766 h 5296383"/>
              <a:gd name="connsiteX6094" fmla="*/ 7992608 w 9310410"/>
              <a:gd name="connsiteY6094" fmla="*/ 2676957 h 5296383"/>
              <a:gd name="connsiteX6095" fmla="*/ 7990211 w 9310410"/>
              <a:gd name="connsiteY6095" fmla="*/ 2682950 h 5296383"/>
              <a:gd name="connsiteX6096" fmla="*/ 7986015 w 9310410"/>
              <a:gd name="connsiteY6096" fmla="*/ 2686545 h 5296383"/>
              <a:gd name="connsiteX6097" fmla="*/ 7977626 w 9310410"/>
              <a:gd name="connsiteY6097" fmla="*/ 2675758 h 5296383"/>
              <a:gd name="connsiteX6098" fmla="*/ 7969835 w 9310410"/>
              <a:gd name="connsiteY6098" fmla="*/ 2668567 h 5296383"/>
              <a:gd name="connsiteX6099" fmla="*/ 7965641 w 9310410"/>
              <a:gd name="connsiteY6099" fmla="*/ 2661975 h 5296383"/>
              <a:gd name="connsiteX6100" fmla="*/ 7963843 w 9310410"/>
              <a:gd name="connsiteY6100" fmla="*/ 2648791 h 5296383"/>
              <a:gd name="connsiteX6101" fmla="*/ 7960247 w 9310410"/>
              <a:gd name="connsiteY6101" fmla="*/ 2634408 h 5296383"/>
              <a:gd name="connsiteX6102" fmla="*/ 7958449 w 9310410"/>
              <a:gd name="connsiteY6102" fmla="*/ 2626019 h 5296383"/>
              <a:gd name="connsiteX6103" fmla="*/ 7957850 w 9310410"/>
              <a:gd name="connsiteY6103" fmla="*/ 2621224 h 5296383"/>
              <a:gd name="connsiteX6104" fmla="*/ 7959048 w 9310410"/>
              <a:gd name="connsiteY6104" fmla="*/ 2620026 h 5296383"/>
              <a:gd name="connsiteX6105" fmla="*/ 7952456 w 9310410"/>
              <a:gd name="connsiteY6105" fmla="*/ 2613434 h 5296383"/>
              <a:gd name="connsiteX6106" fmla="*/ 7935677 w 9310410"/>
              <a:gd name="connsiteY6106" fmla="*/ 2600250 h 5296383"/>
              <a:gd name="connsiteX6107" fmla="*/ 7921294 w 9310410"/>
              <a:gd name="connsiteY6107" fmla="*/ 2581073 h 5296383"/>
              <a:gd name="connsiteX6108" fmla="*/ 7908710 w 9310410"/>
              <a:gd name="connsiteY6108" fmla="*/ 2569088 h 5296383"/>
              <a:gd name="connsiteX6109" fmla="*/ 7900320 w 9310410"/>
              <a:gd name="connsiteY6109" fmla="*/ 2560698 h 5296383"/>
              <a:gd name="connsiteX6110" fmla="*/ 7890731 w 9310410"/>
              <a:gd name="connsiteY6110" fmla="*/ 2549311 h 5296383"/>
              <a:gd name="connsiteX6111" fmla="*/ 7897922 w 9310410"/>
              <a:gd name="connsiteY6111" fmla="*/ 2548113 h 5296383"/>
              <a:gd name="connsiteX6112" fmla="*/ 7898522 w 9310410"/>
              <a:gd name="connsiteY6112" fmla="*/ 2546315 h 5296383"/>
              <a:gd name="connsiteX6113" fmla="*/ 7897323 w 9310410"/>
              <a:gd name="connsiteY6113" fmla="*/ 2540322 h 5296383"/>
              <a:gd name="connsiteX6114" fmla="*/ 7894327 w 9310410"/>
              <a:gd name="connsiteY6114" fmla="*/ 2537326 h 5296383"/>
              <a:gd name="connsiteX6115" fmla="*/ 7891331 w 9310410"/>
              <a:gd name="connsiteY6115" fmla="*/ 2537925 h 5296383"/>
              <a:gd name="connsiteX6116" fmla="*/ 7887135 w 9310410"/>
              <a:gd name="connsiteY6116" fmla="*/ 2534929 h 5296383"/>
              <a:gd name="connsiteX6117" fmla="*/ 7886536 w 9310410"/>
              <a:gd name="connsiteY6117" fmla="*/ 2539124 h 5296383"/>
              <a:gd name="connsiteX6118" fmla="*/ 7879345 w 9310410"/>
              <a:gd name="connsiteY6118" fmla="*/ 2542120 h 5296383"/>
              <a:gd name="connsiteX6119" fmla="*/ 7871554 w 9310410"/>
              <a:gd name="connsiteY6119" fmla="*/ 2542720 h 5296383"/>
              <a:gd name="connsiteX6120" fmla="*/ 7863764 w 9310410"/>
              <a:gd name="connsiteY6120" fmla="*/ 2543918 h 5296383"/>
              <a:gd name="connsiteX6121" fmla="*/ 7860168 w 9310410"/>
              <a:gd name="connsiteY6121" fmla="*/ 2541521 h 5296383"/>
              <a:gd name="connsiteX6122" fmla="*/ 7852977 w 9310410"/>
              <a:gd name="connsiteY6122" fmla="*/ 2536128 h 5296383"/>
              <a:gd name="connsiteX6123" fmla="*/ 7828407 w 9310410"/>
              <a:gd name="connsiteY6123" fmla="*/ 2530135 h 5296383"/>
              <a:gd name="connsiteX6124" fmla="*/ 7823013 w 9310410"/>
              <a:gd name="connsiteY6124" fmla="*/ 2525940 h 5296383"/>
              <a:gd name="connsiteX6125" fmla="*/ 7823013 w 9310410"/>
              <a:gd name="connsiteY6125" fmla="*/ 2525940 h 5296383"/>
              <a:gd name="connsiteX6126" fmla="*/ 7802039 w 9310410"/>
              <a:gd name="connsiteY6126" fmla="*/ 2519348 h 5296383"/>
              <a:gd name="connsiteX6127" fmla="*/ 7786458 w 9310410"/>
              <a:gd name="connsiteY6127" fmla="*/ 2515752 h 5296383"/>
              <a:gd name="connsiteX6128" fmla="*/ 7775670 w 9310410"/>
              <a:gd name="connsiteY6128" fmla="*/ 2508561 h 5296383"/>
              <a:gd name="connsiteX6129" fmla="*/ 7763685 w 9310410"/>
              <a:gd name="connsiteY6129" fmla="*/ 2497774 h 5296383"/>
              <a:gd name="connsiteX6130" fmla="*/ 7763685 w 9310410"/>
              <a:gd name="connsiteY6130" fmla="*/ 2497774 h 5296383"/>
              <a:gd name="connsiteX6131" fmla="*/ 7745108 w 9310410"/>
              <a:gd name="connsiteY6131" fmla="*/ 2477399 h 5296383"/>
              <a:gd name="connsiteX6132" fmla="*/ 7711548 w 9310410"/>
              <a:gd name="connsiteY6132" fmla="*/ 2448034 h 5296383"/>
              <a:gd name="connsiteX6133" fmla="*/ 7706754 w 9310410"/>
              <a:gd name="connsiteY6133" fmla="*/ 2439045 h 5296383"/>
              <a:gd name="connsiteX6134" fmla="*/ 7696566 w 9310410"/>
              <a:gd name="connsiteY6134" fmla="*/ 2431255 h 5296383"/>
              <a:gd name="connsiteX6135" fmla="*/ 7696566 w 9310410"/>
              <a:gd name="connsiteY6135" fmla="*/ 2434251 h 5296383"/>
              <a:gd name="connsiteX6136" fmla="*/ 7688776 w 9310410"/>
              <a:gd name="connsiteY6136" fmla="*/ 2434251 h 5296383"/>
              <a:gd name="connsiteX6137" fmla="*/ 7685180 w 9310410"/>
              <a:gd name="connsiteY6137" fmla="*/ 2431255 h 5296383"/>
              <a:gd name="connsiteX6138" fmla="*/ 7684581 w 9310410"/>
              <a:gd name="connsiteY6138" fmla="*/ 2426460 h 5296383"/>
              <a:gd name="connsiteX6139" fmla="*/ 7680386 w 9310410"/>
              <a:gd name="connsiteY6139" fmla="*/ 2423464 h 5296383"/>
              <a:gd name="connsiteX6140" fmla="*/ 7673794 w 9310410"/>
              <a:gd name="connsiteY6140" fmla="*/ 2425861 h 5296383"/>
              <a:gd name="connsiteX6141" fmla="*/ 7674393 w 9310410"/>
              <a:gd name="connsiteY6141" fmla="*/ 2433052 h 5296383"/>
              <a:gd name="connsiteX6142" fmla="*/ 7673195 w 9310410"/>
              <a:gd name="connsiteY6142" fmla="*/ 2437247 h 5296383"/>
              <a:gd name="connsiteX6143" fmla="*/ 7656415 w 9310410"/>
              <a:gd name="connsiteY6143" fmla="*/ 2448633 h 5296383"/>
              <a:gd name="connsiteX6144" fmla="*/ 7643231 w 9310410"/>
              <a:gd name="connsiteY6144" fmla="*/ 2454027 h 5296383"/>
              <a:gd name="connsiteX6145" fmla="*/ 7624054 w 9310410"/>
              <a:gd name="connsiteY6145" fmla="*/ 2452828 h 5296383"/>
              <a:gd name="connsiteX6146" fmla="*/ 7597087 w 9310410"/>
              <a:gd name="connsiteY6146" fmla="*/ 2444439 h 5296383"/>
              <a:gd name="connsiteX6147" fmla="*/ 7581505 w 9310410"/>
              <a:gd name="connsiteY6147" fmla="*/ 2436049 h 5296383"/>
              <a:gd name="connsiteX6148" fmla="*/ 7569520 w 9310410"/>
              <a:gd name="connsiteY6148" fmla="*/ 2430655 h 5296383"/>
              <a:gd name="connsiteX6149" fmla="*/ 7547946 w 9310410"/>
              <a:gd name="connsiteY6149" fmla="*/ 2424063 h 5296383"/>
              <a:gd name="connsiteX6150" fmla="*/ 7537759 w 9310410"/>
              <a:gd name="connsiteY6150" fmla="*/ 2419868 h 5296383"/>
              <a:gd name="connsiteX6151" fmla="*/ 7516185 w 9310410"/>
              <a:gd name="connsiteY6151" fmla="*/ 2407883 h 5296383"/>
              <a:gd name="connsiteX6152" fmla="*/ 7498207 w 9310410"/>
              <a:gd name="connsiteY6152" fmla="*/ 2399493 h 5296383"/>
              <a:gd name="connsiteX6153" fmla="*/ 7488019 w 9310410"/>
              <a:gd name="connsiteY6153" fmla="*/ 2389305 h 5296383"/>
              <a:gd name="connsiteX6154" fmla="*/ 7477232 w 9310410"/>
              <a:gd name="connsiteY6154" fmla="*/ 2382114 h 5296383"/>
              <a:gd name="connsiteX6155" fmla="*/ 7462251 w 9310410"/>
              <a:gd name="connsiteY6155" fmla="*/ 2376721 h 5296383"/>
              <a:gd name="connsiteX6156" fmla="*/ 7446669 w 9310410"/>
              <a:gd name="connsiteY6156" fmla="*/ 2371327 h 5296383"/>
              <a:gd name="connsiteX6157" fmla="*/ 7426893 w 9310410"/>
              <a:gd name="connsiteY6157" fmla="*/ 2357544 h 5296383"/>
              <a:gd name="connsiteX6158" fmla="*/ 7408915 w 9310410"/>
              <a:gd name="connsiteY6158" fmla="*/ 2346158 h 5296383"/>
              <a:gd name="connsiteX6159" fmla="*/ 7389139 w 9310410"/>
              <a:gd name="connsiteY6159" fmla="*/ 2332374 h 5296383"/>
              <a:gd name="connsiteX6160" fmla="*/ 7362770 w 9310410"/>
              <a:gd name="connsiteY6160" fmla="*/ 2300613 h 5296383"/>
              <a:gd name="connsiteX6161" fmla="*/ 7360973 w 9310410"/>
              <a:gd name="connsiteY6161" fmla="*/ 2288028 h 5296383"/>
              <a:gd name="connsiteX6162" fmla="*/ 7367565 w 9310410"/>
              <a:gd name="connsiteY6162" fmla="*/ 2285032 h 5296383"/>
              <a:gd name="connsiteX6163" fmla="*/ 7362171 w 9310410"/>
              <a:gd name="connsiteY6163" fmla="*/ 2280837 h 5296383"/>
              <a:gd name="connsiteX6164" fmla="*/ 7362770 w 9310410"/>
              <a:gd name="connsiteY6164" fmla="*/ 2272447 h 5296383"/>
              <a:gd name="connsiteX6165" fmla="*/ 7365767 w 9310410"/>
              <a:gd name="connsiteY6165" fmla="*/ 2265855 h 5296383"/>
              <a:gd name="connsiteX6166" fmla="*/ 7358576 w 9310410"/>
              <a:gd name="connsiteY6166" fmla="*/ 2252072 h 5296383"/>
              <a:gd name="connsiteX6167" fmla="*/ 7348988 w 9310410"/>
              <a:gd name="connsiteY6167" fmla="*/ 2241884 h 5296383"/>
              <a:gd name="connsiteX6168" fmla="*/ 7341796 w 9310410"/>
              <a:gd name="connsiteY6168" fmla="*/ 2220909 h 5296383"/>
              <a:gd name="connsiteX6169" fmla="*/ 7322619 w 9310410"/>
              <a:gd name="connsiteY6169" fmla="*/ 2205928 h 5296383"/>
              <a:gd name="connsiteX6170" fmla="*/ 7322020 w 9310410"/>
              <a:gd name="connsiteY6170" fmla="*/ 2201133 h 5296383"/>
              <a:gd name="connsiteX6171" fmla="*/ 7321421 w 9310410"/>
              <a:gd name="connsiteY6171" fmla="*/ 2198137 h 5296383"/>
              <a:gd name="connsiteX6172" fmla="*/ 7313630 w 9310410"/>
              <a:gd name="connsiteY6172" fmla="*/ 2192743 h 5296383"/>
              <a:gd name="connsiteX6173" fmla="*/ 7301046 w 9310410"/>
              <a:gd name="connsiteY6173" fmla="*/ 2181957 h 5296383"/>
              <a:gd name="connsiteX6174" fmla="*/ 7281269 w 9310410"/>
              <a:gd name="connsiteY6174" fmla="*/ 2166375 h 5296383"/>
              <a:gd name="connsiteX6175" fmla="*/ 7275876 w 9310410"/>
              <a:gd name="connsiteY6175" fmla="*/ 2156188 h 5296383"/>
              <a:gd name="connsiteX6176" fmla="*/ 7269883 w 9310410"/>
              <a:gd name="connsiteY6176" fmla="*/ 2150794 h 5296383"/>
              <a:gd name="connsiteX6177" fmla="*/ 7264490 w 9310410"/>
              <a:gd name="connsiteY6177" fmla="*/ 2146000 h 5296383"/>
              <a:gd name="connsiteX6178" fmla="*/ 7255501 w 9310410"/>
              <a:gd name="connsiteY6178" fmla="*/ 2138809 h 5296383"/>
              <a:gd name="connsiteX6179" fmla="*/ 7251306 w 9310410"/>
              <a:gd name="connsiteY6179" fmla="*/ 2131618 h 5296383"/>
              <a:gd name="connsiteX6180" fmla="*/ 7242317 w 9310410"/>
              <a:gd name="connsiteY6180" fmla="*/ 2119632 h 5296383"/>
              <a:gd name="connsiteX6181" fmla="*/ 7234526 w 9310410"/>
              <a:gd name="connsiteY6181" fmla="*/ 2112441 h 5296383"/>
              <a:gd name="connsiteX6182" fmla="*/ 7224338 w 9310410"/>
              <a:gd name="connsiteY6182" fmla="*/ 2110044 h 5296383"/>
              <a:gd name="connsiteX6183" fmla="*/ 7221342 w 9310410"/>
              <a:gd name="connsiteY6183" fmla="*/ 2105250 h 5296383"/>
              <a:gd name="connsiteX6184" fmla="*/ 7217746 w 9310410"/>
              <a:gd name="connsiteY6184" fmla="*/ 2102253 h 5296383"/>
              <a:gd name="connsiteX6185" fmla="*/ 7207559 w 9310410"/>
              <a:gd name="connsiteY6185" fmla="*/ 2102852 h 5296383"/>
              <a:gd name="connsiteX6186" fmla="*/ 7202166 w 9310410"/>
              <a:gd name="connsiteY6186" fmla="*/ 2093863 h 5296383"/>
              <a:gd name="connsiteX6187" fmla="*/ 7200367 w 9310410"/>
              <a:gd name="connsiteY6187" fmla="*/ 2083676 h 5296383"/>
              <a:gd name="connsiteX6188" fmla="*/ 7206959 w 9310410"/>
              <a:gd name="connsiteY6188" fmla="*/ 2085473 h 5296383"/>
              <a:gd name="connsiteX6189" fmla="*/ 7208757 w 9310410"/>
              <a:gd name="connsiteY6189" fmla="*/ 2081279 h 5296383"/>
              <a:gd name="connsiteX6190" fmla="*/ 7202765 w 9310410"/>
              <a:gd name="connsiteY6190" fmla="*/ 2076484 h 5296383"/>
              <a:gd name="connsiteX6191" fmla="*/ 7197970 w 9310410"/>
              <a:gd name="connsiteY6191" fmla="*/ 2068694 h 5296383"/>
              <a:gd name="connsiteX6192" fmla="*/ 7187184 w 9310410"/>
              <a:gd name="connsiteY6192" fmla="*/ 2063300 h 5296383"/>
              <a:gd name="connsiteX6193" fmla="*/ 7176996 w 9310410"/>
              <a:gd name="connsiteY6193" fmla="*/ 2056109 h 5296383"/>
              <a:gd name="connsiteX6194" fmla="*/ 7168606 w 9310410"/>
              <a:gd name="connsiteY6194" fmla="*/ 2050716 h 5296383"/>
              <a:gd name="connsiteX6195" fmla="*/ 7159017 w 9310410"/>
              <a:gd name="connsiteY6195" fmla="*/ 2042326 h 5296383"/>
              <a:gd name="connsiteX6196" fmla="*/ 7157819 w 9310410"/>
              <a:gd name="connsiteY6196" fmla="*/ 2029142 h 5296383"/>
              <a:gd name="connsiteX6197" fmla="*/ 7138643 w 9310410"/>
              <a:gd name="connsiteY6197" fmla="*/ 2023748 h 5296383"/>
              <a:gd name="connsiteX6198" fmla="*/ 7129654 w 9310410"/>
              <a:gd name="connsiteY6198" fmla="*/ 2016557 h 5296383"/>
              <a:gd name="connsiteX6199" fmla="*/ 7116469 w 9310410"/>
              <a:gd name="connsiteY6199" fmla="*/ 2006968 h 5296383"/>
              <a:gd name="connsiteX6200" fmla="*/ 7110476 w 9310410"/>
              <a:gd name="connsiteY6200" fmla="*/ 1997979 h 5296383"/>
              <a:gd name="connsiteX6201" fmla="*/ 7097892 w 9310410"/>
              <a:gd name="connsiteY6201" fmla="*/ 1987792 h 5296383"/>
              <a:gd name="connsiteX6202" fmla="*/ 7091300 w 9310410"/>
              <a:gd name="connsiteY6202" fmla="*/ 1978803 h 5296383"/>
              <a:gd name="connsiteX6203" fmla="*/ 7088903 w 9310410"/>
              <a:gd name="connsiteY6203" fmla="*/ 1974608 h 5296383"/>
              <a:gd name="connsiteX6204" fmla="*/ 7083509 w 9310410"/>
              <a:gd name="connsiteY6204" fmla="*/ 1967417 h 5296383"/>
              <a:gd name="connsiteX6205" fmla="*/ 7074520 w 9310410"/>
              <a:gd name="connsiteY6205" fmla="*/ 1953034 h 5296383"/>
              <a:gd name="connsiteX6206" fmla="*/ 7068527 w 9310410"/>
              <a:gd name="connsiteY6206" fmla="*/ 1944644 h 5296383"/>
              <a:gd name="connsiteX6207" fmla="*/ 7055343 w 9310410"/>
              <a:gd name="connsiteY6207" fmla="*/ 1933258 h 5296383"/>
              <a:gd name="connsiteX6208" fmla="*/ 7051148 w 9310410"/>
              <a:gd name="connsiteY6208" fmla="*/ 1916478 h 5296383"/>
              <a:gd name="connsiteX6209" fmla="*/ 7039762 w 9310410"/>
              <a:gd name="connsiteY6209" fmla="*/ 1907489 h 5296383"/>
              <a:gd name="connsiteX6210" fmla="*/ 7023582 w 9310410"/>
              <a:gd name="connsiteY6210" fmla="*/ 1901496 h 5296383"/>
              <a:gd name="connsiteX6211" fmla="*/ 7007401 w 9310410"/>
              <a:gd name="connsiteY6211" fmla="*/ 1897301 h 5296383"/>
              <a:gd name="connsiteX6212" fmla="*/ 7002008 w 9310410"/>
              <a:gd name="connsiteY6212" fmla="*/ 1898500 h 5296383"/>
              <a:gd name="connsiteX6213" fmla="*/ 7013993 w 9310410"/>
              <a:gd name="connsiteY6213" fmla="*/ 1924269 h 5296383"/>
              <a:gd name="connsiteX6214" fmla="*/ 7025979 w 9310410"/>
              <a:gd name="connsiteY6214" fmla="*/ 1956629 h 5296383"/>
              <a:gd name="connsiteX6215" fmla="*/ 7036166 w 9310410"/>
              <a:gd name="connsiteY6215" fmla="*/ 1969814 h 5296383"/>
              <a:gd name="connsiteX6216" fmla="*/ 7052946 w 9310410"/>
              <a:gd name="connsiteY6216" fmla="*/ 1975207 h 5296383"/>
              <a:gd name="connsiteX6217" fmla="*/ 7066130 w 9310410"/>
              <a:gd name="connsiteY6217" fmla="*/ 1997979 h 5296383"/>
              <a:gd name="connsiteX6218" fmla="*/ 7072722 w 9310410"/>
              <a:gd name="connsiteY6218" fmla="*/ 2000377 h 5296383"/>
              <a:gd name="connsiteX6219" fmla="*/ 7079913 w 9310410"/>
              <a:gd name="connsiteY6219" fmla="*/ 2005770 h 5296383"/>
              <a:gd name="connsiteX6220" fmla="*/ 7087104 w 9310410"/>
              <a:gd name="connsiteY6220" fmla="*/ 2013561 h 5296383"/>
              <a:gd name="connsiteX6221" fmla="*/ 7095494 w 9310410"/>
              <a:gd name="connsiteY6221" fmla="*/ 2018355 h 5296383"/>
              <a:gd name="connsiteX6222" fmla="*/ 7096693 w 9310410"/>
              <a:gd name="connsiteY6222" fmla="*/ 2027943 h 5296383"/>
              <a:gd name="connsiteX6223" fmla="*/ 7099090 w 9310410"/>
              <a:gd name="connsiteY6223" fmla="*/ 2038131 h 5296383"/>
              <a:gd name="connsiteX6224" fmla="*/ 7109278 w 9310410"/>
              <a:gd name="connsiteY6224" fmla="*/ 2046521 h 5296383"/>
              <a:gd name="connsiteX6225" fmla="*/ 7116469 w 9310410"/>
              <a:gd name="connsiteY6225" fmla="*/ 2050716 h 5296383"/>
              <a:gd name="connsiteX6226" fmla="*/ 7123661 w 9310410"/>
              <a:gd name="connsiteY6226" fmla="*/ 2059705 h 5296383"/>
              <a:gd name="connsiteX6227" fmla="*/ 7129054 w 9310410"/>
              <a:gd name="connsiteY6227" fmla="*/ 2065697 h 5296383"/>
              <a:gd name="connsiteX6228" fmla="*/ 7138043 w 9310410"/>
              <a:gd name="connsiteY6228" fmla="*/ 2074087 h 5296383"/>
              <a:gd name="connsiteX6229" fmla="*/ 7137444 w 9310410"/>
              <a:gd name="connsiteY6229" fmla="*/ 2068094 h 5296383"/>
              <a:gd name="connsiteX6230" fmla="*/ 7135046 w 9310410"/>
              <a:gd name="connsiteY6230" fmla="*/ 2062701 h 5296383"/>
              <a:gd name="connsiteX6231" fmla="*/ 7144036 w 9310410"/>
              <a:gd name="connsiteY6231" fmla="*/ 2069293 h 5296383"/>
              <a:gd name="connsiteX6232" fmla="*/ 7152425 w 9310410"/>
              <a:gd name="connsiteY6232" fmla="*/ 2098058 h 5296383"/>
              <a:gd name="connsiteX6233" fmla="*/ 7175198 w 9310410"/>
              <a:gd name="connsiteY6233" fmla="*/ 2127423 h 5296383"/>
              <a:gd name="connsiteX6234" fmla="*/ 7185386 w 9310410"/>
              <a:gd name="connsiteY6234" fmla="*/ 2144202 h 5296383"/>
              <a:gd name="connsiteX6235" fmla="*/ 7197371 w 9310410"/>
              <a:gd name="connsiteY6235" fmla="*/ 2166975 h 5296383"/>
              <a:gd name="connsiteX6236" fmla="*/ 7199768 w 9310410"/>
              <a:gd name="connsiteY6236" fmla="*/ 2160383 h 5296383"/>
              <a:gd name="connsiteX6237" fmla="*/ 7202166 w 9310410"/>
              <a:gd name="connsiteY6237" fmla="*/ 2156188 h 5296383"/>
              <a:gd name="connsiteX6238" fmla="*/ 7213552 w 9310410"/>
              <a:gd name="connsiteY6238" fmla="*/ 2165776 h 5296383"/>
              <a:gd name="connsiteX6239" fmla="*/ 7223739 w 9310410"/>
              <a:gd name="connsiteY6239" fmla="*/ 2177762 h 5296383"/>
              <a:gd name="connsiteX6240" fmla="*/ 7233327 w 9310410"/>
              <a:gd name="connsiteY6240" fmla="*/ 2190946 h 5296383"/>
              <a:gd name="connsiteX6241" fmla="*/ 7230930 w 9310410"/>
              <a:gd name="connsiteY6241" fmla="*/ 2215516 h 5296383"/>
              <a:gd name="connsiteX6242" fmla="*/ 7209956 w 9310410"/>
              <a:gd name="connsiteY6242" fmla="*/ 2195141 h 5296383"/>
              <a:gd name="connsiteX6243" fmla="*/ 7197970 w 9310410"/>
              <a:gd name="connsiteY6243" fmla="*/ 2184354 h 5296383"/>
              <a:gd name="connsiteX6244" fmla="*/ 7187184 w 9310410"/>
              <a:gd name="connsiteY6244" fmla="*/ 2172368 h 5296383"/>
              <a:gd name="connsiteX6245" fmla="*/ 7174599 w 9310410"/>
              <a:gd name="connsiteY6245" fmla="*/ 2163379 h 5296383"/>
              <a:gd name="connsiteX6246" fmla="*/ 7166808 w 9310410"/>
              <a:gd name="connsiteY6246" fmla="*/ 2154390 h 5296383"/>
              <a:gd name="connsiteX6247" fmla="*/ 7162614 w 9310410"/>
              <a:gd name="connsiteY6247" fmla="*/ 2150794 h 5296383"/>
              <a:gd name="connsiteX6248" fmla="*/ 7155422 w 9310410"/>
              <a:gd name="connsiteY6248" fmla="*/ 2144802 h 5296383"/>
              <a:gd name="connsiteX6249" fmla="*/ 7151227 w 9310410"/>
              <a:gd name="connsiteY6249" fmla="*/ 2143603 h 5296383"/>
              <a:gd name="connsiteX6250" fmla="*/ 7145234 w 9310410"/>
              <a:gd name="connsiteY6250" fmla="*/ 2144802 h 5296383"/>
              <a:gd name="connsiteX6251" fmla="*/ 7145234 w 9310410"/>
              <a:gd name="connsiteY6251" fmla="*/ 2135213 h 5296383"/>
              <a:gd name="connsiteX6252" fmla="*/ 7140440 w 9310410"/>
              <a:gd name="connsiteY6252" fmla="*/ 2116636 h 5296383"/>
              <a:gd name="connsiteX6253" fmla="*/ 7131451 w 9310410"/>
              <a:gd name="connsiteY6253" fmla="*/ 2098058 h 5296383"/>
              <a:gd name="connsiteX6254" fmla="*/ 7127256 w 9310410"/>
              <a:gd name="connsiteY6254" fmla="*/ 2092065 h 5296383"/>
              <a:gd name="connsiteX6255" fmla="*/ 7109278 w 9310410"/>
              <a:gd name="connsiteY6255" fmla="*/ 2082477 h 5296383"/>
              <a:gd name="connsiteX6256" fmla="*/ 7098491 w 9310410"/>
              <a:gd name="connsiteY6256" fmla="*/ 2066896 h 5296383"/>
              <a:gd name="connsiteX6257" fmla="*/ 7094296 w 9310410"/>
              <a:gd name="connsiteY6257" fmla="*/ 2065697 h 5296383"/>
              <a:gd name="connsiteX6258" fmla="*/ 7093697 w 9310410"/>
              <a:gd name="connsiteY6258" fmla="*/ 2071091 h 5296383"/>
              <a:gd name="connsiteX6259" fmla="*/ 7087104 w 9310410"/>
              <a:gd name="connsiteY6259" fmla="*/ 2072289 h 5296383"/>
              <a:gd name="connsiteX6260" fmla="*/ 7082311 w 9310410"/>
              <a:gd name="connsiteY6260" fmla="*/ 2066896 h 5296383"/>
              <a:gd name="connsiteX6261" fmla="*/ 7076917 w 9310410"/>
              <a:gd name="connsiteY6261" fmla="*/ 2063300 h 5296383"/>
              <a:gd name="connsiteX6262" fmla="*/ 7066130 w 9310410"/>
              <a:gd name="connsiteY6262" fmla="*/ 2057907 h 5296383"/>
              <a:gd name="connsiteX6263" fmla="*/ 7055343 w 9310410"/>
              <a:gd name="connsiteY6263" fmla="*/ 2049517 h 5296383"/>
              <a:gd name="connsiteX6264" fmla="*/ 7039762 w 9310410"/>
              <a:gd name="connsiteY6264" fmla="*/ 2038730 h 5296383"/>
              <a:gd name="connsiteX6265" fmla="*/ 7047553 w 9310410"/>
              <a:gd name="connsiteY6265" fmla="*/ 2036932 h 5296383"/>
              <a:gd name="connsiteX6266" fmla="*/ 7053545 w 9310410"/>
              <a:gd name="connsiteY6266" fmla="*/ 2039329 h 5296383"/>
              <a:gd name="connsiteX6267" fmla="*/ 7058340 w 9310410"/>
              <a:gd name="connsiteY6267" fmla="*/ 2040528 h 5296383"/>
              <a:gd name="connsiteX6268" fmla="*/ 7060137 w 9310410"/>
              <a:gd name="connsiteY6268" fmla="*/ 2036932 h 5296383"/>
              <a:gd name="connsiteX6269" fmla="*/ 7058340 w 9310410"/>
              <a:gd name="connsiteY6269" fmla="*/ 2032138 h 5296383"/>
              <a:gd name="connsiteX6270" fmla="*/ 7060737 w 9310410"/>
              <a:gd name="connsiteY6270" fmla="*/ 2028542 h 5296383"/>
              <a:gd name="connsiteX6271" fmla="*/ 7064333 w 9310410"/>
              <a:gd name="connsiteY6271" fmla="*/ 2028542 h 5296383"/>
              <a:gd name="connsiteX6272" fmla="*/ 7061935 w 9310410"/>
              <a:gd name="connsiteY6272" fmla="*/ 2021950 h 5296383"/>
              <a:gd name="connsiteX6273" fmla="*/ 7049351 w 9310410"/>
              <a:gd name="connsiteY6273" fmla="*/ 2006369 h 5296383"/>
              <a:gd name="connsiteX6274" fmla="*/ 7039163 w 9310410"/>
              <a:gd name="connsiteY6274" fmla="*/ 1994384 h 5296383"/>
              <a:gd name="connsiteX6275" fmla="*/ 7034369 w 9310410"/>
              <a:gd name="connsiteY6275" fmla="*/ 1989590 h 5296383"/>
              <a:gd name="connsiteX6276" fmla="*/ 7019986 w 9310410"/>
              <a:gd name="connsiteY6276" fmla="*/ 1982398 h 5296383"/>
              <a:gd name="connsiteX6277" fmla="*/ 7005603 w 9310410"/>
              <a:gd name="connsiteY6277" fmla="*/ 1972211 h 5296383"/>
              <a:gd name="connsiteX6278" fmla="*/ 6995416 w 9310410"/>
              <a:gd name="connsiteY6278" fmla="*/ 1956030 h 5296383"/>
              <a:gd name="connsiteX6279" fmla="*/ 6988224 w 9310410"/>
              <a:gd name="connsiteY6279" fmla="*/ 1950637 h 5296383"/>
              <a:gd name="connsiteX6280" fmla="*/ 6982831 w 9310410"/>
              <a:gd name="connsiteY6280" fmla="*/ 1945243 h 5296383"/>
              <a:gd name="connsiteX6281" fmla="*/ 6978636 w 9310410"/>
              <a:gd name="connsiteY6281" fmla="*/ 1933258 h 5296383"/>
              <a:gd name="connsiteX6282" fmla="*/ 6973242 w 9310410"/>
              <a:gd name="connsiteY6282" fmla="*/ 1927265 h 5296383"/>
              <a:gd name="connsiteX6283" fmla="*/ 6964853 w 9310410"/>
              <a:gd name="connsiteY6283" fmla="*/ 1912283 h 5296383"/>
              <a:gd name="connsiteX6284" fmla="*/ 6959460 w 9310410"/>
              <a:gd name="connsiteY6284" fmla="*/ 1902695 h 5296383"/>
              <a:gd name="connsiteX6285" fmla="*/ 6955264 w 9310410"/>
              <a:gd name="connsiteY6285" fmla="*/ 1897301 h 5296383"/>
              <a:gd name="connsiteX6286" fmla="*/ 6936088 w 9310410"/>
              <a:gd name="connsiteY6286" fmla="*/ 1878125 h 5296383"/>
              <a:gd name="connsiteX6287" fmla="*/ 6942080 w 9310410"/>
              <a:gd name="connsiteY6287" fmla="*/ 1874529 h 5296383"/>
              <a:gd name="connsiteX6288" fmla="*/ 6937286 w 9310410"/>
              <a:gd name="connsiteY6288" fmla="*/ 1875727 h 5296383"/>
              <a:gd name="connsiteX6289" fmla="*/ 6919908 w 9310410"/>
              <a:gd name="connsiteY6289" fmla="*/ 1852955 h 5296383"/>
              <a:gd name="connsiteX6290" fmla="*/ 6897135 w 9310410"/>
              <a:gd name="connsiteY6290" fmla="*/ 1837973 h 5296383"/>
              <a:gd name="connsiteX6291" fmla="*/ 6861179 w 9310410"/>
              <a:gd name="connsiteY6291" fmla="*/ 1820594 h 5296383"/>
              <a:gd name="connsiteX6292" fmla="*/ 6836009 w 9310410"/>
              <a:gd name="connsiteY6292" fmla="*/ 1815800 h 5296383"/>
              <a:gd name="connsiteX6293" fmla="*/ 6824623 w 9310410"/>
              <a:gd name="connsiteY6293" fmla="*/ 1804414 h 5296383"/>
              <a:gd name="connsiteX6294" fmla="*/ 6814435 w 9310410"/>
              <a:gd name="connsiteY6294" fmla="*/ 1788233 h 5296383"/>
              <a:gd name="connsiteX6295" fmla="*/ 6792262 w 9310410"/>
              <a:gd name="connsiteY6295" fmla="*/ 1770255 h 5296383"/>
              <a:gd name="connsiteX6296" fmla="*/ 6773685 w 9310410"/>
              <a:gd name="connsiteY6296" fmla="*/ 1748682 h 5296383"/>
              <a:gd name="connsiteX6297" fmla="*/ 6769489 w 9310410"/>
              <a:gd name="connsiteY6297" fmla="*/ 1734898 h 5296383"/>
              <a:gd name="connsiteX6298" fmla="*/ 6761699 w 9310410"/>
              <a:gd name="connsiteY6298" fmla="*/ 1726508 h 5296383"/>
              <a:gd name="connsiteX6299" fmla="*/ 6749714 w 9310410"/>
              <a:gd name="connsiteY6299" fmla="*/ 1721714 h 5296383"/>
              <a:gd name="connsiteX6300" fmla="*/ 6745518 w 9310410"/>
              <a:gd name="connsiteY6300" fmla="*/ 1701938 h 5296383"/>
              <a:gd name="connsiteX6301" fmla="*/ 6749714 w 9310410"/>
              <a:gd name="connsiteY6301" fmla="*/ 1692350 h 5296383"/>
              <a:gd name="connsiteX6302" fmla="*/ 6749714 w 9310410"/>
              <a:gd name="connsiteY6302" fmla="*/ 1688155 h 5296383"/>
              <a:gd name="connsiteX6303" fmla="*/ 6738327 w 9310410"/>
              <a:gd name="connsiteY6303" fmla="*/ 1694747 h 5296383"/>
              <a:gd name="connsiteX6304" fmla="*/ 6733533 w 9310410"/>
              <a:gd name="connsiteY6304" fmla="*/ 1695945 h 5296383"/>
              <a:gd name="connsiteX6305" fmla="*/ 6726342 w 9310410"/>
              <a:gd name="connsiteY6305" fmla="*/ 1692949 h 5296383"/>
              <a:gd name="connsiteX6306" fmla="*/ 6722147 w 9310410"/>
              <a:gd name="connsiteY6306" fmla="*/ 1689353 h 5296383"/>
              <a:gd name="connsiteX6307" fmla="*/ 6716754 w 9310410"/>
              <a:gd name="connsiteY6307" fmla="*/ 1679166 h 5296383"/>
              <a:gd name="connsiteX6308" fmla="*/ 6692184 w 9310410"/>
              <a:gd name="connsiteY6308" fmla="*/ 1650400 h 5296383"/>
              <a:gd name="connsiteX6309" fmla="*/ 6678999 w 9310410"/>
              <a:gd name="connsiteY6309" fmla="*/ 1637217 h 5296383"/>
              <a:gd name="connsiteX6310" fmla="*/ 6661620 w 9310410"/>
              <a:gd name="connsiteY6310" fmla="*/ 1613246 h 5296383"/>
              <a:gd name="connsiteX6311" fmla="*/ 6656826 w 9310410"/>
              <a:gd name="connsiteY6311" fmla="*/ 1598264 h 5296383"/>
              <a:gd name="connsiteX6312" fmla="*/ 6650834 w 9310410"/>
              <a:gd name="connsiteY6312" fmla="*/ 1582083 h 5296383"/>
              <a:gd name="connsiteX6313" fmla="*/ 6642444 w 9310410"/>
              <a:gd name="connsiteY6313" fmla="*/ 1568899 h 5296383"/>
              <a:gd name="connsiteX6314" fmla="*/ 6632256 w 9310410"/>
              <a:gd name="connsiteY6314" fmla="*/ 1552120 h 5296383"/>
              <a:gd name="connsiteX6315" fmla="*/ 6623866 w 9310410"/>
              <a:gd name="connsiteY6315" fmla="*/ 1526351 h 5296383"/>
              <a:gd name="connsiteX6316" fmla="*/ 6613678 w 9310410"/>
              <a:gd name="connsiteY6316" fmla="*/ 1477810 h 5296383"/>
              <a:gd name="connsiteX6317" fmla="*/ 6606487 w 9310410"/>
              <a:gd name="connsiteY6317" fmla="*/ 1459232 h 5296383"/>
              <a:gd name="connsiteX6318" fmla="*/ 6599296 w 9310410"/>
              <a:gd name="connsiteY6318" fmla="*/ 1444850 h 5296383"/>
              <a:gd name="connsiteX6319" fmla="*/ 6601093 w 9310410"/>
              <a:gd name="connsiteY6319" fmla="*/ 1437059 h 5296383"/>
              <a:gd name="connsiteX6320" fmla="*/ 6593902 w 9310410"/>
              <a:gd name="connsiteY6320" fmla="*/ 1429268 h 5296383"/>
              <a:gd name="connsiteX6321" fmla="*/ 6591505 w 9310410"/>
              <a:gd name="connsiteY6321" fmla="*/ 1419680 h 5296383"/>
              <a:gd name="connsiteX6322" fmla="*/ 6599895 w 9310410"/>
              <a:gd name="connsiteY6322" fmla="*/ 1414287 h 5296383"/>
              <a:gd name="connsiteX6323" fmla="*/ 6605289 w 9310410"/>
              <a:gd name="connsiteY6323" fmla="*/ 1410092 h 5296383"/>
              <a:gd name="connsiteX6324" fmla="*/ 6590307 w 9310410"/>
              <a:gd name="connsiteY6324" fmla="*/ 1410691 h 5296383"/>
              <a:gd name="connsiteX6325" fmla="*/ 6587910 w 9310410"/>
              <a:gd name="connsiteY6325" fmla="*/ 1405297 h 5296383"/>
              <a:gd name="connsiteX6326" fmla="*/ 6591505 w 9310410"/>
              <a:gd name="connsiteY6326" fmla="*/ 1402900 h 5296383"/>
              <a:gd name="connsiteX6327" fmla="*/ 6584913 w 9310410"/>
              <a:gd name="connsiteY6327" fmla="*/ 1396908 h 5296383"/>
              <a:gd name="connsiteX6328" fmla="*/ 6580119 w 9310410"/>
              <a:gd name="connsiteY6328" fmla="*/ 1390915 h 5296383"/>
              <a:gd name="connsiteX6329" fmla="*/ 6577722 w 9310410"/>
              <a:gd name="connsiteY6329" fmla="*/ 1385521 h 5296383"/>
              <a:gd name="connsiteX6330" fmla="*/ 6573527 w 9310410"/>
              <a:gd name="connsiteY6330" fmla="*/ 1383724 h 5296383"/>
              <a:gd name="connsiteX6331" fmla="*/ 6563939 w 9310410"/>
              <a:gd name="connsiteY6331" fmla="*/ 1371738 h 5296383"/>
              <a:gd name="connsiteX6332" fmla="*/ 6544162 w 9310410"/>
              <a:gd name="connsiteY6332" fmla="*/ 1350764 h 5296383"/>
              <a:gd name="connsiteX6333" fmla="*/ 6546560 w 9310410"/>
              <a:gd name="connsiteY6333" fmla="*/ 1345370 h 5296383"/>
              <a:gd name="connsiteX6334" fmla="*/ 6573527 w 9310410"/>
              <a:gd name="connsiteY6334" fmla="*/ 1345969 h 5296383"/>
              <a:gd name="connsiteX6335" fmla="*/ 6586711 w 9310410"/>
              <a:gd name="connsiteY6335" fmla="*/ 1347168 h 5296383"/>
              <a:gd name="connsiteX6336" fmla="*/ 6590307 w 9310410"/>
              <a:gd name="connsiteY6336" fmla="*/ 1363348 h 5296383"/>
              <a:gd name="connsiteX6337" fmla="*/ 6592703 w 9310410"/>
              <a:gd name="connsiteY6337" fmla="*/ 1363948 h 5296383"/>
              <a:gd name="connsiteX6338" fmla="*/ 6596899 w 9310410"/>
              <a:gd name="connsiteY6338" fmla="*/ 1356756 h 5296383"/>
              <a:gd name="connsiteX6339" fmla="*/ 6601693 w 9310410"/>
              <a:gd name="connsiteY6339" fmla="*/ 1361551 h 5296383"/>
              <a:gd name="connsiteX6340" fmla="*/ 6598097 w 9310410"/>
              <a:gd name="connsiteY6340" fmla="*/ 1371738 h 5296383"/>
              <a:gd name="connsiteX6341" fmla="*/ 6598696 w 9310410"/>
              <a:gd name="connsiteY6341" fmla="*/ 1378929 h 5296383"/>
              <a:gd name="connsiteX6342" fmla="*/ 6604689 w 9310410"/>
              <a:gd name="connsiteY6342" fmla="*/ 1377731 h 5296383"/>
              <a:gd name="connsiteX6343" fmla="*/ 6608285 w 9310410"/>
              <a:gd name="connsiteY6343" fmla="*/ 1367543 h 5296383"/>
              <a:gd name="connsiteX6344" fmla="*/ 6608884 w 9310410"/>
              <a:gd name="connsiteY6344" fmla="*/ 1352561 h 5296383"/>
              <a:gd name="connsiteX6345" fmla="*/ 6606487 w 9310410"/>
              <a:gd name="connsiteY6345" fmla="*/ 1347168 h 5296383"/>
              <a:gd name="connsiteX6346" fmla="*/ 6601093 w 9310410"/>
              <a:gd name="connsiteY6346" fmla="*/ 1344771 h 5296383"/>
              <a:gd name="connsiteX6347" fmla="*/ 6596899 w 9310410"/>
              <a:gd name="connsiteY6347" fmla="*/ 1340576 h 5296383"/>
              <a:gd name="connsiteX6348" fmla="*/ 6596899 w 9310410"/>
              <a:gd name="connsiteY6348" fmla="*/ 1334583 h 5296383"/>
              <a:gd name="connsiteX6349" fmla="*/ 6593902 w 9310410"/>
              <a:gd name="connsiteY6349" fmla="*/ 1332186 h 5296383"/>
              <a:gd name="connsiteX6350" fmla="*/ 6590906 w 9310410"/>
              <a:gd name="connsiteY6350" fmla="*/ 1327991 h 5296383"/>
              <a:gd name="connsiteX6351" fmla="*/ 6592703 w 9310410"/>
              <a:gd name="connsiteY6351" fmla="*/ 1322598 h 5296383"/>
              <a:gd name="connsiteX6352" fmla="*/ 6586711 w 9310410"/>
              <a:gd name="connsiteY6352" fmla="*/ 1318403 h 5296383"/>
              <a:gd name="connsiteX6353" fmla="*/ 6580718 w 9310410"/>
              <a:gd name="connsiteY6353" fmla="*/ 1313009 h 5296383"/>
              <a:gd name="connsiteX6354" fmla="*/ 6581917 w 9310410"/>
              <a:gd name="connsiteY6354" fmla="*/ 1310612 h 5296383"/>
              <a:gd name="connsiteX6355" fmla="*/ 6577722 w 9310410"/>
              <a:gd name="connsiteY6355" fmla="*/ 1311811 h 5296383"/>
              <a:gd name="connsiteX6356" fmla="*/ 6578322 w 9310410"/>
              <a:gd name="connsiteY6356" fmla="*/ 1308814 h 5296383"/>
              <a:gd name="connsiteX6357" fmla="*/ 6572329 w 9310410"/>
              <a:gd name="connsiteY6357" fmla="*/ 1310013 h 5296383"/>
              <a:gd name="connsiteX6358" fmla="*/ 6571130 w 9310410"/>
              <a:gd name="connsiteY6358" fmla="*/ 1298627 h 5296383"/>
              <a:gd name="connsiteX6359" fmla="*/ 6562740 w 9310410"/>
              <a:gd name="connsiteY6359" fmla="*/ 1295630 h 5296383"/>
              <a:gd name="connsiteX6360" fmla="*/ 6556148 w 9310410"/>
              <a:gd name="connsiteY6360" fmla="*/ 1301024 h 5296383"/>
              <a:gd name="connsiteX6361" fmla="*/ 6545961 w 9310410"/>
              <a:gd name="connsiteY6361" fmla="*/ 1301024 h 5296383"/>
              <a:gd name="connsiteX6362" fmla="*/ 6544162 w 9310410"/>
              <a:gd name="connsiteY6362" fmla="*/ 1295630 h 5296383"/>
              <a:gd name="connsiteX6363" fmla="*/ 6545961 w 9310410"/>
              <a:gd name="connsiteY6363" fmla="*/ 1292035 h 5296383"/>
              <a:gd name="connsiteX6364" fmla="*/ 6541166 w 9310410"/>
              <a:gd name="connsiteY6364" fmla="*/ 1275854 h 5296383"/>
              <a:gd name="connsiteX6365" fmla="*/ 6535772 w 9310410"/>
              <a:gd name="connsiteY6365" fmla="*/ 1288439 h 5296383"/>
              <a:gd name="connsiteX6366" fmla="*/ 6523787 w 9310410"/>
              <a:gd name="connsiteY6366" fmla="*/ 1286042 h 5296383"/>
              <a:gd name="connsiteX6367" fmla="*/ 6521990 w 9310410"/>
              <a:gd name="connsiteY6367" fmla="*/ 1269262 h 5296383"/>
              <a:gd name="connsiteX6368" fmla="*/ 6517794 w 9310410"/>
              <a:gd name="connsiteY6368" fmla="*/ 1263869 h 5296383"/>
              <a:gd name="connsiteX6369" fmla="*/ 6510603 w 9310410"/>
              <a:gd name="connsiteY6369" fmla="*/ 1268663 h 5296383"/>
              <a:gd name="connsiteX6370" fmla="*/ 6501614 w 9310410"/>
              <a:gd name="connsiteY6370" fmla="*/ 1265667 h 5296383"/>
              <a:gd name="connsiteX6371" fmla="*/ 6490827 w 9310410"/>
              <a:gd name="connsiteY6371" fmla="*/ 1268064 h 5296383"/>
              <a:gd name="connsiteX6372" fmla="*/ 6480640 w 9310410"/>
              <a:gd name="connsiteY6372" fmla="*/ 1268663 h 5296383"/>
              <a:gd name="connsiteX6373" fmla="*/ 6481838 w 9310410"/>
              <a:gd name="connsiteY6373" fmla="*/ 1262071 h 5296383"/>
              <a:gd name="connsiteX6374" fmla="*/ 6490228 w 9310410"/>
              <a:gd name="connsiteY6374" fmla="*/ 1250086 h 5296383"/>
              <a:gd name="connsiteX6375" fmla="*/ 6483037 w 9310410"/>
              <a:gd name="connsiteY6375" fmla="*/ 1236902 h 5296383"/>
              <a:gd name="connsiteX6376" fmla="*/ 6478841 w 9310410"/>
              <a:gd name="connsiteY6376" fmla="*/ 1236302 h 5296383"/>
              <a:gd name="connsiteX6377" fmla="*/ 6486033 w 9310410"/>
              <a:gd name="connsiteY6377" fmla="*/ 1248887 h 5296383"/>
              <a:gd name="connsiteX6378" fmla="*/ 6476445 w 9310410"/>
              <a:gd name="connsiteY6378" fmla="*/ 1257876 h 5296383"/>
              <a:gd name="connsiteX6379" fmla="*/ 6471051 w 9310410"/>
              <a:gd name="connsiteY6379" fmla="*/ 1257277 h 5296383"/>
              <a:gd name="connsiteX6380" fmla="*/ 6463260 w 9310410"/>
              <a:gd name="connsiteY6380" fmla="*/ 1257277 h 5296383"/>
              <a:gd name="connsiteX6381" fmla="*/ 6457268 w 9310410"/>
              <a:gd name="connsiteY6381" fmla="*/ 1255479 h 5296383"/>
              <a:gd name="connsiteX6382" fmla="*/ 6447679 w 9310410"/>
              <a:gd name="connsiteY6382" fmla="*/ 1256078 h 5296383"/>
              <a:gd name="connsiteX6383" fmla="*/ 6434496 w 9310410"/>
              <a:gd name="connsiteY6383" fmla="*/ 1250685 h 5296383"/>
              <a:gd name="connsiteX6384" fmla="*/ 6444683 w 9310410"/>
              <a:gd name="connsiteY6384" fmla="*/ 1248288 h 5296383"/>
              <a:gd name="connsiteX6385" fmla="*/ 6454271 w 9310410"/>
              <a:gd name="connsiteY6385" fmla="*/ 1246490 h 5296383"/>
              <a:gd name="connsiteX6386" fmla="*/ 6437492 w 9310410"/>
              <a:gd name="connsiteY6386" fmla="*/ 1244093 h 5296383"/>
              <a:gd name="connsiteX6387" fmla="*/ 6431499 w 9310410"/>
              <a:gd name="connsiteY6387" fmla="*/ 1238699 h 5296383"/>
              <a:gd name="connsiteX6388" fmla="*/ 6435694 w 9310410"/>
              <a:gd name="connsiteY6388" fmla="*/ 1232707 h 5296383"/>
              <a:gd name="connsiteX6389" fmla="*/ 6429701 w 9310410"/>
              <a:gd name="connsiteY6389" fmla="*/ 1230909 h 5296383"/>
              <a:gd name="connsiteX6390" fmla="*/ 6425507 w 9310410"/>
              <a:gd name="connsiteY6390" fmla="*/ 1218324 h 5296383"/>
              <a:gd name="connsiteX6391" fmla="*/ 6427903 w 9310410"/>
              <a:gd name="connsiteY6391" fmla="*/ 1203941 h 5296383"/>
              <a:gd name="connsiteX6392" fmla="*/ 6420712 w 9310410"/>
              <a:gd name="connsiteY6392" fmla="*/ 1204541 h 5296383"/>
              <a:gd name="connsiteX6393" fmla="*/ 6411124 w 9310410"/>
              <a:gd name="connsiteY6393" fmla="*/ 1209934 h 5296383"/>
              <a:gd name="connsiteX6394" fmla="*/ 6405730 w 9310410"/>
              <a:gd name="connsiteY6394" fmla="*/ 1209335 h 5296383"/>
              <a:gd name="connsiteX6395" fmla="*/ 6401536 w 9310410"/>
              <a:gd name="connsiteY6395" fmla="*/ 1207537 h 5296383"/>
              <a:gd name="connsiteX6396" fmla="*/ 6400936 w 9310410"/>
              <a:gd name="connsiteY6396" fmla="*/ 1195552 h 5296383"/>
              <a:gd name="connsiteX6397" fmla="*/ 6394943 w 9310410"/>
              <a:gd name="connsiteY6397" fmla="*/ 1189559 h 5296383"/>
              <a:gd name="connsiteX6398" fmla="*/ 6388950 w 9310410"/>
              <a:gd name="connsiteY6398" fmla="*/ 1189559 h 5296383"/>
              <a:gd name="connsiteX6399" fmla="*/ 6375167 w 9310410"/>
              <a:gd name="connsiteY6399" fmla="*/ 1182368 h 5296383"/>
              <a:gd name="connsiteX6400" fmla="*/ 6382358 w 9310410"/>
              <a:gd name="connsiteY6400" fmla="*/ 1177573 h 5296383"/>
              <a:gd name="connsiteX6401" fmla="*/ 6394943 w 9310410"/>
              <a:gd name="connsiteY6401" fmla="*/ 1178173 h 5296383"/>
              <a:gd name="connsiteX6402" fmla="*/ 6397340 w 9310410"/>
              <a:gd name="connsiteY6402" fmla="*/ 1175776 h 5296383"/>
              <a:gd name="connsiteX6403" fmla="*/ 6384157 w 9310410"/>
              <a:gd name="connsiteY6403" fmla="*/ 1173378 h 5296383"/>
              <a:gd name="connsiteX6404" fmla="*/ 6367976 w 9310410"/>
              <a:gd name="connsiteY6404" fmla="*/ 1157198 h 5296383"/>
              <a:gd name="connsiteX6405" fmla="*/ 6363781 w 9310410"/>
              <a:gd name="connsiteY6405" fmla="*/ 1155400 h 5296383"/>
              <a:gd name="connsiteX6406" fmla="*/ 6359587 w 9310410"/>
              <a:gd name="connsiteY6406" fmla="*/ 1168584 h 5296383"/>
              <a:gd name="connsiteX6407" fmla="*/ 6353594 w 9310410"/>
              <a:gd name="connsiteY6407" fmla="*/ 1166786 h 5296383"/>
              <a:gd name="connsiteX6408" fmla="*/ 6345803 w 9310410"/>
              <a:gd name="connsiteY6408" fmla="*/ 1161393 h 5296383"/>
              <a:gd name="connsiteX6409" fmla="*/ 6336814 w 9310410"/>
              <a:gd name="connsiteY6409" fmla="*/ 1150606 h 5296383"/>
              <a:gd name="connsiteX6410" fmla="*/ 6325427 w 9310410"/>
              <a:gd name="connsiteY6410" fmla="*/ 1139819 h 5296383"/>
              <a:gd name="connsiteX6411" fmla="*/ 6324828 w 9310410"/>
              <a:gd name="connsiteY6411" fmla="*/ 1127834 h 5296383"/>
              <a:gd name="connsiteX6412" fmla="*/ 6320634 w 9310410"/>
              <a:gd name="connsiteY6412" fmla="*/ 1117047 h 5296383"/>
              <a:gd name="connsiteX6413" fmla="*/ 6318236 w 9310410"/>
              <a:gd name="connsiteY6413" fmla="*/ 1112253 h 5296383"/>
              <a:gd name="connsiteX6414" fmla="*/ 6284677 w 9310410"/>
              <a:gd name="connsiteY6414" fmla="*/ 1087083 h 5296383"/>
              <a:gd name="connsiteX6415" fmla="*/ 6222353 w 9310410"/>
              <a:gd name="connsiteY6415" fmla="*/ 1046332 h 5296383"/>
              <a:gd name="connsiteX6416" fmla="*/ 6192988 w 9310410"/>
              <a:gd name="connsiteY6416" fmla="*/ 1019365 h 5296383"/>
              <a:gd name="connsiteX6417" fmla="*/ 6154634 w 9310410"/>
              <a:gd name="connsiteY6417" fmla="*/ 1000188 h 5296383"/>
              <a:gd name="connsiteX6418" fmla="*/ 6119277 w 9310410"/>
              <a:gd name="connsiteY6418" fmla="*/ 1006181 h 5296383"/>
              <a:gd name="connsiteX6419" fmla="*/ 6091112 w 9310410"/>
              <a:gd name="connsiteY6419" fmla="*/ 1000787 h 5296383"/>
              <a:gd name="connsiteX6420" fmla="*/ 6085718 w 9310410"/>
              <a:gd name="connsiteY6420" fmla="*/ 987004 h 5296383"/>
              <a:gd name="connsiteX6421" fmla="*/ 6083321 w 9310410"/>
              <a:gd name="connsiteY6421" fmla="*/ 990600 h 5296383"/>
              <a:gd name="connsiteX6422" fmla="*/ 6086917 w 9310410"/>
              <a:gd name="connsiteY6422" fmla="*/ 998390 h 5296383"/>
              <a:gd name="connsiteX6423" fmla="*/ 6086917 w 9310410"/>
              <a:gd name="connsiteY6423" fmla="*/ 998390 h 5296383"/>
              <a:gd name="connsiteX6424" fmla="*/ 6081523 w 9310410"/>
              <a:gd name="connsiteY6424" fmla="*/ 1006181 h 5296383"/>
              <a:gd name="connsiteX6425" fmla="*/ 6070137 w 9310410"/>
              <a:gd name="connsiteY6425" fmla="*/ 1006181 h 5296383"/>
              <a:gd name="connsiteX6426" fmla="*/ 6063545 w 9310410"/>
              <a:gd name="connsiteY6426" fmla="*/ 1004982 h 5296383"/>
              <a:gd name="connsiteX6427" fmla="*/ 6052159 w 9310410"/>
              <a:gd name="connsiteY6427" fmla="*/ 1004383 h 5296383"/>
              <a:gd name="connsiteX6428" fmla="*/ 6049162 w 9310410"/>
              <a:gd name="connsiteY6428" fmla="*/ 995993 h 5296383"/>
              <a:gd name="connsiteX6429" fmla="*/ 6048563 w 9310410"/>
              <a:gd name="connsiteY6429" fmla="*/ 988802 h 5296383"/>
              <a:gd name="connsiteX6430" fmla="*/ 6055754 w 9310410"/>
              <a:gd name="connsiteY6430" fmla="*/ 997192 h 5296383"/>
              <a:gd name="connsiteX6431" fmla="*/ 6059949 w 9310410"/>
              <a:gd name="connsiteY6431" fmla="*/ 994795 h 5296383"/>
              <a:gd name="connsiteX6432" fmla="*/ 6059350 w 9310410"/>
              <a:gd name="connsiteY6432" fmla="*/ 990600 h 5296383"/>
              <a:gd name="connsiteX6433" fmla="*/ 6059350 w 9310410"/>
              <a:gd name="connsiteY6433" fmla="*/ 986405 h 5296383"/>
              <a:gd name="connsiteX6434" fmla="*/ 6047964 w 9310410"/>
              <a:gd name="connsiteY6434" fmla="*/ 981012 h 5296383"/>
              <a:gd name="connsiteX6435" fmla="*/ 6040772 w 9310410"/>
              <a:gd name="connsiteY6435" fmla="*/ 985206 h 5296383"/>
              <a:gd name="connsiteX6436" fmla="*/ 6038375 w 9310410"/>
              <a:gd name="connsiteY6436" fmla="*/ 992398 h 5296383"/>
              <a:gd name="connsiteX6437" fmla="*/ 6025191 w 9310410"/>
              <a:gd name="connsiteY6437" fmla="*/ 997791 h 5296383"/>
              <a:gd name="connsiteX6438" fmla="*/ 6013206 w 9310410"/>
              <a:gd name="connsiteY6438" fmla="*/ 997192 h 5296383"/>
              <a:gd name="connsiteX6439" fmla="*/ 6010809 w 9310410"/>
              <a:gd name="connsiteY6439" fmla="*/ 987004 h 5296383"/>
              <a:gd name="connsiteX6440" fmla="*/ 6004816 w 9310410"/>
              <a:gd name="connsiteY6440" fmla="*/ 987603 h 5296383"/>
              <a:gd name="connsiteX6441" fmla="*/ 5992830 w 9310410"/>
              <a:gd name="connsiteY6441" fmla="*/ 988802 h 5296383"/>
              <a:gd name="connsiteX6442" fmla="*/ 5975452 w 9310410"/>
              <a:gd name="connsiteY6442" fmla="*/ 988203 h 5296383"/>
              <a:gd name="connsiteX6443" fmla="*/ 5952679 w 9310410"/>
              <a:gd name="connsiteY6443" fmla="*/ 992398 h 5296383"/>
              <a:gd name="connsiteX6444" fmla="*/ 5944289 w 9310410"/>
              <a:gd name="connsiteY6444" fmla="*/ 988203 h 5296383"/>
              <a:gd name="connsiteX6445" fmla="*/ 5938297 w 9310410"/>
              <a:gd name="connsiteY6445" fmla="*/ 981012 h 5296383"/>
              <a:gd name="connsiteX6446" fmla="*/ 5931105 w 9310410"/>
              <a:gd name="connsiteY6446" fmla="*/ 980412 h 5296383"/>
              <a:gd name="connsiteX6447" fmla="*/ 5922716 w 9310410"/>
              <a:gd name="connsiteY6447" fmla="*/ 985206 h 5296383"/>
              <a:gd name="connsiteX6448" fmla="*/ 5910730 w 9310410"/>
              <a:gd name="connsiteY6448" fmla="*/ 985806 h 5296383"/>
              <a:gd name="connsiteX6449" fmla="*/ 5907134 w 9310410"/>
              <a:gd name="connsiteY6449" fmla="*/ 980412 h 5296383"/>
              <a:gd name="connsiteX6450" fmla="*/ 5901741 w 9310410"/>
              <a:gd name="connsiteY6450" fmla="*/ 979813 h 5296383"/>
              <a:gd name="connsiteX6451" fmla="*/ 5894550 w 9310410"/>
              <a:gd name="connsiteY6451" fmla="*/ 974419 h 5296383"/>
              <a:gd name="connsiteX6452" fmla="*/ 5889156 w 9310410"/>
              <a:gd name="connsiteY6452" fmla="*/ 972022 h 5296383"/>
              <a:gd name="connsiteX6453" fmla="*/ 5887958 w 9310410"/>
              <a:gd name="connsiteY6453" fmla="*/ 959438 h 5296383"/>
              <a:gd name="connsiteX6454" fmla="*/ 5882564 w 9310410"/>
              <a:gd name="connsiteY6454" fmla="*/ 960636 h 5296383"/>
              <a:gd name="connsiteX6455" fmla="*/ 5873575 w 9310410"/>
              <a:gd name="connsiteY6455" fmla="*/ 966629 h 5296383"/>
              <a:gd name="connsiteX6456" fmla="*/ 5868182 w 9310410"/>
              <a:gd name="connsiteY6456" fmla="*/ 967228 h 5296383"/>
              <a:gd name="connsiteX6457" fmla="*/ 5856796 w 9310410"/>
              <a:gd name="connsiteY6457" fmla="*/ 970225 h 5296383"/>
              <a:gd name="connsiteX6458" fmla="*/ 5856196 w 9310410"/>
              <a:gd name="connsiteY6458" fmla="*/ 961235 h 5296383"/>
              <a:gd name="connsiteX6459" fmla="*/ 5853200 w 9310410"/>
              <a:gd name="connsiteY6459" fmla="*/ 958838 h 5296383"/>
              <a:gd name="connsiteX6460" fmla="*/ 5846008 w 9310410"/>
              <a:gd name="connsiteY6460" fmla="*/ 960636 h 5296383"/>
              <a:gd name="connsiteX6461" fmla="*/ 5843012 w 9310410"/>
              <a:gd name="connsiteY6461" fmla="*/ 963633 h 5296383"/>
              <a:gd name="connsiteX6462" fmla="*/ 5842413 w 9310410"/>
              <a:gd name="connsiteY6462" fmla="*/ 968427 h 5296383"/>
              <a:gd name="connsiteX6463" fmla="*/ 5839416 w 9310410"/>
              <a:gd name="connsiteY6463" fmla="*/ 976817 h 5296383"/>
              <a:gd name="connsiteX6464" fmla="*/ 5850803 w 9310410"/>
              <a:gd name="connsiteY6464" fmla="*/ 976817 h 5296383"/>
              <a:gd name="connsiteX6465" fmla="*/ 5844810 w 9310410"/>
              <a:gd name="connsiteY6465" fmla="*/ 987004 h 5296383"/>
              <a:gd name="connsiteX6466" fmla="*/ 5846008 w 9310410"/>
              <a:gd name="connsiteY6466" fmla="*/ 991199 h 5296383"/>
              <a:gd name="connsiteX6467" fmla="*/ 5854398 w 9310410"/>
              <a:gd name="connsiteY6467" fmla="*/ 984607 h 5296383"/>
              <a:gd name="connsiteX6468" fmla="*/ 5858593 w 9310410"/>
              <a:gd name="connsiteY6468" fmla="*/ 988802 h 5296383"/>
              <a:gd name="connsiteX6469" fmla="*/ 5857395 w 9310410"/>
              <a:gd name="connsiteY6469" fmla="*/ 1000787 h 5296383"/>
              <a:gd name="connsiteX6470" fmla="*/ 5847806 w 9310410"/>
              <a:gd name="connsiteY6470" fmla="*/ 1011574 h 5296383"/>
              <a:gd name="connsiteX6471" fmla="*/ 5837619 w 9310410"/>
              <a:gd name="connsiteY6471" fmla="*/ 1001986 h 5296383"/>
              <a:gd name="connsiteX6472" fmla="*/ 5837019 w 9310410"/>
              <a:gd name="connsiteY6472" fmla="*/ 1009777 h 5296383"/>
              <a:gd name="connsiteX6473" fmla="*/ 5832225 w 9310410"/>
              <a:gd name="connsiteY6473" fmla="*/ 1015170 h 5296383"/>
              <a:gd name="connsiteX6474" fmla="*/ 5826832 w 9310410"/>
              <a:gd name="connsiteY6474" fmla="*/ 1018166 h 5296383"/>
              <a:gd name="connsiteX6475" fmla="*/ 5821438 w 9310410"/>
              <a:gd name="connsiteY6475" fmla="*/ 1022361 h 5296383"/>
              <a:gd name="connsiteX6476" fmla="*/ 5818442 w 9310410"/>
              <a:gd name="connsiteY6476" fmla="*/ 1028354 h 5296383"/>
              <a:gd name="connsiteX6477" fmla="*/ 5814846 w 9310410"/>
              <a:gd name="connsiteY6477" fmla="*/ 1033748 h 5296383"/>
              <a:gd name="connsiteX6478" fmla="*/ 5801662 w 9310410"/>
              <a:gd name="connsiteY6478" fmla="*/ 1039141 h 5296383"/>
              <a:gd name="connsiteX6479" fmla="*/ 5799265 w 9310410"/>
              <a:gd name="connsiteY6479" fmla="*/ 1033148 h 5296383"/>
              <a:gd name="connsiteX6480" fmla="*/ 5807655 w 9310410"/>
              <a:gd name="connsiteY6480" fmla="*/ 1021163 h 5296383"/>
              <a:gd name="connsiteX6481" fmla="*/ 5801063 w 9310410"/>
              <a:gd name="connsiteY6481" fmla="*/ 1022961 h 5296383"/>
              <a:gd name="connsiteX6482" fmla="*/ 5789677 w 9310410"/>
              <a:gd name="connsiteY6482" fmla="*/ 1011574 h 5296383"/>
              <a:gd name="connsiteX6483" fmla="*/ 5789077 w 9310410"/>
              <a:gd name="connsiteY6483" fmla="*/ 994795 h 5296383"/>
              <a:gd name="connsiteX6484" fmla="*/ 5792074 w 9310410"/>
              <a:gd name="connsiteY6484" fmla="*/ 978614 h 5296383"/>
              <a:gd name="connsiteX6485" fmla="*/ 5802261 w 9310410"/>
              <a:gd name="connsiteY6485" fmla="*/ 973221 h 5296383"/>
              <a:gd name="connsiteX6486" fmla="*/ 5809453 w 9310410"/>
              <a:gd name="connsiteY6486" fmla="*/ 973820 h 5296383"/>
              <a:gd name="connsiteX6487" fmla="*/ 5819641 w 9310410"/>
              <a:gd name="connsiteY6487" fmla="*/ 973820 h 5296383"/>
              <a:gd name="connsiteX6488" fmla="*/ 5828030 w 9310410"/>
              <a:gd name="connsiteY6488" fmla="*/ 973221 h 5296383"/>
              <a:gd name="connsiteX6489" fmla="*/ 5817843 w 9310410"/>
              <a:gd name="connsiteY6489" fmla="*/ 969625 h 5296383"/>
              <a:gd name="connsiteX6490" fmla="*/ 5817243 w 9310410"/>
              <a:gd name="connsiteY6490" fmla="*/ 960037 h 5296383"/>
              <a:gd name="connsiteX6491" fmla="*/ 5813648 w 9310410"/>
              <a:gd name="connsiteY6491" fmla="*/ 957640 h 5296383"/>
              <a:gd name="connsiteX6492" fmla="*/ 5801662 w 9310410"/>
              <a:gd name="connsiteY6492" fmla="*/ 964232 h 5296383"/>
              <a:gd name="connsiteX6493" fmla="*/ 5796868 w 9310410"/>
              <a:gd name="connsiteY6493" fmla="*/ 955842 h 5296383"/>
              <a:gd name="connsiteX6494" fmla="*/ 5792673 w 9310410"/>
              <a:gd name="connsiteY6494" fmla="*/ 955243 h 5296383"/>
              <a:gd name="connsiteX6495" fmla="*/ 5787280 w 9310410"/>
              <a:gd name="connsiteY6495" fmla="*/ 962434 h 5296383"/>
              <a:gd name="connsiteX6496" fmla="*/ 5779489 w 9310410"/>
              <a:gd name="connsiteY6496" fmla="*/ 979813 h 5296383"/>
              <a:gd name="connsiteX6497" fmla="*/ 5777691 w 9310410"/>
              <a:gd name="connsiteY6497" fmla="*/ 987603 h 5296383"/>
              <a:gd name="connsiteX6498" fmla="*/ 5772298 w 9310410"/>
              <a:gd name="connsiteY6498" fmla="*/ 991798 h 5296383"/>
              <a:gd name="connsiteX6499" fmla="*/ 5763908 w 9310410"/>
              <a:gd name="connsiteY6499" fmla="*/ 996593 h 5296383"/>
              <a:gd name="connsiteX6500" fmla="*/ 5766305 w 9310410"/>
              <a:gd name="connsiteY6500" fmla="*/ 1002585 h 5296383"/>
              <a:gd name="connsiteX6501" fmla="*/ 5772298 w 9310410"/>
              <a:gd name="connsiteY6501" fmla="*/ 1016369 h 5296383"/>
              <a:gd name="connsiteX6502" fmla="*/ 5768103 w 9310410"/>
              <a:gd name="connsiteY6502" fmla="*/ 1028354 h 5296383"/>
              <a:gd name="connsiteX6503" fmla="*/ 5757316 w 9310410"/>
              <a:gd name="connsiteY6503" fmla="*/ 1031950 h 5296383"/>
              <a:gd name="connsiteX6504" fmla="*/ 5750724 w 9310410"/>
              <a:gd name="connsiteY6504" fmla="*/ 1031351 h 5296383"/>
              <a:gd name="connsiteX6505" fmla="*/ 5749525 w 9310410"/>
              <a:gd name="connsiteY6505" fmla="*/ 1030751 h 5296383"/>
              <a:gd name="connsiteX6506" fmla="*/ 5749525 w 9310410"/>
              <a:gd name="connsiteY6506" fmla="*/ 1030751 h 5296383"/>
              <a:gd name="connsiteX6507" fmla="*/ 5747728 w 9310410"/>
              <a:gd name="connsiteY6507" fmla="*/ 1031950 h 5296383"/>
              <a:gd name="connsiteX6508" fmla="*/ 5747728 w 9310410"/>
              <a:gd name="connsiteY6508" fmla="*/ 1037943 h 5296383"/>
              <a:gd name="connsiteX6509" fmla="*/ 5750724 w 9310410"/>
              <a:gd name="connsiteY6509" fmla="*/ 1041538 h 5296383"/>
              <a:gd name="connsiteX6510" fmla="*/ 5753121 w 9310410"/>
              <a:gd name="connsiteY6510" fmla="*/ 1046332 h 5296383"/>
              <a:gd name="connsiteX6511" fmla="*/ 5765106 w 9310410"/>
              <a:gd name="connsiteY6511" fmla="*/ 1048729 h 5296383"/>
              <a:gd name="connsiteX6512" fmla="*/ 5760912 w 9310410"/>
              <a:gd name="connsiteY6512" fmla="*/ 1063711 h 5296383"/>
              <a:gd name="connsiteX6513" fmla="*/ 5760312 w 9310410"/>
              <a:gd name="connsiteY6513" fmla="*/ 1077495 h 5296383"/>
              <a:gd name="connsiteX6514" fmla="*/ 5756117 w 9310410"/>
              <a:gd name="connsiteY6514" fmla="*/ 1079892 h 5296383"/>
              <a:gd name="connsiteX6515" fmla="*/ 5751323 w 9310410"/>
              <a:gd name="connsiteY6515" fmla="*/ 1080491 h 5296383"/>
              <a:gd name="connsiteX6516" fmla="*/ 5746529 w 9310410"/>
              <a:gd name="connsiteY6516" fmla="*/ 1087682 h 5296383"/>
              <a:gd name="connsiteX6517" fmla="*/ 5741135 w 9310410"/>
              <a:gd name="connsiteY6517" fmla="*/ 1094874 h 5296383"/>
              <a:gd name="connsiteX6518" fmla="*/ 5729150 w 9310410"/>
              <a:gd name="connsiteY6518" fmla="*/ 1100866 h 5296383"/>
              <a:gd name="connsiteX6519" fmla="*/ 5722558 w 9310410"/>
              <a:gd name="connsiteY6519" fmla="*/ 1109256 h 5296383"/>
              <a:gd name="connsiteX6520" fmla="*/ 5717164 w 9310410"/>
              <a:gd name="connsiteY6520" fmla="*/ 1126635 h 5296383"/>
              <a:gd name="connsiteX6521" fmla="*/ 5705179 w 9310410"/>
              <a:gd name="connsiteY6521" fmla="*/ 1127234 h 5296383"/>
              <a:gd name="connsiteX6522" fmla="*/ 5700984 w 9310410"/>
              <a:gd name="connsiteY6522" fmla="*/ 1132628 h 5296383"/>
              <a:gd name="connsiteX6523" fmla="*/ 5698587 w 9310410"/>
              <a:gd name="connsiteY6523" fmla="*/ 1135624 h 5296383"/>
              <a:gd name="connsiteX6524" fmla="*/ 5688399 w 9310410"/>
              <a:gd name="connsiteY6524" fmla="*/ 1135025 h 5296383"/>
              <a:gd name="connsiteX6525" fmla="*/ 5690797 w 9310410"/>
              <a:gd name="connsiteY6525" fmla="*/ 1139819 h 5296383"/>
              <a:gd name="connsiteX6526" fmla="*/ 5691396 w 9310410"/>
              <a:gd name="connsiteY6526" fmla="*/ 1143415 h 5296383"/>
              <a:gd name="connsiteX6527" fmla="*/ 5686002 w 9310410"/>
              <a:gd name="connsiteY6527" fmla="*/ 1150606 h 5296383"/>
              <a:gd name="connsiteX6528" fmla="*/ 5683006 w 9310410"/>
              <a:gd name="connsiteY6528" fmla="*/ 1157797 h 5296383"/>
              <a:gd name="connsiteX6529" fmla="*/ 5672818 w 9310410"/>
              <a:gd name="connsiteY6529" fmla="*/ 1164989 h 5296383"/>
              <a:gd name="connsiteX6530" fmla="*/ 5671021 w 9310410"/>
              <a:gd name="connsiteY6530" fmla="*/ 1173978 h 5296383"/>
              <a:gd name="connsiteX6531" fmla="*/ 5667425 w 9310410"/>
              <a:gd name="connsiteY6531" fmla="*/ 1176375 h 5296383"/>
              <a:gd name="connsiteX6532" fmla="*/ 5663230 w 9310410"/>
              <a:gd name="connsiteY6532" fmla="*/ 1166187 h 5296383"/>
              <a:gd name="connsiteX6533" fmla="*/ 5656039 w 9310410"/>
              <a:gd name="connsiteY6533" fmla="*/ 1174577 h 5296383"/>
              <a:gd name="connsiteX6534" fmla="*/ 5648847 w 9310410"/>
              <a:gd name="connsiteY6534" fmla="*/ 1180570 h 5296383"/>
              <a:gd name="connsiteX6535" fmla="*/ 5641057 w 9310410"/>
              <a:gd name="connsiteY6535" fmla="*/ 1186562 h 5296383"/>
              <a:gd name="connsiteX6536" fmla="*/ 5634465 w 9310410"/>
              <a:gd name="connsiteY6536" fmla="*/ 1188360 h 5296383"/>
              <a:gd name="connsiteX6537" fmla="*/ 5627273 w 9310410"/>
              <a:gd name="connsiteY6537" fmla="*/ 1184765 h 5296383"/>
              <a:gd name="connsiteX6538" fmla="*/ 5622479 w 9310410"/>
              <a:gd name="connsiteY6538" fmla="*/ 1180570 h 5296383"/>
              <a:gd name="connsiteX6539" fmla="*/ 5617086 w 9310410"/>
              <a:gd name="connsiteY6539" fmla="*/ 1191956 h 5296383"/>
              <a:gd name="connsiteX6540" fmla="*/ 5614689 w 9310410"/>
              <a:gd name="connsiteY6540" fmla="*/ 1197349 h 5296383"/>
              <a:gd name="connsiteX6541" fmla="*/ 5609895 w 9310410"/>
              <a:gd name="connsiteY6541" fmla="*/ 1200945 h 5296383"/>
              <a:gd name="connsiteX6542" fmla="*/ 5600906 w 9310410"/>
              <a:gd name="connsiteY6542" fmla="*/ 1201544 h 5296383"/>
              <a:gd name="connsiteX6543" fmla="*/ 5595512 w 9310410"/>
              <a:gd name="connsiteY6543" fmla="*/ 1204541 h 5296383"/>
              <a:gd name="connsiteX6544" fmla="*/ 5596111 w 9310410"/>
              <a:gd name="connsiteY6544" fmla="*/ 1211732 h 5296383"/>
              <a:gd name="connsiteX6545" fmla="*/ 5588920 w 9310410"/>
              <a:gd name="connsiteY6545" fmla="*/ 1205140 h 5296383"/>
              <a:gd name="connsiteX6546" fmla="*/ 5588321 w 9310410"/>
              <a:gd name="connsiteY6546" fmla="*/ 1196750 h 5296383"/>
              <a:gd name="connsiteX6547" fmla="*/ 5591916 w 9310410"/>
              <a:gd name="connsiteY6547" fmla="*/ 1194353 h 5296383"/>
              <a:gd name="connsiteX6548" fmla="*/ 5596111 w 9310410"/>
              <a:gd name="connsiteY6548" fmla="*/ 1194353 h 5296383"/>
              <a:gd name="connsiteX6549" fmla="*/ 5600906 w 9310410"/>
              <a:gd name="connsiteY6549" fmla="*/ 1189559 h 5296383"/>
              <a:gd name="connsiteX6550" fmla="*/ 5606299 w 9310410"/>
              <a:gd name="connsiteY6550" fmla="*/ 1183566 h 5296383"/>
              <a:gd name="connsiteX6551" fmla="*/ 5615288 w 9310410"/>
              <a:gd name="connsiteY6551" fmla="*/ 1170382 h 5296383"/>
              <a:gd name="connsiteX6552" fmla="*/ 5627873 w 9310410"/>
              <a:gd name="connsiteY6552" fmla="*/ 1164989 h 5296383"/>
              <a:gd name="connsiteX6553" fmla="*/ 5632068 w 9310410"/>
              <a:gd name="connsiteY6553" fmla="*/ 1173378 h 5296383"/>
              <a:gd name="connsiteX6554" fmla="*/ 5638061 w 9310410"/>
              <a:gd name="connsiteY6554" fmla="*/ 1175776 h 5296383"/>
              <a:gd name="connsiteX6555" fmla="*/ 5642855 w 9310410"/>
              <a:gd name="connsiteY6555" fmla="*/ 1170382 h 5296383"/>
              <a:gd name="connsiteX6556" fmla="*/ 5644053 w 9310410"/>
              <a:gd name="connsiteY6556" fmla="*/ 1167386 h 5296383"/>
              <a:gd name="connsiteX6557" fmla="*/ 5642855 w 9310410"/>
              <a:gd name="connsiteY6557" fmla="*/ 1160194 h 5296383"/>
              <a:gd name="connsiteX6558" fmla="*/ 5656039 w 9310410"/>
              <a:gd name="connsiteY6558" fmla="*/ 1151205 h 5296383"/>
              <a:gd name="connsiteX6559" fmla="*/ 5668024 w 9310410"/>
              <a:gd name="connsiteY6559" fmla="*/ 1142816 h 5296383"/>
              <a:gd name="connsiteX6560" fmla="*/ 5674616 w 9310410"/>
              <a:gd name="connsiteY6560" fmla="*/ 1139819 h 5296383"/>
              <a:gd name="connsiteX6561" fmla="*/ 5676414 w 9310410"/>
              <a:gd name="connsiteY6561" fmla="*/ 1134426 h 5296383"/>
              <a:gd name="connsiteX6562" fmla="*/ 5674616 w 9310410"/>
              <a:gd name="connsiteY6562" fmla="*/ 1121841 h 5296383"/>
              <a:gd name="connsiteX6563" fmla="*/ 5677613 w 9310410"/>
              <a:gd name="connsiteY6563" fmla="*/ 1114650 h 5296383"/>
              <a:gd name="connsiteX6564" fmla="*/ 5688999 w 9310410"/>
              <a:gd name="connsiteY6564" fmla="*/ 1111653 h 5296383"/>
              <a:gd name="connsiteX6565" fmla="*/ 5688999 w 9310410"/>
              <a:gd name="connsiteY6565" fmla="*/ 1106260 h 5296383"/>
              <a:gd name="connsiteX6566" fmla="*/ 5684204 w 9310410"/>
              <a:gd name="connsiteY6566" fmla="*/ 1087682 h 5296383"/>
              <a:gd name="connsiteX6567" fmla="*/ 5681807 w 9310410"/>
              <a:gd name="connsiteY6567" fmla="*/ 1083487 h 5296383"/>
              <a:gd name="connsiteX6568" fmla="*/ 5688999 w 9310410"/>
              <a:gd name="connsiteY6568" fmla="*/ 1065509 h 5296383"/>
              <a:gd name="connsiteX6569" fmla="*/ 5687800 w 9310410"/>
              <a:gd name="connsiteY6569" fmla="*/ 1057719 h 5296383"/>
              <a:gd name="connsiteX6570" fmla="*/ 5674616 w 9310410"/>
              <a:gd name="connsiteY6570" fmla="*/ 1067906 h 5296383"/>
              <a:gd name="connsiteX6571" fmla="*/ 5659634 w 9310410"/>
              <a:gd name="connsiteY6571" fmla="*/ 1065509 h 5296383"/>
              <a:gd name="connsiteX6572" fmla="*/ 5659035 w 9310410"/>
              <a:gd name="connsiteY6572" fmla="*/ 1057719 h 5296383"/>
              <a:gd name="connsiteX6573" fmla="*/ 5658436 w 9310410"/>
              <a:gd name="connsiteY6573" fmla="*/ 1049329 h 5296383"/>
              <a:gd name="connsiteX6574" fmla="*/ 5653042 w 9310410"/>
              <a:gd name="connsiteY6574" fmla="*/ 1053524 h 5296383"/>
              <a:gd name="connsiteX6575" fmla="*/ 5653042 w 9310410"/>
              <a:gd name="connsiteY6575" fmla="*/ 1063711 h 5296383"/>
              <a:gd name="connsiteX6576" fmla="*/ 5657237 w 9310410"/>
              <a:gd name="connsiteY6576" fmla="*/ 1077495 h 5296383"/>
              <a:gd name="connsiteX6577" fmla="*/ 5648847 w 9310410"/>
              <a:gd name="connsiteY6577" fmla="*/ 1075697 h 5296383"/>
              <a:gd name="connsiteX6578" fmla="*/ 5636862 w 9310410"/>
              <a:gd name="connsiteY6578" fmla="*/ 1064910 h 5296383"/>
              <a:gd name="connsiteX6579" fmla="*/ 5632068 w 9310410"/>
              <a:gd name="connsiteY6579" fmla="*/ 1066108 h 5296383"/>
              <a:gd name="connsiteX6580" fmla="*/ 5623079 w 9310410"/>
              <a:gd name="connsiteY6580" fmla="*/ 1063711 h 5296383"/>
              <a:gd name="connsiteX6581" fmla="*/ 5619483 w 9310410"/>
              <a:gd name="connsiteY6581" fmla="*/ 1056520 h 5296383"/>
              <a:gd name="connsiteX6582" fmla="*/ 5615887 w 9310410"/>
              <a:gd name="connsiteY6582" fmla="*/ 1055921 h 5296383"/>
              <a:gd name="connsiteX6583" fmla="*/ 5612891 w 9310410"/>
              <a:gd name="connsiteY6583" fmla="*/ 1060715 h 5296383"/>
              <a:gd name="connsiteX6584" fmla="*/ 5608696 w 9310410"/>
              <a:gd name="connsiteY6584" fmla="*/ 1066708 h 5296383"/>
              <a:gd name="connsiteX6585" fmla="*/ 5605101 w 9310410"/>
              <a:gd name="connsiteY6585" fmla="*/ 1070303 h 5296383"/>
              <a:gd name="connsiteX6586" fmla="*/ 5597909 w 9310410"/>
              <a:gd name="connsiteY6586" fmla="*/ 1076296 h 5296383"/>
              <a:gd name="connsiteX6587" fmla="*/ 5587721 w 9310410"/>
              <a:gd name="connsiteY6587" fmla="*/ 1081690 h 5296383"/>
              <a:gd name="connsiteX6588" fmla="*/ 5585324 w 9310410"/>
              <a:gd name="connsiteY6588" fmla="*/ 1078094 h 5296383"/>
              <a:gd name="connsiteX6589" fmla="*/ 5584725 w 9310410"/>
              <a:gd name="connsiteY6589" fmla="*/ 1070903 h 5296383"/>
              <a:gd name="connsiteX6590" fmla="*/ 5580530 w 9310410"/>
              <a:gd name="connsiteY6590" fmla="*/ 1060715 h 5296383"/>
              <a:gd name="connsiteX6591" fmla="*/ 5575137 w 9310410"/>
              <a:gd name="connsiteY6591" fmla="*/ 1051726 h 5296383"/>
              <a:gd name="connsiteX6592" fmla="*/ 5569743 w 9310410"/>
              <a:gd name="connsiteY6592" fmla="*/ 1034946 h 5296383"/>
              <a:gd name="connsiteX6593" fmla="*/ 5558956 w 9310410"/>
              <a:gd name="connsiteY6593" fmla="*/ 1010376 h 5296383"/>
              <a:gd name="connsiteX6594" fmla="*/ 5554162 w 9310410"/>
              <a:gd name="connsiteY6594" fmla="*/ 1007979 h 5296383"/>
              <a:gd name="connsiteX6595" fmla="*/ 5553563 w 9310410"/>
              <a:gd name="connsiteY6595" fmla="*/ 1033148 h 5296383"/>
              <a:gd name="connsiteX6596" fmla="*/ 5534985 w 9310410"/>
              <a:gd name="connsiteY6596" fmla="*/ 1042737 h 5296383"/>
              <a:gd name="connsiteX6597" fmla="*/ 5521202 w 9310410"/>
              <a:gd name="connsiteY6597" fmla="*/ 1038542 h 5296383"/>
              <a:gd name="connsiteX6598" fmla="*/ 5518805 w 9310410"/>
              <a:gd name="connsiteY6598" fmla="*/ 1034946 h 5296383"/>
              <a:gd name="connsiteX6599" fmla="*/ 5511614 w 9310410"/>
              <a:gd name="connsiteY6599" fmla="*/ 1031351 h 5296383"/>
              <a:gd name="connsiteX6600" fmla="*/ 5506819 w 9310410"/>
              <a:gd name="connsiteY6600" fmla="*/ 1028354 h 5296383"/>
              <a:gd name="connsiteX6601" fmla="*/ 5497231 w 9310410"/>
              <a:gd name="connsiteY6601" fmla="*/ 1027156 h 5296383"/>
              <a:gd name="connsiteX6602" fmla="*/ 5495433 w 9310410"/>
              <a:gd name="connsiteY6602" fmla="*/ 1018166 h 5296383"/>
              <a:gd name="connsiteX6603" fmla="*/ 5494834 w 9310410"/>
              <a:gd name="connsiteY6603" fmla="*/ 1010975 h 5296383"/>
              <a:gd name="connsiteX6604" fmla="*/ 5490639 w 9310410"/>
              <a:gd name="connsiteY6604" fmla="*/ 1004982 h 5296383"/>
              <a:gd name="connsiteX6605" fmla="*/ 5478653 w 9310410"/>
              <a:gd name="connsiteY6605" fmla="*/ 1000787 h 5296383"/>
              <a:gd name="connsiteX6606" fmla="*/ 5471462 w 9310410"/>
              <a:gd name="connsiteY6606" fmla="*/ 990600 h 5296383"/>
              <a:gd name="connsiteX6607" fmla="*/ 5467268 w 9310410"/>
              <a:gd name="connsiteY6607" fmla="*/ 987004 h 5296383"/>
              <a:gd name="connsiteX6608" fmla="*/ 5466668 w 9310410"/>
              <a:gd name="connsiteY6608" fmla="*/ 975019 h 5296383"/>
              <a:gd name="connsiteX6609" fmla="*/ 5468466 w 9310410"/>
              <a:gd name="connsiteY6609" fmla="*/ 970225 h 5296383"/>
              <a:gd name="connsiteX6610" fmla="*/ 5473859 w 9310410"/>
              <a:gd name="connsiteY6610" fmla="*/ 957041 h 5296383"/>
              <a:gd name="connsiteX6611" fmla="*/ 5481650 w 9310410"/>
              <a:gd name="connsiteY6611" fmla="*/ 949250 h 5296383"/>
              <a:gd name="connsiteX6612" fmla="*/ 5485845 w 9310410"/>
              <a:gd name="connsiteY6612" fmla="*/ 943856 h 5296383"/>
              <a:gd name="connsiteX6613" fmla="*/ 5482249 w 9310410"/>
              <a:gd name="connsiteY6613" fmla="*/ 941459 h 5296383"/>
              <a:gd name="connsiteX6614" fmla="*/ 5482848 w 9310410"/>
              <a:gd name="connsiteY6614" fmla="*/ 933070 h 5296383"/>
              <a:gd name="connsiteX6615" fmla="*/ 5483448 w 9310410"/>
              <a:gd name="connsiteY6615" fmla="*/ 927676 h 5296383"/>
              <a:gd name="connsiteX6616" fmla="*/ 5498429 w 9310410"/>
              <a:gd name="connsiteY6616" fmla="*/ 926478 h 5296383"/>
              <a:gd name="connsiteX6617" fmla="*/ 5516408 w 9310410"/>
              <a:gd name="connsiteY6617" fmla="*/ 922882 h 5296383"/>
              <a:gd name="connsiteX6618" fmla="*/ 5527195 w 9310410"/>
              <a:gd name="connsiteY6618" fmla="*/ 916290 h 5296383"/>
              <a:gd name="connsiteX6619" fmla="*/ 5545173 w 9310410"/>
              <a:gd name="connsiteY6619" fmla="*/ 913893 h 5296383"/>
              <a:gd name="connsiteX6620" fmla="*/ 5550566 w 9310410"/>
              <a:gd name="connsiteY6620" fmla="*/ 894716 h 5296383"/>
              <a:gd name="connsiteX6621" fmla="*/ 5537382 w 9310410"/>
              <a:gd name="connsiteY6621" fmla="*/ 881532 h 5296383"/>
              <a:gd name="connsiteX6622" fmla="*/ 5535585 w 9310410"/>
              <a:gd name="connsiteY6622" fmla="*/ 875539 h 5296383"/>
              <a:gd name="connsiteX6623" fmla="*/ 5543375 w 9310410"/>
              <a:gd name="connsiteY6623" fmla="*/ 870146 h 5296383"/>
              <a:gd name="connsiteX6624" fmla="*/ 5531390 w 9310410"/>
              <a:gd name="connsiteY6624" fmla="*/ 862954 h 5296383"/>
              <a:gd name="connsiteX6625" fmla="*/ 5523599 w 9310410"/>
              <a:gd name="connsiteY6625" fmla="*/ 867149 h 5296383"/>
              <a:gd name="connsiteX6626" fmla="*/ 5511614 w 9310410"/>
              <a:gd name="connsiteY6626" fmla="*/ 873741 h 5296383"/>
              <a:gd name="connsiteX6627" fmla="*/ 5500827 w 9310410"/>
              <a:gd name="connsiteY6627" fmla="*/ 877936 h 5296383"/>
              <a:gd name="connsiteX6628" fmla="*/ 5496632 w 9310410"/>
              <a:gd name="connsiteY6628" fmla="*/ 878536 h 5296383"/>
              <a:gd name="connsiteX6629" fmla="*/ 5491838 w 9310410"/>
              <a:gd name="connsiteY6629" fmla="*/ 880933 h 5296383"/>
              <a:gd name="connsiteX6630" fmla="*/ 5463672 w 9310410"/>
              <a:gd name="connsiteY6630" fmla="*/ 882131 h 5296383"/>
              <a:gd name="connsiteX6631" fmla="*/ 5448091 w 9310410"/>
              <a:gd name="connsiteY6631" fmla="*/ 882731 h 5296383"/>
              <a:gd name="connsiteX6632" fmla="*/ 5424719 w 9310410"/>
              <a:gd name="connsiteY6632" fmla="*/ 877337 h 5296383"/>
              <a:gd name="connsiteX6633" fmla="*/ 5414531 w 9310410"/>
              <a:gd name="connsiteY6633" fmla="*/ 866550 h 5296383"/>
              <a:gd name="connsiteX6634" fmla="*/ 5415730 w 9310410"/>
              <a:gd name="connsiteY6634" fmla="*/ 861157 h 5296383"/>
              <a:gd name="connsiteX6635" fmla="*/ 5440300 w 9310410"/>
              <a:gd name="connsiteY6635" fmla="*/ 861157 h 5296383"/>
              <a:gd name="connsiteX6636" fmla="*/ 5449289 w 9310410"/>
              <a:gd name="connsiteY6636" fmla="*/ 860557 h 5296383"/>
              <a:gd name="connsiteX6637" fmla="*/ 5452885 w 9310410"/>
              <a:gd name="connsiteY6637" fmla="*/ 859359 h 5296383"/>
              <a:gd name="connsiteX6638" fmla="*/ 5443896 w 9310410"/>
              <a:gd name="connsiteY6638" fmla="*/ 855164 h 5296383"/>
              <a:gd name="connsiteX6639" fmla="*/ 5422322 w 9310410"/>
              <a:gd name="connsiteY6639" fmla="*/ 853366 h 5296383"/>
              <a:gd name="connsiteX6640" fmla="*/ 5402546 w 9310410"/>
              <a:gd name="connsiteY6640" fmla="*/ 850969 h 5296383"/>
              <a:gd name="connsiteX6641" fmla="*/ 5386965 w 9310410"/>
              <a:gd name="connsiteY6641" fmla="*/ 845576 h 5296383"/>
              <a:gd name="connsiteX6642" fmla="*/ 5387564 w 9310410"/>
              <a:gd name="connsiteY6642" fmla="*/ 840781 h 5296383"/>
              <a:gd name="connsiteX6643" fmla="*/ 5391759 w 9310410"/>
              <a:gd name="connsiteY6643" fmla="*/ 835987 h 5296383"/>
              <a:gd name="connsiteX6644" fmla="*/ 5401947 w 9310410"/>
              <a:gd name="connsiteY6644" fmla="*/ 829994 h 5296383"/>
              <a:gd name="connsiteX6645" fmla="*/ 5414531 w 9310410"/>
              <a:gd name="connsiteY6645" fmla="*/ 824002 h 5296383"/>
              <a:gd name="connsiteX6646" fmla="*/ 5422322 w 9310410"/>
              <a:gd name="connsiteY6646" fmla="*/ 823402 h 5296383"/>
              <a:gd name="connsiteX6647" fmla="*/ 5432509 w 9310410"/>
              <a:gd name="connsiteY6647" fmla="*/ 819208 h 5296383"/>
              <a:gd name="connsiteX6648" fmla="*/ 5445693 w 9310410"/>
              <a:gd name="connsiteY6648" fmla="*/ 816810 h 5296383"/>
              <a:gd name="connsiteX6649" fmla="*/ 5457679 w 9310410"/>
              <a:gd name="connsiteY6649" fmla="*/ 812016 h 5296383"/>
              <a:gd name="connsiteX6650" fmla="*/ 5458878 w 9310410"/>
              <a:gd name="connsiteY6650" fmla="*/ 818608 h 5296383"/>
              <a:gd name="connsiteX6651" fmla="*/ 5472062 w 9310410"/>
              <a:gd name="connsiteY6651" fmla="*/ 822803 h 5296383"/>
              <a:gd name="connsiteX6652" fmla="*/ 5498429 w 9310410"/>
              <a:gd name="connsiteY6652" fmla="*/ 821005 h 5296383"/>
              <a:gd name="connsiteX6653" fmla="*/ 5512812 w 9310410"/>
              <a:gd name="connsiteY6653" fmla="*/ 819807 h 5296383"/>
              <a:gd name="connsiteX6654" fmla="*/ 5517606 w 9310410"/>
              <a:gd name="connsiteY6654" fmla="*/ 818608 h 5296383"/>
              <a:gd name="connsiteX6655" fmla="*/ 5507419 w 9310410"/>
              <a:gd name="connsiteY6655" fmla="*/ 815612 h 5296383"/>
              <a:gd name="connsiteX6656" fmla="*/ 5499628 w 9310410"/>
              <a:gd name="connsiteY6656" fmla="*/ 813215 h 5296383"/>
              <a:gd name="connsiteX6657" fmla="*/ 5486444 w 9310410"/>
              <a:gd name="connsiteY6657" fmla="*/ 803027 h 5296383"/>
              <a:gd name="connsiteX6658" fmla="*/ 5488242 w 9310410"/>
              <a:gd name="connsiteY6658" fmla="*/ 798832 h 5296383"/>
              <a:gd name="connsiteX6659" fmla="*/ 5502025 w 9310410"/>
              <a:gd name="connsiteY6659" fmla="*/ 809020 h 5296383"/>
              <a:gd name="connsiteX6660" fmla="*/ 5521801 w 9310410"/>
              <a:gd name="connsiteY6660" fmla="*/ 813215 h 5296383"/>
              <a:gd name="connsiteX6661" fmla="*/ 5537382 w 9310410"/>
              <a:gd name="connsiteY6661" fmla="*/ 812016 h 5296383"/>
              <a:gd name="connsiteX6662" fmla="*/ 5540978 w 9310410"/>
              <a:gd name="connsiteY6662" fmla="*/ 810218 h 5296383"/>
              <a:gd name="connsiteX6663" fmla="*/ 5541577 w 9310410"/>
              <a:gd name="connsiteY6663" fmla="*/ 804226 h 5296383"/>
              <a:gd name="connsiteX6664" fmla="*/ 5529592 w 9310410"/>
              <a:gd name="connsiteY6664" fmla="*/ 803626 h 5296383"/>
              <a:gd name="connsiteX6665" fmla="*/ 5513411 w 9310410"/>
              <a:gd name="connsiteY6665" fmla="*/ 806023 h 5296383"/>
              <a:gd name="connsiteX6666" fmla="*/ 5497830 w 9310410"/>
              <a:gd name="connsiteY6666" fmla="*/ 795836 h 5296383"/>
              <a:gd name="connsiteX6667" fmla="*/ 5487643 w 9310410"/>
              <a:gd name="connsiteY6667" fmla="*/ 791641 h 5296383"/>
              <a:gd name="connsiteX6668" fmla="*/ 5472661 w 9310410"/>
              <a:gd name="connsiteY6668" fmla="*/ 792240 h 5296383"/>
              <a:gd name="connsiteX6669" fmla="*/ 5451686 w 9310410"/>
              <a:gd name="connsiteY6669" fmla="*/ 788045 h 5296383"/>
              <a:gd name="connsiteX6670" fmla="*/ 5433109 w 9310410"/>
              <a:gd name="connsiteY6670" fmla="*/ 776060 h 5296383"/>
              <a:gd name="connsiteX6671" fmla="*/ 5415131 w 9310410"/>
              <a:gd name="connsiteY6671" fmla="*/ 768868 h 5296383"/>
              <a:gd name="connsiteX6672" fmla="*/ 5403145 w 9310410"/>
              <a:gd name="connsiteY6672" fmla="*/ 762876 h 5296383"/>
              <a:gd name="connsiteX6673" fmla="*/ 5391759 w 9310410"/>
              <a:gd name="connsiteY6673" fmla="*/ 760479 h 5296383"/>
              <a:gd name="connsiteX6674" fmla="*/ 5382770 w 9310410"/>
              <a:gd name="connsiteY6674" fmla="*/ 756284 h 5296383"/>
              <a:gd name="connsiteX6675" fmla="*/ 5391160 w 9310410"/>
              <a:gd name="connsiteY6675" fmla="*/ 747894 h 5296383"/>
              <a:gd name="connsiteX6676" fmla="*/ 5406141 w 9310410"/>
              <a:gd name="connsiteY6676" fmla="*/ 737706 h 5296383"/>
              <a:gd name="connsiteX6677" fmla="*/ 5435506 w 9310410"/>
              <a:gd name="connsiteY6677" fmla="*/ 716732 h 5296383"/>
              <a:gd name="connsiteX6678" fmla="*/ 5445693 w 9310410"/>
              <a:gd name="connsiteY6678" fmla="*/ 691562 h 5296383"/>
              <a:gd name="connsiteX6679" fmla="*/ 5448091 w 9310410"/>
              <a:gd name="connsiteY6679" fmla="*/ 684371 h 5296383"/>
              <a:gd name="connsiteX6680" fmla="*/ 5449289 w 9310410"/>
              <a:gd name="connsiteY6680" fmla="*/ 675981 h 5296383"/>
              <a:gd name="connsiteX6681" fmla="*/ 5454683 w 9310410"/>
              <a:gd name="connsiteY6681" fmla="*/ 678378 h 5296383"/>
              <a:gd name="connsiteX6682" fmla="*/ 5457080 w 9310410"/>
              <a:gd name="connsiteY6682" fmla="*/ 681375 h 5296383"/>
              <a:gd name="connsiteX6683" fmla="*/ 5465469 w 9310410"/>
              <a:gd name="connsiteY6683" fmla="*/ 673584 h 5296383"/>
              <a:gd name="connsiteX6684" fmla="*/ 5480451 w 9310410"/>
              <a:gd name="connsiteY6684" fmla="*/ 661598 h 5296383"/>
              <a:gd name="connsiteX6685" fmla="*/ 5493635 w 9310410"/>
              <a:gd name="connsiteY6685" fmla="*/ 677180 h 5296383"/>
              <a:gd name="connsiteX6686" fmla="*/ 5498429 w 9310410"/>
              <a:gd name="connsiteY6686" fmla="*/ 676580 h 5296383"/>
              <a:gd name="connsiteX6687" fmla="*/ 5500228 w 9310410"/>
              <a:gd name="connsiteY6687" fmla="*/ 668190 h 5296383"/>
              <a:gd name="connsiteX6688" fmla="*/ 5493036 w 9310410"/>
              <a:gd name="connsiteY6688" fmla="*/ 661598 h 5296383"/>
              <a:gd name="connsiteX6689" fmla="*/ 5499628 w 9310410"/>
              <a:gd name="connsiteY6689" fmla="*/ 654407 h 5296383"/>
              <a:gd name="connsiteX6690" fmla="*/ 5512812 w 9310410"/>
              <a:gd name="connsiteY6690" fmla="*/ 656804 h 5296383"/>
              <a:gd name="connsiteX6691" fmla="*/ 5535585 w 9310410"/>
              <a:gd name="connsiteY6691" fmla="*/ 637628 h 5296383"/>
              <a:gd name="connsiteX6692" fmla="*/ 5554761 w 9310410"/>
              <a:gd name="connsiteY6692" fmla="*/ 630436 h 5296383"/>
              <a:gd name="connsiteX6693" fmla="*/ 5554162 w 9310410"/>
              <a:gd name="connsiteY6693" fmla="*/ 646017 h 5296383"/>
              <a:gd name="connsiteX6694" fmla="*/ 5551765 w 9310410"/>
              <a:gd name="connsiteY6694" fmla="*/ 651411 h 5296383"/>
              <a:gd name="connsiteX6695" fmla="*/ 5564949 w 9310410"/>
              <a:gd name="connsiteY6695" fmla="*/ 649014 h 5296383"/>
              <a:gd name="connsiteX6696" fmla="*/ 5569144 w 9310410"/>
              <a:gd name="connsiteY6696" fmla="*/ 646017 h 5296383"/>
              <a:gd name="connsiteX6697" fmla="*/ 5570342 w 9310410"/>
              <a:gd name="connsiteY6697" fmla="*/ 634032 h 5296383"/>
              <a:gd name="connsiteX6698" fmla="*/ 5587122 w 9310410"/>
              <a:gd name="connsiteY6698" fmla="*/ 651411 h 5296383"/>
              <a:gd name="connsiteX6699" fmla="*/ 5598508 w 9310410"/>
              <a:gd name="connsiteY6699" fmla="*/ 656804 h 5296383"/>
              <a:gd name="connsiteX6700" fmla="*/ 5608696 w 9310410"/>
              <a:gd name="connsiteY6700" fmla="*/ 656205 h 5296383"/>
              <a:gd name="connsiteX6701" fmla="*/ 5615288 w 9310410"/>
              <a:gd name="connsiteY6701" fmla="*/ 651411 h 5296383"/>
              <a:gd name="connsiteX6702" fmla="*/ 5602104 w 9310410"/>
              <a:gd name="connsiteY6702" fmla="*/ 653209 h 5296383"/>
              <a:gd name="connsiteX6703" fmla="*/ 5597310 w 9310410"/>
              <a:gd name="connsiteY6703" fmla="*/ 647216 h 5296383"/>
              <a:gd name="connsiteX6704" fmla="*/ 5612292 w 9310410"/>
              <a:gd name="connsiteY6704" fmla="*/ 641223 h 5296383"/>
              <a:gd name="connsiteX6705" fmla="*/ 5636862 w 9310410"/>
              <a:gd name="connsiteY6705" fmla="*/ 649014 h 5296383"/>
              <a:gd name="connsiteX6706" fmla="*/ 5639259 w 9310410"/>
              <a:gd name="connsiteY6706" fmla="*/ 652609 h 5296383"/>
              <a:gd name="connsiteX6707" fmla="*/ 5645851 w 9310410"/>
              <a:gd name="connsiteY6707" fmla="*/ 655006 h 5296383"/>
              <a:gd name="connsiteX6708" fmla="*/ 5662032 w 9310410"/>
              <a:gd name="connsiteY6708" fmla="*/ 657404 h 5296383"/>
              <a:gd name="connsiteX6709" fmla="*/ 5679410 w 9310410"/>
              <a:gd name="connsiteY6709" fmla="*/ 655006 h 5296383"/>
              <a:gd name="connsiteX6710" fmla="*/ 5696190 w 9310410"/>
              <a:gd name="connsiteY6710" fmla="*/ 652609 h 5296383"/>
              <a:gd name="connsiteX6711" fmla="*/ 5704580 w 9310410"/>
              <a:gd name="connsiteY6711" fmla="*/ 652609 h 5296383"/>
              <a:gd name="connsiteX6712" fmla="*/ 5714168 w 9310410"/>
              <a:gd name="connsiteY6712" fmla="*/ 652609 h 5296383"/>
              <a:gd name="connsiteX6713" fmla="*/ 5721359 w 9310410"/>
              <a:gd name="connsiteY6713" fmla="*/ 654407 h 5296383"/>
              <a:gd name="connsiteX6714" fmla="*/ 5733345 w 9310410"/>
              <a:gd name="connsiteY6714" fmla="*/ 654407 h 5296383"/>
              <a:gd name="connsiteX6715" fmla="*/ 5741135 w 9310410"/>
              <a:gd name="connsiteY6715" fmla="*/ 656205 h 5296383"/>
              <a:gd name="connsiteX6716" fmla="*/ 5768702 w 9310410"/>
              <a:gd name="connsiteY6716" fmla="*/ 655606 h 5296383"/>
              <a:gd name="connsiteX6717" fmla="*/ 5790276 w 9310410"/>
              <a:gd name="connsiteY6717" fmla="*/ 656205 h 5296383"/>
              <a:gd name="connsiteX6718" fmla="*/ 5826832 w 9310410"/>
              <a:gd name="connsiteY6718" fmla="*/ 656205 h 5296383"/>
              <a:gd name="connsiteX6719" fmla="*/ 5859192 w 9310410"/>
              <a:gd name="connsiteY6719" fmla="*/ 656205 h 5296383"/>
              <a:gd name="connsiteX6720" fmla="*/ 5859792 w 9310410"/>
              <a:gd name="connsiteY6720" fmla="*/ 655606 h 5296383"/>
              <a:gd name="connsiteX6721" fmla="*/ 5868182 w 9310410"/>
              <a:gd name="connsiteY6721" fmla="*/ 653209 h 5296383"/>
              <a:gd name="connsiteX6722" fmla="*/ 5895748 w 9310410"/>
              <a:gd name="connsiteY6722" fmla="*/ 657404 h 5296383"/>
              <a:gd name="connsiteX6723" fmla="*/ 5912528 w 9310410"/>
              <a:gd name="connsiteY6723" fmla="*/ 660999 h 5296383"/>
              <a:gd name="connsiteX6724" fmla="*/ 5932304 w 9310410"/>
              <a:gd name="connsiteY6724" fmla="*/ 667591 h 5296383"/>
              <a:gd name="connsiteX6725" fmla="*/ 5962867 w 9310410"/>
              <a:gd name="connsiteY6725" fmla="*/ 676580 h 5296383"/>
              <a:gd name="connsiteX6726" fmla="*/ 5976051 w 9310410"/>
              <a:gd name="connsiteY6726" fmla="*/ 678977 h 5296383"/>
              <a:gd name="connsiteX6727" fmla="*/ 5977849 w 9310410"/>
              <a:gd name="connsiteY6727" fmla="*/ 674783 h 5296383"/>
              <a:gd name="connsiteX6728" fmla="*/ 5976650 w 9310410"/>
              <a:gd name="connsiteY6728" fmla="*/ 667591 h 5296383"/>
              <a:gd name="connsiteX6729" fmla="*/ 5981444 w 9310410"/>
              <a:gd name="connsiteY6729" fmla="*/ 665194 h 5296383"/>
              <a:gd name="connsiteX6730" fmla="*/ 5974253 w 9310410"/>
              <a:gd name="connsiteY6730" fmla="*/ 663396 h 5296383"/>
              <a:gd name="connsiteX6731" fmla="*/ 5958672 w 9310410"/>
              <a:gd name="connsiteY6731" fmla="*/ 657404 h 5296383"/>
              <a:gd name="connsiteX6732" fmla="*/ 5968859 w 9310410"/>
              <a:gd name="connsiteY6732" fmla="*/ 647216 h 5296383"/>
              <a:gd name="connsiteX6733" fmla="*/ 5975452 w 9310410"/>
              <a:gd name="connsiteY6733" fmla="*/ 649613 h 5296383"/>
              <a:gd name="connsiteX6734" fmla="*/ 5982044 w 9310410"/>
              <a:gd name="connsiteY6734" fmla="*/ 643021 h 5296383"/>
              <a:gd name="connsiteX6735" fmla="*/ 5986838 w 9310410"/>
              <a:gd name="connsiteY6735" fmla="*/ 638826 h 5296383"/>
              <a:gd name="connsiteX6736" fmla="*/ 5989235 w 9310410"/>
              <a:gd name="connsiteY6736" fmla="*/ 658602 h 5296383"/>
              <a:gd name="connsiteX6737" fmla="*/ 5994029 w 9310410"/>
              <a:gd name="connsiteY6737" fmla="*/ 663996 h 5296383"/>
              <a:gd name="connsiteX6738" fmla="*/ 5993430 w 9310410"/>
              <a:gd name="connsiteY6738" fmla="*/ 655606 h 5296383"/>
              <a:gd name="connsiteX6739" fmla="*/ 6001820 w 9310410"/>
              <a:gd name="connsiteY6739" fmla="*/ 650212 h 5296383"/>
              <a:gd name="connsiteX6740" fmla="*/ 6014405 w 9310410"/>
              <a:gd name="connsiteY6740" fmla="*/ 644819 h 5296383"/>
              <a:gd name="connsiteX6741" fmla="*/ 6013805 w 9310410"/>
              <a:gd name="connsiteY6741" fmla="*/ 641223 h 5296383"/>
              <a:gd name="connsiteX6742" fmla="*/ 6015004 w 9310410"/>
              <a:gd name="connsiteY6742" fmla="*/ 636429 h 5296383"/>
              <a:gd name="connsiteX6743" fmla="*/ 6025191 w 9310410"/>
              <a:gd name="connsiteY6743" fmla="*/ 632833 h 5296383"/>
              <a:gd name="connsiteX6744" fmla="*/ 6039574 w 9310410"/>
              <a:gd name="connsiteY6744" fmla="*/ 622046 h 5296383"/>
              <a:gd name="connsiteX6745" fmla="*/ 6046765 w 9310410"/>
              <a:gd name="connsiteY6745" fmla="*/ 616054 h 5296383"/>
              <a:gd name="connsiteX6746" fmla="*/ 6055754 w 9310410"/>
              <a:gd name="connsiteY6746" fmla="*/ 614256 h 5296383"/>
              <a:gd name="connsiteX6747" fmla="*/ 6064144 w 9310410"/>
              <a:gd name="connsiteY6747" fmla="*/ 614855 h 5296383"/>
              <a:gd name="connsiteX6748" fmla="*/ 6048563 w 9310410"/>
              <a:gd name="connsiteY6748" fmla="*/ 632833 h 5296383"/>
              <a:gd name="connsiteX6749" fmla="*/ 6031783 w 9310410"/>
              <a:gd name="connsiteY6749" fmla="*/ 650212 h 5296383"/>
              <a:gd name="connsiteX6750" fmla="*/ 6015004 w 9310410"/>
              <a:gd name="connsiteY6750" fmla="*/ 659801 h 5296383"/>
              <a:gd name="connsiteX6751" fmla="*/ 6016801 w 9310410"/>
              <a:gd name="connsiteY6751" fmla="*/ 667591 h 5296383"/>
              <a:gd name="connsiteX6752" fmla="*/ 6022195 w 9310410"/>
              <a:gd name="connsiteY6752" fmla="*/ 664595 h 5296383"/>
              <a:gd name="connsiteX6753" fmla="*/ 6034180 w 9310410"/>
              <a:gd name="connsiteY6753" fmla="*/ 654407 h 5296383"/>
              <a:gd name="connsiteX6754" fmla="*/ 6044967 w 9310410"/>
              <a:gd name="connsiteY6754" fmla="*/ 644220 h 5296383"/>
              <a:gd name="connsiteX6755" fmla="*/ 6050361 w 9310410"/>
              <a:gd name="connsiteY6755" fmla="*/ 642422 h 5296383"/>
              <a:gd name="connsiteX6756" fmla="*/ 6056354 w 9310410"/>
              <a:gd name="connsiteY6756" fmla="*/ 637028 h 5296383"/>
              <a:gd name="connsiteX6757" fmla="*/ 6068339 w 9310410"/>
              <a:gd name="connsiteY6757" fmla="*/ 625642 h 5296383"/>
              <a:gd name="connsiteX6758" fmla="*/ 6076729 w 9310410"/>
              <a:gd name="connsiteY6758" fmla="*/ 624443 h 5296383"/>
              <a:gd name="connsiteX6759" fmla="*/ 6082722 w 9310410"/>
              <a:gd name="connsiteY6759" fmla="*/ 625043 h 5296383"/>
              <a:gd name="connsiteX6760" fmla="*/ 6071935 w 9310410"/>
              <a:gd name="connsiteY6760" fmla="*/ 607065 h 5296383"/>
              <a:gd name="connsiteX6761" fmla="*/ 6077328 w 9310410"/>
              <a:gd name="connsiteY6761" fmla="*/ 595079 h 5296383"/>
              <a:gd name="connsiteX6762" fmla="*/ 6101898 w 9310410"/>
              <a:gd name="connsiteY6762" fmla="*/ 605866 h 5296383"/>
              <a:gd name="connsiteX6763" fmla="*/ 6136057 w 9310410"/>
              <a:gd name="connsiteY6763" fmla="*/ 626841 h 5296383"/>
              <a:gd name="connsiteX6764" fmla="*/ 6157032 w 9310410"/>
              <a:gd name="connsiteY6764" fmla="*/ 630436 h 5296383"/>
              <a:gd name="connsiteX6765" fmla="*/ 6159429 w 9310410"/>
              <a:gd name="connsiteY6765" fmla="*/ 626841 h 5296383"/>
              <a:gd name="connsiteX6766" fmla="*/ 6154035 w 9310410"/>
              <a:gd name="connsiteY6766" fmla="*/ 620848 h 5296383"/>
              <a:gd name="connsiteX6767" fmla="*/ 6151039 w 9310410"/>
              <a:gd name="connsiteY6767" fmla="*/ 610660 h 5296383"/>
              <a:gd name="connsiteX6768" fmla="*/ 6152237 w 9310410"/>
              <a:gd name="connsiteY6768" fmla="*/ 602270 h 5296383"/>
              <a:gd name="connsiteX6769" fmla="*/ 6159429 w 9310410"/>
              <a:gd name="connsiteY6769" fmla="*/ 606465 h 5296383"/>
              <a:gd name="connsiteX6770" fmla="*/ 6167819 w 9310410"/>
              <a:gd name="connsiteY6770" fmla="*/ 616653 h 5296383"/>
              <a:gd name="connsiteX6771" fmla="*/ 6175010 w 9310410"/>
              <a:gd name="connsiteY6771" fmla="*/ 626241 h 5296383"/>
              <a:gd name="connsiteX6772" fmla="*/ 6172613 w 9310410"/>
              <a:gd name="connsiteY6772" fmla="*/ 633433 h 5296383"/>
              <a:gd name="connsiteX6773" fmla="*/ 6184598 w 9310410"/>
              <a:gd name="connsiteY6773" fmla="*/ 628039 h 5296383"/>
              <a:gd name="connsiteX6774" fmla="*/ 6191790 w 9310410"/>
              <a:gd name="connsiteY6774" fmla="*/ 614855 h 5296383"/>
              <a:gd name="connsiteX6775" fmla="*/ 6194186 w 9310410"/>
              <a:gd name="connsiteY6775" fmla="*/ 608263 h 5296383"/>
              <a:gd name="connsiteX6776" fmla="*/ 6207970 w 9310410"/>
              <a:gd name="connsiteY6776" fmla="*/ 605866 h 5296383"/>
              <a:gd name="connsiteX6777" fmla="*/ 6236735 w 9310410"/>
              <a:gd name="connsiteY6777" fmla="*/ 608263 h 5296383"/>
              <a:gd name="connsiteX6778" fmla="*/ 6259507 w 9310410"/>
              <a:gd name="connsiteY6778" fmla="*/ 610660 h 5296383"/>
              <a:gd name="connsiteX6779" fmla="*/ 6287674 w 9310410"/>
              <a:gd name="connsiteY6779" fmla="*/ 613057 h 5296383"/>
              <a:gd name="connsiteX6780" fmla="*/ 6307449 w 9310410"/>
              <a:gd name="connsiteY6780" fmla="*/ 617851 h 5296383"/>
              <a:gd name="connsiteX6781" fmla="*/ 6327825 w 9310410"/>
              <a:gd name="connsiteY6781" fmla="*/ 620848 h 5296383"/>
              <a:gd name="connsiteX6782" fmla="*/ 6338012 w 9310410"/>
              <a:gd name="connsiteY6782" fmla="*/ 617252 h 5296383"/>
              <a:gd name="connsiteX6783" fmla="*/ 6362583 w 9310410"/>
              <a:gd name="connsiteY6783" fmla="*/ 615454 h 5296383"/>
              <a:gd name="connsiteX6784" fmla="*/ 6384756 w 9310410"/>
              <a:gd name="connsiteY6784" fmla="*/ 625642 h 5296383"/>
              <a:gd name="connsiteX6785" fmla="*/ 6372770 w 9310410"/>
              <a:gd name="connsiteY6785" fmla="*/ 628638 h 5296383"/>
              <a:gd name="connsiteX6786" fmla="*/ 6370972 w 9310410"/>
              <a:gd name="connsiteY6786" fmla="*/ 638227 h 5296383"/>
              <a:gd name="connsiteX6787" fmla="*/ 6370373 w 9310410"/>
              <a:gd name="connsiteY6787" fmla="*/ 645418 h 5296383"/>
              <a:gd name="connsiteX6788" fmla="*/ 6370373 w 9310410"/>
              <a:gd name="connsiteY6788" fmla="*/ 648414 h 5296383"/>
              <a:gd name="connsiteX6789" fmla="*/ 6381759 w 9310410"/>
              <a:gd name="connsiteY6789" fmla="*/ 650812 h 5296383"/>
              <a:gd name="connsiteX6790" fmla="*/ 6396741 w 9310410"/>
              <a:gd name="connsiteY6790" fmla="*/ 649613 h 5296383"/>
              <a:gd name="connsiteX6791" fmla="*/ 6423709 w 9310410"/>
              <a:gd name="connsiteY6791" fmla="*/ 642422 h 5296383"/>
              <a:gd name="connsiteX6792" fmla="*/ 6439889 w 9310410"/>
              <a:gd name="connsiteY6792" fmla="*/ 635830 h 5296383"/>
              <a:gd name="connsiteX6793" fmla="*/ 6451874 w 9310410"/>
              <a:gd name="connsiteY6793" fmla="*/ 628638 h 5296383"/>
              <a:gd name="connsiteX6794" fmla="*/ 6460264 w 9310410"/>
              <a:gd name="connsiteY6794" fmla="*/ 628039 h 5296383"/>
              <a:gd name="connsiteX6795" fmla="*/ 6465658 w 9310410"/>
              <a:gd name="connsiteY6795" fmla="*/ 632833 h 5296383"/>
              <a:gd name="connsiteX6796" fmla="*/ 6478242 w 9310410"/>
              <a:gd name="connsiteY6796" fmla="*/ 635230 h 5296383"/>
              <a:gd name="connsiteX6797" fmla="*/ 6496221 w 9310410"/>
              <a:gd name="connsiteY6797" fmla="*/ 643021 h 5296383"/>
              <a:gd name="connsiteX6798" fmla="*/ 6518394 w 9310410"/>
              <a:gd name="connsiteY6798" fmla="*/ 645418 h 5296383"/>
              <a:gd name="connsiteX6799" fmla="*/ 6526184 w 9310410"/>
              <a:gd name="connsiteY6799" fmla="*/ 652609 h 5296383"/>
              <a:gd name="connsiteX6800" fmla="*/ 6526184 w 9310410"/>
              <a:gd name="connsiteY6800" fmla="*/ 658003 h 5296383"/>
              <a:gd name="connsiteX6801" fmla="*/ 6538769 w 9310410"/>
              <a:gd name="connsiteY6801" fmla="*/ 666393 h 5296383"/>
              <a:gd name="connsiteX6802" fmla="*/ 6541166 w 9310410"/>
              <a:gd name="connsiteY6802" fmla="*/ 662198 h 5296383"/>
              <a:gd name="connsiteX6803" fmla="*/ 6536372 w 9310410"/>
              <a:gd name="connsiteY6803" fmla="*/ 653209 h 5296383"/>
              <a:gd name="connsiteX6804" fmla="*/ 6532776 w 9310410"/>
              <a:gd name="connsiteY6804" fmla="*/ 648414 h 5296383"/>
              <a:gd name="connsiteX6805" fmla="*/ 6511802 w 9310410"/>
              <a:gd name="connsiteY6805" fmla="*/ 626841 h 5296383"/>
              <a:gd name="connsiteX6806" fmla="*/ 6518394 w 9310410"/>
              <a:gd name="connsiteY6806" fmla="*/ 616054 h 5296383"/>
              <a:gd name="connsiteX6807" fmla="*/ 6524986 w 9310410"/>
              <a:gd name="connsiteY6807" fmla="*/ 613057 h 5296383"/>
              <a:gd name="connsiteX6808" fmla="*/ 6532776 w 9310410"/>
              <a:gd name="connsiteY6808" fmla="*/ 604667 h 5296383"/>
              <a:gd name="connsiteX6809" fmla="*/ 6541166 w 9310410"/>
              <a:gd name="connsiteY6809" fmla="*/ 599274 h 5296383"/>
              <a:gd name="connsiteX6810" fmla="*/ 6528581 w 9310410"/>
              <a:gd name="connsiteY6810" fmla="*/ 595079 h 5296383"/>
              <a:gd name="connsiteX6811" fmla="*/ 6525585 w 9310410"/>
              <a:gd name="connsiteY6811" fmla="*/ 596877 h 5296383"/>
              <a:gd name="connsiteX6812" fmla="*/ 6517195 w 9310410"/>
              <a:gd name="connsiteY6812" fmla="*/ 607664 h 5296383"/>
              <a:gd name="connsiteX6813" fmla="*/ 6490827 w 9310410"/>
              <a:gd name="connsiteY6813" fmla="*/ 612458 h 5296383"/>
              <a:gd name="connsiteX6814" fmla="*/ 6485434 w 9310410"/>
              <a:gd name="connsiteY6814" fmla="*/ 610660 h 5296383"/>
              <a:gd name="connsiteX6815" fmla="*/ 6496820 w 9310410"/>
              <a:gd name="connsiteY6815" fmla="*/ 597476 h 5296383"/>
              <a:gd name="connsiteX6816" fmla="*/ 6513001 w 9310410"/>
              <a:gd name="connsiteY6816" fmla="*/ 592083 h 5296383"/>
              <a:gd name="connsiteX6817" fmla="*/ 6532776 w 9310410"/>
              <a:gd name="connsiteY6817" fmla="*/ 587888 h 5296383"/>
              <a:gd name="connsiteX6818" fmla="*/ 6547758 w 9310410"/>
              <a:gd name="connsiteY6818" fmla="*/ 593281 h 5296383"/>
              <a:gd name="connsiteX6819" fmla="*/ 6556747 w 9310410"/>
              <a:gd name="connsiteY6819" fmla="*/ 598075 h 5296383"/>
              <a:gd name="connsiteX6820" fmla="*/ 6566935 w 9310410"/>
              <a:gd name="connsiteY6820" fmla="*/ 599873 h 5296383"/>
              <a:gd name="connsiteX6821" fmla="*/ 6574126 w 9310410"/>
              <a:gd name="connsiteY6821" fmla="*/ 599873 h 5296383"/>
              <a:gd name="connsiteX6822" fmla="*/ 6611282 w 9310410"/>
              <a:gd name="connsiteY6822" fmla="*/ 605267 h 5296383"/>
              <a:gd name="connsiteX6823" fmla="*/ 6637050 w 9310410"/>
              <a:gd name="connsiteY6823" fmla="*/ 613057 h 5296383"/>
              <a:gd name="connsiteX6824" fmla="*/ 6656227 w 9310410"/>
              <a:gd name="connsiteY6824" fmla="*/ 614855 h 5296383"/>
              <a:gd name="connsiteX6825" fmla="*/ 6670010 w 9310410"/>
              <a:gd name="connsiteY6825" fmla="*/ 612458 h 5296383"/>
              <a:gd name="connsiteX6826" fmla="*/ 6674804 w 9310410"/>
              <a:gd name="connsiteY6826" fmla="*/ 596278 h 5296383"/>
              <a:gd name="connsiteX6827" fmla="*/ 6677202 w 9310410"/>
              <a:gd name="connsiteY6827" fmla="*/ 590884 h 5296383"/>
              <a:gd name="connsiteX6828" fmla="*/ 6690385 w 9310410"/>
              <a:gd name="connsiteY6828" fmla="*/ 598675 h 5296383"/>
              <a:gd name="connsiteX6829" fmla="*/ 6697576 w 9310410"/>
              <a:gd name="connsiteY6829" fmla="*/ 591483 h 5296383"/>
              <a:gd name="connsiteX6830" fmla="*/ 6686790 w 9310410"/>
              <a:gd name="connsiteY6830" fmla="*/ 587289 h 5296383"/>
              <a:gd name="connsiteX6831" fmla="*/ 6667613 w 9310410"/>
              <a:gd name="connsiteY6831" fmla="*/ 583094 h 5296383"/>
              <a:gd name="connsiteX6832" fmla="*/ 6663418 w 9310410"/>
              <a:gd name="connsiteY6832" fmla="*/ 576502 h 5296383"/>
              <a:gd name="connsiteX6833" fmla="*/ 6670609 w 9310410"/>
              <a:gd name="connsiteY6833" fmla="*/ 575303 h 5296383"/>
              <a:gd name="connsiteX6834" fmla="*/ 6677801 w 9310410"/>
              <a:gd name="connsiteY6834" fmla="*/ 571108 h 5296383"/>
              <a:gd name="connsiteX6835" fmla="*/ 6695779 w 9310410"/>
              <a:gd name="connsiteY6835" fmla="*/ 575303 h 5296383"/>
              <a:gd name="connsiteX6836" fmla="*/ 6711959 w 9310410"/>
              <a:gd name="connsiteY6836" fmla="*/ 575902 h 5296383"/>
              <a:gd name="connsiteX6837" fmla="*/ 6710162 w 9310410"/>
              <a:gd name="connsiteY6837" fmla="*/ 586689 h 5296383"/>
              <a:gd name="connsiteX6838" fmla="*/ 6713757 w 9310410"/>
              <a:gd name="connsiteY6838" fmla="*/ 595079 h 5296383"/>
              <a:gd name="connsiteX6839" fmla="*/ 6723945 w 9310410"/>
              <a:gd name="connsiteY6839" fmla="*/ 604667 h 5296383"/>
              <a:gd name="connsiteX6840" fmla="*/ 6729338 w 9310410"/>
              <a:gd name="connsiteY6840" fmla="*/ 607664 h 5296383"/>
              <a:gd name="connsiteX6841" fmla="*/ 6740125 w 9310410"/>
              <a:gd name="connsiteY6841" fmla="*/ 611859 h 5296383"/>
              <a:gd name="connsiteX6842" fmla="*/ 6742522 w 9310410"/>
              <a:gd name="connsiteY6842" fmla="*/ 621447 h 5296383"/>
              <a:gd name="connsiteX6843" fmla="*/ 6752111 w 9310410"/>
              <a:gd name="connsiteY6843" fmla="*/ 619649 h 5296383"/>
              <a:gd name="connsiteX6844" fmla="*/ 6752111 w 9310410"/>
              <a:gd name="connsiteY6844" fmla="*/ 606465 h 5296383"/>
              <a:gd name="connsiteX6845" fmla="*/ 6737728 w 9310410"/>
              <a:gd name="connsiteY6845" fmla="*/ 602270 h 5296383"/>
              <a:gd name="connsiteX6846" fmla="*/ 6731735 w 9310410"/>
              <a:gd name="connsiteY6846" fmla="*/ 598675 h 5296383"/>
              <a:gd name="connsiteX6847" fmla="*/ 6728140 w 9310410"/>
              <a:gd name="connsiteY6847" fmla="*/ 592682 h 5296383"/>
              <a:gd name="connsiteX6848" fmla="*/ 6728140 w 9310410"/>
              <a:gd name="connsiteY6848" fmla="*/ 580697 h 5296383"/>
              <a:gd name="connsiteX6849" fmla="*/ 6732934 w 9310410"/>
              <a:gd name="connsiteY6849" fmla="*/ 575303 h 5296383"/>
              <a:gd name="connsiteX6850" fmla="*/ 6743721 w 9310410"/>
              <a:gd name="connsiteY6850" fmla="*/ 566913 h 5296383"/>
              <a:gd name="connsiteX6851" fmla="*/ 6752111 w 9310410"/>
              <a:gd name="connsiteY6851" fmla="*/ 562119 h 5296383"/>
              <a:gd name="connsiteX6852" fmla="*/ 6752111 w 9310410"/>
              <a:gd name="connsiteY6852" fmla="*/ 556726 h 5296383"/>
              <a:gd name="connsiteX6853" fmla="*/ 6747916 w 9310410"/>
              <a:gd name="connsiteY6853" fmla="*/ 550134 h 5296383"/>
              <a:gd name="connsiteX6854" fmla="*/ 6737129 w 9310410"/>
              <a:gd name="connsiteY6854" fmla="*/ 539946 h 5296383"/>
              <a:gd name="connsiteX6855" fmla="*/ 6732934 w 9310410"/>
              <a:gd name="connsiteY6855" fmla="*/ 542343 h 5296383"/>
              <a:gd name="connsiteX6856" fmla="*/ 6731735 w 9310410"/>
              <a:gd name="connsiteY6856" fmla="*/ 549534 h 5296383"/>
              <a:gd name="connsiteX6857" fmla="*/ 6723945 w 9310410"/>
              <a:gd name="connsiteY6857" fmla="*/ 553729 h 5296383"/>
              <a:gd name="connsiteX6858" fmla="*/ 6721547 w 9310410"/>
              <a:gd name="connsiteY6858" fmla="*/ 545339 h 5296383"/>
              <a:gd name="connsiteX6859" fmla="*/ 6722746 w 9310410"/>
              <a:gd name="connsiteY6859" fmla="*/ 536949 h 5296383"/>
              <a:gd name="connsiteX6860" fmla="*/ 6726342 w 9310410"/>
              <a:gd name="connsiteY6860" fmla="*/ 531556 h 5296383"/>
              <a:gd name="connsiteX6861" fmla="*/ 6734732 w 9310410"/>
              <a:gd name="connsiteY6861" fmla="*/ 527960 h 5296383"/>
              <a:gd name="connsiteX6862" fmla="*/ 6736529 w 9310410"/>
              <a:gd name="connsiteY6862" fmla="*/ 525563 h 5296383"/>
              <a:gd name="connsiteX6863" fmla="*/ 6725144 w 9310410"/>
              <a:gd name="connsiteY6863" fmla="*/ 523765 h 5296383"/>
              <a:gd name="connsiteX6864" fmla="*/ 6719750 w 9310410"/>
              <a:gd name="connsiteY6864" fmla="*/ 530957 h 5296383"/>
              <a:gd name="connsiteX6865" fmla="*/ 6711360 w 9310410"/>
              <a:gd name="connsiteY6865" fmla="*/ 523166 h 5296383"/>
              <a:gd name="connsiteX6866" fmla="*/ 6703569 w 9310410"/>
              <a:gd name="connsiteY6866" fmla="*/ 521968 h 5296383"/>
              <a:gd name="connsiteX6867" fmla="*/ 6699974 w 9310410"/>
              <a:gd name="connsiteY6867" fmla="*/ 524365 h 5296383"/>
              <a:gd name="connsiteX6868" fmla="*/ 6689786 w 9310410"/>
              <a:gd name="connsiteY6868" fmla="*/ 523765 h 5296383"/>
              <a:gd name="connsiteX6869" fmla="*/ 6676602 w 9310410"/>
              <a:gd name="connsiteY6869" fmla="*/ 520170 h 5296383"/>
              <a:gd name="connsiteX6870" fmla="*/ 6650234 w 9310410"/>
              <a:gd name="connsiteY6870" fmla="*/ 509383 h 5296383"/>
              <a:gd name="connsiteX6871" fmla="*/ 6652032 w 9310410"/>
              <a:gd name="connsiteY6871" fmla="*/ 500394 h 5296383"/>
              <a:gd name="connsiteX6872" fmla="*/ 6644841 w 9310410"/>
              <a:gd name="connsiteY6872" fmla="*/ 496798 h 5296383"/>
              <a:gd name="connsiteX6873" fmla="*/ 6635253 w 9310410"/>
              <a:gd name="connsiteY6873" fmla="*/ 484813 h 5296383"/>
              <a:gd name="connsiteX6874" fmla="*/ 6641844 w 9310410"/>
              <a:gd name="connsiteY6874" fmla="*/ 469232 h 5296383"/>
              <a:gd name="connsiteX6875" fmla="*/ 6643642 w 9310410"/>
              <a:gd name="connsiteY6875" fmla="*/ 463239 h 5296383"/>
              <a:gd name="connsiteX6876" fmla="*/ 6644841 w 9310410"/>
              <a:gd name="connsiteY6876" fmla="*/ 450055 h 5296383"/>
              <a:gd name="connsiteX6877" fmla="*/ 6659223 w 9310410"/>
              <a:gd name="connsiteY6877" fmla="*/ 446459 h 5296383"/>
              <a:gd name="connsiteX6878" fmla="*/ 6667613 w 9310410"/>
              <a:gd name="connsiteY6878" fmla="*/ 450654 h 5296383"/>
              <a:gd name="connsiteX6879" fmla="*/ 6668812 w 9310410"/>
              <a:gd name="connsiteY6879" fmla="*/ 457845 h 5296383"/>
              <a:gd name="connsiteX6880" fmla="*/ 6671808 w 9310410"/>
              <a:gd name="connsiteY6880" fmla="*/ 462040 h 5296383"/>
              <a:gd name="connsiteX6881" fmla="*/ 6696378 w 9310410"/>
              <a:gd name="connsiteY6881" fmla="*/ 469831 h 5296383"/>
              <a:gd name="connsiteX6882" fmla="*/ 6706566 w 9310410"/>
              <a:gd name="connsiteY6882" fmla="*/ 475224 h 5296383"/>
              <a:gd name="connsiteX6883" fmla="*/ 6724544 w 9310410"/>
              <a:gd name="connsiteY6883" fmla="*/ 475824 h 5296383"/>
              <a:gd name="connsiteX6884" fmla="*/ 6734732 w 9310410"/>
              <a:gd name="connsiteY6884" fmla="*/ 478221 h 5296383"/>
              <a:gd name="connsiteX6885" fmla="*/ 6740725 w 9310410"/>
              <a:gd name="connsiteY6885" fmla="*/ 483015 h 5296383"/>
              <a:gd name="connsiteX6886" fmla="*/ 6738327 w 9310410"/>
              <a:gd name="connsiteY6886" fmla="*/ 489008 h 5296383"/>
              <a:gd name="connsiteX6887" fmla="*/ 6731136 w 9310410"/>
              <a:gd name="connsiteY6887" fmla="*/ 499195 h 5296383"/>
              <a:gd name="connsiteX6888" fmla="*/ 6723346 w 9310410"/>
              <a:gd name="connsiteY6888" fmla="*/ 510581 h 5296383"/>
              <a:gd name="connsiteX6889" fmla="*/ 6725144 w 9310410"/>
              <a:gd name="connsiteY6889" fmla="*/ 513578 h 5296383"/>
              <a:gd name="connsiteX6890" fmla="*/ 6729937 w 9310410"/>
              <a:gd name="connsiteY6890" fmla="*/ 506986 h 5296383"/>
              <a:gd name="connsiteX6891" fmla="*/ 6742522 w 9310410"/>
              <a:gd name="connsiteY6891" fmla="*/ 494401 h 5296383"/>
              <a:gd name="connsiteX6892" fmla="*/ 6742522 w 9310410"/>
              <a:gd name="connsiteY6892" fmla="*/ 500394 h 5296383"/>
              <a:gd name="connsiteX6893" fmla="*/ 6744919 w 9310410"/>
              <a:gd name="connsiteY6893" fmla="*/ 509383 h 5296383"/>
              <a:gd name="connsiteX6894" fmla="*/ 6752111 w 9310410"/>
              <a:gd name="connsiteY6894" fmla="*/ 509383 h 5296383"/>
              <a:gd name="connsiteX6895" fmla="*/ 6758104 w 9310410"/>
              <a:gd name="connsiteY6895" fmla="*/ 509383 h 5296383"/>
              <a:gd name="connsiteX6896" fmla="*/ 6761699 w 9310410"/>
              <a:gd name="connsiteY6896" fmla="*/ 506986 h 5296383"/>
              <a:gd name="connsiteX6897" fmla="*/ 6768890 w 9310410"/>
              <a:gd name="connsiteY6897" fmla="*/ 506387 h 5296383"/>
              <a:gd name="connsiteX6898" fmla="*/ 6771887 w 9310410"/>
              <a:gd name="connsiteY6898" fmla="*/ 510581 h 5296383"/>
              <a:gd name="connsiteX6899" fmla="*/ 6772486 w 9310410"/>
              <a:gd name="connsiteY6899" fmla="*/ 515975 h 5296383"/>
              <a:gd name="connsiteX6900" fmla="*/ 6784471 w 9310410"/>
              <a:gd name="connsiteY6900" fmla="*/ 521368 h 5296383"/>
              <a:gd name="connsiteX6901" fmla="*/ 6794659 w 9310410"/>
              <a:gd name="connsiteY6901" fmla="*/ 529758 h 5296383"/>
              <a:gd name="connsiteX6902" fmla="*/ 6809641 w 9310410"/>
              <a:gd name="connsiteY6902" fmla="*/ 537549 h 5296383"/>
              <a:gd name="connsiteX6903" fmla="*/ 6825821 w 9310410"/>
              <a:gd name="connsiteY6903" fmla="*/ 547736 h 5296383"/>
              <a:gd name="connsiteX6904" fmla="*/ 6833612 w 9310410"/>
              <a:gd name="connsiteY6904" fmla="*/ 548935 h 5296383"/>
              <a:gd name="connsiteX6905" fmla="*/ 6834211 w 9310410"/>
              <a:gd name="connsiteY6905" fmla="*/ 545339 h 5296383"/>
              <a:gd name="connsiteX6906" fmla="*/ 6825821 w 9310410"/>
              <a:gd name="connsiteY6906" fmla="*/ 536949 h 5296383"/>
              <a:gd name="connsiteX6907" fmla="*/ 6819229 w 9310410"/>
              <a:gd name="connsiteY6907" fmla="*/ 527960 h 5296383"/>
              <a:gd name="connsiteX6908" fmla="*/ 6810839 w 9310410"/>
              <a:gd name="connsiteY6908" fmla="*/ 515975 h 5296383"/>
              <a:gd name="connsiteX6909" fmla="*/ 6814435 w 9310410"/>
              <a:gd name="connsiteY6909" fmla="*/ 507585 h 5296383"/>
              <a:gd name="connsiteX6910" fmla="*/ 6839006 w 9310410"/>
              <a:gd name="connsiteY6910" fmla="*/ 518372 h 5296383"/>
              <a:gd name="connsiteX6911" fmla="*/ 6855186 w 9310410"/>
              <a:gd name="connsiteY6911" fmla="*/ 526163 h 5296383"/>
              <a:gd name="connsiteX6912" fmla="*/ 6859380 w 9310410"/>
              <a:gd name="connsiteY6912" fmla="*/ 534552 h 5296383"/>
              <a:gd name="connsiteX6913" fmla="*/ 6858182 w 9310410"/>
              <a:gd name="connsiteY6913" fmla="*/ 539347 h 5296383"/>
              <a:gd name="connsiteX6914" fmla="*/ 6857583 w 9310410"/>
              <a:gd name="connsiteY6914" fmla="*/ 547137 h 5296383"/>
              <a:gd name="connsiteX6915" fmla="*/ 6866572 w 9310410"/>
              <a:gd name="connsiteY6915" fmla="*/ 552531 h 5296383"/>
              <a:gd name="connsiteX6916" fmla="*/ 6884550 w 9310410"/>
              <a:gd name="connsiteY6916" fmla="*/ 560920 h 5296383"/>
              <a:gd name="connsiteX6917" fmla="*/ 6897734 w 9310410"/>
              <a:gd name="connsiteY6917" fmla="*/ 569310 h 5296383"/>
              <a:gd name="connsiteX6918" fmla="*/ 6910319 w 9310410"/>
              <a:gd name="connsiteY6918" fmla="*/ 569910 h 5296383"/>
              <a:gd name="connsiteX6919" fmla="*/ 6904326 w 9310410"/>
              <a:gd name="connsiteY6919" fmla="*/ 553130 h 5296383"/>
              <a:gd name="connsiteX6920" fmla="*/ 6898933 w 9310410"/>
              <a:gd name="connsiteY6920" fmla="*/ 539347 h 5296383"/>
              <a:gd name="connsiteX6921" fmla="*/ 6909120 w 9310410"/>
              <a:gd name="connsiteY6921" fmla="*/ 540545 h 5296383"/>
              <a:gd name="connsiteX6922" fmla="*/ 6913315 w 9310410"/>
              <a:gd name="connsiteY6922" fmla="*/ 538148 h 5296383"/>
              <a:gd name="connsiteX6923" fmla="*/ 6901330 w 9310410"/>
              <a:gd name="connsiteY6923" fmla="*/ 527361 h 5296383"/>
              <a:gd name="connsiteX6924" fmla="*/ 6892940 w 9310410"/>
              <a:gd name="connsiteY6924" fmla="*/ 514776 h 5296383"/>
              <a:gd name="connsiteX6925" fmla="*/ 6898333 w 9310410"/>
              <a:gd name="connsiteY6925" fmla="*/ 510581 h 5296383"/>
              <a:gd name="connsiteX6926" fmla="*/ 6898933 w 9310410"/>
              <a:gd name="connsiteY6926" fmla="*/ 506387 h 5296383"/>
              <a:gd name="connsiteX6927" fmla="*/ 6894139 w 9310410"/>
              <a:gd name="connsiteY6927" fmla="*/ 498596 h 5296383"/>
              <a:gd name="connsiteX6928" fmla="*/ 6890543 w 9310410"/>
              <a:gd name="connsiteY6928" fmla="*/ 497997 h 5296383"/>
              <a:gd name="connsiteX6929" fmla="*/ 6882153 w 9310410"/>
              <a:gd name="connsiteY6929" fmla="*/ 501592 h 5296383"/>
              <a:gd name="connsiteX6930" fmla="*/ 6873763 w 9310410"/>
              <a:gd name="connsiteY6930" fmla="*/ 496199 h 5296383"/>
              <a:gd name="connsiteX6931" fmla="*/ 6868969 w 9310410"/>
              <a:gd name="connsiteY6931" fmla="*/ 493802 h 5296383"/>
              <a:gd name="connsiteX6932" fmla="*/ 6860579 w 9310410"/>
              <a:gd name="connsiteY6932" fmla="*/ 488408 h 5296383"/>
              <a:gd name="connsiteX6933" fmla="*/ 6861179 w 9310410"/>
              <a:gd name="connsiteY6933" fmla="*/ 481816 h 5296383"/>
              <a:gd name="connsiteX6934" fmla="*/ 6878558 w 9310410"/>
              <a:gd name="connsiteY6934" fmla="*/ 484213 h 5296383"/>
              <a:gd name="connsiteX6935" fmla="*/ 6892340 w 9310410"/>
              <a:gd name="connsiteY6935" fmla="*/ 480018 h 5296383"/>
              <a:gd name="connsiteX6936" fmla="*/ 6907322 w 9310410"/>
              <a:gd name="connsiteY6936" fmla="*/ 474625 h 5296383"/>
              <a:gd name="connsiteX6937" fmla="*/ 6913915 w 9310410"/>
              <a:gd name="connsiteY6937" fmla="*/ 481816 h 5296383"/>
              <a:gd name="connsiteX6938" fmla="*/ 6915712 w 9310410"/>
              <a:gd name="connsiteY6938" fmla="*/ 486610 h 5296383"/>
              <a:gd name="connsiteX6939" fmla="*/ 6927099 w 9310410"/>
              <a:gd name="connsiteY6939" fmla="*/ 486610 h 5296383"/>
              <a:gd name="connsiteX6940" fmla="*/ 6934290 w 9310410"/>
              <a:gd name="connsiteY6940" fmla="*/ 484813 h 5296383"/>
              <a:gd name="connsiteX6941" fmla="*/ 6944478 w 9310410"/>
              <a:gd name="connsiteY6941" fmla="*/ 480018 h 5296383"/>
              <a:gd name="connsiteX6942" fmla="*/ 6951669 w 9310410"/>
              <a:gd name="connsiteY6942" fmla="*/ 488408 h 5296383"/>
              <a:gd name="connsiteX6943" fmla="*/ 6954665 w 9310410"/>
              <a:gd name="connsiteY6943" fmla="*/ 496798 h 5296383"/>
              <a:gd name="connsiteX6944" fmla="*/ 6959460 w 9310410"/>
              <a:gd name="connsiteY6944" fmla="*/ 507585 h 5296383"/>
              <a:gd name="connsiteX6945" fmla="*/ 6952268 w 9310410"/>
              <a:gd name="connsiteY6945" fmla="*/ 505188 h 5296383"/>
              <a:gd name="connsiteX6946" fmla="*/ 6946875 w 9310410"/>
              <a:gd name="connsiteY6946" fmla="*/ 499795 h 5296383"/>
              <a:gd name="connsiteX6947" fmla="*/ 6946275 w 9310410"/>
              <a:gd name="connsiteY6947" fmla="*/ 509383 h 5296383"/>
              <a:gd name="connsiteX6948" fmla="*/ 6951669 w 9310410"/>
              <a:gd name="connsiteY6948" fmla="*/ 516574 h 5296383"/>
              <a:gd name="connsiteX6949" fmla="*/ 6959460 w 9310410"/>
              <a:gd name="connsiteY6949" fmla="*/ 517173 h 5296383"/>
              <a:gd name="connsiteX6950" fmla="*/ 6962456 w 9310410"/>
              <a:gd name="connsiteY6950" fmla="*/ 522567 h 5296383"/>
              <a:gd name="connsiteX6951" fmla="*/ 6967850 w 9310410"/>
              <a:gd name="connsiteY6951" fmla="*/ 523166 h 5296383"/>
              <a:gd name="connsiteX6952" fmla="*/ 6973242 w 9310410"/>
              <a:gd name="connsiteY6952" fmla="*/ 527361 h 5296383"/>
              <a:gd name="connsiteX6953" fmla="*/ 6988224 w 9310410"/>
              <a:gd name="connsiteY6953" fmla="*/ 532755 h 5296383"/>
              <a:gd name="connsiteX6954" fmla="*/ 7008600 w 9310410"/>
              <a:gd name="connsiteY6954" fmla="*/ 536949 h 5296383"/>
              <a:gd name="connsiteX6955" fmla="*/ 7015791 w 9310410"/>
              <a:gd name="connsiteY6955" fmla="*/ 547137 h 5296383"/>
              <a:gd name="connsiteX6956" fmla="*/ 7018188 w 9310410"/>
              <a:gd name="connsiteY6956" fmla="*/ 555527 h 5296383"/>
              <a:gd name="connsiteX6957" fmla="*/ 7014592 w 9310410"/>
              <a:gd name="connsiteY6957" fmla="*/ 562119 h 5296383"/>
              <a:gd name="connsiteX6958" fmla="*/ 7012795 w 9310410"/>
              <a:gd name="connsiteY6958" fmla="*/ 566314 h 5296383"/>
              <a:gd name="connsiteX6959" fmla="*/ 7008600 w 9310410"/>
              <a:gd name="connsiteY6959" fmla="*/ 568711 h 5296383"/>
              <a:gd name="connsiteX6960" fmla="*/ 7003206 w 9310410"/>
              <a:gd name="connsiteY6960" fmla="*/ 572906 h 5296383"/>
              <a:gd name="connsiteX6961" fmla="*/ 7000210 w 9310410"/>
              <a:gd name="connsiteY6961" fmla="*/ 581296 h 5296383"/>
              <a:gd name="connsiteX6962" fmla="*/ 6993019 w 9310410"/>
              <a:gd name="connsiteY6962" fmla="*/ 579498 h 5296383"/>
              <a:gd name="connsiteX6963" fmla="*/ 6985828 w 9310410"/>
              <a:gd name="connsiteY6963" fmla="*/ 573505 h 5296383"/>
              <a:gd name="connsiteX6964" fmla="*/ 6982831 w 9310410"/>
              <a:gd name="connsiteY6964" fmla="*/ 568112 h 5296383"/>
              <a:gd name="connsiteX6965" fmla="*/ 6977438 w 9310410"/>
              <a:gd name="connsiteY6965" fmla="*/ 569310 h 5296383"/>
              <a:gd name="connsiteX6966" fmla="*/ 6972044 w 9310410"/>
              <a:gd name="connsiteY6966" fmla="*/ 574704 h 5296383"/>
              <a:gd name="connsiteX6967" fmla="*/ 6983431 w 9310410"/>
              <a:gd name="connsiteY6967" fmla="*/ 579498 h 5296383"/>
              <a:gd name="connsiteX6968" fmla="*/ 6993618 w 9310410"/>
              <a:gd name="connsiteY6968" fmla="*/ 586090 h 5296383"/>
              <a:gd name="connsiteX6969" fmla="*/ 6989423 w 9310410"/>
              <a:gd name="connsiteY6969" fmla="*/ 587888 h 5296383"/>
              <a:gd name="connsiteX6970" fmla="*/ 6979835 w 9310410"/>
              <a:gd name="connsiteY6970" fmla="*/ 584891 h 5296383"/>
              <a:gd name="connsiteX6971" fmla="*/ 6979235 w 9310410"/>
              <a:gd name="connsiteY6971" fmla="*/ 589086 h 5296383"/>
              <a:gd name="connsiteX6972" fmla="*/ 6975640 w 9310410"/>
              <a:gd name="connsiteY6972" fmla="*/ 594480 h 5296383"/>
              <a:gd name="connsiteX6973" fmla="*/ 6960658 w 9310410"/>
              <a:gd name="connsiteY6973" fmla="*/ 592083 h 5296383"/>
              <a:gd name="connsiteX6974" fmla="*/ 6948672 w 9310410"/>
              <a:gd name="connsiteY6974" fmla="*/ 590884 h 5296383"/>
              <a:gd name="connsiteX6975" fmla="*/ 6936687 w 9310410"/>
              <a:gd name="connsiteY6975" fmla="*/ 593281 h 5296383"/>
              <a:gd name="connsiteX6976" fmla="*/ 6942080 w 9310410"/>
              <a:gd name="connsiteY6976" fmla="*/ 596877 h 5296383"/>
              <a:gd name="connsiteX6977" fmla="*/ 6957661 w 9310410"/>
              <a:gd name="connsiteY6977" fmla="*/ 599873 h 5296383"/>
              <a:gd name="connsiteX6978" fmla="*/ 6957062 w 9310410"/>
              <a:gd name="connsiteY6978" fmla="*/ 610061 h 5296383"/>
              <a:gd name="connsiteX6979" fmla="*/ 6954665 w 9310410"/>
              <a:gd name="connsiteY6979" fmla="*/ 618451 h 5296383"/>
              <a:gd name="connsiteX6980" fmla="*/ 6947474 w 9310410"/>
              <a:gd name="connsiteY6980" fmla="*/ 629837 h 5296383"/>
              <a:gd name="connsiteX6981" fmla="*/ 6932492 w 9310410"/>
              <a:gd name="connsiteY6981" fmla="*/ 626241 h 5296383"/>
              <a:gd name="connsiteX6982" fmla="*/ 6917510 w 9310410"/>
              <a:gd name="connsiteY6982" fmla="*/ 623245 h 5296383"/>
              <a:gd name="connsiteX6983" fmla="*/ 6900730 w 9310410"/>
              <a:gd name="connsiteY6983" fmla="*/ 619050 h 5296383"/>
              <a:gd name="connsiteX6984" fmla="*/ 6891741 w 9310410"/>
              <a:gd name="connsiteY6984" fmla="*/ 619649 h 5296383"/>
              <a:gd name="connsiteX6985" fmla="*/ 6885749 w 9310410"/>
              <a:gd name="connsiteY6985" fmla="*/ 622046 h 5296383"/>
              <a:gd name="connsiteX6986" fmla="*/ 6887547 w 9310410"/>
              <a:gd name="connsiteY6986" fmla="*/ 625043 h 5296383"/>
              <a:gd name="connsiteX6987" fmla="*/ 6909720 w 9310410"/>
              <a:gd name="connsiteY6987" fmla="*/ 629837 h 5296383"/>
              <a:gd name="connsiteX6988" fmla="*/ 6927698 w 9310410"/>
              <a:gd name="connsiteY6988" fmla="*/ 637028 h 5296383"/>
              <a:gd name="connsiteX6989" fmla="*/ 6951070 w 9310410"/>
              <a:gd name="connsiteY6989" fmla="*/ 631635 h 5296383"/>
              <a:gd name="connsiteX6990" fmla="*/ 6970846 w 9310410"/>
              <a:gd name="connsiteY6990" fmla="*/ 634032 h 5296383"/>
              <a:gd name="connsiteX6991" fmla="*/ 6974441 w 9310410"/>
              <a:gd name="connsiteY6991" fmla="*/ 657404 h 5296383"/>
              <a:gd name="connsiteX6992" fmla="*/ 6973842 w 9310410"/>
              <a:gd name="connsiteY6992" fmla="*/ 669389 h 5296383"/>
              <a:gd name="connsiteX6993" fmla="*/ 6971445 w 9310410"/>
              <a:gd name="connsiteY6993" fmla="*/ 674783 h 5296383"/>
              <a:gd name="connsiteX6994" fmla="*/ 6972044 w 9310410"/>
              <a:gd name="connsiteY6994" fmla="*/ 681974 h 5296383"/>
              <a:gd name="connsiteX6995" fmla="*/ 6967850 w 9310410"/>
              <a:gd name="connsiteY6995" fmla="*/ 684970 h 5296383"/>
              <a:gd name="connsiteX6996" fmla="*/ 6961257 w 9310410"/>
              <a:gd name="connsiteY6996" fmla="*/ 685569 h 5296383"/>
              <a:gd name="connsiteX6997" fmla="*/ 6948672 w 9310410"/>
              <a:gd name="connsiteY6997" fmla="*/ 679577 h 5296383"/>
              <a:gd name="connsiteX6998" fmla="*/ 6946875 w 9310410"/>
              <a:gd name="connsiteY6998" fmla="*/ 681974 h 5296383"/>
              <a:gd name="connsiteX6999" fmla="*/ 6944478 w 9310410"/>
              <a:gd name="connsiteY6999" fmla="*/ 685569 h 5296383"/>
              <a:gd name="connsiteX7000" fmla="*/ 6943879 w 9310410"/>
              <a:gd name="connsiteY7000" fmla="*/ 689764 h 5296383"/>
              <a:gd name="connsiteX7001" fmla="*/ 6952268 w 9310410"/>
              <a:gd name="connsiteY7001" fmla="*/ 696356 h 5296383"/>
              <a:gd name="connsiteX7002" fmla="*/ 6951070 w 9310410"/>
              <a:gd name="connsiteY7002" fmla="*/ 703548 h 5296383"/>
              <a:gd name="connsiteX7003" fmla="*/ 6946875 w 9310410"/>
              <a:gd name="connsiteY7003" fmla="*/ 707143 h 5296383"/>
              <a:gd name="connsiteX7004" fmla="*/ 6918110 w 9310410"/>
              <a:gd name="connsiteY7004" fmla="*/ 699952 h 5296383"/>
              <a:gd name="connsiteX7005" fmla="*/ 6891142 w 9310410"/>
              <a:gd name="connsiteY7005" fmla="*/ 699353 h 5296383"/>
              <a:gd name="connsiteX7006" fmla="*/ 6882752 w 9310410"/>
              <a:gd name="connsiteY7006" fmla="*/ 698753 h 5296383"/>
              <a:gd name="connsiteX7007" fmla="*/ 6885149 w 9310410"/>
              <a:gd name="connsiteY7007" fmla="*/ 702948 h 5296383"/>
              <a:gd name="connsiteX7008" fmla="*/ 6909120 w 9310410"/>
              <a:gd name="connsiteY7008" fmla="*/ 705345 h 5296383"/>
              <a:gd name="connsiteX7009" fmla="*/ 6922304 w 9310410"/>
              <a:gd name="connsiteY7009" fmla="*/ 707743 h 5296383"/>
              <a:gd name="connsiteX7010" fmla="*/ 6940882 w 9310410"/>
              <a:gd name="connsiteY7010" fmla="*/ 707743 h 5296383"/>
              <a:gd name="connsiteX7011" fmla="*/ 6955864 w 9310410"/>
              <a:gd name="connsiteY7011" fmla="*/ 723923 h 5296383"/>
              <a:gd name="connsiteX7012" fmla="*/ 6941481 w 9310410"/>
              <a:gd name="connsiteY7012" fmla="*/ 728118 h 5296383"/>
              <a:gd name="connsiteX7013" fmla="*/ 6943279 w 9310410"/>
              <a:gd name="connsiteY7013" fmla="*/ 732912 h 5296383"/>
              <a:gd name="connsiteX7014" fmla="*/ 6951669 w 9310410"/>
              <a:gd name="connsiteY7014" fmla="*/ 734710 h 5296383"/>
              <a:gd name="connsiteX7015" fmla="*/ 6946275 w 9310410"/>
              <a:gd name="connsiteY7015" fmla="*/ 737107 h 5296383"/>
              <a:gd name="connsiteX7016" fmla="*/ 6942080 w 9310410"/>
              <a:gd name="connsiteY7016" fmla="*/ 741302 h 5296383"/>
              <a:gd name="connsiteX7017" fmla="*/ 6946275 w 9310410"/>
              <a:gd name="connsiteY7017" fmla="*/ 747295 h 5296383"/>
              <a:gd name="connsiteX7018" fmla="*/ 6949271 w 9310410"/>
              <a:gd name="connsiteY7018" fmla="*/ 752688 h 5296383"/>
              <a:gd name="connsiteX7019" fmla="*/ 6940882 w 9310410"/>
              <a:gd name="connsiteY7019" fmla="*/ 757482 h 5296383"/>
              <a:gd name="connsiteX7020" fmla="*/ 6942080 w 9310410"/>
              <a:gd name="connsiteY7020" fmla="*/ 761677 h 5296383"/>
              <a:gd name="connsiteX7021" fmla="*/ 6938485 w 9310410"/>
              <a:gd name="connsiteY7021" fmla="*/ 763475 h 5296383"/>
              <a:gd name="connsiteX7022" fmla="*/ 6937886 w 9310410"/>
              <a:gd name="connsiteY7022" fmla="*/ 767670 h 5296383"/>
              <a:gd name="connsiteX7023" fmla="*/ 6944478 w 9310410"/>
              <a:gd name="connsiteY7023" fmla="*/ 771865 h 5296383"/>
              <a:gd name="connsiteX7024" fmla="*/ 6944478 w 9310410"/>
              <a:gd name="connsiteY7024" fmla="*/ 778457 h 5296383"/>
              <a:gd name="connsiteX7025" fmla="*/ 6943279 w 9310410"/>
              <a:gd name="connsiteY7025" fmla="*/ 785049 h 5296383"/>
              <a:gd name="connsiteX7026" fmla="*/ 6942680 w 9310410"/>
              <a:gd name="connsiteY7026" fmla="*/ 791641 h 5296383"/>
              <a:gd name="connsiteX7027" fmla="*/ 6947474 w 9310410"/>
              <a:gd name="connsiteY7027" fmla="*/ 808421 h 5296383"/>
              <a:gd name="connsiteX7028" fmla="*/ 6943879 w 9310410"/>
              <a:gd name="connsiteY7028" fmla="*/ 815612 h 5296383"/>
              <a:gd name="connsiteX7029" fmla="*/ 6947474 w 9310410"/>
              <a:gd name="connsiteY7029" fmla="*/ 819208 h 5296383"/>
              <a:gd name="connsiteX7030" fmla="*/ 6963055 w 9310410"/>
              <a:gd name="connsiteY7030" fmla="*/ 838984 h 5296383"/>
              <a:gd name="connsiteX7031" fmla="*/ 6976839 w 9310410"/>
              <a:gd name="connsiteY7031" fmla="*/ 853965 h 5296383"/>
              <a:gd name="connsiteX7032" fmla="*/ 6982831 w 9310410"/>
              <a:gd name="connsiteY7032" fmla="*/ 864153 h 5296383"/>
              <a:gd name="connsiteX7033" fmla="*/ 6988224 w 9310410"/>
              <a:gd name="connsiteY7033" fmla="*/ 873741 h 5296383"/>
              <a:gd name="connsiteX7034" fmla="*/ 6996015 w 9310410"/>
              <a:gd name="connsiteY7034" fmla="*/ 880333 h 5296383"/>
              <a:gd name="connsiteX7035" fmla="*/ 7002607 w 9310410"/>
              <a:gd name="connsiteY7035" fmla="*/ 882731 h 5296383"/>
              <a:gd name="connsiteX7036" fmla="*/ 7008001 w 9310410"/>
              <a:gd name="connsiteY7036" fmla="*/ 883330 h 5296383"/>
              <a:gd name="connsiteX7037" fmla="*/ 7013993 w 9310410"/>
              <a:gd name="connsiteY7037" fmla="*/ 873741 h 5296383"/>
              <a:gd name="connsiteX7038" fmla="*/ 7033770 w 9310410"/>
              <a:gd name="connsiteY7038" fmla="*/ 873142 h 5296383"/>
              <a:gd name="connsiteX7039" fmla="*/ 7043957 w 9310410"/>
              <a:gd name="connsiteY7039" fmla="*/ 885128 h 5296383"/>
              <a:gd name="connsiteX7040" fmla="*/ 7057741 w 9310410"/>
              <a:gd name="connsiteY7040" fmla="*/ 901308 h 5296383"/>
              <a:gd name="connsiteX7041" fmla="*/ 7064932 w 9310410"/>
              <a:gd name="connsiteY7041" fmla="*/ 907900 h 5296383"/>
              <a:gd name="connsiteX7042" fmla="*/ 7075119 w 9310410"/>
              <a:gd name="connsiteY7042" fmla="*/ 921084 h 5296383"/>
              <a:gd name="connsiteX7043" fmla="*/ 7077516 w 9310410"/>
              <a:gd name="connsiteY7043" fmla="*/ 927077 h 5296383"/>
              <a:gd name="connsiteX7044" fmla="*/ 7082910 w 9310410"/>
              <a:gd name="connsiteY7044" fmla="*/ 924680 h 5296383"/>
              <a:gd name="connsiteX7045" fmla="*/ 7091300 w 9310410"/>
              <a:gd name="connsiteY7045" fmla="*/ 919286 h 5296383"/>
              <a:gd name="connsiteX7046" fmla="*/ 7114072 w 9310410"/>
              <a:gd name="connsiteY7046" fmla="*/ 912095 h 5296383"/>
              <a:gd name="connsiteX7047" fmla="*/ 7155422 w 9310410"/>
              <a:gd name="connsiteY7047" fmla="*/ 921084 h 5296383"/>
              <a:gd name="connsiteX7048" fmla="*/ 7196173 w 9310410"/>
              <a:gd name="connsiteY7048" fmla="*/ 935467 h 5296383"/>
              <a:gd name="connsiteX7049" fmla="*/ 7203364 w 9310410"/>
              <a:gd name="connsiteY7049" fmla="*/ 937864 h 5296383"/>
              <a:gd name="connsiteX7050" fmla="*/ 7230930 w 9310410"/>
              <a:gd name="connsiteY7050" fmla="*/ 941459 h 5296383"/>
              <a:gd name="connsiteX7051" fmla="*/ 7259097 w 9310410"/>
              <a:gd name="connsiteY7051" fmla="*/ 948651 h 5296383"/>
              <a:gd name="connsiteX7052" fmla="*/ 7263291 w 9310410"/>
              <a:gd name="connsiteY7052" fmla="*/ 952846 h 5296383"/>
              <a:gd name="connsiteX7053" fmla="*/ 7267487 w 9310410"/>
              <a:gd name="connsiteY7053" fmla="*/ 952246 h 5296383"/>
              <a:gd name="connsiteX7054" fmla="*/ 7315428 w 9310410"/>
              <a:gd name="connsiteY7054" fmla="*/ 948051 h 5296383"/>
              <a:gd name="connsiteX7055" fmla="*/ 7335204 w 9310410"/>
              <a:gd name="connsiteY7055" fmla="*/ 955243 h 5296383"/>
              <a:gd name="connsiteX7056" fmla="*/ 7354381 w 9310410"/>
              <a:gd name="connsiteY7056" fmla="*/ 982809 h 5296383"/>
              <a:gd name="connsiteX7057" fmla="*/ 7367565 w 9310410"/>
              <a:gd name="connsiteY7057" fmla="*/ 995394 h 5296383"/>
              <a:gd name="connsiteX7058" fmla="*/ 7375356 w 9310410"/>
              <a:gd name="connsiteY7058" fmla="*/ 1002585 h 5296383"/>
              <a:gd name="connsiteX7059" fmla="*/ 7377752 w 9310410"/>
              <a:gd name="connsiteY7059" fmla="*/ 1010376 h 5296383"/>
              <a:gd name="connsiteX7060" fmla="*/ 7377153 w 9310410"/>
              <a:gd name="connsiteY7060" fmla="*/ 1017567 h 5296383"/>
              <a:gd name="connsiteX7061" fmla="*/ 7389139 w 9310410"/>
              <a:gd name="connsiteY7061" fmla="*/ 1025358 h 5296383"/>
              <a:gd name="connsiteX7062" fmla="*/ 7409514 w 9310410"/>
              <a:gd name="connsiteY7062" fmla="*/ 1042137 h 5296383"/>
              <a:gd name="connsiteX7063" fmla="*/ 7413709 w 9310410"/>
              <a:gd name="connsiteY7063" fmla="*/ 1044535 h 5296383"/>
              <a:gd name="connsiteX7064" fmla="*/ 7447269 w 9310410"/>
              <a:gd name="connsiteY7064" fmla="*/ 1057719 h 5296383"/>
              <a:gd name="connsiteX7065" fmla="*/ 7454460 w 9310410"/>
              <a:gd name="connsiteY7065" fmla="*/ 1069704 h 5296383"/>
              <a:gd name="connsiteX7066" fmla="*/ 7462251 w 9310410"/>
              <a:gd name="connsiteY7066" fmla="*/ 1073899 h 5296383"/>
              <a:gd name="connsiteX7067" fmla="*/ 7472438 w 9310410"/>
              <a:gd name="connsiteY7067" fmla="*/ 1075098 h 5296383"/>
              <a:gd name="connsiteX7068" fmla="*/ 7474835 w 9310410"/>
              <a:gd name="connsiteY7068" fmla="*/ 1069105 h 5296383"/>
              <a:gd name="connsiteX7069" fmla="*/ 7480229 w 9310410"/>
              <a:gd name="connsiteY7069" fmla="*/ 1063112 h 5296383"/>
              <a:gd name="connsiteX7070" fmla="*/ 7484423 w 9310410"/>
              <a:gd name="connsiteY7070" fmla="*/ 1067906 h 5296383"/>
              <a:gd name="connsiteX7071" fmla="*/ 7491614 w 9310410"/>
              <a:gd name="connsiteY7071" fmla="*/ 1065509 h 5296383"/>
              <a:gd name="connsiteX7072" fmla="*/ 7487420 w 9310410"/>
              <a:gd name="connsiteY7072" fmla="*/ 1058318 h 5296383"/>
              <a:gd name="connsiteX7073" fmla="*/ 7477232 w 9310410"/>
              <a:gd name="connsiteY7073" fmla="*/ 1040340 h 5296383"/>
              <a:gd name="connsiteX7074" fmla="*/ 7468842 w 9310410"/>
              <a:gd name="connsiteY7074" fmla="*/ 1024159 h 5296383"/>
              <a:gd name="connsiteX7075" fmla="*/ 7459254 w 9310410"/>
              <a:gd name="connsiteY7075" fmla="*/ 1015170 h 5296383"/>
              <a:gd name="connsiteX7076" fmla="*/ 7452062 w 9310410"/>
              <a:gd name="connsiteY7076" fmla="*/ 1003185 h 5296383"/>
              <a:gd name="connsiteX7077" fmla="*/ 7440077 w 9310410"/>
              <a:gd name="connsiteY7077" fmla="*/ 995394 h 5296383"/>
              <a:gd name="connsiteX7078" fmla="*/ 7434683 w 9310410"/>
              <a:gd name="connsiteY7078" fmla="*/ 990001 h 5296383"/>
              <a:gd name="connsiteX7079" fmla="*/ 7431088 w 9310410"/>
              <a:gd name="connsiteY7079" fmla="*/ 984607 h 5296383"/>
              <a:gd name="connsiteX7080" fmla="*/ 7425694 w 9310410"/>
              <a:gd name="connsiteY7080" fmla="*/ 976217 h 5296383"/>
              <a:gd name="connsiteX7081" fmla="*/ 7419102 w 9310410"/>
              <a:gd name="connsiteY7081" fmla="*/ 968427 h 5296383"/>
              <a:gd name="connsiteX7082" fmla="*/ 7413709 w 9310410"/>
              <a:gd name="connsiteY7082" fmla="*/ 964831 h 5296383"/>
              <a:gd name="connsiteX7083" fmla="*/ 7405919 w 9310410"/>
              <a:gd name="connsiteY7083" fmla="*/ 960037 h 5296383"/>
              <a:gd name="connsiteX7084" fmla="*/ 7399327 w 9310410"/>
              <a:gd name="connsiteY7084" fmla="*/ 955842 h 5296383"/>
              <a:gd name="connsiteX7085" fmla="*/ 7397529 w 9310410"/>
              <a:gd name="connsiteY7085" fmla="*/ 946254 h 5296383"/>
              <a:gd name="connsiteX7086" fmla="*/ 7404121 w 9310410"/>
              <a:gd name="connsiteY7086" fmla="*/ 932470 h 5296383"/>
              <a:gd name="connsiteX7087" fmla="*/ 7413110 w 9310410"/>
              <a:gd name="connsiteY7087" fmla="*/ 909698 h 5296383"/>
              <a:gd name="connsiteX7088" fmla="*/ 7414309 w 9310410"/>
              <a:gd name="connsiteY7088" fmla="*/ 888124 h 5296383"/>
              <a:gd name="connsiteX7089" fmla="*/ 7417305 w 9310410"/>
              <a:gd name="connsiteY7089" fmla="*/ 882131 h 5296383"/>
              <a:gd name="connsiteX7090" fmla="*/ 7410113 w 9310410"/>
              <a:gd name="connsiteY7090" fmla="*/ 882131 h 5296383"/>
              <a:gd name="connsiteX7091" fmla="*/ 7407716 w 9310410"/>
              <a:gd name="connsiteY7091" fmla="*/ 887525 h 5296383"/>
              <a:gd name="connsiteX7092" fmla="*/ 7397529 w 9310410"/>
              <a:gd name="connsiteY7092" fmla="*/ 874341 h 5296383"/>
              <a:gd name="connsiteX7093" fmla="*/ 7381349 w 9310410"/>
              <a:gd name="connsiteY7093" fmla="*/ 855763 h 5296383"/>
              <a:gd name="connsiteX7094" fmla="*/ 7363370 w 9310410"/>
              <a:gd name="connsiteY7094" fmla="*/ 842579 h 5296383"/>
              <a:gd name="connsiteX7095" fmla="*/ 7347789 w 9310410"/>
              <a:gd name="connsiteY7095" fmla="*/ 830594 h 5296383"/>
              <a:gd name="connsiteX7096" fmla="*/ 7332208 w 9310410"/>
              <a:gd name="connsiteY7096" fmla="*/ 821005 h 5296383"/>
              <a:gd name="connsiteX7097" fmla="*/ 7314229 w 9310410"/>
              <a:gd name="connsiteY7097" fmla="*/ 815013 h 5296383"/>
              <a:gd name="connsiteX7098" fmla="*/ 7307038 w 9310410"/>
              <a:gd name="connsiteY7098" fmla="*/ 813215 h 5296383"/>
              <a:gd name="connsiteX7099" fmla="*/ 7298049 w 9310410"/>
              <a:gd name="connsiteY7099" fmla="*/ 807821 h 5296383"/>
              <a:gd name="connsiteX7100" fmla="*/ 7297450 w 9310410"/>
              <a:gd name="connsiteY7100" fmla="*/ 798832 h 5296383"/>
              <a:gd name="connsiteX7101" fmla="*/ 7302843 w 9310410"/>
              <a:gd name="connsiteY7101" fmla="*/ 782652 h 5296383"/>
              <a:gd name="connsiteX7102" fmla="*/ 7304042 w 9310410"/>
              <a:gd name="connsiteY7102" fmla="*/ 777258 h 5296383"/>
              <a:gd name="connsiteX7103" fmla="*/ 7310035 w 9310410"/>
              <a:gd name="connsiteY7103" fmla="*/ 774861 h 5296383"/>
              <a:gd name="connsiteX7104" fmla="*/ 7306439 w 9310410"/>
              <a:gd name="connsiteY7104" fmla="*/ 774262 h 5296383"/>
              <a:gd name="connsiteX7105" fmla="*/ 7300447 w 9310410"/>
              <a:gd name="connsiteY7105" fmla="*/ 764674 h 5296383"/>
              <a:gd name="connsiteX7106" fmla="*/ 7297450 w 9310410"/>
              <a:gd name="connsiteY7106" fmla="*/ 757482 h 5296383"/>
              <a:gd name="connsiteX7107" fmla="*/ 7281869 w 9310410"/>
              <a:gd name="connsiteY7107" fmla="*/ 752688 h 5296383"/>
              <a:gd name="connsiteX7108" fmla="*/ 7272879 w 9310410"/>
              <a:gd name="connsiteY7108" fmla="*/ 747894 h 5296383"/>
              <a:gd name="connsiteX7109" fmla="*/ 7256100 w 9310410"/>
              <a:gd name="connsiteY7109" fmla="*/ 737706 h 5296383"/>
              <a:gd name="connsiteX7110" fmla="*/ 7249508 w 9310410"/>
              <a:gd name="connsiteY7110" fmla="*/ 725721 h 5296383"/>
              <a:gd name="connsiteX7111" fmla="*/ 7245313 w 9310410"/>
              <a:gd name="connsiteY7111" fmla="*/ 716132 h 5296383"/>
              <a:gd name="connsiteX7112" fmla="*/ 7236324 w 9310410"/>
              <a:gd name="connsiteY7112" fmla="*/ 708941 h 5296383"/>
              <a:gd name="connsiteX7113" fmla="*/ 7223140 w 9310410"/>
              <a:gd name="connsiteY7113" fmla="*/ 698753 h 5296383"/>
              <a:gd name="connsiteX7114" fmla="*/ 7212952 w 9310410"/>
              <a:gd name="connsiteY7114" fmla="*/ 681974 h 5296383"/>
              <a:gd name="connsiteX7115" fmla="*/ 7234526 w 9310410"/>
              <a:gd name="connsiteY7115" fmla="*/ 675382 h 5296383"/>
              <a:gd name="connsiteX7116" fmla="*/ 7257298 w 9310410"/>
              <a:gd name="connsiteY7116" fmla="*/ 679577 h 5296383"/>
              <a:gd name="connsiteX7117" fmla="*/ 7277674 w 9310410"/>
              <a:gd name="connsiteY7117" fmla="*/ 680176 h 5296383"/>
              <a:gd name="connsiteX7118" fmla="*/ 7285465 w 9310410"/>
              <a:gd name="connsiteY7118" fmla="*/ 674783 h 5296383"/>
              <a:gd name="connsiteX7119" fmla="*/ 7298648 w 9310410"/>
              <a:gd name="connsiteY7119" fmla="*/ 669988 h 5296383"/>
              <a:gd name="connsiteX7120" fmla="*/ 7308237 w 9310410"/>
              <a:gd name="connsiteY7120" fmla="*/ 672385 h 5296383"/>
              <a:gd name="connsiteX7121" fmla="*/ 7316627 w 9310410"/>
              <a:gd name="connsiteY7121" fmla="*/ 672985 h 5296383"/>
              <a:gd name="connsiteX7122" fmla="*/ 7325616 w 9310410"/>
              <a:gd name="connsiteY7122" fmla="*/ 676580 h 5296383"/>
              <a:gd name="connsiteX7123" fmla="*/ 7343594 w 9310410"/>
              <a:gd name="connsiteY7123" fmla="*/ 687367 h 5296383"/>
              <a:gd name="connsiteX7124" fmla="*/ 7344193 w 9310410"/>
              <a:gd name="connsiteY7124" fmla="*/ 692161 h 5296383"/>
              <a:gd name="connsiteX7125" fmla="*/ 7354980 w 9310410"/>
              <a:gd name="connsiteY7125" fmla="*/ 685569 h 5296383"/>
              <a:gd name="connsiteX7126" fmla="*/ 7371160 w 9310410"/>
              <a:gd name="connsiteY7126" fmla="*/ 698753 h 5296383"/>
              <a:gd name="connsiteX7127" fmla="*/ 7386741 w 9310410"/>
              <a:gd name="connsiteY7127" fmla="*/ 696356 h 5296383"/>
              <a:gd name="connsiteX7128" fmla="*/ 7400525 w 9310410"/>
              <a:gd name="connsiteY7128" fmla="*/ 699353 h 5296383"/>
              <a:gd name="connsiteX7129" fmla="*/ 7408915 w 9310410"/>
              <a:gd name="connsiteY7129" fmla="*/ 698154 h 5296383"/>
              <a:gd name="connsiteX7130" fmla="*/ 7413110 w 9310410"/>
              <a:gd name="connsiteY7130" fmla="*/ 690364 h 5296383"/>
              <a:gd name="connsiteX7131" fmla="*/ 7430489 w 9310410"/>
              <a:gd name="connsiteY7131" fmla="*/ 716732 h 5296383"/>
              <a:gd name="connsiteX7132" fmla="*/ 7440676 w 9310410"/>
              <a:gd name="connsiteY7132" fmla="*/ 723923 h 5296383"/>
              <a:gd name="connsiteX7133" fmla="*/ 7437081 w 9310410"/>
              <a:gd name="connsiteY7133" fmla="*/ 729316 h 5296383"/>
              <a:gd name="connsiteX7134" fmla="*/ 7426893 w 9310410"/>
              <a:gd name="connsiteY7134" fmla="*/ 730515 h 5296383"/>
              <a:gd name="connsiteX7135" fmla="*/ 7416106 w 9310410"/>
              <a:gd name="connsiteY7135" fmla="*/ 734710 h 5296383"/>
              <a:gd name="connsiteX7136" fmla="*/ 7432886 w 9310410"/>
              <a:gd name="connsiteY7136" fmla="*/ 737706 h 5296383"/>
              <a:gd name="connsiteX7137" fmla="*/ 7455658 w 9310410"/>
              <a:gd name="connsiteY7137" fmla="*/ 738306 h 5296383"/>
              <a:gd name="connsiteX7138" fmla="*/ 7459853 w 9310410"/>
              <a:gd name="connsiteY7138" fmla="*/ 753287 h 5296383"/>
              <a:gd name="connsiteX7139" fmla="*/ 7470041 w 9310410"/>
              <a:gd name="connsiteY7139" fmla="*/ 749692 h 5296383"/>
              <a:gd name="connsiteX7140" fmla="*/ 7477232 w 9310410"/>
              <a:gd name="connsiteY7140" fmla="*/ 753287 h 5296383"/>
              <a:gd name="connsiteX7141" fmla="*/ 7480828 w 9310410"/>
              <a:gd name="connsiteY7141" fmla="*/ 758681 h 5296383"/>
              <a:gd name="connsiteX7142" fmla="*/ 7476033 w 9310410"/>
              <a:gd name="connsiteY7142" fmla="*/ 760479 h 5296383"/>
              <a:gd name="connsiteX7143" fmla="*/ 7470041 w 9310410"/>
              <a:gd name="connsiteY7143" fmla="*/ 763475 h 5296383"/>
              <a:gd name="connsiteX7144" fmla="*/ 7473636 w 9310410"/>
              <a:gd name="connsiteY7144" fmla="*/ 771865 h 5296383"/>
              <a:gd name="connsiteX7145" fmla="*/ 7474835 w 9310410"/>
              <a:gd name="connsiteY7145" fmla="*/ 774262 h 5296383"/>
              <a:gd name="connsiteX7146" fmla="*/ 7482625 w 9310410"/>
              <a:gd name="connsiteY7146" fmla="*/ 773063 h 5296383"/>
              <a:gd name="connsiteX7147" fmla="*/ 7490416 w 9310410"/>
              <a:gd name="connsiteY7147" fmla="*/ 767071 h 5296383"/>
              <a:gd name="connsiteX7148" fmla="*/ 7506596 w 9310410"/>
              <a:gd name="connsiteY7148" fmla="*/ 767071 h 5296383"/>
              <a:gd name="connsiteX7149" fmla="*/ 7514387 w 9310410"/>
              <a:gd name="connsiteY7149" fmla="*/ 774262 h 5296383"/>
              <a:gd name="connsiteX7150" fmla="*/ 7518582 w 9310410"/>
              <a:gd name="connsiteY7150" fmla="*/ 787446 h 5296383"/>
              <a:gd name="connsiteX7151" fmla="*/ 7520979 w 9310410"/>
              <a:gd name="connsiteY7151" fmla="*/ 785049 h 5296383"/>
              <a:gd name="connsiteX7152" fmla="*/ 7525773 w 9310410"/>
              <a:gd name="connsiteY7152" fmla="*/ 777858 h 5296383"/>
              <a:gd name="connsiteX7153" fmla="*/ 7540755 w 9310410"/>
              <a:gd name="connsiteY7153" fmla="*/ 792240 h 5296383"/>
              <a:gd name="connsiteX7154" fmla="*/ 7544351 w 9310410"/>
              <a:gd name="connsiteY7154" fmla="*/ 792240 h 5296383"/>
              <a:gd name="connsiteX7155" fmla="*/ 7537759 w 9310410"/>
              <a:gd name="connsiteY7155" fmla="*/ 777858 h 5296383"/>
              <a:gd name="connsiteX7156" fmla="*/ 7546149 w 9310410"/>
              <a:gd name="connsiteY7156" fmla="*/ 776659 h 5296383"/>
              <a:gd name="connsiteX7157" fmla="*/ 7550344 w 9310410"/>
              <a:gd name="connsiteY7157" fmla="*/ 772464 h 5296383"/>
              <a:gd name="connsiteX7158" fmla="*/ 7553939 w 9310410"/>
              <a:gd name="connsiteY7158" fmla="*/ 766471 h 5296383"/>
              <a:gd name="connsiteX7159" fmla="*/ 7562329 w 9310410"/>
              <a:gd name="connsiteY7159" fmla="*/ 770067 h 5296383"/>
              <a:gd name="connsiteX7160" fmla="*/ 7555737 w 9310410"/>
              <a:gd name="connsiteY7160" fmla="*/ 763475 h 5296383"/>
              <a:gd name="connsiteX7161" fmla="*/ 7551542 w 9310410"/>
              <a:gd name="connsiteY7161" fmla="*/ 758082 h 5296383"/>
              <a:gd name="connsiteX7162" fmla="*/ 7549145 w 9310410"/>
              <a:gd name="connsiteY7162" fmla="*/ 752688 h 5296383"/>
              <a:gd name="connsiteX7163" fmla="*/ 7549744 w 9310410"/>
              <a:gd name="connsiteY7163" fmla="*/ 745497 h 5296383"/>
              <a:gd name="connsiteX7164" fmla="*/ 7548545 w 9310410"/>
              <a:gd name="connsiteY7164" fmla="*/ 741302 h 5296383"/>
              <a:gd name="connsiteX7165" fmla="*/ 7543752 w 9310410"/>
              <a:gd name="connsiteY7165" fmla="*/ 737107 h 5296383"/>
              <a:gd name="connsiteX7166" fmla="*/ 7538358 w 9310410"/>
              <a:gd name="connsiteY7166" fmla="*/ 731714 h 5296383"/>
              <a:gd name="connsiteX7167" fmla="*/ 7533564 w 9310410"/>
              <a:gd name="connsiteY7167" fmla="*/ 728717 h 5296383"/>
              <a:gd name="connsiteX7168" fmla="*/ 7541954 w 9310410"/>
              <a:gd name="connsiteY7168" fmla="*/ 728118 h 5296383"/>
              <a:gd name="connsiteX7169" fmla="*/ 7541354 w 9310410"/>
              <a:gd name="connsiteY7169" fmla="*/ 725721 h 5296383"/>
              <a:gd name="connsiteX7170" fmla="*/ 7529968 w 9310410"/>
              <a:gd name="connsiteY7170" fmla="*/ 718530 h 5296383"/>
              <a:gd name="connsiteX7171" fmla="*/ 7526972 w 9310410"/>
              <a:gd name="connsiteY7171" fmla="*/ 711937 h 5296383"/>
              <a:gd name="connsiteX7172" fmla="*/ 7526373 w 9310410"/>
              <a:gd name="connsiteY7172" fmla="*/ 706544 h 5296383"/>
              <a:gd name="connsiteX7173" fmla="*/ 7525773 w 9310410"/>
              <a:gd name="connsiteY7173" fmla="*/ 701151 h 5296383"/>
              <a:gd name="connsiteX7174" fmla="*/ 7526972 w 9310410"/>
              <a:gd name="connsiteY7174" fmla="*/ 695757 h 5296383"/>
              <a:gd name="connsiteX7175" fmla="*/ 7534163 w 9310410"/>
              <a:gd name="connsiteY7175" fmla="*/ 701151 h 5296383"/>
              <a:gd name="connsiteX7176" fmla="*/ 7543153 w 9310410"/>
              <a:gd name="connsiteY7176" fmla="*/ 705945 h 5296383"/>
              <a:gd name="connsiteX7177" fmla="*/ 7552741 w 9310410"/>
              <a:gd name="connsiteY7177" fmla="*/ 711937 h 5296383"/>
              <a:gd name="connsiteX7178" fmla="*/ 7559932 w 9310410"/>
              <a:gd name="connsiteY7178" fmla="*/ 716132 h 5296383"/>
              <a:gd name="connsiteX7179" fmla="*/ 7571318 w 9310410"/>
              <a:gd name="connsiteY7179" fmla="*/ 722125 h 5296383"/>
              <a:gd name="connsiteX7180" fmla="*/ 7577311 w 9310410"/>
              <a:gd name="connsiteY7180" fmla="*/ 725122 h 5296383"/>
              <a:gd name="connsiteX7181" fmla="*/ 7585701 w 9310410"/>
              <a:gd name="connsiteY7181" fmla="*/ 725122 h 5296383"/>
              <a:gd name="connsiteX7182" fmla="*/ 7600683 w 9310410"/>
              <a:gd name="connsiteY7182" fmla="*/ 736508 h 5296383"/>
              <a:gd name="connsiteX7183" fmla="*/ 7606076 w 9310410"/>
              <a:gd name="connsiteY7183" fmla="*/ 740703 h 5296383"/>
              <a:gd name="connsiteX7184" fmla="*/ 7611469 w 9310410"/>
              <a:gd name="connsiteY7184" fmla="*/ 741302 h 5296383"/>
              <a:gd name="connsiteX7185" fmla="*/ 7610870 w 9310410"/>
              <a:gd name="connsiteY7185" fmla="*/ 749092 h 5296383"/>
              <a:gd name="connsiteX7186" fmla="*/ 7607275 w 9310410"/>
              <a:gd name="connsiteY7186" fmla="*/ 752688 h 5296383"/>
              <a:gd name="connsiteX7187" fmla="*/ 7615665 w 9310410"/>
              <a:gd name="connsiteY7187" fmla="*/ 751490 h 5296383"/>
              <a:gd name="connsiteX7188" fmla="*/ 7624054 w 9310410"/>
              <a:gd name="connsiteY7188" fmla="*/ 747295 h 5296383"/>
              <a:gd name="connsiteX7189" fmla="*/ 7623455 w 9310410"/>
              <a:gd name="connsiteY7189" fmla="*/ 755684 h 5296383"/>
              <a:gd name="connsiteX7190" fmla="*/ 7624654 w 9310410"/>
              <a:gd name="connsiteY7190" fmla="*/ 758681 h 5296383"/>
              <a:gd name="connsiteX7191" fmla="*/ 7641433 w 9310410"/>
              <a:gd name="connsiteY7191" fmla="*/ 757482 h 5296383"/>
              <a:gd name="connsiteX7192" fmla="*/ 7645628 w 9310410"/>
              <a:gd name="connsiteY7192" fmla="*/ 759879 h 5296383"/>
              <a:gd name="connsiteX7193" fmla="*/ 7654018 w 9310410"/>
              <a:gd name="connsiteY7193" fmla="*/ 762876 h 5296383"/>
              <a:gd name="connsiteX7194" fmla="*/ 7656415 w 9310410"/>
              <a:gd name="connsiteY7194" fmla="*/ 764074 h 5296383"/>
              <a:gd name="connsiteX7195" fmla="*/ 7657614 w 9310410"/>
              <a:gd name="connsiteY7195" fmla="*/ 771266 h 5296383"/>
              <a:gd name="connsiteX7196" fmla="*/ 7655216 w 9310410"/>
              <a:gd name="connsiteY7196" fmla="*/ 779655 h 5296383"/>
              <a:gd name="connsiteX7197" fmla="*/ 7667202 w 9310410"/>
              <a:gd name="connsiteY7197" fmla="*/ 775461 h 5296383"/>
              <a:gd name="connsiteX7198" fmla="*/ 7673794 w 9310410"/>
              <a:gd name="connsiteY7198" fmla="*/ 779655 h 5296383"/>
              <a:gd name="connsiteX7199" fmla="*/ 7679187 w 9310410"/>
              <a:gd name="connsiteY7199" fmla="*/ 782652 h 5296383"/>
              <a:gd name="connsiteX7200" fmla="*/ 7689975 w 9310410"/>
              <a:gd name="connsiteY7200" fmla="*/ 787446 h 5296383"/>
              <a:gd name="connsiteX7201" fmla="*/ 7688177 w 9310410"/>
              <a:gd name="connsiteY7201" fmla="*/ 795237 h 5296383"/>
              <a:gd name="connsiteX7202" fmla="*/ 7686978 w 9310410"/>
              <a:gd name="connsiteY7202" fmla="*/ 799432 h 5296383"/>
              <a:gd name="connsiteX7203" fmla="*/ 7679787 w 9310410"/>
              <a:gd name="connsiteY7203" fmla="*/ 798832 h 5296383"/>
              <a:gd name="connsiteX7204" fmla="*/ 7675592 w 9310410"/>
              <a:gd name="connsiteY7204" fmla="*/ 795836 h 5296383"/>
              <a:gd name="connsiteX7205" fmla="*/ 7670797 w 9310410"/>
              <a:gd name="connsiteY7205" fmla="*/ 795836 h 5296383"/>
              <a:gd name="connsiteX7206" fmla="*/ 7680386 w 9310410"/>
              <a:gd name="connsiteY7206" fmla="*/ 802428 h 5296383"/>
              <a:gd name="connsiteX7207" fmla="*/ 7694768 w 9310410"/>
              <a:gd name="connsiteY7207" fmla="*/ 809020 h 5296383"/>
              <a:gd name="connsiteX7208" fmla="*/ 7701960 w 9310410"/>
              <a:gd name="connsiteY7208" fmla="*/ 810818 h 5296383"/>
              <a:gd name="connsiteX7209" fmla="*/ 7699563 w 9310410"/>
              <a:gd name="connsiteY7209" fmla="*/ 815612 h 5296383"/>
              <a:gd name="connsiteX7210" fmla="*/ 7698964 w 9310410"/>
              <a:gd name="connsiteY7210" fmla="*/ 819208 h 5296383"/>
              <a:gd name="connsiteX7211" fmla="*/ 7710949 w 9310410"/>
              <a:gd name="connsiteY7211" fmla="*/ 815612 h 5296383"/>
              <a:gd name="connsiteX7212" fmla="*/ 7718140 w 9310410"/>
              <a:gd name="connsiteY7212" fmla="*/ 818608 h 5296383"/>
              <a:gd name="connsiteX7213" fmla="*/ 7722935 w 9310410"/>
              <a:gd name="connsiteY7213" fmla="*/ 823402 h 5296383"/>
              <a:gd name="connsiteX7214" fmla="*/ 7728328 w 9310410"/>
              <a:gd name="connsiteY7214" fmla="*/ 825800 h 5296383"/>
              <a:gd name="connsiteX7215" fmla="*/ 7736118 w 9310410"/>
              <a:gd name="connsiteY7215" fmla="*/ 825200 h 5296383"/>
              <a:gd name="connsiteX7216" fmla="*/ 7748104 w 9310410"/>
              <a:gd name="connsiteY7216" fmla="*/ 829395 h 5296383"/>
              <a:gd name="connsiteX7217" fmla="*/ 7751100 w 9310410"/>
              <a:gd name="connsiteY7217" fmla="*/ 832991 h 5296383"/>
              <a:gd name="connsiteX7218" fmla="*/ 7756494 w 9310410"/>
              <a:gd name="connsiteY7218" fmla="*/ 838984 h 5296383"/>
              <a:gd name="connsiteX7219" fmla="*/ 7763086 w 9310410"/>
              <a:gd name="connsiteY7219" fmla="*/ 846175 h 5296383"/>
              <a:gd name="connsiteX7220" fmla="*/ 7765483 w 9310410"/>
              <a:gd name="connsiteY7220" fmla="*/ 838984 h 5296383"/>
              <a:gd name="connsiteX7221" fmla="*/ 7778068 w 9310410"/>
              <a:gd name="connsiteY7221" fmla="*/ 842579 h 5296383"/>
              <a:gd name="connsiteX7222" fmla="*/ 7781663 w 9310410"/>
              <a:gd name="connsiteY7222" fmla="*/ 850370 h 5296383"/>
              <a:gd name="connsiteX7223" fmla="*/ 7785259 w 9310410"/>
              <a:gd name="connsiteY7223" fmla="*/ 850969 h 5296383"/>
              <a:gd name="connsiteX7224" fmla="*/ 7791851 w 9310410"/>
              <a:gd name="connsiteY7224" fmla="*/ 843179 h 5296383"/>
              <a:gd name="connsiteX7225" fmla="*/ 7806233 w 9310410"/>
              <a:gd name="connsiteY7225" fmla="*/ 849171 h 5296383"/>
              <a:gd name="connsiteX7226" fmla="*/ 7832002 w 9310410"/>
              <a:gd name="connsiteY7226" fmla="*/ 849770 h 5296383"/>
              <a:gd name="connsiteX7227" fmla="*/ 7840991 w 9310410"/>
              <a:gd name="connsiteY7227" fmla="*/ 852168 h 5296383"/>
              <a:gd name="connsiteX7228" fmla="*/ 7832601 w 9310410"/>
              <a:gd name="connsiteY7228" fmla="*/ 861756 h 5296383"/>
              <a:gd name="connsiteX7229" fmla="*/ 7833201 w 9310410"/>
              <a:gd name="connsiteY7229" fmla="*/ 873741 h 5296383"/>
              <a:gd name="connsiteX7230" fmla="*/ 7821215 w 9310410"/>
              <a:gd name="connsiteY7230" fmla="*/ 885727 h 5296383"/>
              <a:gd name="connsiteX7231" fmla="*/ 7811028 w 9310410"/>
              <a:gd name="connsiteY7231" fmla="*/ 890521 h 5296383"/>
              <a:gd name="connsiteX7232" fmla="*/ 7807432 w 9310410"/>
              <a:gd name="connsiteY7232" fmla="*/ 891720 h 5296383"/>
              <a:gd name="connsiteX7233" fmla="*/ 7806833 w 9310410"/>
              <a:gd name="connsiteY7233" fmla="*/ 897113 h 5296383"/>
              <a:gd name="connsiteX7234" fmla="*/ 7818219 w 9310410"/>
              <a:gd name="connsiteY7234" fmla="*/ 902507 h 5296383"/>
              <a:gd name="connsiteX7235" fmla="*/ 7824811 w 9310410"/>
              <a:gd name="connsiteY7235" fmla="*/ 901907 h 5296383"/>
              <a:gd name="connsiteX7236" fmla="*/ 7832601 w 9310410"/>
              <a:gd name="connsiteY7236" fmla="*/ 889323 h 5296383"/>
              <a:gd name="connsiteX7237" fmla="*/ 7840991 w 9310410"/>
              <a:gd name="connsiteY7237" fmla="*/ 876139 h 5296383"/>
              <a:gd name="connsiteX7238" fmla="*/ 7846385 w 9310410"/>
              <a:gd name="connsiteY7238" fmla="*/ 868947 h 5296383"/>
              <a:gd name="connsiteX7239" fmla="*/ 7854175 w 9310410"/>
              <a:gd name="connsiteY7239" fmla="*/ 862954 h 5296383"/>
              <a:gd name="connsiteX7240" fmla="*/ 7862565 w 9310410"/>
              <a:gd name="connsiteY7240" fmla="*/ 868947 h 5296383"/>
              <a:gd name="connsiteX7241" fmla="*/ 7870955 w 9310410"/>
              <a:gd name="connsiteY7241" fmla="*/ 881532 h 5296383"/>
              <a:gd name="connsiteX7242" fmla="*/ 7873352 w 9310410"/>
              <a:gd name="connsiteY7242" fmla="*/ 889922 h 5296383"/>
              <a:gd name="connsiteX7243" fmla="*/ 7876349 w 9310410"/>
              <a:gd name="connsiteY7243" fmla="*/ 880333 h 5296383"/>
              <a:gd name="connsiteX7244" fmla="*/ 7882941 w 9310410"/>
              <a:gd name="connsiteY7244" fmla="*/ 873142 h 5296383"/>
              <a:gd name="connsiteX7245" fmla="*/ 7901518 w 9310410"/>
              <a:gd name="connsiteY7245" fmla="*/ 876139 h 5296383"/>
              <a:gd name="connsiteX7246" fmla="*/ 7906911 w 9310410"/>
              <a:gd name="connsiteY7246" fmla="*/ 883330 h 5296383"/>
              <a:gd name="connsiteX7247" fmla="*/ 7914102 w 9310410"/>
              <a:gd name="connsiteY7247" fmla="*/ 891720 h 5296383"/>
              <a:gd name="connsiteX7248" fmla="*/ 7920095 w 9310410"/>
              <a:gd name="connsiteY7248" fmla="*/ 895315 h 5296383"/>
              <a:gd name="connsiteX7249" fmla="*/ 7924291 w 9310410"/>
              <a:gd name="connsiteY7249" fmla="*/ 902507 h 5296383"/>
              <a:gd name="connsiteX7250" fmla="*/ 7935077 w 9310410"/>
              <a:gd name="connsiteY7250" fmla="*/ 915691 h 5296383"/>
              <a:gd name="connsiteX7251" fmla="*/ 7943467 w 9310410"/>
              <a:gd name="connsiteY7251" fmla="*/ 916889 h 5296383"/>
              <a:gd name="connsiteX7252" fmla="*/ 7943467 w 9310410"/>
              <a:gd name="connsiteY7252" fmla="*/ 928275 h 5296383"/>
              <a:gd name="connsiteX7253" fmla="*/ 7941070 w 9310410"/>
              <a:gd name="connsiteY7253" fmla="*/ 936665 h 5296383"/>
              <a:gd name="connsiteX7254" fmla="*/ 7935677 w 9310410"/>
              <a:gd name="connsiteY7254" fmla="*/ 944456 h 5296383"/>
              <a:gd name="connsiteX7255" fmla="*/ 7933280 w 9310410"/>
              <a:gd name="connsiteY7255" fmla="*/ 946853 h 5296383"/>
              <a:gd name="connsiteX7256" fmla="*/ 7927287 w 9310410"/>
              <a:gd name="connsiteY7256" fmla="*/ 952246 h 5296383"/>
              <a:gd name="connsiteX7257" fmla="*/ 7911106 w 9310410"/>
              <a:gd name="connsiteY7257" fmla="*/ 968427 h 5296383"/>
              <a:gd name="connsiteX7258" fmla="*/ 7911106 w 9310410"/>
              <a:gd name="connsiteY7258" fmla="*/ 978614 h 5296383"/>
              <a:gd name="connsiteX7259" fmla="*/ 7912305 w 9310410"/>
              <a:gd name="connsiteY7259" fmla="*/ 990600 h 5296383"/>
              <a:gd name="connsiteX7260" fmla="*/ 7909908 w 9310410"/>
              <a:gd name="connsiteY7260" fmla="*/ 995993 h 5296383"/>
              <a:gd name="connsiteX7261" fmla="*/ 7907511 w 9310410"/>
              <a:gd name="connsiteY7261" fmla="*/ 1006780 h 5296383"/>
              <a:gd name="connsiteX7262" fmla="*/ 7902117 w 9310410"/>
              <a:gd name="connsiteY7262" fmla="*/ 1017567 h 5296383"/>
              <a:gd name="connsiteX7263" fmla="*/ 7893128 w 9310410"/>
              <a:gd name="connsiteY7263" fmla="*/ 1022961 h 5296383"/>
              <a:gd name="connsiteX7264" fmla="*/ 7871554 w 9310410"/>
              <a:gd name="connsiteY7264" fmla="*/ 1025358 h 5296383"/>
              <a:gd name="connsiteX7265" fmla="*/ 7845786 w 9310410"/>
              <a:gd name="connsiteY7265" fmla="*/ 1030152 h 5296383"/>
              <a:gd name="connsiteX7266" fmla="*/ 7820017 w 9310410"/>
              <a:gd name="connsiteY7266" fmla="*/ 1035545 h 5296383"/>
              <a:gd name="connsiteX7267" fmla="*/ 7782862 w 9310410"/>
              <a:gd name="connsiteY7267" fmla="*/ 1042737 h 5296383"/>
              <a:gd name="connsiteX7268" fmla="*/ 7774472 w 9310410"/>
              <a:gd name="connsiteY7268" fmla="*/ 1065509 h 5296383"/>
              <a:gd name="connsiteX7269" fmla="*/ 7766082 w 9310410"/>
              <a:gd name="connsiteY7269" fmla="*/ 1089480 h 5296383"/>
              <a:gd name="connsiteX7270" fmla="*/ 7762487 w 9310410"/>
              <a:gd name="connsiteY7270" fmla="*/ 1135025 h 5296383"/>
              <a:gd name="connsiteX7271" fmla="*/ 7757692 w 9310410"/>
              <a:gd name="connsiteY7271" fmla="*/ 1177573 h 5296383"/>
              <a:gd name="connsiteX7272" fmla="*/ 7763086 w 9310410"/>
              <a:gd name="connsiteY7272" fmla="*/ 1182967 h 5296383"/>
              <a:gd name="connsiteX7273" fmla="*/ 7763086 w 9310410"/>
              <a:gd name="connsiteY7273" fmla="*/ 1182967 h 5296383"/>
              <a:gd name="connsiteX7274" fmla="*/ 7763086 w 9310410"/>
              <a:gd name="connsiteY7274" fmla="*/ 1182967 h 5296383"/>
              <a:gd name="connsiteX7275" fmla="*/ 7763086 w 9310410"/>
              <a:gd name="connsiteY7275" fmla="*/ 1182967 h 5296383"/>
              <a:gd name="connsiteX7276" fmla="*/ 7766082 w 9310410"/>
              <a:gd name="connsiteY7276" fmla="*/ 1173978 h 5296383"/>
              <a:gd name="connsiteX7277" fmla="*/ 7768479 w 9310410"/>
              <a:gd name="connsiteY7277" fmla="*/ 1152404 h 5296383"/>
              <a:gd name="connsiteX7278" fmla="*/ 7773273 w 9310410"/>
              <a:gd name="connsiteY7278" fmla="*/ 1127834 h 5296383"/>
              <a:gd name="connsiteX7279" fmla="*/ 7786458 w 9310410"/>
              <a:gd name="connsiteY7279" fmla="*/ 1096072 h 5296383"/>
              <a:gd name="connsiteX7280" fmla="*/ 7806233 w 9310410"/>
              <a:gd name="connsiteY7280" fmla="*/ 1076296 h 5296383"/>
              <a:gd name="connsiteX7281" fmla="*/ 7834999 w 9310410"/>
              <a:gd name="connsiteY7281" fmla="*/ 1073899 h 5296383"/>
              <a:gd name="connsiteX7282" fmla="*/ 7855973 w 9310410"/>
              <a:gd name="connsiteY7282" fmla="*/ 1079292 h 5296383"/>
              <a:gd name="connsiteX7283" fmla="*/ 7861966 w 9310410"/>
              <a:gd name="connsiteY7283" fmla="*/ 1088282 h 5296383"/>
              <a:gd name="connsiteX7284" fmla="*/ 7864962 w 9310410"/>
              <a:gd name="connsiteY7284" fmla="*/ 1100267 h 5296383"/>
              <a:gd name="connsiteX7285" fmla="*/ 7860768 w 9310410"/>
              <a:gd name="connsiteY7285" fmla="*/ 1105660 h 5296383"/>
              <a:gd name="connsiteX7286" fmla="*/ 7855374 w 9310410"/>
              <a:gd name="connsiteY7286" fmla="*/ 1112852 h 5296383"/>
              <a:gd name="connsiteX7287" fmla="*/ 7847583 w 9310410"/>
              <a:gd name="connsiteY7287" fmla="*/ 1115249 h 5296383"/>
              <a:gd name="connsiteX7288" fmla="*/ 7840392 w 9310410"/>
              <a:gd name="connsiteY7288" fmla="*/ 1112852 h 5296383"/>
              <a:gd name="connsiteX7289" fmla="*/ 7835598 w 9310410"/>
              <a:gd name="connsiteY7289" fmla="*/ 1115249 h 5296383"/>
              <a:gd name="connsiteX7290" fmla="*/ 7830804 w 9310410"/>
              <a:gd name="connsiteY7290" fmla="*/ 1120642 h 5296383"/>
              <a:gd name="connsiteX7291" fmla="*/ 7834999 w 9310410"/>
              <a:gd name="connsiteY7291" fmla="*/ 1123639 h 5296383"/>
              <a:gd name="connsiteX7292" fmla="*/ 7852977 w 9310410"/>
              <a:gd name="connsiteY7292" fmla="*/ 1126036 h 5296383"/>
              <a:gd name="connsiteX7293" fmla="*/ 7864363 w 9310410"/>
              <a:gd name="connsiteY7293" fmla="*/ 1120043 h 5296383"/>
              <a:gd name="connsiteX7294" fmla="*/ 7877547 w 9310410"/>
              <a:gd name="connsiteY7294" fmla="*/ 1128433 h 5296383"/>
              <a:gd name="connsiteX7295" fmla="*/ 7876948 w 9310410"/>
              <a:gd name="connsiteY7295" fmla="*/ 1144014 h 5296383"/>
              <a:gd name="connsiteX7296" fmla="*/ 7877547 w 9310410"/>
              <a:gd name="connsiteY7296" fmla="*/ 1150007 h 5296383"/>
              <a:gd name="connsiteX7297" fmla="*/ 7882941 w 9310410"/>
              <a:gd name="connsiteY7297" fmla="*/ 1147610 h 5296383"/>
              <a:gd name="connsiteX7298" fmla="*/ 7890731 w 9310410"/>
              <a:gd name="connsiteY7298" fmla="*/ 1151805 h 5296383"/>
              <a:gd name="connsiteX7299" fmla="*/ 7893728 w 9310410"/>
              <a:gd name="connsiteY7299" fmla="*/ 1161393 h 5296383"/>
              <a:gd name="connsiteX7300" fmla="*/ 7899121 w 9310410"/>
              <a:gd name="connsiteY7300" fmla="*/ 1163790 h 5296383"/>
              <a:gd name="connsiteX7301" fmla="*/ 7908710 w 9310410"/>
              <a:gd name="connsiteY7301" fmla="*/ 1169184 h 5296383"/>
              <a:gd name="connsiteX7302" fmla="*/ 7931482 w 9310410"/>
              <a:gd name="connsiteY7302" fmla="*/ 1178173 h 5296383"/>
              <a:gd name="connsiteX7303" fmla="*/ 7939872 w 9310410"/>
              <a:gd name="connsiteY7303" fmla="*/ 1181169 h 5296383"/>
              <a:gd name="connsiteX7304" fmla="*/ 7947063 w 9310410"/>
              <a:gd name="connsiteY7304" fmla="*/ 1184165 h 5296383"/>
              <a:gd name="connsiteX7305" fmla="*/ 7951258 w 9310410"/>
              <a:gd name="connsiteY7305" fmla="*/ 1181768 h 5296383"/>
              <a:gd name="connsiteX7306" fmla="*/ 7954853 w 9310410"/>
              <a:gd name="connsiteY7306" fmla="*/ 1179970 h 5296383"/>
              <a:gd name="connsiteX7307" fmla="*/ 7960846 w 9310410"/>
              <a:gd name="connsiteY7307" fmla="*/ 1183566 h 5296383"/>
              <a:gd name="connsiteX7308" fmla="*/ 7968037 w 9310410"/>
              <a:gd name="connsiteY7308" fmla="*/ 1178173 h 5296383"/>
              <a:gd name="connsiteX7309" fmla="*/ 7974030 w 9310410"/>
              <a:gd name="connsiteY7309" fmla="*/ 1178772 h 5296383"/>
              <a:gd name="connsiteX7310" fmla="*/ 7980622 w 9310410"/>
              <a:gd name="connsiteY7310" fmla="*/ 1179371 h 5296383"/>
              <a:gd name="connsiteX7311" fmla="*/ 7989612 w 9310410"/>
              <a:gd name="connsiteY7311" fmla="*/ 1178772 h 5296383"/>
              <a:gd name="connsiteX7312" fmla="*/ 7996803 w 9310410"/>
              <a:gd name="connsiteY7312" fmla="*/ 1185963 h 5296383"/>
              <a:gd name="connsiteX7313" fmla="*/ 8002196 w 9310410"/>
              <a:gd name="connsiteY7313" fmla="*/ 1188360 h 5296383"/>
              <a:gd name="connsiteX7314" fmla="*/ 7996803 w 9310410"/>
              <a:gd name="connsiteY7314" fmla="*/ 1201544 h 5296383"/>
              <a:gd name="connsiteX7315" fmla="*/ 7982420 w 9310410"/>
              <a:gd name="connsiteY7315" fmla="*/ 1216526 h 5296383"/>
              <a:gd name="connsiteX7316" fmla="*/ 7976427 w 9310410"/>
              <a:gd name="connsiteY7316" fmla="*/ 1223718 h 5296383"/>
              <a:gd name="connsiteX7317" fmla="*/ 7966240 w 9310410"/>
              <a:gd name="connsiteY7317" fmla="*/ 1236902 h 5296383"/>
              <a:gd name="connsiteX7318" fmla="*/ 7963843 w 9310410"/>
              <a:gd name="connsiteY7318" fmla="*/ 1241096 h 5296383"/>
              <a:gd name="connsiteX7319" fmla="*/ 7959648 w 9310410"/>
              <a:gd name="connsiteY7319" fmla="*/ 1241096 h 5296383"/>
              <a:gd name="connsiteX7320" fmla="*/ 7963843 w 9310410"/>
              <a:gd name="connsiteY7320" fmla="*/ 1246490 h 5296383"/>
              <a:gd name="connsiteX7321" fmla="*/ 7963243 w 9310410"/>
              <a:gd name="connsiteY7321" fmla="*/ 1251883 h 5296383"/>
              <a:gd name="connsiteX7322" fmla="*/ 7960846 w 9310410"/>
              <a:gd name="connsiteY7322" fmla="*/ 1259674 h 5296383"/>
              <a:gd name="connsiteX7323" fmla="*/ 7953055 w 9310410"/>
              <a:gd name="connsiteY7323" fmla="*/ 1268663 h 5296383"/>
              <a:gd name="connsiteX7324" fmla="*/ 7953655 w 9310410"/>
              <a:gd name="connsiteY7324" fmla="*/ 1272858 h 5296383"/>
              <a:gd name="connsiteX7325" fmla="*/ 7954254 w 9310410"/>
              <a:gd name="connsiteY7325" fmla="*/ 1279450 h 5296383"/>
              <a:gd name="connsiteX7326" fmla="*/ 7941070 w 9310410"/>
              <a:gd name="connsiteY7326" fmla="*/ 1277053 h 5296383"/>
              <a:gd name="connsiteX7327" fmla="*/ 7932681 w 9310410"/>
              <a:gd name="connsiteY7327" fmla="*/ 1272858 h 5296383"/>
              <a:gd name="connsiteX7328" fmla="*/ 7929084 w 9310410"/>
              <a:gd name="connsiteY7328" fmla="*/ 1265667 h 5296383"/>
              <a:gd name="connsiteX7329" fmla="*/ 7927287 w 9310410"/>
              <a:gd name="connsiteY7329" fmla="*/ 1252483 h 5296383"/>
              <a:gd name="connsiteX7330" fmla="*/ 7924890 w 9310410"/>
              <a:gd name="connsiteY7330" fmla="*/ 1248288 h 5296383"/>
              <a:gd name="connsiteX7331" fmla="*/ 7922492 w 9310410"/>
              <a:gd name="connsiteY7331" fmla="*/ 1250086 h 5296383"/>
              <a:gd name="connsiteX7332" fmla="*/ 7921893 w 9310410"/>
              <a:gd name="connsiteY7332" fmla="*/ 1239898 h 5296383"/>
              <a:gd name="connsiteX7333" fmla="*/ 7932681 w 9310410"/>
              <a:gd name="connsiteY7333" fmla="*/ 1218324 h 5296383"/>
              <a:gd name="connsiteX7334" fmla="*/ 7936276 w 9310410"/>
              <a:gd name="connsiteY7334" fmla="*/ 1210533 h 5296383"/>
              <a:gd name="connsiteX7335" fmla="*/ 7933879 w 9310410"/>
              <a:gd name="connsiteY7335" fmla="*/ 1207537 h 5296383"/>
              <a:gd name="connsiteX7336" fmla="*/ 7942269 w 9310410"/>
              <a:gd name="connsiteY7336" fmla="*/ 1210533 h 5296383"/>
              <a:gd name="connsiteX7337" fmla="*/ 7950059 w 9310410"/>
              <a:gd name="connsiteY7337" fmla="*/ 1206339 h 5296383"/>
              <a:gd name="connsiteX7338" fmla="*/ 7955453 w 9310410"/>
              <a:gd name="connsiteY7338" fmla="*/ 1200346 h 5296383"/>
              <a:gd name="connsiteX7339" fmla="*/ 7950059 w 9310410"/>
              <a:gd name="connsiteY7339" fmla="*/ 1199747 h 5296383"/>
              <a:gd name="connsiteX7340" fmla="*/ 7939872 w 9310410"/>
              <a:gd name="connsiteY7340" fmla="*/ 1200346 h 5296383"/>
              <a:gd name="connsiteX7341" fmla="*/ 7926088 w 9310410"/>
              <a:gd name="connsiteY7341" fmla="*/ 1202743 h 5296383"/>
              <a:gd name="connsiteX7342" fmla="*/ 7924890 w 9310410"/>
              <a:gd name="connsiteY7342" fmla="*/ 1193754 h 5296383"/>
              <a:gd name="connsiteX7343" fmla="*/ 7921893 w 9310410"/>
              <a:gd name="connsiteY7343" fmla="*/ 1185364 h 5296383"/>
              <a:gd name="connsiteX7344" fmla="*/ 7918298 w 9310410"/>
              <a:gd name="connsiteY7344" fmla="*/ 1192555 h 5296383"/>
              <a:gd name="connsiteX7345" fmla="*/ 7911106 w 9310410"/>
              <a:gd name="connsiteY7345" fmla="*/ 1204541 h 5296383"/>
              <a:gd name="connsiteX7346" fmla="*/ 7902117 w 9310410"/>
              <a:gd name="connsiteY7346" fmla="*/ 1211732 h 5296383"/>
              <a:gd name="connsiteX7347" fmla="*/ 7899721 w 9310410"/>
              <a:gd name="connsiteY7347" fmla="*/ 1219523 h 5296383"/>
              <a:gd name="connsiteX7348" fmla="*/ 7890731 w 9310410"/>
              <a:gd name="connsiteY7348" fmla="*/ 1225515 h 5296383"/>
              <a:gd name="connsiteX7349" fmla="*/ 7883540 w 9310410"/>
              <a:gd name="connsiteY7349" fmla="*/ 1227313 h 5296383"/>
              <a:gd name="connsiteX7350" fmla="*/ 7878746 w 9310410"/>
              <a:gd name="connsiteY7350" fmla="*/ 1227912 h 5296383"/>
              <a:gd name="connsiteX7351" fmla="*/ 7878746 w 9310410"/>
              <a:gd name="connsiteY7351" fmla="*/ 1227912 h 5296383"/>
              <a:gd name="connsiteX7352" fmla="*/ 7885937 w 9310410"/>
              <a:gd name="connsiteY7352" fmla="*/ 1232707 h 5296383"/>
              <a:gd name="connsiteX7353" fmla="*/ 7890731 w 9310410"/>
              <a:gd name="connsiteY7353" fmla="*/ 1237501 h 5296383"/>
              <a:gd name="connsiteX7354" fmla="*/ 7891331 w 9310410"/>
              <a:gd name="connsiteY7354" fmla="*/ 1241096 h 5296383"/>
              <a:gd name="connsiteX7355" fmla="*/ 7888933 w 9310410"/>
              <a:gd name="connsiteY7355" fmla="*/ 1248887 h 5296383"/>
              <a:gd name="connsiteX7356" fmla="*/ 7882941 w 9310410"/>
              <a:gd name="connsiteY7356" fmla="*/ 1249486 h 5296383"/>
              <a:gd name="connsiteX7357" fmla="*/ 7875750 w 9310410"/>
              <a:gd name="connsiteY7357" fmla="*/ 1254280 h 5296383"/>
              <a:gd name="connsiteX7358" fmla="*/ 7872153 w 9310410"/>
              <a:gd name="connsiteY7358" fmla="*/ 1256078 h 5296383"/>
              <a:gd name="connsiteX7359" fmla="*/ 7868558 w 9310410"/>
              <a:gd name="connsiteY7359" fmla="*/ 1260273 h 5296383"/>
              <a:gd name="connsiteX7360" fmla="*/ 7860168 w 9310410"/>
              <a:gd name="connsiteY7360" fmla="*/ 1254280 h 5296383"/>
              <a:gd name="connsiteX7361" fmla="*/ 7861367 w 9310410"/>
              <a:gd name="connsiteY7361" fmla="*/ 1271060 h 5296383"/>
              <a:gd name="connsiteX7362" fmla="*/ 7854175 w 9310410"/>
              <a:gd name="connsiteY7362" fmla="*/ 1284843 h 5296383"/>
              <a:gd name="connsiteX7363" fmla="*/ 7852977 w 9310410"/>
              <a:gd name="connsiteY7363" fmla="*/ 1291435 h 5296383"/>
              <a:gd name="connsiteX7364" fmla="*/ 7846984 w 9310410"/>
              <a:gd name="connsiteY7364" fmla="*/ 1292035 h 5296383"/>
              <a:gd name="connsiteX7365" fmla="*/ 7844587 w 9310410"/>
              <a:gd name="connsiteY7365" fmla="*/ 1304619 h 5296383"/>
              <a:gd name="connsiteX7366" fmla="*/ 7854175 w 9310410"/>
              <a:gd name="connsiteY7366" fmla="*/ 1325594 h 5296383"/>
              <a:gd name="connsiteX7367" fmla="*/ 7856572 w 9310410"/>
              <a:gd name="connsiteY7367" fmla="*/ 1329789 h 5296383"/>
              <a:gd name="connsiteX7368" fmla="*/ 7854175 w 9310410"/>
              <a:gd name="connsiteY7368" fmla="*/ 1336980 h 5296383"/>
              <a:gd name="connsiteX7369" fmla="*/ 7862565 w 9310410"/>
              <a:gd name="connsiteY7369" fmla="*/ 1341175 h 5296383"/>
              <a:gd name="connsiteX7370" fmla="*/ 7866760 w 9310410"/>
              <a:gd name="connsiteY7370" fmla="*/ 1341774 h 5296383"/>
              <a:gd name="connsiteX7371" fmla="*/ 7874551 w 9310410"/>
              <a:gd name="connsiteY7371" fmla="*/ 1351962 h 5296383"/>
              <a:gd name="connsiteX7372" fmla="*/ 7888933 w 9310410"/>
              <a:gd name="connsiteY7372" fmla="*/ 1358554 h 5296383"/>
              <a:gd name="connsiteX7373" fmla="*/ 7885937 w 9310410"/>
              <a:gd name="connsiteY7373" fmla="*/ 1348366 h 5296383"/>
              <a:gd name="connsiteX7374" fmla="*/ 7886536 w 9310410"/>
              <a:gd name="connsiteY7374" fmla="*/ 1344771 h 5296383"/>
              <a:gd name="connsiteX7375" fmla="*/ 7896724 w 9310410"/>
              <a:gd name="connsiteY7375" fmla="*/ 1356756 h 5296383"/>
              <a:gd name="connsiteX7376" fmla="*/ 7894327 w 9310410"/>
              <a:gd name="connsiteY7376" fmla="*/ 1362749 h 5296383"/>
              <a:gd name="connsiteX7377" fmla="*/ 7888933 w 9310410"/>
              <a:gd name="connsiteY7377" fmla="*/ 1366944 h 5296383"/>
              <a:gd name="connsiteX7378" fmla="*/ 7880543 w 9310410"/>
              <a:gd name="connsiteY7378" fmla="*/ 1372337 h 5296383"/>
              <a:gd name="connsiteX7379" fmla="*/ 7876349 w 9310410"/>
              <a:gd name="connsiteY7379" fmla="*/ 1378330 h 5296383"/>
              <a:gd name="connsiteX7380" fmla="*/ 7867360 w 9310410"/>
              <a:gd name="connsiteY7380" fmla="*/ 1369940 h 5296383"/>
              <a:gd name="connsiteX7381" fmla="*/ 7861367 w 9310410"/>
              <a:gd name="connsiteY7381" fmla="*/ 1372337 h 5296383"/>
              <a:gd name="connsiteX7382" fmla="*/ 7868558 w 9310410"/>
              <a:gd name="connsiteY7382" fmla="*/ 1381326 h 5296383"/>
              <a:gd name="connsiteX7383" fmla="*/ 7861966 w 9310410"/>
              <a:gd name="connsiteY7383" fmla="*/ 1391514 h 5296383"/>
              <a:gd name="connsiteX7384" fmla="*/ 7845186 w 9310410"/>
              <a:gd name="connsiteY7384" fmla="*/ 1398106 h 5296383"/>
              <a:gd name="connsiteX7385" fmla="*/ 7832002 w 9310410"/>
              <a:gd name="connsiteY7385" fmla="*/ 1411290 h 5296383"/>
              <a:gd name="connsiteX7386" fmla="*/ 7840392 w 9310410"/>
              <a:gd name="connsiteY7386" fmla="*/ 1413687 h 5296383"/>
              <a:gd name="connsiteX7387" fmla="*/ 7855374 w 9310410"/>
              <a:gd name="connsiteY7387" fmla="*/ 1408294 h 5296383"/>
              <a:gd name="connsiteX7388" fmla="*/ 7861367 w 9310410"/>
              <a:gd name="connsiteY7388" fmla="*/ 1407695 h 5296383"/>
              <a:gd name="connsiteX7389" fmla="*/ 7866161 w 9310410"/>
              <a:gd name="connsiteY7389" fmla="*/ 1407695 h 5296383"/>
              <a:gd name="connsiteX7390" fmla="*/ 7867360 w 9310410"/>
              <a:gd name="connsiteY7390" fmla="*/ 1411290 h 5296383"/>
              <a:gd name="connsiteX7391" fmla="*/ 7857171 w 9310410"/>
              <a:gd name="connsiteY7391" fmla="*/ 1415485 h 5296383"/>
              <a:gd name="connsiteX7392" fmla="*/ 7826010 w 9310410"/>
              <a:gd name="connsiteY7392" fmla="*/ 1430467 h 5296383"/>
              <a:gd name="connsiteX7393" fmla="*/ 7825410 w 9310410"/>
              <a:gd name="connsiteY7393" fmla="*/ 1435261 h 5296383"/>
              <a:gd name="connsiteX7394" fmla="*/ 7833800 w 9310410"/>
              <a:gd name="connsiteY7394" fmla="*/ 1443651 h 5296383"/>
              <a:gd name="connsiteX7395" fmla="*/ 7837995 w 9310410"/>
              <a:gd name="connsiteY7395" fmla="*/ 1460431 h 5296383"/>
              <a:gd name="connsiteX7396" fmla="*/ 7842190 w 9310410"/>
              <a:gd name="connsiteY7396" fmla="*/ 1470019 h 5296383"/>
              <a:gd name="connsiteX7397" fmla="*/ 7842789 w 9310410"/>
              <a:gd name="connsiteY7397" fmla="*/ 1487997 h 5296383"/>
              <a:gd name="connsiteX7398" fmla="*/ 7839193 w 9310410"/>
              <a:gd name="connsiteY7398" fmla="*/ 1484402 h 5296383"/>
              <a:gd name="connsiteX7399" fmla="*/ 7825410 w 9310410"/>
              <a:gd name="connsiteY7399" fmla="*/ 1472416 h 5296383"/>
              <a:gd name="connsiteX7400" fmla="*/ 7813425 w 9310410"/>
              <a:gd name="connsiteY7400" fmla="*/ 1459232 h 5296383"/>
              <a:gd name="connsiteX7401" fmla="*/ 7811028 w 9310410"/>
              <a:gd name="connsiteY7401" fmla="*/ 1461629 h 5296383"/>
              <a:gd name="connsiteX7402" fmla="*/ 7817620 w 9310410"/>
              <a:gd name="connsiteY7402" fmla="*/ 1477210 h 5296383"/>
              <a:gd name="connsiteX7403" fmla="*/ 7829605 w 9310410"/>
              <a:gd name="connsiteY7403" fmla="*/ 1489196 h 5296383"/>
              <a:gd name="connsiteX7404" fmla="*/ 7837995 w 9310410"/>
              <a:gd name="connsiteY7404" fmla="*/ 1497586 h 5296383"/>
              <a:gd name="connsiteX7405" fmla="*/ 7845786 w 9310410"/>
              <a:gd name="connsiteY7405" fmla="*/ 1508373 h 5296383"/>
              <a:gd name="connsiteX7406" fmla="*/ 7846385 w 9310410"/>
              <a:gd name="connsiteY7406" fmla="*/ 1540134 h 5296383"/>
              <a:gd name="connsiteX7407" fmla="*/ 7847583 w 9310410"/>
              <a:gd name="connsiteY7407" fmla="*/ 1559910 h 5296383"/>
              <a:gd name="connsiteX7408" fmla="*/ 7845186 w 9310410"/>
              <a:gd name="connsiteY7408" fmla="*/ 1555715 h 5296383"/>
              <a:gd name="connsiteX7409" fmla="*/ 7837995 w 9310410"/>
              <a:gd name="connsiteY7409" fmla="*/ 1545528 h 5296383"/>
              <a:gd name="connsiteX7410" fmla="*/ 7836197 w 9310410"/>
              <a:gd name="connsiteY7410" fmla="*/ 1528149 h 5296383"/>
              <a:gd name="connsiteX7411" fmla="*/ 7832601 w 9310410"/>
              <a:gd name="connsiteY7411" fmla="*/ 1521557 h 5296383"/>
              <a:gd name="connsiteX7412" fmla="*/ 7827208 w 9310410"/>
              <a:gd name="connsiteY7412" fmla="*/ 1509571 h 5296383"/>
              <a:gd name="connsiteX7413" fmla="*/ 7821815 w 9310410"/>
              <a:gd name="connsiteY7413" fmla="*/ 1510170 h 5296383"/>
              <a:gd name="connsiteX7414" fmla="*/ 7814623 w 9310410"/>
              <a:gd name="connsiteY7414" fmla="*/ 1508972 h 5296383"/>
              <a:gd name="connsiteX7415" fmla="*/ 7814623 w 9310410"/>
              <a:gd name="connsiteY7415" fmla="*/ 1501781 h 5296383"/>
              <a:gd name="connsiteX7416" fmla="*/ 7819418 w 9310410"/>
              <a:gd name="connsiteY7416" fmla="*/ 1495788 h 5296383"/>
              <a:gd name="connsiteX7417" fmla="*/ 7814024 w 9310410"/>
              <a:gd name="connsiteY7417" fmla="*/ 1498185 h 5296383"/>
              <a:gd name="connsiteX7418" fmla="*/ 7803237 w 9310410"/>
              <a:gd name="connsiteY7418" fmla="*/ 1497586 h 5296383"/>
              <a:gd name="connsiteX7419" fmla="*/ 7800840 w 9310410"/>
              <a:gd name="connsiteY7419" fmla="*/ 1486799 h 5296383"/>
              <a:gd name="connsiteX7420" fmla="*/ 7798443 w 9310410"/>
              <a:gd name="connsiteY7420" fmla="*/ 1473015 h 5296383"/>
              <a:gd name="connsiteX7421" fmla="*/ 7795447 w 9310410"/>
              <a:gd name="connsiteY7421" fmla="*/ 1462828 h 5296383"/>
              <a:gd name="connsiteX7422" fmla="*/ 7794848 w 9310410"/>
              <a:gd name="connsiteY7422" fmla="*/ 1470618 h 5296383"/>
              <a:gd name="connsiteX7423" fmla="*/ 7791851 w 9310410"/>
              <a:gd name="connsiteY7423" fmla="*/ 1478409 h 5296383"/>
              <a:gd name="connsiteX7424" fmla="*/ 7792450 w 9310410"/>
              <a:gd name="connsiteY7424" fmla="*/ 1483203 h 5296383"/>
              <a:gd name="connsiteX7425" fmla="*/ 7794848 w 9310410"/>
              <a:gd name="connsiteY7425" fmla="*/ 1488597 h 5296383"/>
              <a:gd name="connsiteX7426" fmla="*/ 7797244 w 9310410"/>
              <a:gd name="connsiteY7426" fmla="*/ 1496986 h 5296383"/>
              <a:gd name="connsiteX7427" fmla="*/ 7802039 w 9310410"/>
              <a:gd name="connsiteY7427" fmla="*/ 1504777 h 5296383"/>
              <a:gd name="connsiteX7428" fmla="*/ 7809230 w 9310410"/>
              <a:gd name="connsiteY7428" fmla="*/ 1511968 h 5296383"/>
              <a:gd name="connsiteX7429" fmla="*/ 7815822 w 9310410"/>
              <a:gd name="connsiteY7429" fmla="*/ 1517961 h 5296383"/>
              <a:gd name="connsiteX7430" fmla="*/ 7803837 w 9310410"/>
              <a:gd name="connsiteY7430" fmla="*/ 1516762 h 5296383"/>
              <a:gd name="connsiteX7431" fmla="*/ 7791851 w 9310410"/>
              <a:gd name="connsiteY7431" fmla="*/ 1512568 h 5296383"/>
              <a:gd name="connsiteX7432" fmla="*/ 7788255 w 9310410"/>
              <a:gd name="connsiteY7432" fmla="*/ 1508373 h 5296383"/>
              <a:gd name="connsiteX7433" fmla="*/ 7785259 w 9310410"/>
              <a:gd name="connsiteY7433" fmla="*/ 1501781 h 5296383"/>
              <a:gd name="connsiteX7434" fmla="*/ 7784659 w 9310410"/>
              <a:gd name="connsiteY7434" fmla="*/ 1509571 h 5296383"/>
              <a:gd name="connsiteX7435" fmla="*/ 7794248 w 9310410"/>
              <a:gd name="connsiteY7435" fmla="*/ 1519759 h 5296383"/>
              <a:gd name="connsiteX7436" fmla="*/ 7815222 w 9310410"/>
              <a:gd name="connsiteY7436" fmla="*/ 1523954 h 5296383"/>
              <a:gd name="connsiteX7437" fmla="*/ 7829605 w 9310410"/>
              <a:gd name="connsiteY7437" fmla="*/ 1538936 h 5296383"/>
              <a:gd name="connsiteX7438" fmla="*/ 7817020 w 9310410"/>
              <a:gd name="connsiteY7438" fmla="*/ 1534141 h 5296383"/>
              <a:gd name="connsiteX7439" fmla="*/ 7811627 w 9310410"/>
              <a:gd name="connsiteY7439" fmla="*/ 1532943 h 5296383"/>
              <a:gd name="connsiteX7440" fmla="*/ 7822414 w 9310410"/>
              <a:gd name="connsiteY7440" fmla="*/ 1542531 h 5296383"/>
              <a:gd name="connsiteX7441" fmla="*/ 7829605 w 9310410"/>
              <a:gd name="connsiteY7441" fmla="*/ 1550921 h 5296383"/>
              <a:gd name="connsiteX7442" fmla="*/ 7834999 w 9310410"/>
              <a:gd name="connsiteY7442" fmla="*/ 1560509 h 5296383"/>
              <a:gd name="connsiteX7443" fmla="*/ 7834399 w 9310410"/>
              <a:gd name="connsiteY7443" fmla="*/ 1563506 h 5296383"/>
              <a:gd name="connsiteX7444" fmla="*/ 7829006 w 9310410"/>
              <a:gd name="connsiteY7444" fmla="*/ 1561109 h 5296383"/>
              <a:gd name="connsiteX7445" fmla="*/ 7831403 w 9310410"/>
              <a:gd name="connsiteY7445" fmla="*/ 1568300 h 5296383"/>
              <a:gd name="connsiteX7446" fmla="*/ 7855374 w 9310410"/>
              <a:gd name="connsiteY7446" fmla="*/ 1578488 h 5296383"/>
              <a:gd name="connsiteX7447" fmla="*/ 7860768 w 9310410"/>
              <a:gd name="connsiteY7447" fmla="*/ 1586878 h 5296383"/>
              <a:gd name="connsiteX7448" fmla="*/ 7865561 w 9310410"/>
              <a:gd name="connsiteY7448" fmla="*/ 1592271 h 5296383"/>
              <a:gd name="connsiteX7449" fmla="*/ 7870955 w 9310410"/>
              <a:gd name="connsiteY7449" fmla="*/ 1594668 h 5296383"/>
              <a:gd name="connsiteX7450" fmla="*/ 7863764 w 9310410"/>
              <a:gd name="connsiteY7450" fmla="*/ 1595867 h 5296383"/>
              <a:gd name="connsiteX7451" fmla="*/ 7858370 w 9310410"/>
              <a:gd name="connsiteY7451" fmla="*/ 1598863 h 5296383"/>
              <a:gd name="connsiteX7452" fmla="*/ 7861966 w 9310410"/>
              <a:gd name="connsiteY7452" fmla="*/ 1602459 h 5296383"/>
              <a:gd name="connsiteX7453" fmla="*/ 7869757 w 9310410"/>
              <a:gd name="connsiteY7453" fmla="*/ 1606654 h 5296383"/>
              <a:gd name="connsiteX7454" fmla="*/ 7874551 w 9310410"/>
              <a:gd name="connsiteY7454" fmla="*/ 1613246 h 5296383"/>
              <a:gd name="connsiteX7455" fmla="*/ 7875150 w 9310410"/>
              <a:gd name="connsiteY7455" fmla="*/ 1604256 h 5296383"/>
              <a:gd name="connsiteX7456" fmla="*/ 7880543 w 9310410"/>
              <a:gd name="connsiteY7456" fmla="*/ 1609650 h 5296383"/>
              <a:gd name="connsiteX7457" fmla="*/ 7880543 w 9310410"/>
              <a:gd name="connsiteY7457" fmla="*/ 1619238 h 5296383"/>
              <a:gd name="connsiteX7458" fmla="*/ 7878146 w 9310410"/>
              <a:gd name="connsiteY7458" fmla="*/ 1622235 h 5296383"/>
              <a:gd name="connsiteX7459" fmla="*/ 7870955 w 9310410"/>
              <a:gd name="connsiteY7459" fmla="*/ 1626429 h 5296383"/>
              <a:gd name="connsiteX7460" fmla="*/ 7866161 w 9310410"/>
              <a:gd name="connsiteY7460" fmla="*/ 1616242 h 5296383"/>
              <a:gd name="connsiteX7461" fmla="*/ 7863764 w 9310410"/>
              <a:gd name="connsiteY7461" fmla="*/ 1621036 h 5296383"/>
              <a:gd name="connsiteX7462" fmla="*/ 7856572 w 9310410"/>
              <a:gd name="connsiteY7462" fmla="*/ 1625830 h 5296383"/>
              <a:gd name="connsiteX7463" fmla="*/ 7857771 w 9310410"/>
              <a:gd name="connsiteY7463" fmla="*/ 1628227 h 5296383"/>
              <a:gd name="connsiteX7464" fmla="*/ 7866760 w 9310410"/>
              <a:gd name="connsiteY7464" fmla="*/ 1631224 h 5296383"/>
              <a:gd name="connsiteX7465" fmla="*/ 7867360 w 9310410"/>
              <a:gd name="connsiteY7465" fmla="*/ 1645007 h 5296383"/>
              <a:gd name="connsiteX7466" fmla="*/ 7869757 w 9310410"/>
              <a:gd name="connsiteY7466" fmla="*/ 1649202 h 5296383"/>
              <a:gd name="connsiteX7467" fmla="*/ 7876948 w 9310410"/>
              <a:gd name="connsiteY7467" fmla="*/ 1644408 h 5296383"/>
              <a:gd name="connsiteX7468" fmla="*/ 7882341 w 9310410"/>
              <a:gd name="connsiteY7468" fmla="*/ 1646805 h 5296383"/>
              <a:gd name="connsiteX7469" fmla="*/ 7882341 w 9310410"/>
              <a:gd name="connsiteY7469" fmla="*/ 1653996 h 5296383"/>
              <a:gd name="connsiteX7470" fmla="*/ 7877547 w 9310410"/>
              <a:gd name="connsiteY7470" fmla="*/ 1656993 h 5296383"/>
              <a:gd name="connsiteX7471" fmla="*/ 7872153 w 9310410"/>
              <a:gd name="connsiteY7471" fmla="*/ 1658790 h 5296383"/>
              <a:gd name="connsiteX7472" fmla="*/ 7860168 w 9310410"/>
              <a:gd name="connsiteY7472" fmla="*/ 1659390 h 5296383"/>
              <a:gd name="connsiteX7473" fmla="*/ 7860768 w 9310410"/>
              <a:gd name="connsiteY7473" fmla="*/ 1663585 h 5296383"/>
              <a:gd name="connsiteX7474" fmla="*/ 7863164 w 9310410"/>
              <a:gd name="connsiteY7474" fmla="*/ 1671974 h 5296383"/>
              <a:gd name="connsiteX7475" fmla="*/ 7862565 w 9310410"/>
              <a:gd name="connsiteY7475" fmla="*/ 1686956 h 5296383"/>
              <a:gd name="connsiteX7476" fmla="*/ 7855374 w 9310410"/>
              <a:gd name="connsiteY7476" fmla="*/ 1702537 h 5296383"/>
              <a:gd name="connsiteX7477" fmla="*/ 7845786 w 9310410"/>
              <a:gd name="connsiteY7477" fmla="*/ 1731302 h 5296383"/>
              <a:gd name="connsiteX7478" fmla="*/ 7845186 w 9310410"/>
              <a:gd name="connsiteY7478" fmla="*/ 1743288 h 5296383"/>
              <a:gd name="connsiteX7479" fmla="*/ 7844587 w 9310410"/>
              <a:gd name="connsiteY7479" fmla="*/ 1748682 h 5296383"/>
              <a:gd name="connsiteX7480" fmla="*/ 7834999 w 9310410"/>
              <a:gd name="connsiteY7480" fmla="*/ 1756472 h 5296383"/>
              <a:gd name="connsiteX7481" fmla="*/ 7829605 w 9310410"/>
              <a:gd name="connsiteY7481" fmla="*/ 1767858 h 5296383"/>
              <a:gd name="connsiteX7482" fmla="*/ 7826609 w 9310410"/>
              <a:gd name="connsiteY7482" fmla="*/ 1781042 h 5296383"/>
              <a:gd name="connsiteX7483" fmla="*/ 7820616 w 9310410"/>
              <a:gd name="connsiteY7483" fmla="*/ 1788833 h 5296383"/>
              <a:gd name="connsiteX7484" fmla="*/ 7824811 w 9310410"/>
              <a:gd name="connsiteY7484" fmla="*/ 1802017 h 5296383"/>
              <a:gd name="connsiteX7485" fmla="*/ 7827208 w 9310410"/>
              <a:gd name="connsiteY7485" fmla="*/ 1812204 h 5296383"/>
              <a:gd name="connsiteX7486" fmla="*/ 7828407 w 9310410"/>
              <a:gd name="connsiteY7486" fmla="*/ 1824190 h 5296383"/>
              <a:gd name="connsiteX7487" fmla="*/ 7830804 w 9310410"/>
              <a:gd name="connsiteY7487" fmla="*/ 1836175 h 5296383"/>
              <a:gd name="connsiteX7488" fmla="*/ 7842789 w 9310410"/>
              <a:gd name="connsiteY7488" fmla="*/ 1854753 h 5296383"/>
              <a:gd name="connsiteX7489" fmla="*/ 7859569 w 9310410"/>
              <a:gd name="connsiteY7489" fmla="*/ 1872132 h 5296383"/>
              <a:gd name="connsiteX7490" fmla="*/ 7866161 w 9310410"/>
              <a:gd name="connsiteY7490" fmla="*/ 1877525 h 5296383"/>
              <a:gd name="connsiteX7491" fmla="*/ 7858970 w 9310410"/>
              <a:gd name="connsiteY7491" fmla="*/ 1876926 h 5296383"/>
              <a:gd name="connsiteX7492" fmla="*/ 7866760 w 9310410"/>
              <a:gd name="connsiteY7492" fmla="*/ 1883518 h 5296383"/>
              <a:gd name="connsiteX7493" fmla="*/ 7873951 w 9310410"/>
              <a:gd name="connsiteY7493" fmla="*/ 1892507 h 5296383"/>
              <a:gd name="connsiteX7494" fmla="*/ 7882341 w 9310410"/>
              <a:gd name="connsiteY7494" fmla="*/ 1902695 h 5296383"/>
              <a:gd name="connsiteX7495" fmla="*/ 7889532 w 9310410"/>
              <a:gd name="connsiteY7495" fmla="*/ 1908088 h 5296383"/>
              <a:gd name="connsiteX7496" fmla="*/ 7896724 w 9310410"/>
              <a:gd name="connsiteY7496" fmla="*/ 1923070 h 5296383"/>
              <a:gd name="connsiteX7497" fmla="*/ 7888933 w 9310410"/>
              <a:gd name="connsiteY7497" fmla="*/ 1914680 h 5296383"/>
              <a:gd name="connsiteX7498" fmla="*/ 7884139 w 9310410"/>
              <a:gd name="connsiteY7498" fmla="*/ 1913482 h 5296383"/>
              <a:gd name="connsiteX7499" fmla="*/ 7890132 w 9310410"/>
              <a:gd name="connsiteY7499" fmla="*/ 1923669 h 5296383"/>
              <a:gd name="connsiteX7500" fmla="*/ 7897323 w 9310410"/>
              <a:gd name="connsiteY7500" fmla="*/ 1935655 h 5296383"/>
              <a:gd name="connsiteX7501" fmla="*/ 7905113 w 9310410"/>
              <a:gd name="connsiteY7501" fmla="*/ 1950637 h 5296383"/>
              <a:gd name="connsiteX7502" fmla="*/ 7917699 w 9310410"/>
              <a:gd name="connsiteY7502" fmla="*/ 1964420 h 5296383"/>
              <a:gd name="connsiteX7503" fmla="*/ 7921893 w 9310410"/>
              <a:gd name="connsiteY7503" fmla="*/ 1978203 h 5296383"/>
              <a:gd name="connsiteX7504" fmla="*/ 7927287 w 9310410"/>
              <a:gd name="connsiteY7504" fmla="*/ 1991387 h 5296383"/>
              <a:gd name="connsiteX7505" fmla="*/ 7933280 w 9310410"/>
              <a:gd name="connsiteY7505" fmla="*/ 2004571 h 5296383"/>
              <a:gd name="connsiteX7506" fmla="*/ 7935677 w 9310410"/>
              <a:gd name="connsiteY7506" fmla="*/ 2013561 h 5296383"/>
              <a:gd name="connsiteX7507" fmla="*/ 7938673 w 9310410"/>
              <a:gd name="connsiteY7507" fmla="*/ 2021351 h 5296383"/>
              <a:gd name="connsiteX7508" fmla="*/ 7940471 w 9310410"/>
              <a:gd name="connsiteY7508" fmla="*/ 2032138 h 5296383"/>
              <a:gd name="connsiteX7509" fmla="*/ 7937474 w 9310410"/>
              <a:gd name="connsiteY7509" fmla="*/ 2037531 h 5296383"/>
              <a:gd name="connsiteX7510" fmla="*/ 7929684 w 9310410"/>
              <a:gd name="connsiteY7510" fmla="*/ 2039929 h 5296383"/>
              <a:gd name="connsiteX7511" fmla="*/ 7917699 w 9310410"/>
              <a:gd name="connsiteY7511" fmla="*/ 2039329 h 5296383"/>
              <a:gd name="connsiteX7512" fmla="*/ 7923092 w 9310410"/>
              <a:gd name="connsiteY7512" fmla="*/ 2037531 h 5296383"/>
              <a:gd name="connsiteX7513" fmla="*/ 7918897 w 9310410"/>
              <a:gd name="connsiteY7513" fmla="*/ 2033337 h 5296383"/>
              <a:gd name="connsiteX7514" fmla="*/ 7915901 w 9310410"/>
              <a:gd name="connsiteY7514" fmla="*/ 2026145 h 5296383"/>
              <a:gd name="connsiteX7515" fmla="*/ 7913503 w 9310410"/>
              <a:gd name="connsiteY7515" fmla="*/ 2022550 h 5296383"/>
              <a:gd name="connsiteX7516" fmla="*/ 7906312 w 9310410"/>
              <a:gd name="connsiteY7516" fmla="*/ 2017156 h 5296383"/>
              <a:gd name="connsiteX7517" fmla="*/ 7893128 w 9310410"/>
              <a:gd name="connsiteY7517" fmla="*/ 2003972 h 5296383"/>
              <a:gd name="connsiteX7518" fmla="*/ 7882941 w 9310410"/>
              <a:gd name="connsiteY7518" fmla="*/ 1985994 h 5296383"/>
              <a:gd name="connsiteX7519" fmla="*/ 7879944 w 9310410"/>
              <a:gd name="connsiteY7519" fmla="*/ 1977005 h 5296383"/>
              <a:gd name="connsiteX7520" fmla="*/ 7874551 w 9310410"/>
              <a:gd name="connsiteY7520" fmla="*/ 1975806 h 5296383"/>
              <a:gd name="connsiteX7521" fmla="*/ 7867959 w 9310410"/>
              <a:gd name="connsiteY7521" fmla="*/ 1975806 h 5296383"/>
              <a:gd name="connsiteX7522" fmla="*/ 7859569 w 9310410"/>
              <a:gd name="connsiteY7522" fmla="*/ 1963222 h 5296383"/>
              <a:gd name="connsiteX7523" fmla="*/ 7858970 w 9310410"/>
              <a:gd name="connsiteY7523" fmla="*/ 1956030 h 5296383"/>
              <a:gd name="connsiteX7524" fmla="*/ 7861367 w 9310410"/>
              <a:gd name="connsiteY7524" fmla="*/ 1951835 h 5296383"/>
              <a:gd name="connsiteX7525" fmla="*/ 7859569 w 9310410"/>
              <a:gd name="connsiteY7525" fmla="*/ 1940449 h 5296383"/>
              <a:gd name="connsiteX7526" fmla="*/ 7850580 w 9310410"/>
              <a:gd name="connsiteY7526" fmla="*/ 1936254 h 5296383"/>
              <a:gd name="connsiteX7527" fmla="*/ 7848782 w 9310410"/>
              <a:gd name="connsiteY7527" fmla="*/ 1941048 h 5296383"/>
              <a:gd name="connsiteX7528" fmla="*/ 7846385 w 9310410"/>
              <a:gd name="connsiteY7528" fmla="*/ 1944644 h 5296383"/>
              <a:gd name="connsiteX7529" fmla="*/ 7841590 w 9310410"/>
              <a:gd name="connsiteY7529" fmla="*/ 1935056 h 5296383"/>
              <a:gd name="connsiteX7530" fmla="*/ 7837396 w 9310410"/>
              <a:gd name="connsiteY7530" fmla="*/ 1917077 h 5296383"/>
              <a:gd name="connsiteX7531" fmla="*/ 7834399 w 9310410"/>
              <a:gd name="connsiteY7531" fmla="*/ 1906890 h 5296383"/>
              <a:gd name="connsiteX7532" fmla="*/ 7832002 w 9310410"/>
              <a:gd name="connsiteY7532" fmla="*/ 1900298 h 5296383"/>
              <a:gd name="connsiteX7533" fmla="*/ 7827808 w 9310410"/>
              <a:gd name="connsiteY7533" fmla="*/ 1891908 h 5296383"/>
              <a:gd name="connsiteX7534" fmla="*/ 7821815 w 9310410"/>
              <a:gd name="connsiteY7534" fmla="*/ 1890709 h 5296383"/>
              <a:gd name="connsiteX7535" fmla="*/ 7815222 w 9310410"/>
              <a:gd name="connsiteY7535" fmla="*/ 1888912 h 5296383"/>
              <a:gd name="connsiteX7536" fmla="*/ 7805634 w 9310410"/>
              <a:gd name="connsiteY7536" fmla="*/ 1883518 h 5296383"/>
              <a:gd name="connsiteX7537" fmla="*/ 7798443 w 9310410"/>
              <a:gd name="connsiteY7537" fmla="*/ 1873330 h 5296383"/>
              <a:gd name="connsiteX7538" fmla="*/ 7786458 w 9310410"/>
              <a:gd name="connsiteY7538" fmla="*/ 1861944 h 5296383"/>
              <a:gd name="connsiteX7539" fmla="*/ 7775670 w 9310410"/>
              <a:gd name="connsiteY7539" fmla="*/ 1864341 h 5296383"/>
              <a:gd name="connsiteX7540" fmla="*/ 7761288 w 9310410"/>
              <a:gd name="connsiteY7540" fmla="*/ 1871533 h 5296383"/>
              <a:gd name="connsiteX7541" fmla="*/ 7756494 w 9310410"/>
              <a:gd name="connsiteY7541" fmla="*/ 1873930 h 5296383"/>
              <a:gd name="connsiteX7542" fmla="*/ 7752299 w 9310410"/>
              <a:gd name="connsiteY7542" fmla="*/ 1872731 h 5296383"/>
              <a:gd name="connsiteX7543" fmla="*/ 7745707 w 9310410"/>
              <a:gd name="connsiteY7543" fmla="*/ 1867338 h 5296383"/>
              <a:gd name="connsiteX7544" fmla="*/ 7746306 w 9310410"/>
              <a:gd name="connsiteY7544" fmla="*/ 1861944 h 5296383"/>
              <a:gd name="connsiteX7545" fmla="*/ 7743909 w 9310410"/>
              <a:gd name="connsiteY7545" fmla="*/ 1859547 h 5296383"/>
              <a:gd name="connsiteX7546" fmla="*/ 7733122 w 9310410"/>
              <a:gd name="connsiteY7546" fmla="*/ 1851757 h 5296383"/>
              <a:gd name="connsiteX7547" fmla="*/ 7734320 w 9310410"/>
              <a:gd name="connsiteY7547" fmla="*/ 1857150 h 5296383"/>
              <a:gd name="connsiteX7548" fmla="*/ 7722335 w 9310410"/>
              <a:gd name="connsiteY7548" fmla="*/ 1855952 h 5296383"/>
              <a:gd name="connsiteX7549" fmla="*/ 7721137 w 9310410"/>
              <a:gd name="connsiteY7549" fmla="*/ 1852955 h 5296383"/>
              <a:gd name="connsiteX7550" fmla="*/ 7722335 w 9310410"/>
              <a:gd name="connsiteY7550" fmla="*/ 1848760 h 5296383"/>
              <a:gd name="connsiteX7551" fmla="*/ 7712147 w 9310410"/>
              <a:gd name="connsiteY7551" fmla="*/ 1851757 h 5296383"/>
              <a:gd name="connsiteX7552" fmla="*/ 7700761 w 9310410"/>
              <a:gd name="connsiteY7552" fmla="*/ 1852955 h 5296383"/>
              <a:gd name="connsiteX7553" fmla="*/ 7696566 w 9310410"/>
              <a:gd name="connsiteY7553" fmla="*/ 1852356 h 5296383"/>
              <a:gd name="connsiteX7554" fmla="*/ 7675592 w 9310410"/>
              <a:gd name="connsiteY7554" fmla="*/ 1848161 h 5296383"/>
              <a:gd name="connsiteX7555" fmla="*/ 7670797 w 9310410"/>
              <a:gd name="connsiteY7555" fmla="*/ 1850558 h 5296383"/>
              <a:gd name="connsiteX7556" fmla="*/ 7658213 w 9310410"/>
              <a:gd name="connsiteY7556" fmla="*/ 1858349 h 5296383"/>
              <a:gd name="connsiteX7557" fmla="*/ 7641433 w 9310410"/>
              <a:gd name="connsiteY7557" fmla="*/ 1879922 h 5296383"/>
              <a:gd name="connsiteX7558" fmla="*/ 7648625 w 9310410"/>
              <a:gd name="connsiteY7558" fmla="*/ 1881720 h 5296383"/>
              <a:gd name="connsiteX7559" fmla="*/ 7651621 w 9310410"/>
              <a:gd name="connsiteY7559" fmla="*/ 1887713 h 5296383"/>
              <a:gd name="connsiteX7560" fmla="*/ 7661808 w 9310410"/>
              <a:gd name="connsiteY7560" fmla="*/ 1900298 h 5296383"/>
              <a:gd name="connsiteX7561" fmla="*/ 7669000 w 9310410"/>
              <a:gd name="connsiteY7561" fmla="*/ 1902096 h 5296383"/>
              <a:gd name="connsiteX7562" fmla="*/ 7671996 w 9310410"/>
              <a:gd name="connsiteY7562" fmla="*/ 1908688 h 5296383"/>
              <a:gd name="connsiteX7563" fmla="*/ 7667801 w 9310410"/>
              <a:gd name="connsiteY7563" fmla="*/ 1914680 h 5296383"/>
              <a:gd name="connsiteX7564" fmla="*/ 7664206 w 9310410"/>
              <a:gd name="connsiteY7564" fmla="*/ 1919475 h 5296383"/>
              <a:gd name="connsiteX7565" fmla="*/ 7661209 w 9310410"/>
              <a:gd name="connsiteY7565" fmla="*/ 1913482 h 5296383"/>
              <a:gd name="connsiteX7566" fmla="*/ 7651022 w 9310410"/>
              <a:gd name="connsiteY7566" fmla="*/ 1905092 h 5296383"/>
              <a:gd name="connsiteX7567" fmla="*/ 7642033 w 9310410"/>
              <a:gd name="connsiteY7567" fmla="*/ 1899099 h 5296383"/>
              <a:gd name="connsiteX7568" fmla="*/ 7642632 w 9310410"/>
              <a:gd name="connsiteY7568" fmla="*/ 1907489 h 5296383"/>
              <a:gd name="connsiteX7569" fmla="*/ 7637837 w 9310410"/>
              <a:gd name="connsiteY7569" fmla="*/ 1910485 h 5296383"/>
              <a:gd name="connsiteX7570" fmla="*/ 7630047 w 9310410"/>
              <a:gd name="connsiteY7570" fmla="*/ 1913482 h 5296383"/>
              <a:gd name="connsiteX7571" fmla="*/ 7621058 w 9310410"/>
              <a:gd name="connsiteY7571" fmla="*/ 1913482 h 5296383"/>
              <a:gd name="connsiteX7572" fmla="*/ 7607874 w 9310410"/>
              <a:gd name="connsiteY7572" fmla="*/ 1905092 h 5296383"/>
              <a:gd name="connsiteX7573" fmla="*/ 7602480 w 9310410"/>
              <a:gd name="connsiteY7573" fmla="*/ 1895504 h 5296383"/>
              <a:gd name="connsiteX7574" fmla="*/ 7593491 w 9310410"/>
              <a:gd name="connsiteY7574" fmla="*/ 1893106 h 5296383"/>
              <a:gd name="connsiteX7575" fmla="*/ 7590495 w 9310410"/>
              <a:gd name="connsiteY7575" fmla="*/ 1896103 h 5296383"/>
              <a:gd name="connsiteX7576" fmla="*/ 7592892 w 9310410"/>
              <a:gd name="connsiteY7576" fmla="*/ 1901496 h 5296383"/>
              <a:gd name="connsiteX7577" fmla="*/ 7583903 w 9310410"/>
              <a:gd name="connsiteY7577" fmla="*/ 1904493 h 5296383"/>
              <a:gd name="connsiteX7578" fmla="*/ 7564726 w 9310410"/>
              <a:gd name="connsiteY7578" fmla="*/ 1905092 h 5296383"/>
              <a:gd name="connsiteX7579" fmla="*/ 7546149 w 9310410"/>
              <a:gd name="connsiteY7579" fmla="*/ 1915879 h 5296383"/>
              <a:gd name="connsiteX7580" fmla="*/ 7537759 w 9310410"/>
              <a:gd name="connsiteY7580" fmla="*/ 1926066 h 5296383"/>
              <a:gd name="connsiteX7581" fmla="*/ 7534763 w 9310410"/>
              <a:gd name="connsiteY7581" fmla="*/ 1925467 h 5296383"/>
              <a:gd name="connsiteX7582" fmla="*/ 7535362 w 9310410"/>
              <a:gd name="connsiteY7582" fmla="*/ 1921272 h 5296383"/>
              <a:gd name="connsiteX7583" fmla="*/ 7531766 w 9310410"/>
              <a:gd name="connsiteY7583" fmla="*/ 1921272 h 5296383"/>
              <a:gd name="connsiteX7584" fmla="*/ 7526972 w 9310410"/>
              <a:gd name="connsiteY7584" fmla="*/ 1921272 h 5296383"/>
              <a:gd name="connsiteX7585" fmla="*/ 7526373 w 9310410"/>
              <a:gd name="connsiteY7585" fmla="*/ 1927265 h 5296383"/>
              <a:gd name="connsiteX7586" fmla="*/ 7526972 w 9310410"/>
              <a:gd name="connsiteY7586" fmla="*/ 1934456 h 5296383"/>
              <a:gd name="connsiteX7587" fmla="*/ 7520380 w 9310410"/>
              <a:gd name="connsiteY7587" fmla="*/ 1946442 h 5296383"/>
              <a:gd name="connsiteX7588" fmla="*/ 7516185 w 9310410"/>
              <a:gd name="connsiteY7588" fmla="*/ 1952435 h 5296383"/>
              <a:gd name="connsiteX7589" fmla="*/ 7507795 w 9310410"/>
              <a:gd name="connsiteY7589" fmla="*/ 1953034 h 5296383"/>
              <a:gd name="connsiteX7590" fmla="*/ 7498207 w 9310410"/>
              <a:gd name="connsiteY7590" fmla="*/ 1954832 h 5296383"/>
              <a:gd name="connsiteX7591" fmla="*/ 7498207 w 9310410"/>
              <a:gd name="connsiteY7591" fmla="*/ 1958427 h 5296383"/>
              <a:gd name="connsiteX7592" fmla="*/ 7503001 w 9310410"/>
              <a:gd name="connsiteY7592" fmla="*/ 1963821 h 5296383"/>
              <a:gd name="connsiteX7593" fmla="*/ 7496409 w 9310410"/>
              <a:gd name="connsiteY7593" fmla="*/ 1966218 h 5296383"/>
              <a:gd name="connsiteX7594" fmla="*/ 7495211 w 9310410"/>
              <a:gd name="connsiteY7594" fmla="*/ 1970413 h 5296383"/>
              <a:gd name="connsiteX7595" fmla="*/ 7494012 w 9310410"/>
              <a:gd name="connsiteY7595" fmla="*/ 1974008 h 5296383"/>
              <a:gd name="connsiteX7596" fmla="*/ 7489817 w 9310410"/>
              <a:gd name="connsiteY7596" fmla="*/ 1974608 h 5296383"/>
              <a:gd name="connsiteX7597" fmla="*/ 7492214 w 9310410"/>
              <a:gd name="connsiteY7597" fmla="*/ 1982398 h 5296383"/>
              <a:gd name="connsiteX7598" fmla="*/ 7488019 w 9310410"/>
              <a:gd name="connsiteY7598" fmla="*/ 1984795 h 5296383"/>
              <a:gd name="connsiteX7599" fmla="*/ 7488019 w 9310410"/>
              <a:gd name="connsiteY7599" fmla="*/ 1990788 h 5296383"/>
              <a:gd name="connsiteX7600" fmla="*/ 7492214 w 9310410"/>
              <a:gd name="connsiteY7600" fmla="*/ 2000976 h 5296383"/>
              <a:gd name="connsiteX7601" fmla="*/ 7484423 w 9310410"/>
              <a:gd name="connsiteY7601" fmla="*/ 2003373 h 5296383"/>
              <a:gd name="connsiteX7602" fmla="*/ 7480229 w 9310410"/>
              <a:gd name="connsiteY7602" fmla="*/ 2004571 h 5296383"/>
              <a:gd name="connsiteX7603" fmla="*/ 7485023 w 9310410"/>
              <a:gd name="connsiteY7603" fmla="*/ 2008167 h 5296383"/>
              <a:gd name="connsiteX7604" fmla="*/ 7493412 w 9310410"/>
              <a:gd name="connsiteY7604" fmla="*/ 2012362 h 5296383"/>
              <a:gd name="connsiteX7605" fmla="*/ 7494611 w 9310410"/>
              <a:gd name="connsiteY7605" fmla="*/ 2022550 h 5296383"/>
              <a:gd name="connsiteX7606" fmla="*/ 7497008 w 9310410"/>
              <a:gd name="connsiteY7606" fmla="*/ 2029741 h 5296383"/>
              <a:gd name="connsiteX7607" fmla="*/ 7503600 w 9310410"/>
              <a:gd name="connsiteY7607" fmla="*/ 2042925 h 5296383"/>
              <a:gd name="connsiteX7608" fmla="*/ 7505997 w 9310410"/>
              <a:gd name="connsiteY7608" fmla="*/ 2049517 h 5296383"/>
              <a:gd name="connsiteX7609" fmla="*/ 7511990 w 9310410"/>
              <a:gd name="connsiteY7609" fmla="*/ 2053712 h 5296383"/>
              <a:gd name="connsiteX7610" fmla="*/ 7516185 w 9310410"/>
              <a:gd name="connsiteY7610" fmla="*/ 2065697 h 5296383"/>
              <a:gd name="connsiteX7611" fmla="*/ 7519182 w 9310410"/>
              <a:gd name="connsiteY7611" fmla="*/ 2075286 h 5296383"/>
              <a:gd name="connsiteX7612" fmla="*/ 7513189 w 9310410"/>
              <a:gd name="connsiteY7612" fmla="*/ 2080080 h 5296383"/>
              <a:gd name="connsiteX7613" fmla="*/ 7508993 w 9310410"/>
              <a:gd name="connsiteY7613" fmla="*/ 2084275 h 5296383"/>
              <a:gd name="connsiteX7614" fmla="*/ 7510792 w 9310410"/>
              <a:gd name="connsiteY7614" fmla="*/ 2095062 h 5296383"/>
              <a:gd name="connsiteX7615" fmla="*/ 7513788 w 9310410"/>
              <a:gd name="connsiteY7615" fmla="*/ 2099257 h 5296383"/>
              <a:gd name="connsiteX7616" fmla="*/ 7518582 w 9310410"/>
              <a:gd name="connsiteY7616" fmla="*/ 2105250 h 5296383"/>
              <a:gd name="connsiteX7617" fmla="*/ 7517983 w 9310410"/>
              <a:gd name="connsiteY7617" fmla="*/ 2113639 h 5296383"/>
              <a:gd name="connsiteX7618" fmla="*/ 7518582 w 9310410"/>
              <a:gd name="connsiteY7618" fmla="*/ 2119033 h 5296383"/>
              <a:gd name="connsiteX7619" fmla="*/ 7522777 w 9310410"/>
              <a:gd name="connsiteY7619" fmla="*/ 2126823 h 5296383"/>
              <a:gd name="connsiteX7620" fmla="*/ 7534763 w 9310410"/>
              <a:gd name="connsiteY7620" fmla="*/ 2158585 h 5296383"/>
              <a:gd name="connsiteX7621" fmla="*/ 7540156 w 9310410"/>
              <a:gd name="connsiteY7621" fmla="*/ 2175365 h 5296383"/>
              <a:gd name="connsiteX7622" fmla="*/ 7543752 w 9310410"/>
              <a:gd name="connsiteY7622" fmla="*/ 2192144 h 5296383"/>
              <a:gd name="connsiteX7623" fmla="*/ 7559932 w 9310410"/>
              <a:gd name="connsiteY7623" fmla="*/ 2222707 h 5296383"/>
              <a:gd name="connsiteX7624" fmla="*/ 7567123 w 9310410"/>
              <a:gd name="connsiteY7624" fmla="*/ 2241884 h 5296383"/>
              <a:gd name="connsiteX7625" fmla="*/ 7577311 w 9310410"/>
              <a:gd name="connsiteY7625" fmla="*/ 2259263 h 5296383"/>
              <a:gd name="connsiteX7626" fmla="*/ 7592293 w 9310410"/>
              <a:gd name="connsiteY7626" fmla="*/ 2273645 h 5296383"/>
              <a:gd name="connsiteX7627" fmla="*/ 7605476 w 9310410"/>
              <a:gd name="connsiteY7627" fmla="*/ 2288627 h 5296383"/>
              <a:gd name="connsiteX7628" fmla="*/ 7613267 w 9310410"/>
              <a:gd name="connsiteY7628" fmla="*/ 2308403 h 5296383"/>
              <a:gd name="connsiteX7629" fmla="*/ 7628249 w 9310410"/>
              <a:gd name="connsiteY7629" fmla="*/ 2323985 h 5296383"/>
              <a:gd name="connsiteX7630" fmla="*/ 7635440 w 9310410"/>
              <a:gd name="connsiteY7630" fmla="*/ 2332374 h 5296383"/>
              <a:gd name="connsiteX7631" fmla="*/ 7634841 w 9310410"/>
              <a:gd name="connsiteY7631" fmla="*/ 2336569 h 5296383"/>
              <a:gd name="connsiteX7632" fmla="*/ 7640235 w 9310410"/>
              <a:gd name="connsiteY7632" fmla="*/ 2340764 h 5296383"/>
              <a:gd name="connsiteX7633" fmla="*/ 7641433 w 9310410"/>
              <a:gd name="connsiteY7633" fmla="*/ 2336569 h 5296383"/>
              <a:gd name="connsiteX7634" fmla="*/ 7648625 w 9310410"/>
              <a:gd name="connsiteY7634" fmla="*/ 2337169 h 5296383"/>
              <a:gd name="connsiteX7635" fmla="*/ 7660610 w 9310410"/>
              <a:gd name="connsiteY7635" fmla="*/ 2336569 h 5296383"/>
              <a:gd name="connsiteX7636" fmla="*/ 7668400 w 9310410"/>
              <a:gd name="connsiteY7636" fmla="*/ 2349154 h 5296383"/>
              <a:gd name="connsiteX7637" fmla="*/ 7680986 w 9310410"/>
              <a:gd name="connsiteY7637" fmla="*/ 2349154 h 5296383"/>
              <a:gd name="connsiteX7638" fmla="*/ 7686378 w 9310410"/>
              <a:gd name="connsiteY7638" fmla="*/ 2349753 h 5296383"/>
              <a:gd name="connsiteX7639" fmla="*/ 7693570 w 9310410"/>
              <a:gd name="connsiteY7639" fmla="*/ 2350353 h 5296383"/>
              <a:gd name="connsiteX7640" fmla="*/ 7694169 w 9310410"/>
              <a:gd name="connsiteY7640" fmla="*/ 2344959 h 5296383"/>
              <a:gd name="connsiteX7641" fmla="*/ 7693570 w 9310410"/>
              <a:gd name="connsiteY7641" fmla="*/ 2342562 h 5296383"/>
              <a:gd name="connsiteX7642" fmla="*/ 7704956 w 9310410"/>
              <a:gd name="connsiteY7642" fmla="*/ 2339566 h 5296383"/>
              <a:gd name="connsiteX7643" fmla="*/ 7714545 w 9310410"/>
              <a:gd name="connsiteY7643" fmla="*/ 2334172 h 5296383"/>
              <a:gd name="connsiteX7644" fmla="*/ 7722935 w 9310410"/>
              <a:gd name="connsiteY7644" fmla="*/ 2329977 h 5296383"/>
              <a:gd name="connsiteX7645" fmla="*/ 7736718 w 9310410"/>
              <a:gd name="connsiteY7645" fmla="*/ 2329977 h 5296383"/>
              <a:gd name="connsiteX7646" fmla="*/ 7738516 w 9310410"/>
              <a:gd name="connsiteY7646" fmla="*/ 2334172 h 5296383"/>
              <a:gd name="connsiteX7647" fmla="*/ 7743309 w 9310410"/>
              <a:gd name="connsiteY7647" fmla="*/ 2339566 h 5296383"/>
              <a:gd name="connsiteX7648" fmla="*/ 7748703 w 9310410"/>
              <a:gd name="connsiteY7648" fmla="*/ 2338966 h 5296383"/>
              <a:gd name="connsiteX7649" fmla="*/ 7751699 w 9310410"/>
              <a:gd name="connsiteY7649" fmla="*/ 2334771 h 5296383"/>
              <a:gd name="connsiteX7650" fmla="*/ 7753498 w 9310410"/>
              <a:gd name="connsiteY7650" fmla="*/ 2329977 h 5296383"/>
              <a:gd name="connsiteX7651" fmla="*/ 7748104 w 9310410"/>
              <a:gd name="connsiteY7651" fmla="*/ 2322786 h 5296383"/>
              <a:gd name="connsiteX7652" fmla="*/ 7752299 w 9310410"/>
              <a:gd name="connsiteY7652" fmla="*/ 2306605 h 5296383"/>
              <a:gd name="connsiteX7653" fmla="*/ 7754696 w 9310410"/>
              <a:gd name="connsiteY7653" fmla="*/ 2288627 h 5296383"/>
              <a:gd name="connsiteX7654" fmla="*/ 7755295 w 9310410"/>
              <a:gd name="connsiteY7654" fmla="*/ 2276642 h 5296383"/>
              <a:gd name="connsiteX7655" fmla="*/ 7751699 w 9310410"/>
              <a:gd name="connsiteY7655" fmla="*/ 2259862 h 5296383"/>
              <a:gd name="connsiteX7656" fmla="*/ 7750501 w 9310410"/>
              <a:gd name="connsiteY7656" fmla="*/ 2247277 h 5296383"/>
              <a:gd name="connsiteX7657" fmla="*/ 7749302 w 9310410"/>
              <a:gd name="connsiteY7657" fmla="*/ 2226902 h 5296383"/>
              <a:gd name="connsiteX7658" fmla="*/ 7772674 w 9310410"/>
              <a:gd name="connsiteY7658" fmla="*/ 2219112 h 5296383"/>
              <a:gd name="connsiteX7659" fmla="*/ 7786458 w 9310410"/>
              <a:gd name="connsiteY7659" fmla="*/ 2210123 h 5296383"/>
              <a:gd name="connsiteX7660" fmla="*/ 7796645 w 9310410"/>
              <a:gd name="connsiteY7660" fmla="*/ 2206527 h 5296383"/>
              <a:gd name="connsiteX7661" fmla="*/ 7813425 w 9310410"/>
              <a:gd name="connsiteY7661" fmla="*/ 2209523 h 5296383"/>
              <a:gd name="connsiteX7662" fmla="*/ 7818219 w 9310410"/>
              <a:gd name="connsiteY7662" fmla="*/ 2211321 h 5296383"/>
              <a:gd name="connsiteX7663" fmla="*/ 7815222 w 9310410"/>
              <a:gd name="connsiteY7663" fmla="*/ 2207126 h 5296383"/>
              <a:gd name="connsiteX7664" fmla="*/ 7810429 w 9310410"/>
              <a:gd name="connsiteY7664" fmla="*/ 2204130 h 5296383"/>
              <a:gd name="connsiteX7665" fmla="*/ 7818819 w 9310410"/>
              <a:gd name="connsiteY7665" fmla="*/ 2204130 h 5296383"/>
              <a:gd name="connsiteX7666" fmla="*/ 7829006 w 9310410"/>
              <a:gd name="connsiteY7666" fmla="*/ 2204130 h 5296383"/>
              <a:gd name="connsiteX7667" fmla="*/ 7836797 w 9310410"/>
              <a:gd name="connsiteY7667" fmla="*/ 2208924 h 5296383"/>
              <a:gd name="connsiteX7668" fmla="*/ 7840392 w 9310410"/>
              <a:gd name="connsiteY7668" fmla="*/ 2224505 h 5296383"/>
              <a:gd name="connsiteX7669" fmla="*/ 7836197 w 9310410"/>
              <a:gd name="connsiteY7669" fmla="*/ 2245480 h 5296383"/>
              <a:gd name="connsiteX7670" fmla="*/ 7836197 w 9310410"/>
              <a:gd name="connsiteY7670" fmla="*/ 2266454 h 5296383"/>
              <a:gd name="connsiteX7671" fmla="*/ 7834999 w 9310410"/>
              <a:gd name="connsiteY7671" fmla="*/ 2280837 h 5296383"/>
              <a:gd name="connsiteX7672" fmla="*/ 7837396 w 9310410"/>
              <a:gd name="connsiteY7672" fmla="*/ 2285032 h 5296383"/>
              <a:gd name="connsiteX7673" fmla="*/ 7841590 w 9310410"/>
              <a:gd name="connsiteY7673" fmla="*/ 2284432 h 5296383"/>
              <a:gd name="connsiteX7674" fmla="*/ 7838594 w 9310410"/>
              <a:gd name="connsiteY7674" fmla="*/ 2292822 h 5296383"/>
              <a:gd name="connsiteX7675" fmla="*/ 7839793 w 9310410"/>
              <a:gd name="connsiteY7675" fmla="*/ 2297017 h 5296383"/>
              <a:gd name="connsiteX7676" fmla="*/ 7842789 w 9310410"/>
              <a:gd name="connsiteY7676" fmla="*/ 2296418 h 5296383"/>
              <a:gd name="connsiteX7677" fmla="*/ 7840392 w 9310410"/>
              <a:gd name="connsiteY7677" fmla="*/ 2310201 h 5296383"/>
              <a:gd name="connsiteX7678" fmla="*/ 7845786 w 9310410"/>
              <a:gd name="connsiteY7678" fmla="*/ 2332974 h 5296383"/>
              <a:gd name="connsiteX7679" fmla="*/ 7839793 w 9310410"/>
              <a:gd name="connsiteY7679" fmla="*/ 2331176 h 5296383"/>
              <a:gd name="connsiteX7680" fmla="*/ 7837995 w 9310410"/>
              <a:gd name="connsiteY7680" fmla="*/ 2323985 h 5296383"/>
              <a:gd name="connsiteX7681" fmla="*/ 7832601 w 9310410"/>
              <a:gd name="connsiteY7681" fmla="*/ 2316194 h 5296383"/>
              <a:gd name="connsiteX7682" fmla="*/ 7831403 w 9310410"/>
              <a:gd name="connsiteY7682" fmla="*/ 2322187 h 5296383"/>
              <a:gd name="connsiteX7683" fmla="*/ 7830804 w 9310410"/>
              <a:gd name="connsiteY7683" fmla="*/ 2334172 h 5296383"/>
              <a:gd name="connsiteX7684" fmla="*/ 7837995 w 9310410"/>
              <a:gd name="connsiteY7684" fmla="*/ 2342562 h 5296383"/>
              <a:gd name="connsiteX7685" fmla="*/ 7842190 w 9310410"/>
              <a:gd name="connsiteY7685" fmla="*/ 2360540 h 5296383"/>
              <a:gd name="connsiteX7686" fmla="*/ 7847583 w 9310410"/>
              <a:gd name="connsiteY7686" fmla="*/ 2387507 h 5296383"/>
              <a:gd name="connsiteX7687" fmla="*/ 7849381 w 9310410"/>
              <a:gd name="connsiteY7687" fmla="*/ 2406085 h 5296383"/>
              <a:gd name="connsiteX7688" fmla="*/ 7845786 w 9310410"/>
              <a:gd name="connsiteY7688" fmla="*/ 2425262 h 5296383"/>
              <a:gd name="connsiteX7689" fmla="*/ 7846385 w 9310410"/>
              <a:gd name="connsiteY7689" fmla="*/ 2432453 h 5296383"/>
              <a:gd name="connsiteX7690" fmla="*/ 7851179 w 9310410"/>
              <a:gd name="connsiteY7690" fmla="*/ 2431255 h 5296383"/>
              <a:gd name="connsiteX7691" fmla="*/ 7859569 w 9310410"/>
              <a:gd name="connsiteY7691" fmla="*/ 2435449 h 5296383"/>
              <a:gd name="connsiteX7692" fmla="*/ 7869757 w 9310410"/>
              <a:gd name="connsiteY7692" fmla="*/ 2436049 h 5296383"/>
              <a:gd name="connsiteX7693" fmla="*/ 7875750 w 9310410"/>
              <a:gd name="connsiteY7693" fmla="*/ 2431854 h 5296383"/>
              <a:gd name="connsiteX7694" fmla="*/ 7881142 w 9310410"/>
              <a:gd name="connsiteY7694" fmla="*/ 2432453 h 5296383"/>
              <a:gd name="connsiteX7695" fmla="*/ 7884139 w 9310410"/>
              <a:gd name="connsiteY7695" fmla="*/ 2434251 h 5296383"/>
              <a:gd name="connsiteX7696" fmla="*/ 7889532 w 9310410"/>
              <a:gd name="connsiteY7696" fmla="*/ 2433052 h 5296383"/>
              <a:gd name="connsiteX7697" fmla="*/ 7897323 w 9310410"/>
              <a:gd name="connsiteY7697" fmla="*/ 2432453 h 5296383"/>
              <a:gd name="connsiteX7698" fmla="*/ 7909309 w 9310410"/>
              <a:gd name="connsiteY7698" fmla="*/ 2430655 h 5296383"/>
              <a:gd name="connsiteX7699" fmla="*/ 7912904 w 9310410"/>
              <a:gd name="connsiteY7699" fmla="*/ 2424663 h 5296383"/>
              <a:gd name="connsiteX7700" fmla="*/ 7918298 w 9310410"/>
              <a:gd name="connsiteY7700" fmla="*/ 2424063 h 5296383"/>
              <a:gd name="connsiteX7701" fmla="*/ 7935077 w 9310410"/>
              <a:gd name="connsiteY7701" fmla="*/ 2424663 h 5296383"/>
              <a:gd name="connsiteX7702" fmla="*/ 7946463 w 9310410"/>
              <a:gd name="connsiteY7702" fmla="*/ 2425262 h 5296383"/>
              <a:gd name="connsiteX7703" fmla="*/ 7954853 w 9310410"/>
              <a:gd name="connsiteY7703" fmla="*/ 2425861 h 5296383"/>
              <a:gd name="connsiteX7704" fmla="*/ 7966839 w 9310410"/>
              <a:gd name="connsiteY7704" fmla="*/ 2431255 h 5296383"/>
              <a:gd name="connsiteX7705" fmla="*/ 7975229 w 9310410"/>
              <a:gd name="connsiteY7705" fmla="*/ 2439644 h 5296383"/>
              <a:gd name="connsiteX7706" fmla="*/ 7965041 w 9310410"/>
              <a:gd name="connsiteY7706" fmla="*/ 2435449 h 5296383"/>
              <a:gd name="connsiteX7707" fmla="*/ 7962644 w 9310410"/>
              <a:gd name="connsiteY7707" fmla="*/ 2437847 h 5296383"/>
              <a:gd name="connsiteX7708" fmla="*/ 7960247 w 9310410"/>
              <a:gd name="connsiteY7708" fmla="*/ 2441442 h 5296383"/>
              <a:gd name="connsiteX7709" fmla="*/ 7964442 w 9310410"/>
              <a:gd name="connsiteY7709" fmla="*/ 2446836 h 5296383"/>
              <a:gd name="connsiteX7710" fmla="*/ 7981222 w 9310410"/>
              <a:gd name="connsiteY7710" fmla="*/ 2455226 h 5296383"/>
              <a:gd name="connsiteX7711" fmla="*/ 7983019 w 9310410"/>
              <a:gd name="connsiteY7711" fmla="*/ 2450431 h 5296383"/>
              <a:gd name="connsiteX7712" fmla="*/ 7983619 w 9310410"/>
              <a:gd name="connsiteY7712" fmla="*/ 2448034 h 5296383"/>
              <a:gd name="connsiteX7713" fmla="*/ 7995604 w 9310410"/>
              <a:gd name="connsiteY7713" fmla="*/ 2455226 h 5296383"/>
              <a:gd name="connsiteX7714" fmla="*/ 7998601 w 9310410"/>
              <a:gd name="connsiteY7714" fmla="*/ 2458821 h 5296383"/>
              <a:gd name="connsiteX7715" fmla="*/ 7996203 w 9310410"/>
              <a:gd name="connsiteY7715" fmla="*/ 2464814 h 5296383"/>
              <a:gd name="connsiteX7716" fmla="*/ 7998601 w 9310410"/>
              <a:gd name="connsiteY7716" fmla="*/ 2473803 h 5296383"/>
              <a:gd name="connsiteX7717" fmla="*/ 8002795 w 9310410"/>
              <a:gd name="connsiteY7717" fmla="*/ 2488785 h 5296383"/>
              <a:gd name="connsiteX7718" fmla="*/ 8001597 w 9310410"/>
              <a:gd name="connsiteY7718" fmla="*/ 2515752 h 5296383"/>
              <a:gd name="connsiteX7719" fmla="*/ 8003394 w 9310410"/>
              <a:gd name="connsiteY7719" fmla="*/ 2524741 h 5296383"/>
              <a:gd name="connsiteX7720" fmla="*/ 8007590 w 9310410"/>
              <a:gd name="connsiteY7720" fmla="*/ 2542120 h 5296383"/>
              <a:gd name="connsiteX7721" fmla="*/ 8012384 w 9310410"/>
              <a:gd name="connsiteY7721" fmla="*/ 2560098 h 5296383"/>
              <a:gd name="connsiteX7722" fmla="*/ 8012983 w 9310410"/>
              <a:gd name="connsiteY7722" fmla="*/ 2570286 h 5296383"/>
              <a:gd name="connsiteX7723" fmla="*/ 8009387 w 9310410"/>
              <a:gd name="connsiteY7723" fmla="*/ 2561297 h 5296383"/>
              <a:gd name="connsiteX7724" fmla="*/ 8002196 w 9310410"/>
              <a:gd name="connsiteY7724" fmla="*/ 2551709 h 5296383"/>
              <a:gd name="connsiteX7725" fmla="*/ 8004593 w 9310410"/>
              <a:gd name="connsiteY7725" fmla="*/ 2559499 h 5296383"/>
              <a:gd name="connsiteX7726" fmla="*/ 8006990 w 9310410"/>
              <a:gd name="connsiteY7726" fmla="*/ 2571485 h 5296383"/>
              <a:gd name="connsiteX7727" fmla="*/ 8009986 w 9310410"/>
              <a:gd name="connsiteY7727" fmla="*/ 2575680 h 5296383"/>
              <a:gd name="connsiteX7728" fmla="*/ 8014182 w 9310410"/>
              <a:gd name="connsiteY7728" fmla="*/ 2581073 h 5296383"/>
              <a:gd name="connsiteX7729" fmla="*/ 8015380 w 9310410"/>
              <a:gd name="connsiteY7729" fmla="*/ 2592459 h 5296383"/>
              <a:gd name="connsiteX7730" fmla="*/ 8015979 w 9310410"/>
              <a:gd name="connsiteY7730" fmla="*/ 2613434 h 5296383"/>
              <a:gd name="connsiteX7731" fmla="*/ 8018975 w 9310410"/>
              <a:gd name="connsiteY7731" fmla="*/ 2624820 h 5296383"/>
              <a:gd name="connsiteX7732" fmla="*/ 8020174 w 9310410"/>
              <a:gd name="connsiteY7732" fmla="*/ 2625419 h 5296383"/>
              <a:gd name="connsiteX7733" fmla="*/ 8020174 w 9310410"/>
              <a:gd name="connsiteY7733" fmla="*/ 2625419 h 5296383"/>
              <a:gd name="connsiteX7734" fmla="*/ 8022572 w 9310410"/>
              <a:gd name="connsiteY7734" fmla="*/ 2626618 h 5296383"/>
              <a:gd name="connsiteX7735" fmla="*/ 8029763 w 9310410"/>
              <a:gd name="connsiteY7735" fmla="*/ 2641600 h 5296383"/>
              <a:gd name="connsiteX7736" fmla="*/ 8042347 w 9310410"/>
              <a:gd name="connsiteY7736" fmla="*/ 2660776 h 5296383"/>
              <a:gd name="connsiteX7737" fmla="*/ 8056131 w 9310410"/>
              <a:gd name="connsiteY7737" fmla="*/ 2676358 h 5296383"/>
              <a:gd name="connsiteX7738" fmla="*/ 8063322 w 9310410"/>
              <a:gd name="connsiteY7738" fmla="*/ 2685347 h 5296383"/>
              <a:gd name="connsiteX7739" fmla="*/ 8067517 w 9310410"/>
              <a:gd name="connsiteY7739" fmla="*/ 2700928 h 5296383"/>
              <a:gd name="connsiteX7740" fmla="*/ 8077705 w 9310410"/>
              <a:gd name="connsiteY7740" fmla="*/ 2706921 h 5296383"/>
              <a:gd name="connsiteX7741" fmla="*/ 8078304 w 9310410"/>
              <a:gd name="connsiteY7741" fmla="*/ 2701527 h 5296383"/>
              <a:gd name="connsiteX7742" fmla="*/ 8080701 w 9310410"/>
              <a:gd name="connsiteY7742" fmla="*/ 2699729 h 5296383"/>
              <a:gd name="connsiteX7743" fmla="*/ 8086095 w 9310410"/>
              <a:gd name="connsiteY7743" fmla="*/ 2705722 h 5296383"/>
              <a:gd name="connsiteX7744" fmla="*/ 8104672 w 9310410"/>
              <a:gd name="connsiteY7744" fmla="*/ 2708119 h 5296383"/>
              <a:gd name="connsiteX7745" fmla="*/ 8110665 w 9310410"/>
              <a:gd name="connsiteY7745" fmla="*/ 2700329 h 5296383"/>
              <a:gd name="connsiteX7746" fmla="*/ 8119055 w 9310410"/>
              <a:gd name="connsiteY7746" fmla="*/ 2690740 h 5296383"/>
              <a:gd name="connsiteX7747" fmla="*/ 8126246 w 9310410"/>
              <a:gd name="connsiteY7747" fmla="*/ 2684747 h 5296383"/>
              <a:gd name="connsiteX7748" fmla="*/ 8126845 w 9310410"/>
              <a:gd name="connsiteY7748" fmla="*/ 2697931 h 5296383"/>
              <a:gd name="connsiteX7749" fmla="*/ 8131040 w 9310410"/>
              <a:gd name="connsiteY7749" fmla="*/ 2699729 h 5296383"/>
              <a:gd name="connsiteX7750" fmla="*/ 8133437 w 9310410"/>
              <a:gd name="connsiteY7750" fmla="*/ 2684148 h 5296383"/>
              <a:gd name="connsiteX7751" fmla="*/ 8131040 w 9310410"/>
              <a:gd name="connsiteY7751" fmla="*/ 2670964 h 5296383"/>
              <a:gd name="connsiteX7752" fmla="*/ 8137632 w 9310410"/>
              <a:gd name="connsiteY7752" fmla="*/ 2668567 h 5296383"/>
              <a:gd name="connsiteX7753" fmla="*/ 8152015 w 9310410"/>
              <a:gd name="connsiteY7753" fmla="*/ 2669166 h 5296383"/>
              <a:gd name="connsiteX7754" fmla="*/ 8152015 w 9310410"/>
              <a:gd name="connsiteY7754" fmla="*/ 2673361 h 5296383"/>
              <a:gd name="connsiteX7755" fmla="*/ 8157408 w 9310410"/>
              <a:gd name="connsiteY7755" fmla="*/ 2677556 h 5296383"/>
              <a:gd name="connsiteX7756" fmla="*/ 8167596 w 9310410"/>
              <a:gd name="connsiteY7756" fmla="*/ 2675758 h 5296383"/>
              <a:gd name="connsiteX7757" fmla="*/ 8181978 w 9310410"/>
              <a:gd name="connsiteY7757" fmla="*/ 2685347 h 5296383"/>
              <a:gd name="connsiteX7758" fmla="*/ 8186173 w 9310410"/>
              <a:gd name="connsiteY7758" fmla="*/ 2690740 h 5296383"/>
              <a:gd name="connsiteX7759" fmla="*/ 8196361 w 9310410"/>
              <a:gd name="connsiteY7759" fmla="*/ 2701527 h 5296383"/>
              <a:gd name="connsiteX7760" fmla="*/ 8202354 w 9310410"/>
              <a:gd name="connsiteY7760" fmla="*/ 2707520 h 5296383"/>
              <a:gd name="connsiteX7761" fmla="*/ 8202354 w 9310410"/>
              <a:gd name="connsiteY7761" fmla="*/ 2706921 h 5296383"/>
              <a:gd name="connsiteX7762" fmla="*/ 8207148 w 9310410"/>
              <a:gd name="connsiteY7762" fmla="*/ 2714711 h 5296383"/>
              <a:gd name="connsiteX7763" fmla="*/ 8219732 w 9310410"/>
              <a:gd name="connsiteY7763" fmla="*/ 2734487 h 5296383"/>
              <a:gd name="connsiteX7764" fmla="*/ 8221530 w 9310410"/>
              <a:gd name="connsiteY7764" fmla="*/ 2744075 h 5296383"/>
              <a:gd name="connsiteX7765" fmla="*/ 8225126 w 9310410"/>
              <a:gd name="connsiteY7765" fmla="*/ 2729094 h 5296383"/>
              <a:gd name="connsiteX7766" fmla="*/ 8216736 w 9310410"/>
              <a:gd name="connsiteY7766" fmla="*/ 2717108 h 5296383"/>
              <a:gd name="connsiteX7767" fmla="*/ 8216736 w 9310410"/>
              <a:gd name="connsiteY7767" fmla="*/ 2709917 h 5296383"/>
              <a:gd name="connsiteX7768" fmla="*/ 8223928 w 9310410"/>
              <a:gd name="connsiteY7768" fmla="*/ 2697931 h 5296383"/>
              <a:gd name="connsiteX7769" fmla="*/ 8229920 w 9310410"/>
              <a:gd name="connsiteY7769" fmla="*/ 2685946 h 5296383"/>
              <a:gd name="connsiteX7770" fmla="*/ 8235314 w 9310410"/>
              <a:gd name="connsiteY7770" fmla="*/ 2681751 h 5296383"/>
              <a:gd name="connsiteX7771" fmla="*/ 8241906 w 9310410"/>
              <a:gd name="connsiteY7771" fmla="*/ 2681751 h 5296383"/>
              <a:gd name="connsiteX7772" fmla="*/ 8239509 w 9310410"/>
              <a:gd name="connsiteY7772" fmla="*/ 2674560 h 5296383"/>
              <a:gd name="connsiteX7773" fmla="*/ 8240108 w 9310410"/>
              <a:gd name="connsiteY7773" fmla="*/ 2669166 h 5296383"/>
              <a:gd name="connsiteX7774" fmla="*/ 8244303 w 9310410"/>
              <a:gd name="connsiteY7774" fmla="*/ 2655982 h 5296383"/>
              <a:gd name="connsiteX7775" fmla="*/ 8238909 w 9310410"/>
              <a:gd name="connsiteY7775" fmla="*/ 2649390 h 5296383"/>
              <a:gd name="connsiteX7776" fmla="*/ 8236512 w 9310410"/>
              <a:gd name="connsiteY7776" fmla="*/ 2642199 h 5296383"/>
              <a:gd name="connsiteX7777" fmla="*/ 8239509 w 9310410"/>
              <a:gd name="connsiteY7777" fmla="*/ 2630213 h 5296383"/>
              <a:gd name="connsiteX7778" fmla="*/ 8247899 w 9310410"/>
              <a:gd name="connsiteY7778" fmla="*/ 2613434 h 5296383"/>
              <a:gd name="connsiteX7779" fmla="*/ 8256288 w 9310410"/>
              <a:gd name="connsiteY7779" fmla="*/ 2612235 h 5296383"/>
              <a:gd name="connsiteX7780" fmla="*/ 8258685 w 9310410"/>
              <a:gd name="connsiteY7780" fmla="*/ 2617629 h 5296383"/>
              <a:gd name="connsiteX7781" fmla="*/ 8261082 w 9310410"/>
              <a:gd name="connsiteY7781" fmla="*/ 2622423 h 5296383"/>
              <a:gd name="connsiteX7782" fmla="*/ 8266476 w 9310410"/>
              <a:gd name="connsiteY7782" fmla="*/ 2610437 h 5296383"/>
              <a:gd name="connsiteX7783" fmla="*/ 8282656 w 9310410"/>
              <a:gd name="connsiteY7783" fmla="*/ 2600250 h 5296383"/>
              <a:gd name="connsiteX7784" fmla="*/ 8297638 w 9310410"/>
              <a:gd name="connsiteY7784" fmla="*/ 2582871 h 5296383"/>
              <a:gd name="connsiteX7785" fmla="*/ 8306028 w 9310410"/>
              <a:gd name="connsiteY7785" fmla="*/ 2572084 h 5296383"/>
              <a:gd name="connsiteX7786" fmla="*/ 8305429 w 9310410"/>
              <a:gd name="connsiteY7786" fmla="*/ 2557102 h 5296383"/>
              <a:gd name="connsiteX7787" fmla="*/ 8306028 w 9310410"/>
              <a:gd name="connsiteY7787" fmla="*/ 2551709 h 5296383"/>
              <a:gd name="connsiteX7788" fmla="*/ 8312021 w 9310410"/>
              <a:gd name="connsiteY7788" fmla="*/ 2554106 h 5296383"/>
              <a:gd name="connsiteX7789" fmla="*/ 8317414 w 9310410"/>
              <a:gd name="connsiteY7789" fmla="*/ 2554705 h 5296383"/>
              <a:gd name="connsiteX7790" fmla="*/ 8320411 w 9310410"/>
              <a:gd name="connsiteY7790" fmla="*/ 2547514 h 5296383"/>
              <a:gd name="connsiteX7791" fmla="*/ 8322808 w 9310410"/>
              <a:gd name="connsiteY7791" fmla="*/ 2543319 h 5296383"/>
              <a:gd name="connsiteX7792" fmla="*/ 8331797 w 9310410"/>
              <a:gd name="connsiteY7792" fmla="*/ 2552907 h 5296383"/>
              <a:gd name="connsiteX7793" fmla="*/ 8332995 w 9310410"/>
              <a:gd name="connsiteY7793" fmla="*/ 2566091 h 5296383"/>
              <a:gd name="connsiteX7794" fmla="*/ 8324006 w 9310410"/>
              <a:gd name="connsiteY7794" fmla="*/ 2578077 h 5296383"/>
              <a:gd name="connsiteX7795" fmla="*/ 8324605 w 9310410"/>
              <a:gd name="connsiteY7795" fmla="*/ 2600849 h 5296383"/>
              <a:gd name="connsiteX7796" fmla="*/ 8325804 w 9310410"/>
              <a:gd name="connsiteY7796" fmla="*/ 2609239 h 5296383"/>
              <a:gd name="connsiteX7797" fmla="*/ 8325205 w 9310410"/>
              <a:gd name="connsiteY7797" fmla="*/ 2611636 h 5296383"/>
              <a:gd name="connsiteX7798" fmla="*/ 8329400 w 9310410"/>
              <a:gd name="connsiteY7798" fmla="*/ 2614033 h 5296383"/>
              <a:gd name="connsiteX7799" fmla="*/ 8330598 w 9310410"/>
              <a:gd name="connsiteY7799" fmla="*/ 2626019 h 5296383"/>
              <a:gd name="connsiteX7800" fmla="*/ 8328800 w 9310410"/>
              <a:gd name="connsiteY7800" fmla="*/ 2636206 h 5296383"/>
              <a:gd name="connsiteX7801" fmla="*/ 8326403 w 9310410"/>
              <a:gd name="connsiteY7801" fmla="*/ 2642199 h 5296383"/>
              <a:gd name="connsiteX7802" fmla="*/ 8330598 w 9310410"/>
              <a:gd name="connsiteY7802" fmla="*/ 2663173 h 5296383"/>
              <a:gd name="connsiteX7803" fmla="*/ 8335991 w 9310410"/>
              <a:gd name="connsiteY7803" fmla="*/ 2676358 h 5296383"/>
              <a:gd name="connsiteX7804" fmla="*/ 8343183 w 9310410"/>
              <a:gd name="connsiteY7804" fmla="*/ 2684747 h 5296383"/>
              <a:gd name="connsiteX7805" fmla="*/ 8355768 w 9310410"/>
              <a:gd name="connsiteY7805" fmla="*/ 2675758 h 5296383"/>
              <a:gd name="connsiteX7806" fmla="*/ 8351572 w 9310410"/>
              <a:gd name="connsiteY7806" fmla="*/ 2646394 h 5296383"/>
              <a:gd name="connsiteX7807" fmla="*/ 8338389 w 9310410"/>
              <a:gd name="connsiteY7807" fmla="*/ 2626019 h 5296383"/>
              <a:gd name="connsiteX7808" fmla="*/ 8335991 w 9310410"/>
              <a:gd name="connsiteY7808" fmla="*/ 2615831 h 5296383"/>
              <a:gd name="connsiteX7809" fmla="*/ 8336591 w 9310410"/>
              <a:gd name="connsiteY7809" fmla="*/ 2608640 h 5296383"/>
              <a:gd name="connsiteX7810" fmla="*/ 8340786 w 9310410"/>
              <a:gd name="connsiteY7810" fmla="*/ 2604445 h 5296383"/>
              <a:gd name="connsiteX7811" fmla="*/ 8347977 w 9310410"/>
              <a:gd name="connsiteY7811" fmla="*/ 2600849 h 5296383"/>
              <a:gd name="connsiteX7812" fmla="*/ 8357565 w 9310410"/>
              <a:gd name="connsiteY7812" fmla="*/ 2593059 h 5296383"/>
              <a:gd name="connsiteX7813" fmla="*/ 8362959 w 9310410"/>
              <a:gd name="connsiteY7813" fmla="*/ 2584669 h 5296383"/>
              <a:gd name="connsiteX7814" fmla="*/ 8368952 w 9310410"/>
              <a:gd name="connsiteY7814" fmla="*/ 2582272 h 5296383"/>
              <a:gd name="connsiteX7815" fmla="*/ 8370750 w 9310410"/>
              <a:gd name="connsiteY7815" fmla="*/ 2578077 h 5296383"/>
              <a:gd name="connsiteX7816" fmla="*/ 8361761 w 9310410"/>
              <a:gd name="connsiteY7816" fmla="*/ 2575680 h 5296383"/>
              <a:gd name="connsiteX7817" fmla="*/ 8356367 w 9310410"/>
              <a:gd name="connsiteY7817" fmla="*/ 2572683 h 5296383"/>
              <a:gd name="connsiteX7818" fmla="*/ 8355169 w 9310410"/>
              <a:gd name="connsiteY7818" fmla="*/ 2558301 h 5296383"/>
              <a:gd name="connsiteX7819" fmla="*/ 8364757 w 9310410"/>
              <a:gd name="connsiteY7819" fmla="*/ 2549911 h 5296383"/>
              <a:gd name="connsiteX7820" fmla="*/ 8375543 w 9310410"/>
              <a:gd name="connsiteY7820" fmla="*/ 2572683 h 5296383"/>
              <a:gd name="connsiteX7821" fmla="*/ 8385732 w 9310410"/>
              <a:gd name="connsiteY7821" fmla="*/ 2584669 h 5296383"/>
              <a:gd name="connsiteX7822" fmla="*/ 8406107 w 9310410"/>
              <a:gd name="connsiteY7822" fmla="*/ 2591860 h 5296383"/>
              <a:gd name="connsiteX7823" fmla="*/ 8416893 w 9310410"/>
              <a:gd name="connsiteY7823" fmla="*/ 2614632 h 5296383"/>
              <a:gd name="connsiteX7824" fmla="*/ 8430078 w 9310410"/>
              <a:gd name="connsiteY7824" fmla="*/ 2623022 h 5296383"/>
              <a:gd name="connsiteX7825" fmla="*/ 8446857 w 9310410"/>
              <a:gd name="connsiteY7825" fmla="*/ 2617629 h 5296383"/>
              <a:gd name="connsiteX7826" fmla="*/ 8466633 w 9310410"/>
              <a:gd name="connsiteY7826" fmla="*/ 2615232 h 5296383"/>
              <a:gd name="connsiteX7827" fmla="*/ 8474423 w 9310410"/>
              <a:gd name="connsiteY7827" fmla="*/ 2620625 h 5296383"/>
              <a:gd name="connsiteX7828" fmla="*/ 8481615 w 9310410"/>
              <a:gd name="connsiteY7828" fmla="*/ 2626019 h 5296383"/>
              <a:gd name="connsiteX7829" fmla="*/ 8488806 w 9310410"/>
              <a:gd name="connsiteY7829" fmla="*/ 2627816 h 5296383"/>
              <a:gd name="connsiteX7830" fmla="*/ 8493601 w 9310410"/>
              <a:gd name="connsiteY7830" fmla="*/ 2627816 h 5296383"/>
              <a:gd name="connsiteX7831" fmla="*/ 8510980 w 9310410"/>
              <a:gd name="connsiteY7831" fmla="*/ 2624820 h 5296383"/>
              <a:gd name="connsiteX7832" fmla="*/ 8533152 w 9310410"/>
              <a:gd name="connsiteY7832" fmla="*/ 2613434 h 5296383"/>
              <a:gd name="connsiteX7833" fmla="*/ 8537347 w 9310410"/>
              <a:gd name="connsiteY7833" fmla="*/ 2609239 h 5296383"/>
              <a:gd name="connsiteX7834" fmla="*/ 8524763 w 9310410"/>
              <a:gd name="connsiteY7834" fmla="*/ 2609838 h 5296383"/>
              <a:gd name="connsiteX7835" fmla="*/ 8520568 w 9310410"/>
              <a:gd name="connsiteY7835" fmla="*/ 2606242 h 5296383"/>
              <a:gd name="connsiteX7836" fmla="*/ 8530755 w 9310410"/>
              <a:gd name="connsiteY7836" fmla="*/ 2604445 h 5296383"/>
              <a:gd name="connsiteX7837" fmla="*/ 8543940 w 9310410"/>
              <a:gd name="connsiteY7837" fmla="*/ 2602048 h 5296383"/>
              <a:gd name="connsiteX7838" fmla="*/ 8570307 w 9310410"/>
              <a:gd name="connsiteY7838" fmla="*/ 2597253 h 5296383"/>
              <a:gd name="connsiteX7839" fmla="*/ 8577499 w 9310410"/>
              <a:gd name="connsiteY7839" fmla="*/ 2600849 h 5296383"/>
              <a:gd name="connsiteX7840" fmla="*/ 8563715 w 9310410"/>
              <a:gd name="connsiteY7840" fmla="*/ 2606242 h 5296383"/>
              <a:gd name="connsiteX7841" fmla="*/ 8561918 w 9310410"/>
              <a:gd name="connsiteY7841" fmla="*/ 2612835 h 5296383"/>
              <a:gd name="connsiteX7842" fmla="*/ 8566113 w 9310410"/>
              <a:gd name="connsiteY7842" fmla="*/ 2617629 h 5296383"/>
              <a:gd name="connsiteX7843" fmla="*/ 8569708 w 9310410"/>
              <a:gd name="connsiteY7843" fmla="*/ 2625419 h 5296383"/>
              <a:gd name="connsiteX7844" fmla="*/ 8572105 w 9310410"/>
              <a:gd name="connsiteY7844" fmla="*/ 2635607 h 5296383"/>
              <a:gd name="connsiteX7845" fmla="*/ 8576300 w 9310410"/>
              <a:gd name="connsiteY7845" fmla="*/ 2638004 h 5296383"/>
              <a:gd name="connsiteX7846" fmla="*/ 8584091 w 9310410"/>
              <a:gd name="connsiteY7846" fmla="*/ 2638603 h 5296383"/>
              <a:gd name="connsiteX7847" fmla="*/ 8594878 w 9310410"/>
              <a:gd name="connsiteY7847" fmla="*/ 2641000 h 5296383"/>
              <a:gd name="connsiteX7848" fmla="*/ 8599672 w 9310410"/>
              <a:gd name="connsiteY7848" fmla="*/ 2639203 h 5296383"/>
              <a:gd name="connsiteX7849" fmla="*/ 8601470 w 9310410"/>
              <a:gd name="connsiteY7849" fmla="*/ 2637405 h 5296383"/>
              <a:gd name="connsiteX7850" fmla="*/ 8609860 w 9310410"/>
              <a:gd name="connsiteY7850" fmla="*/ 2643398 h 5296383"/>
              <a:gd name="connsiteX7851" fmla="*/ 8621845 w 9310410"/>
              <a:gd name="connsiteY7851" fmla="*/ 2648791 h 5296383"/>
              <a:gd name="connsiteX7852" fmla="*/ 8627838 w 9310410"/>
              <a:gd name="connsiteY7852" fmla="*/ 2655982 h 5296383"/>
              <a:gd name="connsiteX7853" fmla="*/ 8626040 w 9310410"/>
              <a:gd name="connsiteY7853" fmla="*/ 2661975 h 5296383"/>
              <a:gd name="connsiteX7854" fmla="*/ 8628437 w 9310410"/>
              <a:gd name="connsiteY7854" fmla="*/ 2669766 h 5296383"/>
              <a:gd name="connsiteX7855" fmla="*/ 8627838 w 9310410"/>
              <a:gd name="connsiteY7855" fmla="*/ 2678155 h 5296383"/>
              <a:gd name="connsiteX7856" fmla="*/ 8630235 w 9310410"/>
              <a:gd name="connsiteY7856" fmla="*/ 2687144 h 5296383"/>
              <a:gd name="connsiteX7857" fmla="*/ 8627838 w 9310410"/>
              <a:gd name="connsiteY7857" fmla="*/ 2692538 h 5296383"/>
              <a:gd name="connsiteX7858" fmla="*/ 8638625 w 9310410"/>
              <a:gd name="connsiteY7858" fmla="*/ 2691339 h 5296383"/>
              <a:gd name="connsiteX7859" fmla="*/ 8650610 w 9310410"/>
              <a:gd name="connsiteY7859" fmla="*/ 2693137 h 5296383"/>
              <a:gd name="connsiteX7860" fmla="*/ 8650610 w 9310410"/>
              <a:gd name="connsiteY7860" fmla="*/ 2693737 h 5296383"/>
              <a:gd name="connsiteX7861" fmla="*/ 8652408 w 9310410"/>
              <a:gd name="connsiteY7861" fmla="*/ 2695534 h 5296383"/>
              <a:gd name="connsiteX7862" fmla="*/ 8667390 w 9310410"/>
              <a:gd name="connsiteY7862" fmla="*/ 2706921 h 5296383"/>
              <a:gd name="connsiteX7863" fmla="*/ 8679975 w 9310410"/>
              <a:gd name="connsiteY7863" fmla="*/ 2721902 h 5296383"/>
              <a:gd name="connsiteX7864" fmla="*/ 8690162 w 9310410"/>
              <a:gd name="connsiteY7864" fmla="*/ 2732689 h 5296383"/>
              <a:gd name="connsiteX7865" fmla="*/ 8692559 w 9310410"/>
              <a:gd name="connsiteY7865" fmla="*/ 2769844 h 5296383"/>
              <a:gd name="connsiteX7866" fmla="*/ 8696755 w 9310410"/>
              <a:gd name="connsiteY7866" fmla="*/ 2786624 h 5296383"/>
              <a:gd name="connsiteX7867" fmla="*/ 8697953 w 9310410"/>
              <a:gd name="connsiteY7867" fmla="*/ 2775837 h 5296383"/>
              <a:gd name="connsiteX7868" fmla="*/ 8701548 w 9310410"/>
              <a:gd name="connsiteY7868" fmla="*/ 2765649 h 5296383"/>
              <a:gd name="connsiteX7869" fmla="*/ 8713534 w 9310410"/>
              <a:gd name="connsiteY7869" fmla="*/ 2772241 h 5296383"/>
              <a:gd name="connsiteX7870" fmla="*/ 8727317 w 9310410"/>
              <a:gd name="connsiteY7870" fmla="*/ 2798010 h 5296383"/>
              <a:gd name="connsiteX7871" fmla="*/ 8735108 w 9310410"/>
              <a:gd name="connsiteY7871" fmla="*/ 2814191 h 5296383"/>
              <a:gd name="connsiteX7872" fmla="*/ 8743497 w 9310410"/>
              <a:gd name="connsiteY7872" fmla="*/ 2805801 h 5296383"/>
              <a:gd name="connsiteX7873" fmla="*/ 8759078 w 9310410"/>
              <a:gd name="connsiteY7873" fmla="*/ 2809996 h 5296383"/>
              <a:gd name="connsiteX7874" fmla="*/ 8765671 w 9310410"/>
              <a:gd name="connsiteY7874" fmla="*/ 2807599 h 5296383"/>
              <a:gd name="connsiteX7875" fmla="*/ 8769866 w 9310410"/>
              <a:gd name="connsiteY7875" fmla="*/ 2803404 h 5296383"/>
              <a:gd name="connsiteX7876" fmla="*/ 8778256 w 9310410"/>
              <a:gd name="connsiteY7876" fmla="*/ 2805801 h 5296383"/>
              <a:gd name="connsiteX7877" fmla="*/ 8782450 w 9310410"/>
              <a:gd name="connsiteY7877" fmla="*/ 2806400 h 5296383"/>
              <a:gd name="connsiteX7878" fmla="*/ 8787844 w 9310410"/>
              <a:gd name="connsiteY7878" fmla="*/ 2804602 h 5296383"/>
              <a:gd name="connsiteX7879" fmla="*/ 8799829 w 9310410"/>
              <a:gd name="connsiteY7879" fmla="*/ 2808797 h 5296383"/>
              <a:gd name="connsiteX7880" fmla="*/ 8811815 w 9310410"/>
              <a:gd name="connsiteY7880" fmla="*/ 2812992 h 5296383"/>
              <a:gd name="connsiteX7881" fmla="*/ 8818407 w 9310410"/>
              <a:gd name="connsiteY7881" fmla="*/ 2816588 h 5296383"/>
              <a:gd name="connsiteX7882" fmla="*/ 8826797 w 9310410"/>
              <a:gd name="connsiteY7882" fmla="*/ 2820783 h 5296383"/>
              <a:gd name="connsiteX7883" fmla="*/ 8844775 w 9310410"/>
              <a:gd name="connsiteY7883" fmla="*/ 2826775 h 5296383"/>
              <a:gd name="connsiteX7884" fmla="*/ 8853764 w 9310410"/>
              <a:gd name="connsiteY7884" fmla="*/ 2833967 h 5296383"/>
              <a:gd name="connsiteX7885" fmla="*/ 8857360 w 9310410"/>
              <a:gd name="connsiteY7885" fmla="*/ 2840559 h 5296383"/>
              <a:gd name="connsiteX7886" fmla="*/ 8862154 w 9310410"/>
              <a:gd name="connsiteY7886" fmla="*/ 2847151 h 5296383"/>
              <a:gd name="connsiteX7887" fmla="*/ 8868746 w 9310410"/>
              <a:gd name="connsiteY7887" fmla="*/ 2860335 h 5296383"/>
              <a:gd name="connsiteX7888" fmla="*/ 8868147 w 9310410"/>
              <a:gd name="connsiteY7888" fmla="*/ 2875317 h 5296383"/>
              <a:gd name="connsiteX7889" fmla="*/ 8868746 w 9310410"/>
              <a:gd name="connsiteY7889" fmla="*/ 2883706 h 5296383"/>
              <a:gd name="connsiteX7890" fmla="*/ 8872941 w 9310410"/>
              <a:gd name="connsiteY7890" fmla="*/ 2878313 h 5296383"/>
              <a:gd name="connsiteX7891" fmla="*/ 8874140 w 9310410"/>
              <a:gd name="connsiteY7891" fmla="*/ 2866328 h 5296383"/>
              <a:gd name="connsiteX7892" fmla="*/ 8881330 w 9310410"/>
              <a:gd name="connsiteY7892" fmla="*/ 2868725 h 5296383"/>
              <a:gd name="connsiteX7893" fmla="*/ 8882529 w 9310410"/>
              <a:gd name="connsiteY7893" fmla="*/ 2876515 h 5296383"/>
              <a:gd name="connsiteX7894" fmla="*/ 8881330 w 9310410"/>
              <a:gd name="connsiteY7894" fmla="*/ 2886703 h 5296383"/>
              <a:gd name="connsiteX7895" fmla="*/ 8880731 w 9310410"/>
              <a:gd name="connsiteY7895" fmla="*/ 2892096 h 5296383"/>
              <a:gd name="connsiteX7896" fmla="*/ 8880132 w 9310410"/>
              <a:gd name="connsiteY7896" fmla="*/ 2892096 h 5296383"/>
              <a:gd name="connsiteX7897" fmla="*/ 8878334 w 9310410"/>
              <a:gd name="connsiteY7897" fmla="*/ 2893894 h 5296383"/>
              <a:gd name="connsiteX7898" fmla="*/ 8881930 w 9310410"/>
              <a:gd name="connsiteY7898" fmla="*/ 2892096 h 5296383"/>
              <a:gd name="connsiteX7899" fmla="*/ 8886125 w 9310410"/>
              <a:gd name="connsiteY7899" fmla="*/ 2882508 h 5296383"/>
              <a:gd name="connsiteX7900" fmla="*/ 8893316 w 9310410"/>
              <a:gd name="connsiteY7900" fmla="*/ 2881908 h 5296383"/>
              <a:gd name="connsiteX7901" fmla="*/ 8894515 w 9310410"/>
              <a:gd name="connsiteY7901" fmla="*/ 2898089 h 5296383"/>
              <a:gd name="connsiteX7902" fmla="*/ 8897511 w 9310410"/>
              <a:gd name="connsiteY7902" fmla="*/ 2907677 h 5296383"/>
              <a:gd name="connsiteX7903" fmla="*/ 8896911 w 9310410"/>
              <a:gd name="connsiteY7903" fmla="*/ 2921461 h 5296383"/>
              <a:gd name="connsiteX7904" fmla="*/ 8902305 w 9310410"/>
              <a:gd name="connsiteY7904" fmla="*/ 2935244 h 5296383"/>
              <a:gd name="connsiteX7905" fmla="*/ 8910695 w 9310410"/>
              <a:gd name="connsiteY7905" fmla="*/ 2955020 h 5296383"/>
              <a:gd name="connsiteX7906" fmla="*/ 8914890 w 9310410"/>
              <a:gd name="connsiteY7906" fmla="*/ 2967005 h 5296383"/>
              <a:gd name="connsiteX7907" fmla="*/ 8916089 w 9310410"/>
              <a:gd name="connsiteY7907" fmla="*/ 2987381 h 5296383"/>
              <a:gd name="connsiteX7908" fmla="*/ 8920882 w 9310410"/>
              <a:gd name="connsiteY7908" fmla="*/ 2990377 h 5296383"/>
              <a:gd name="connsiteX7909" fmla="*/ 8931071 w 9310410"/>
              <a:gd name="connsiteY7909" fmla="*/ 2990377 h 5296383"/>
              <a:gd name="connsiteX7910" fmla="*/ 8935265 w 9310410"/>
              <a:gd name="connsiteY7910" fmla="*/ 3003561 h 5296383"/>
              <a:gd name="connsiteX7911" fmla="*/ 8932269 w 9310410"/>
              <a:gd name="connsiteY7911" fmla="*/ 3014947 h 5296383"/>
              <a:gd name="connsiteX7912" fmla="*/ 8931670 w 9310410"/>
              <a:gd name="connsiteY7912" fmla="*/ 3020341 h 5296383"/>
              <a:gd name="connsiteX7913" fmla="*/ 8926276 w 9310410"/>
              <a:gd name="connsiteY7913" fmla="*/ 3037121 h 5296383"/>
              <a:gd name="connsiteX7914" fmla="*/ 8921482 w 9310410"/>
              <a:gd name="connsiteY7914" fmla="*/ 3050305 h 5296383"/>
              <a:gd name="connsiteX7915" fmla="*/ 8915490 w 9310410"/>
              <a:gd name="connsiteY7915" fmla="*/ 3063489 h 5296383"/>
              <a:gd name="connsiteX7916" fmla="*/ 8907699 w 9310410"/>
              <a:gd name="connsiteY7916" fmla="*/ 3074875 h 5296383"/>
              <a:gd name="connsiteX7917" fmla="*/ 8895713 w 9310410"/>
              <a:gd name="connsiteY7917" fmla="*/ 3094052 h 5296383"/>
              <a:gd name="connsiteX7918" fmla="*/ 8889720 w 9310410"/>
              <a:gd name="connsiteY7918" fmla="*/ 3107236 h 5296383"/>
              <a:gd name="connsiteX7919" fmla="*/ 8886724 w 9310410"/>
              <a:gd name="connsiteY7919" fmla="*/ 3125214 h 5296383"/>
              <a:gd name="connsiteX7920" fmla="*/ 8860955 w 9310410"/>
              <a:gd name="connsiteY7920" fmla="*/ 3144990 h 5296383"/>
              <a:gd name="connsiteX7921" fmla="*/ 8847172 w 9310410"/>
              <a:gd name="connsiteY7921" fmla="*/ 3156975 h 5296383"/>
              <a:gd name="connsiteX7922" fmla="*/ 8845973 w 9310410"/>
              <a:gd name="connsiteY7922" fmla="*/ 3158773 h 5296383"/>
              <a:gd name="connsiteX7923" fmla="*/ 8846573 w 9310410"/>
              <a:gd name="connsiteY7923" fmla="*/ 3158773 h 5296383"/>
              <a:gd name="connsiteX7924" fmla="*/ 8845973 w 9310410"/>
              <a:gd name="connsiteY7924" fmla="*/ 3158773 h 5296383"/>
              <a:gd name="connsiteX7925" fmla="*/ 8854363 w 9310410"/>
              <a:gd name="connsiteY7925" fmla="*/ 3157575 h 5296383"/>
              <a:gd name="connsiteX7926" fmla="*/ 8862753 w 9310410"/>
              <a:gd name="connsiteY7926" fmla="*/ 3148585 h 5296383"/>
              <a:gd name="connsiteX7927" fmla="*/ 8874140 w 9310410"/>
              <a:gd name="connsiteY7927" fmla="*/ 3140196 h 5296383"/>
              <a:gd name="connsiteX7928" fmla="*/ 8886724 w 9310410"/>
              <a:gd name="connsiteY7928" fmla="*/ 3132405 h 5296383"/>
              <a:gd name="connsiteX7929" fmla="*/ 8893915 w 9310410"/>
              <a:gd name="connsiteY7929" fmla="*/ 3106037 h 5296383"/>
              <a:gd name="connsiteX7930" fmla="*/ 8898110 w 9310410"/>
              <a:gd name="connsiteY7930" fmla="*/ 3108434 h 5296383"/>
              <a:gd name="connsiteX7931" fmla="*/ 8896911 w 9310410"/>
              <a:gd name="connsiteY7931" fmla="*/ 3129409 h 5296383"/>
              <a:gd name="connsiteX7932" fmla="*/ 8877136 w 9310410"/>
              <a:gd name="connsiteY7932" fmla="*/ 3146189 h 5296383"/>
              <a:gd name="connsiteX7933" fmla="*/ 8871742 w 9310410"/>
              <a:gd name="connsiteY7933" fmla="*/ 3161769 h 5296383"/>
              <a:gd name="connsiteX7934" fmla="*/ 8877136 w 9310410"/>
              <a:gd name="connsiteY7934" fmla="*/ 3198325 h 5296383"/>
              <a:gd name="connsiteX7935" fmla="*/ 8879533 w 9310410"/>
              <a:gd name="connsiteY7935" fmla="*/ 3197127 h 5296383"/>
              <a:gd name="connsiteX7936" fmla="*/ 8875338 w 9310410"/>
              <a:gd name="connsiteY7936" fmla="*/ 3161769 h 5296383"/>
              <a:gd name="connsiteX7937" fmla="*/ 8892118 w 9310410"/>
              <a:gd name="connsiteY7937" fmla="*/ 3144390 h 5296383"/>
              <a:gd name="connsiteX7938" fmla="*/ 8904702 w 9310410"/>
              <a:gd name="connsiteY7938" fmla="*/ 3112629 h 5296383"/>
              <a:gd name="connsiteX7939" fmla="*/ 8908897 w 9310410"/>
              <a:gd name="connsiteY7939" fmla="*/ 3108434 h 5296383"/>
              <a:gd name="connsiteX7940" fmla="*/ 8911294 w 9310410"/>
              <a:gd name="connsiteY7940" fmla="*/ 3119221 h 5296383"/>
              <a:gd name="connsiteX7941" fmla="*/ 8917287 w 9310410"/>
              <a:gd name="connsiteY7941" fmla="*/ 3110831 h 5296383"/>
              <a:gd name="connsiteX7942" fmla="*/ 8917287 w 9310410"/>
              <a:gd name="connsiteY7942" fmla="*/ 3095849 h 5296383"/>
              <a:gd name="connsiteX7943" fmla="*/ 8927475 w 9310410"/>
              <a:gd name="connsiteY7943" fmla="*/ 3085063 h 5296383"/>
              <a:gd name="connsiteX7944" fmla="*/ 8956240 w 9310410"/>
              <a:gd name="connsiteY7944" fmla="*/ 3082665 h 5296383"/>
              <a:gd name="connsiteX7945" fmla="*/ 8971222 w 9310410"/>
              <a:gd name="connsiteY7945" fmla="*/ 3083265 h 5296383"/>
              <a:gd name="connsiteX7946" fmla="*/ 8973619 w 9310410"/>
              <a:gd name="connsiteY7946" fmla="*/ 3087459 h 5296383"/>
              <a:gd name="connsiteX7947" fmla="*/ 8970023 w 9310410"/>
              <a:gd name="connsiteY7947" fmla="*/ 3096448 h 5296383"/>
              <a:gd name="connsiteX7948" fmla="*/ 8968824 w 9310410"/>
              <a:gd name="connsiteY7948" fmla="*/ 3110232 h 5296383"/>
              <a:gd name="connsiteX7949" fmla="*/ 8964031 w 9310410"/>
              <a:gd name="connsiteY7949" fmla="*/ 3123416 h 5296383"/>
              <a:gd name="connsiteX7950" fmla="*/ 8957439 w 9310410"/>
              <a:gd name="connsiteY7950" fmla="*/ 3140196 h 5296383"/>
              <a:gd name="connsiteX7951" fmla="*/ 8939461 w 9310410"/>
              <a:gd name="connsiteY7951" fmla="*/ 3152181 h 5296383"/>
              <a:gd name="connsiteX7952" fmla="*/ 8913092 w 9310410"/>
              <a:gd name="connsiteY7952" fmla="*/ 3163567 h 5296383"/>
              <a:gd name="connsiteX7953" fmla="*/ 8919684 w 9310410"/>
              <a:gd name="connsiteY7953" fmla="*/ 3165964 h 5296383"/>
              <a:gd name="connsiteX7954" fmla="*/ 8941258 w 9310410"/>
              <a:gd name="connsiteY7954" fmla="*/ 3158773 h 5296383"/>
              <a:gd name="connsiteX7955" fmla="*/ 8947251 w 9310410"/>
              <a:gd name="connsiteY7955" fmla="*/ 3159972 h 5296383"/>
              <a:gd name="connsiteX7956" fmla="*/ 8943056 w 9310410"/>
              <a:gd name="connsiteY7956" fmla="*/ 3176751 h 5296383"/>
              <a:gd name="connsiteX7957" fmla="*/ 8947251 w 9310410"/>
              <a:gd name="connsiteY7957" fmla="*/ 3170759 h 5296383"/>
              <a:gd name="connsiteX7958" fmla="*/ 8957439 w 9310410"/>
              <a:gd name="connsiteY7958" fmla="*/ 3150983 h 5296383"/>
              <a:gd name="connsiteX7959" fmla="*/ 8967027 w 9310410"/>
              <a:gd name="connsiteY7959" fmla="*/ 3154578 h 5296383"/>
              <a:gd name="connsiteX7960" fmla="*/ 8974218 w 9310410"/>
              <a:gd name="connsiteY7960" fmla="*/ 3153979 h 5296383"/>
              <a:gd name="connsiteX7961" fmla="*/ 8974817 w 9310410"/>
              <a:gd name="connsiteY7961" fmla="*/ 3146788 h 5296383"/>
              <a:gd name="connsiteX7962" fmla="*/ 8971222 w 9310410"/>
              <a:gd name="connsiteY7962" fmla="*/ 3136001 h 5296383"/>
              <a:gd name="connsiteX7963" fmla="*/ 8974817 w 9310410"/>
              <a:gd name="connsiteY7963" fmla="*/ 3126412 h 5296383"/>
              <a:gd name="connsiteX7964" fmla="*/ 8977214 w 9310410"/>
              <a:gd name="connsiteY7964" fmla="*/ 3121618 h 5296383"/>
              <a:gd name="connsiteX7965" fmla="*/ 8977813 w 9310410"/>
              <a:gd name="connsiteY7965" fmla="*/ 3111430 h 5296383"/>
              <a:gd name="connsiteX7966" fmla="*/ 9001185 w 9310410"/>
              <a:gd name="connsiteY7966" fmla="*/ 3103041 h 5296383"/>
              <a:gd name="connsiteX7967" fmla="*/ 9019163 w 9310410"/>
              <a:gd name="connsiteY7967" fmla="*/ 3113828 h 5296383"/>
              <a:gd name="connsiteX7968" fmla="*/ 9023359 w 9310410"/>
              <a:gd name="connsiteY7968" fmla="*/ 3122817 h 5296383"/>
              <a:gd name="connsiteX7969" fmla="*/ 9029951 w 9310410"/>
              <a:gd name="connsiteY7969" fmla="*/ 3128210 h 5296383"/>
              <a:gd name="connsiteX7970" fmla="*/ 9037741 w 9310410"/>
              <a:gd name="connsiteY7970" fmla="*/ 3130008 h 5296383"/>
              <a:gd name="connsiteX7971" fmla="*/ 9042535 w 9310410"/>
              <a:gd name="connsiteY7971" fmla="*/ 3141394 h 5296383"/>
              <a:gd name="connsiteX7972" fmla="*/ 9046730 w 9310410"/>
              <a:gd name="connsiteY7972" fmla="*/ 3156376 h 5296383"/>
              <a:gd name="connsiteX7973" fmla="*/ 9049127 w 9310410"/>
              <a:gd name="connsiteY7973" fmla="*/ 3150983 h 5296383"/>
              <a:gd name="connsiteX7974" fmla="*/ 9049127 w 9310410"/>
              <a:gd name="connsiteY7974" fmla="*/ 3143791 h 5296383"/>
              <a:gd name="connsiteX7975" fmla="*/ 9058116 w 9310410"/>
              <a:gd name="connsiteY7975" fmla="*/ 3147986 h 5296383"/>
              <a:gd name="connsiteX7976" fmla="*/ 9068304 w 9310410"/>
              <a:gd name="connsiteY7976" fmla="*/ 3172556 h 5296383"/>
              <a:gd name="connsiteX7977" fmla="*/ 9065907 w 9310410"/>
              <a:gd name="connsiteY7977" fmla="*/ 3184542 h 5296383"/>
              <a:gd name="connsiteX7978" fmla="*/ 9064708 w 9310410"/>
              <a:gd name="connsiteY7978" fmla="*/ 3197127 h 5296383"/>
              <a:gd name="connsiteX7979" fmla="*/ 9062911 w 9310410"/>
              <a:gd name="connsiteY7979" fmla="*/ 3214506 h 5296383"/>
              <a:gd name="connsiteX7980" fmla="*/ 9065907 w 9310410"/>
              <a:gd name="connsiteY7980" fmla="*/ 3220498 h 5296383"/>
              <a:gd name="connsiteX7981" fmla="*/ 9069503 w 9310410"/>
              <a:gd name="connsiteY7981" fmla="*/ 3203719 h 5296383"/>
              <a:gd name="connsiteX7982" fmla="*/ 9083885 w 9310410"/>
              <a:gd name="connsiteY7982" fmla="*/ 3197127 h 5296383"/>
              <a:gd name="connsiteX7983" fmla="*/ 9088080 w 9310410"/>
              <a:gd name="connsiteY7983" fmla="*/ 3192332 h 5296383"/>
              <a:gd name="connsiteX7984" fmla="*/ 9092275 w 9310410"/>
              <a:gd name="connsiteY7984" fmla="*/ 3192932 h 5296383"/>
              <a:gd name="connsiteX7985" fmla="*/ 9094672 w 9310410"/>
              <a:gd name="connsiteY7985" fmla="*/ 3190535 h 5296383"/>
              <a:gd name="connsiteX7986" fmla="*/ 9105459 w 9310410"/>
              <a:gd name="connsiteY7986" fmla="*/ 3192932 h 5296383"/>
              <a:gd name="connsiteX7987" fmla="*/ 9118044 w 9310410"/>
              <a:gd name="connsiteY7987" fmla="*/ 3202520 h 5296383"/>
              <a:gd name="connsiteX7988" fmla="*/ 9122838 w 9310410"/>
              <a:gd name="connsiteY7988" fmla="*/ 3201321 h 5296383"/>
              <a:gd name="connsiteX7989" fmla="*/ 9126434 w 9310410"/>
              <a:gd name="connsiteY7989" fmla="*/ 3203120 h 5296383"/>
              <a:gd name="connsiteX7990" fmla="*/ 9136022 w 9310410"/>
              <a:gd name="connsiteY7990" fmla="*/ 3205516 h 5296383"/>
              <a:gd name="connsiteX7991" fmla="*/ 9158795 w 9310410"/>
              <a:gd name="connsiteY7991" fmla="*/ 3209711 h 5296383"/>
              <a:gd name="connsiteX7992" fmla="*/ 9174376 w 9310410"/>
              <a:gd name="connsiteY7992" fmla="*/ 3214506 h 5296383"/>
              <a:gd name="connsiteX7993" fmla="*/ 9186960 w 9310410"/>
              <a:gd name="connsiteY7993" fmla="*/ 3223495 h 5296383"/>
              <a:gd name="connsiteX7994" fmla="*/ 9197148 w 9310410"/>
              <a:gd name="connsiteY7994" fmla="*/ 3230686 h 5296383"/>
              <a:gd name="connsiteX7995" fmla="*/ 9200744 w 9310410"/>
              <a:gd name="connsiteY7995" fmla="*/ 3237877 h 5296383"/>
              <a:gd name="connsiteX7996" fmla="*/ 9204938 w 9310410"/>
              <a:gd name="connsiteY7996" fmla="*/ 3244469 h 5296383"/>
              <a:gd name="connsiteX7997" fmla="*/ 9219920 w 9310410"/>
              <a:gd name="connsiteY7997" fmla="*/ 3264245 h 5296383"/>
              <a:gd name="connsiteX7998" fmla="*/ 9233105 w 9310410"/>
              <a:gd name="connsiteY7998" fmla="*/ 3288816 h 5296383"/>
              <a:gd name="connsiteX7999" fmla="*/ 9239697 w 9310410"/>
              <a:gd name="connsiteY7999" fmla="*/ 3300801 h 5296383"/>
              <a:gd name="connsiteX8000" fmla="*/ 9244490 w 9310410"/>
              <a:gd name="connsiteY8000" fmla="*/ 3310989 h 5296383"/>
              <a:gd name="connsiteX8001" fmla="*/ 9248686 w 9310410"/>
              <a:gd name="connsiteY8001" fmla="*/ 3315183 h 5296383"/>
              <a:gd name="connsiteX8002" fmla="*/ 9257076 w 9310410"/>
              <a:gd name="connsiteY8002" fmla="*/ 3319978 h 5296383"/>
              <a:gd name="connsiteX8003" fmla="*/ 9275054 w 9310410"/>
              <a:gd name="connsiteY8003" fmla="*/ 3321776 h 5296383"/>
              <a:gd name="connsiteX8004" fmla="*/ 9285840 w 9310410"/>
              <a:gd name="connsiteY8004" fmla="*/ 3344548 h 5296383"/>
              <a:gd name="connsiteX8005" fmla="*/ 9290036 w 9310410"/>
              <a:gd name="connsiteY8005" fmla="*/ 3393689 h 5296383"/>
              <a:gd name="connsiteX8006" fmla="*/ 9287039 w 9310410"/>
              <a:gd name="connsiteY8006" fmla="*/ 3416461 h 5296383"/>
              <a:gd name="connsiteX8007" fmla="*/ 9288837 w 9310410"/>
              <a:gd name="connsiteY8007" fmla="*/ 3420056 h 5296383"/>
              <a:gd name="connsiteX8008" fmla="*/ 9277450 w 9310410"/>
              <a:gd name="connsiteY8008" fmla="*/ 3420656 h 5296383"/>
              <a:gd name="connsiteX8009" fmla="*/ 7983619 w 9310410"/>
              <a:gd name="connsiteY8009" fmla="*/ 2455226 h 5296383"/>
              <a:gd name="connsiteX8010" fmla="*/ 7986615 w 9310410"/>
              <a:gd name="connsiteY8010" fmla="*/ 2454626 h 5296383"/>
              <a:gd name="connsiteX8011" fmla="*/ 7983619 w 9310410"/>
              <a:gd name="connsiteY8011" fmla="*/ 2455226 h 5296383"/>
              <a:gd name="connsiteX8012" fmla="*/ 8400114 w 9310410"/>
              <a:gd name="connsiteY8012" fmla="*/ 4395675 h 5296383"/>
              <a:gd name="connsiteX8013" fmla="*/ 8404309 w 9310410"/>
              <a:gd name="connsiteY8013" fmla="*/ 4394476 h 5296383"/>
              <a:gd name="connsiteX8014" fmla="*/ 8404309 w 9310410"/>
              <a:gd name="connsiteY8014" fmla="*/ 4390880 h 5296383"/>
              <a:gd name="connsiteX8015" fmla="*/ 8403709 w 9310410"/>
              <a:gd name="connsiteY8015" fmla="*/ 4390880 h 5296383"/>
              <a:gd name="connsiteX8016" fmla="*/ 8398915 w 9310410"/>
              <a:gd name="connsiteY8016" fmla="*/ 4395075 h 5296383"/>
              <a:gd name="connsiteX8017" fmla="*/ 8400114 w 9310410"/>
              <a:gd name="connsiteY8017" fmla="*/ 4395675 h 5296383"/>
              <a:gd name="connsiteX8018" fmla="*/ 8010586 w 9310410"/>
              <a:gd name="connsiteY8018" fmla="*/ 2621824 h 5296383"/>
              <a:gd name="connsiteX8019" fmla="*/ 8012384 w 9310410"/>
              <a:gd name="connsiteY8019" fmla="*/ 2623022 h 5296383"/>
              <a:gd name="connsiteX8020" fmla="*/ 8010586 w 9310410"/>
              <a:gd name="connsiteY8020" fmla="*/ 2621824 h 5296383"/>
              <a:gd name="connsiteX8021" fmla="*/ 8128643 w 9310410"/>
              <a:gd name="connsiteY8021" fmla="*/ 2315595 h 5296383"/>
              <a:gd name="connsiteX8022" fmla="*/ 8113661 w 9310410"/>
              <a:gd name="connsiteY8022" fmla="*/ 2305407 h 5296383"/>
              <a:gd name="connsiteX8023" fmla="*/ 8099877 w 9310410"/>
              <a:gd name="connsiteY8023" fmla="*/ 2303010 h 5296383"/>
              <a:gd name="connsiteX8024" fmla="*/ 8080102 w 9310410"/>
              <a:gd name="connsiteY8024" fmla="*/ 2310201 h 5296383"/>
              <a:gd name="connsiteX8025" fmla="*/ 8081300 w 9310410"/>
              <a:gd name="connsiteY8025" fmla="*/ 2317393 h 5296383"/>
              <a:gd name="connsiteX8026" fmla="*/ 8086694 w 9310410"/>
              <a:gd name="connsiteY8026" fmla="*/ 2316793 h 5296383"/>
              <a:gd name="connsiteX8027" fmla="*/ 8093885 w 9310410"/>
              <a:gd name="connsiteY8027" fmla="*/ 2323385 h 5296383"/>
              <a:gd name="connsiteX8028" fmla="*/ 8100477 w 9310410"/>
              <a:gd name="connsiteY8028" fmla="*/ 2327580 h 5296383"/>
              <a:gd name="connsiteX8029" fmla="*/ 8107668 w 9310410"/>
              <a:gd name="connsiteY8029" fmla="*/ 2328179 h 5296383"/>
              <a:gd name="connsiteX8030" fmla="*/ 8112463 w 9310410"/>
              <a:gd name="connsiteY8030" fmla="*/ 2328779 h 5296383"/>
              <a:gd name="connsiteX8031" fmla="*/ 8114260 w 9310410"/>
              <a:gd name="connsiteY8031" fmla="*/ 2320389 h 5296383"/>
              <a:gd name="connsiteX8032" fmla="*/ 8122051 w 9310410"/>
              <a:gd name="connsiteY8032" fmla="*/ 2323985 h 5296383"/>
              <a:gd name="connsiteX8033" fmla="*/ 8130441 w 9310410"/>
              <a:gd name="connsiteY8033" fmla="*/ 2328179 h 5296383"/>
              <a:gd name="connsiteX8034" fmla="*/ 8132837 w 9310410"/>
              <a:gd name="connsiteY8034" fmla="*/ 2323385 h 5296383"/>
              <a:gd name="connsiteX8035" fmla="*/ 8128643 w 9310410"/>
              <a:gd name="connsiteY8035" fmla="*/ 2315595 h 5296383"/>
              <a:gd name="connsiteX8036" fmla="*/ 8352172 w 9310410"/>
              <a:gd name="connsiteY8036" fmla="*/ 2289826 h 5296383"/>
              <a:gd name="connsiteX8037" fmla="*/ 8355768 w 9310410"/>
              <a:gd name="connsiteY8037" fmla="*/ 2295819 h 5296383"/>
              <a:gd name="connsiteX8038" fmla="*/ 8366554 w 9310410"/>
              <a:gd name="connsiteY8038" fmla="*/ 2294021 h 5296383"/>
              <a:gd name="connsiteX8039" fmla="*/ 8377342 w 9310410"/>
              <a:gd name="connsiteY8039" fmla="*/ 2293422 h 5296383"/>
              <a:gd name="connsiteX8040" fmla="*/ 8385732 w 9310410"/>
              <a:gd name="connsiteY8040" fmla="*/ 2292223 h 5296383"/>
              <a:gd name="connsiteX8041" fmla="*/ 8388728 w 9310410"/>
              <a:gd name="connsiteY8041" fmla="*/ 2286230 h 5296383"/>
              <a:gd name="connsiteX8042" fmla="*/ 8389926 w 9310410"/>
              <a:gd name="connsiteY8042" fmla="*/ 2281436 h 5296383"/>
              <a:gd name="connsiteX8043" fmla="*/ 8389327 w 9310410"/>
              <a:gd name="connsiteY8043" fmla="*/ 2273046 h 5296383"/>
              <a:gd name="connsiteX8044" fmla="*/ 8377342 w 9310410"/>
              <a:gd name="connsiteY8044" fmla="*/ 2270649 h 5296383"/>
              <a:gd name="connsiteX8045" fmla="*/ 8364757 w 9310410"/>
              <a:gd name="connsiteY8045" fmla="*/ 2272447 h 5296383"/>
              <a:gd name="connsiteX8046" fmla="*/ 8352771 w 9310410"/>
              <a:gd name="connsiteY8046" fmla="*/ 2274844 h 5296383"/>
              <a:gd name="connsiteX8047" fmla="*/ 8350374 w 9310410"/>
              <a:gd name="connsiteY8047" fmla="*/ 2282035 h 5296383"/>
              <a:gd name="connsiteX8048" fmla="*/ 8352172 w 9310410"/>
              <a:gd name="connsiteY8048" fmla="*/ 2289826 h 5296383"/>
              <a:gd name="connsiteX8049" fmla="*/ 8583492 w 9310410"/>
              <a:gd name="connsiteY8049" fmla="*/ 2609239 h 5296383"/>
              <a:gd name="connsiteX8050" fmla="*/ 8576900 w 9310410"/>
              <a:gd name="connsiteY8050" fmla="*/ 2621824 h 5296383"/>
              <a:gd name="connsiteX8051" fmla="*/ 8582893 w 9310410"/>
              <a:gd name="connsiteY8051" fmla="*/ 2624820 h 5296383"/>
              <a:gd name="connsiteX8052" fmla="*/ 8593679 w 9310410"/>
              <a:gd name="connsiteY8052" fmla="*/ 2621824 h 5296383"/>
              <a:gd name="connsiteX8053" fmla="*/ 8594278 w 9310410"/>
              <a:gd name="connsiteY8053" fmla="*/ 2606842 h 5296383"/>
              <a:gd name="connsiteX8054" fmla="*/ 8593679 w 9310410"/>
              <a:gd name="connsiteY8054" fmla="*/ 2591860 h 5296383"/>
              <a:gd name="connsiteX8055" fmla="*/ 8590683 w 9310410"/>
              <a:gd name="connsiteY8055" fmla="*/ 2587066 h 5296383"/>
              <a:gd name="connsiteX8056" fmla="*/ 8576300 w 9310410"/>
              <a:gd name="connsiteY8056" fmla="*/ 2589463 h 5296383"/>
              <a:gd name="connsiteX8057" fmla="*/ 8575701 w 9310410"/>
              <a:gd name="connsiteY8057" fmla="*/ 2597853 h 5296383"/>
              <a:gd name="connsiteX8058" fmla="*/ 8583492 w 9310410"/>
              <a:gd name="connsiteY8058" fmla="*/ 2609239 h 5296383"/>
              <a:gd name="connsiteX8059" fmla="*/ 7896124 w 9310410"/>
              <a:gd name="connsiteY8059" fmla="*/ 5191511 h 5296383"/>
              <a:gd name="connsiteX8060" fmla="*/ 7890731 w 9310410"/>
              <a:gd name="connsiteY8060" fmla="*/ 5184918 h 5296383"/>
              <a:gd name="connsiteX8061" fmla="*/ 7883540 w 9310410"/>
              <a:gd name="connsiteY8061" fmla="*/ 5180724 h 5296383"/>
              <a:gd name="connsiteX8062" fmla="*/ 7878146 w 9310410"/>
              <a:gd name="connsiteY8062" fmla="*/ 5175929 h 5296383"/>
              <a:gd name="connsiteX8063" fmla="*/ 7877547 w 9310410"/>
              <a:gd name="connsiteY8063" fmla="*/ 5185518 h 5296383"/>
              <a:gd name="connsiteX8064" fmla="*/ 7864962 w 9310410"/>
              <a:gd name="connsiteY8064" fmla="*/ 5192709 h 5296383"/>
              <a:gd name="connsiteX8065" fmla="*/ 7865561 w 9310410"/>
              <a:gd name="connsiteY8065" fmla="*/ 5196305 h 5296383"/>
              <a:gd name="connsiteX8066" fmla="*/ 7869157 w 9310410"/>
              <a:gd name="connsiteY8066" fmla="*/ 5196904 h 5296383"/>
              <a:gd name="connsiteX8067" fmla="*/ 7858370 w 9310410"/>
              <a:gd name="connsiteY8067" fmla="*/ 5201099 h 5296383"/>
              <a:gd name="connsiteX8068" fmla="*/ 7848782 w 9310410"/>
              <a:gd name="connsiteY8068" fmla="*/ 5206492 h 5296383"/>
              <a:gd name="connsiteX8069" fmla="*/ 7852977 w 9310410"/>
              <a:gd name="connsiteY8069" fmla="*/ 5210687 h 5296383"/>
              <a:gd name="connsiteX8070" fmla="*/ 7858370 w 9310410"/>
              <a:gd name="connsiteY8070" fmla="*/ 5211287 h 5296383"/>
              <a:gd name="connsiteX8071" fmla="*/ 7862565 w 9310410"/>
              <a:gd name="connsiteY8071" fmla="*/ 5208889 h 5296383"/>
              <a:gd name="connsiteX8072" fmla="*/ 7866760 w 9310410"/>
              <a:gd name="connsiteY8072" fmla="*/ 5205893 h 5296383"/>
              <a:gd name="connsiteX8073" fmla="*/ 7876349 w 9310410"/>
              <a:gd name="connsiteY8073" fmla="*/ 5204695 h 5296383"/>
              <a:gd name="connsiteX8074" fmla="*/ 7896124 w 9310410"/>
              <a:gd name="connsiteY8074" fmla="*/ 5191511 h 5296383"/>
              <a:gd name="connsiteX8075" fmla="*/ 7924291 w 9310410"/>
              <a:gd name="connsiteY8075" fmla="*/ 5191511 h 5296383"/>
              <a:gd name="connsiteX8076" fmla="*/ 7916500 w 9310410"/>
              <a:gd name="connsiteY8076" fmla="*/ 5196904 h 5296383"/>
              <a:gd name="connsiteX8077" fmla="*/ 7916500 w 9310410"/>
              <a:gd name="connsiteY8077" fmla="*/ 5188514 h 5296383"/>
              <a:gd name="connsiteX8078" fmla="*/ 7917099 w 9310410"/>
              <a:gd name="connsiteY8078" fmla="*/ 5183121 h 5296383"/>
              <a:gd name="connsiteX8079" fmla="*/ 7910507 w 9310410"/>
              <a:gd name="connsiteY8079" fmla="*/ 5184319 h 5296383"/>
              <a:gd name="connsiteX8080" fmla="*/ 7902117 w 9310410"/>
              <a:gd name="connsiteY8080" fmla="*/ 5192709 h 5296383"/>
              <a:gd name="connsiteX8081" fmla="*/ 7896124 w 9310410"/>
              <a:gd name="connsiteY8081" fmla="*/ 5199900 h 5296383"/>
              <a:gd name="connsiteX8082" fmla="*/ 7890132 w 9310410"/>
              <a:gd name="connsiteY8082" fmla="*/ 5202297 h 5296383"/>
              <a:gd name="connsiteX8083" fmla="*/ 7881742 w 9310410"/>
              <a:gd name="connsiteY8083" fmla="*/ 5205893 h 5296383"/>
              <a:gd name="connsiteX8084" fmla="*/ 7873951 w 9310410"/>
              <a:gd name="connsiteY8084" fmla="*/ 5210687 h 5296383"/>
              <a:gd name="connsiteX8085" fmla="*/ 7872753 w 9310410"/>
              <a:gd name="connsiteY8085" fmla="*/ 5218478 h 5296383"/>
              <a:gd name="connsiteX8086" fmla="*/ 7875150 w 9310410"/>
              <a:gd name="connsiteY8086" fmla="*/ 5221474 h 5296383"/>
              <a:gd name="connsiteX8087" fmla="*/ 7878146 w 9310410"/>
              <a:gd name="connsiteY8087" fmla="*/ 5219077 h 5296383"/>
              <a:gd name="connsiteX8088" fmla="*/ 7879944 w 9310410"/>
              <a:gd name="connsiteY8088" fmla="*/ 5216680 h 5296383"/>
              <a:gd name="connsiteX8089" fmla="*/ 7882341 w 9310410"/>
              <a:gd name="connsiteY8089" fmla="*/ 5212485 h 5296383"/>
              <a:gd name="connsiteX8090" fmla="*/ 7886536 w 9310410"/>
              <a:gd name="connsiteY8090" fmla="*/ 5214283 h 5296383"/>
              <a:gd name="connsiteX8091" fmla="*/ 7893728 w 9310410"/>
              <a:gd name="connsiteY8091" fmla="*/ 5216081 h 5296383"/>
              <a:gd name="connsiteX8092" fmla="*/ 7893728 w 9310410"/>
              <a:gd name="connsiteY8092" fmla="*/ 5208889 h 5296383"/>
              <a:gd name="connsiteX8093" fmla="*/ 7894327 w 9310410"/>
              <a:gd name="connsiteY8093" fmla="*/ 5204695 h 5296383"/>
              <a:gd name="connsiteX8094" fmla="*/ 7900919 w 9310410"/>
              <a:gd name="connsiteY8094" fmla="*/ 5208889 h 5296383"/>
              <a:gd name="connsiteX8095" fmla="*/ 7912904 w 9310410"/>
              <a:gd name="connsiteY8095" fmla="*/ 5204695 h 5296383"/>
              <a:gd name="connsiteX8096" fmla="*/ 7927287 w 9310410"/>
              <a:gd name="connsiteY8096" fmla="*/ 5196904 h 5296383"/>
              <a:gd name="connsiteX8097" fmla="*/ 7924291 w 9310410"/>
              <a:gd name="connsiteY8097" fmla="*/ 5191511 h 5296383"/>
              <a:gd name="connsiteX8098" fmla="*/ 8139430 w 9310410"/>
              <a:gd name="connsiteY8098" fmla="*/ 3197127 h 5296383"/>
              <a:gd name="connsiteX8099" fmla="*/ 8141827 w 9310410"/>
              <a:gd name="connsiteY8099" fmla="*/ 3202520 h 5296383"/>
              <a:gd name="connsiteX8100" fmla="*/ 8144224 w 9310410"/>
              <a:gd name="connsiteY8100" fmla="*/ 3199524 h 5296383"/>
              <a:gd name="connsiteX8101" fmla="*/ 8149617 w 9310410"/>
              <a:gd name="connsiteY8101" fmla="*/ 3195928 h 5296383"/>
              <a:gd name="connsiteX8102" fmla="*/ 8149018 w 9310410"/>
              <a:gd name="connsiteY8102" fmla="*/ 3192932 h 5296383"/>
              <a:gd name="connsiteX8103" fmla="*/ 8139430 w 9310410"/>
              <a:gd name="connsiteY8103" fmla="*/ 3197127 h 5296383"/>
              <a:gd name="connsiteX8104" fmla="*/ 8503189 w 9310410"/>
              <a:gd name="connsiteY8104" fmla="*/ 2594856 h 5296383"/>
              <a:gd name="connsiteX8105" fmla="*/ 8516373 w 9310410"/>
              <a:gd name="connsiteY8105" fmla="*/ 2589463 h 5296383"/>
              <a:gd name="connsiteX8106" fmla="*/ 8512178 w 9310410"/>
              <a:gd name="connsiteY8106" fmla="*/ 2584069 h 5296383"/>
              <a:gd name="connsiteX8107" fmla="*/ 8510380 w 9310410"/>
              <a:gd name="connsiteY8107" fmla="*/ 2588864 h 5296383"/>
              <a:gd name="connsiteX8108" fmla="*/ 8507983 w 9310410"/>
              <a:gd name="connsiteY8108" fmla="*/ 2591261 h 5296383"/>
              <a:gd name="connsiteX8109" fmla="*/ 8501991 w 9310410"/>
              <a:gd name="connsiteY8109" fmla="*/ 2589463 h 5296383"/>
              <a:gd name="connsiteX8110" fmla="*/ 8499593 w 9310410"/>
              <a:gd name="connsiteY8110" fmla="*/ 2591261 h 5296383"/>
              <a:gd name="connsiteX8111" fmla="*/ 8503189 w 9310410"/>
              <a:gd name="connsiteY8111" fmla="*/ 2594856 h 5296383"/>
              <a:gd name="connsiteX8112" fmla="*/ 8369551 w 9310410"/>
              <a:gd name="connsiteY8112" fmla="*/ 2542720 h 5296383"/>
              <a:gd name="connsiteX8113" fmla="*/ 8371948 w 9310410"/>
              <a:gd name="connsiteY8113" fmla="*/ 2549911 h 5296383"/>
              <a:gd name="connsiteX8114" fmla="*/ 8374944 w 9310410"/>
              <a:gd name="connsiteY8114" fmla="*/ 2547514 h 5296383"/>
              <a:gd name="connsiteX8115" fmla="*/ 8369551 w 9310410"/>
              <a:gd name="connsiteY8115" fmla="*/ 2542720 h 5296383"/>
              <a:gd name="connsiteX8116" fmla="*/ 8866349 w 9310410"/>
              <a:gd name="connsiteY8116" fmla="*/ 2888501 h 5296383"/>
              <a:gd name="connsiteX8117" fmla="*/ 8865150 w 9310410"/>
              <a:gd name="connsiteY8117" fmla="*/ 2888501 h 5296383"/>
              <a:gd name="connsiteX8118" fmla="*/ 8866349 w 9310410"/>
              <a:gd name="connsiteY8118" fmla="*/ 2888501 h 5296383"/>
              <a:gd name="connsiteX8119" fmla="*/ 3393780 w 9310410"/>
              <a:gd name="connsiteY8119" fmla="*/ 2416872 h 5296383"/>
              <a:gd name="connsiteX8120" fmla="*/ 3391382 w 9310410"/>
              <a:gd name="connsiteY8120" fmla="*/ 2416872 h 5296383"/>
              <a:gd name="connsiteX8121" fmla="*/ 3380596 w 9310410"/>
              <a:gd name="connsiteY8121" fmla="*/ 2417471 h 5296383"/>
              <a:gd name="connsiteX8122" fmla="*/ 3378198 w 9310410"/>
              <a:gd name="connsiteY8122" fmla="*/ 2417471 h 5296383"/>
              <a:gd name="connsiteX8123" fmla="*/ 3364415 w 9310410"/>
              <a:gd name="connsiteY8123" fmla="*/ 2419269 h 5296383"/>
              <a:gd name="connsiteX8124" fmla="*/ 3363216 w 9310410"/>
              <a:gd name="connsiteY8124" fmla="*/ 2419868 h 5296383"/>
              <a:gd name="connsiteX8125" fmla="*/ 3356025 w 9310410"/>
              <a:gd name="connsiteY8125" fmla="*/ 2421067 h 5296383"/>
              <a:gd name="connsiteX8126" fmla="*/ 3354227 w 9310410"/>
              <a:gd name="connsiteY8126" fmla="*/ 2421067 h 5296383"/>
              <a:gd name="connsiteX8127" fmla="*/ 3351830 w 9310410"/>
              <a:gd name="connsiteY8127" fmla="*/ 2424663 h 5296383"/>
              <a:gd name="connsiteX8128" fmla="*/ 3350032 w 9310410"/>
              <a:gd name="connsiteY8128" fmla="*/ 2427659 h 5296383"/>
              <a:gd name="connsiteX8129" fmla="*/ 3348235 w 9310410"/>
              <a:gd name="connsiteY8129" fmla="*/ 2428858 h 5296383"/>
              <a:gd name="connsiteX8130" fmla="*/ 3347036 w 9310410"/>
              <a:gd name="connsiteY8130" fmla="*/ 2429457 h 5296383"/>
              <a:gd name="connsiteX8131" fmla="*/ 3346437 w 9310410"/>
              <a:gd name="connsiteY8131" fmla="*/ 2430056 h 5296383"/>
              <a:gd name="connsiteX8132" fmla="*/ 3343440 w 9310410"/>
              <a:gd name="connsiteY8132" fmla="*/ 2432453 h 5296383"/>
              <a:gd name="connsiteX8133" fmla="*/ 3339845 w 9310410"/>
              <a:gd name="connsiteY8133" fmla="*/ 2435449 h 5296383"/>
              <a:gd name="connsiteX8134" fmla="*/ 3338047 w 9310410"/>
              <a:gd name="connsiteY8134" fmla="*/ 2437847 h 5296383"/>
              <a:gd name="connsiteX8135" fmla="*/ 3335650 w 9310410"/>
              <a:gd name="connsiteY8135" fmla="*/ 2444439 h 5296383"/>
              <a:gd name="connsiteX8136" fmla="*/ 3335050 w 9310410"/>
              <a:gd name="connsiteY8136" fmla="*/ 2448633 h 5296383"/>
              <a:gd name="connsiteX8137" fmla="*/ 3335050 w 9310410"/>
              <a:gd name="connsiteY8137" fmla="*/ 2457023 h 5296383"/>
              <a:gd name="connsiteX8138" fmla="*/ 3335650 w 9310410"/>
              <a:gd name="connsiteY8138" fmla="*/ 2460020 h 5296383"/>
              <a:gd name="connsiteX8139" fmla="*/ 3337448 w 9310410"/>
              <a:gd name="connsiteY8139" fmla="*/ 2462417 h 5296383"/>
              <a:gd name="connsiteX8140" fmla="*/ 3342841 w 9310410"/>
              <a:gd name="connsiteY8140" fmla="*/ 2465413 h 5296383"/>
              <a:gd name="connsiteX8141" fmla="*/ 3346437 w 9310410"/>
              <a:gd name="connsiteY8141" fmla="*/ 2466612 h 5296383"/>
              <a:gd name="connsiteX8142" fmla="*/ 3350632 w 9310410"/>
              <a:gd name="connsiteY8142" fmla="*/ 2467211 h 5296383"/>
              <a:gd name="connsiteX8143" fmla="*/ 3360220 w 9310410"/>
              <a:gd name="connsiteY8143" fmla="*/ 2469009 h 5296383"/>
              <a:gd name="connsiteX8144" fmla="*/ 3362018 w 9310410"/>
              <a:gd name="connsiteY8144" fmla="*/ 2467810 h 5296383"/>
              <a:gd name="connsiteX8145" fmla="*/ 3363216 w 9310410"/>
              <a:gd name="connsiteY8145" fmla="*/ 2466612 h 5296383"/>
              <a:gd name="connsiteX8146" fmla="*/ 3365014 w 9310410"/>
              <a:gd name="connsiteY8146" fmla="*/ 2465413 h 5296383"/>
              <a:gd name="connsiteX8147" fmla="*/ 3381195 w 9310410"/>
              <a:gd name="connsiteY8147" fmla="*/ 2458222 h 5296383"/>
              <a:gd name="connsiteX8148" fmla="*/ 3385390 w 9310410"/>
              <a:gd name="connsiteY8148" fmla="*/ 2452828 h 5296383"/>
              <a:gd name="connsiteX8149" fmla="*/ 3384191 w 9310410"/>
              <a:gd name="connsiteY8149" fmla="*/ 2450431 h 5296383"/>
              <a:gd name="connsiteX8150" fmla="*/ 3385989 w 9310410"/>
              <a:gd name="connsiteY8150" fmla="*/ 2448633 h 5296383"/>
              <a:gd name="connsiteX8151" fmla="*/ 3388985 w 9310410"/>
              <a:gd name="connsiteY8151" fmla="*/ 2445637 h 5296383"/>
              <a:gd name="connsiteX8152" fmla="*/ 3391382 w 9310410"/>
              <a:gd name="connsiteY8152" fmla="*/ 2440244 h 5296383"/>
              <a:gd name="connsiteX8153" fmla="*/ 3400371 w 9310410"/>
              <a:gd name="connsiteY8153" fmla="*/ 2429457 h 5296383"/>
              <a:gd name="connsiteX8154" fmla="*/ 3403967 w 9310410"/>
              <a:gd name="connsiteY8154" fmla="*/ 2418670 h 5296383"/>
              <a:gd name="connsiteX8155" fmla="*/ 3403368 w 9310410"/>
              <a:gd name="connsiteY8155" fmla="*/ 2416872 h 5296383"/>
              <a:gd name="connsiteX8156" fmla="*/ 3399173 w 9310410"/>
              <a:gd name="connsiteY8156" fmla="*/ 2413276 h 5296383"/>
              <a:gd name="connsiteX8157" fmla="*/ 3397375 w 9310410"/>
              <a:gd name="connsiteY8157" fmla="*/ 2415074 h 5296383"/>
              <a:gd name="connsiteX8158" fmla="*/ 3393780 w 9310410"/>
              <a:gd name="connsiteY8158" fmla="*/ 2416872 h 5296383"/>
              <a:gd name="connsiteX8159" fmla="*/ 3664651 w 9310410"/>
              <a:gd name="connsiteY8159" fmla="*/ 2328779 h 5296383"/>
              <a:gd name="connsiteX8160" fmla="*/ 3673640 w 9310410"/>
              <a:gd name="connsiteY8160" fmla="*/ 2343761 h 5296383"/>
              <a:gd name="connsiteX8161" fmla="*/ 3676637 w 9310410"/>
              <a:gd name="connsiteY8161" fmla="*/ 2349753 h 5296383"/>
              <a:gd name="connsiteX8162" fmla="*/ 3679034 w 9310410"/>
              <a:gd name="connsiteY8162" fmla="*/ 2356945 h 5296383"/>
              <a:gd name="connsiteX8163" fmla="*/ 3682030 w 9310410"/>
              <a:gd name="connsiteY8163" fmla="*/ 2352150 h 5296383"/>
              <a:gd name="connsiteX8164" fmla="*/ 3689222 w 9310410"/>
              <a:gd name="connsiteY8164" fmla="*/ 2329378 h 5296383"/>
              <a:gd name="connsiteX8165" fmla="*/ 3705402 w 9310410"/>
              <a:gd name="connsiteY8165" fmla="*/ 2307205 h 5296383"/>
              <a:gd name="connsiteX8166" fmla="*/ 3708998 w 9310410"/>
              <a:gd name="connsiteY8166" fmla="*/ 2292223 h 5296383"/>
              <a:gd name="connsiteX8167" fmla="*/ 3716788 w 9310410"/>
              <a:gd name="connsiteY8167" fmla="*/ 2272447 h 5296383"/>
              <a:gd name="connsiteX8168" fmla="*/ 3720983 w 9310410"/>
              <a:gd name="connsiteY8168" fmla="*/ 2258664 h 5296383"/>
              <a:gd name="connsiteX8169" fmla="*/ 3722781 w 9310410"/>
              <a:gd name="connsiteY8169" fmla="*/ 2249075 h 5296383"/>
              <a:gd name="connsiteX8170" fmla="*/ 3718586 w 9310410"/>
              <a:gd name="connsiteY8170" fmla="*/ 2241285 h 5296383"/>
              <a:gd name="connsiteX8171" fmla="*/ 3706600 w 9310410"/>
              <a:gd name="connsiteY8171" fmla="*/ 2240685 h 5296383"/>
              <a:gd name="connsiteX8172" fmla="*/ 3685626 w 9310410"/>
              <a:gd name="connsiteY8172" fmla="*/ 2262859 h 5296383"/>
              <a:gd name="connsiteX8173" fmla="*/ 3667648 w 9310410"/>
              <a:gd name="connsiteY8173" fmla="*/ 2299414 h 5296383"/>
              <a:gd name="connsiteX8174" fmla="*/ 3666449 w 9310410"/>
              <a:gd name="connsiteY8174" fmla="*/ 2310800 h 5296383"/>
              <a:gd name="connsiteX8175" fmla="*/ 3664651 w 9310410"/>
              <a:gd name="connsiteY8175" fmla="*/ 2328779 h 5296383"/>
              <a:gd name="connsiteX8176" fmla="*/ 1545019 w 9310410"/>
              <a:gd name="connsiteY8176" fmla="*/ 807821 h 5296383"/>
              <a:gd name="connsiteX8177" fmla="*/ 1545019 w 9310410"/>
              <a:gd name="connsiteY8177" fmla="*/ 811417 h 5296383"/>
              <a:gd name="connsiteX8178" fmla="*/ 1549214 w 9310410"/>
              <a:gd name="connsiteY8178" fmla="*/ 809020 h 5296383"/>
              <a:gd name="connsiteX8179" fmla="*/ 1545019 w 9310410"/>
              <a:gd name="connsiteY8179" fmla="*/ 807821 h 5296383"/>
              <a:gd name="connsiteX8180" fmla="*/ 1482695 w 9310410"/>
              <a:gd name="connsiteY8180" fmla="*/ 714335 h 5296383"/>
              <a:gd name="connsiteX8181" fmla="*/ 1482096 w 9310410"/>
              <a:gd name="connsiteY8181" fmla="*/ 720327 h 5296383"/>
              <a:gd name="connsiteX8182" fmla="*/ 1486291 w 9310410"/>
              <a:gd name="connsiteY8182" fmla="*/ 714934 h 5296383"/>
              <a:gd name="connsiteX8183" fmla="*/ 1482695 w 9310410"/>
              <a:gd name="connsiteY8183" fmla="*/ 714335 h 5296383"/>
              <a:gd name="connsiteX8184" fmla="*/ 7353781 w 9310410"/>
              <a:gd name="connsiteY8184" fmla="*/ 304431 h 5296383"/>
              <a:gd name="connsiteX8185" fmla="*/ 7357977 w 9310410"/>
              <a:gd name="connsiteY8185" fmla="*/ 303832 h 5296383"/>
              <a:gd name="connsiteX8186" fmla="*/ 7359774 w 9310410"/>
              <a:gd name="connsiteY8186" fmla="*/ 299637 h 5296383"/>
              <a:gd name="connsiteX8187" fmla="*/ 7352583 w 9310410"/>
              <a:gd name="connsiteY8187" fmla="*/ 298438 h 5296383"/>
              <a:gd name="connsiteX8188" fmla="*/ 7353781 w 9310410"/>
              <a:gd name="connsiteY8188" fmla="*/ 304431 h 5296383"/>
              <a:gd name="connsiteX8189" fmla="*/ 7434683 w 9310410"/>
              <a:gd name="connsiteY8189" fmla="*/ 339189 h 5296383"/>
              <a:gd name="connsiteX8190" fmla="*/ 7438280 w 9310410"/>
              <a:gd name="connsiteY8190" fmla="*/ 338590 h 5296383"/>
              <a:gd name="connsiteX8191" fmla="*/ 7434084 w 9310410"/>
              <a:gd name="connsiteY8191" fmla="*/ 333196 h 5296383"/>
              <a:gd name="connsiteX8192" fmla="*/ 7431088 w 9310410"/>
              <a:gd name="connsiteY8192" fmla="*/ 333196 h 5296383"/>
              <a:gd name="connsiteX8193" fmla="*/ 7434683 w 9310410"/>
              <a:gd name="connsiteY8193" fmla="*/ 339189 h 5296383"/>
              <a:gd name="connsiteX8194" fmla="*/ 7211754 w 9310410"/>
              <a:gd name="connsiteY8194" fmla="*/ 251695 h 5296383"/>
              <a:gd name="connsiteX8195" fmla="*/ 7218346 w 9310410"/>
              <a:gd name="connsiteY8195" fmla="*/ 248099 h 5296383"/>
              <a:gd name="connsiteX8196" fmla="*/ 7211754 w 9310410"/>
              <a:gd name="connsiteY8196" fmla="*/ 243904 h 5296383"/>
              <a:gd name="connsiteX8197" fmla="*/ 7210555 w 9310410"/>
              <a:gd name="connsiteY8197" fmla="*/ 248099 h 5296383"/>
              <a:gd name="connsiteX8198" fmla="*/ 7211754 w 9310410"/>
              <a:gd name="connsiteY8198" fmla="*/ 251695 h 5296383"/>
              <a:gd name="connsiteX8199" fmla="*/ 7442474 w 9310410"/>
              <a:gd name="connsiteY8199" fmla="*/ 382936 h 5296383"/>
              <a:gd name="connsiteX8200" fmla="*/ 7445471 w 9310410"/>
              <a:gd name="connsiteY8200" fmla="*/ 375146 h 5296383"/>
              <a:gd name="connsiteX8201" fmla="*/ 7441276 w 9310410"/>
              <a:gd name="connsiteY8201" fmla="*/ 376344 h 5296383"/>
              <a:gd name="connsiteX8202" fmla="*/ 7437680 w 9310410"/>
              <a:gd name="connsiteY8202" fmla="*/ 381738 h 5296383"/>
              <a:gd name="connsiteX8203" fmla="*/ 7442474 w 9310410"/>
              <a:gd name="connsiteY8203" fmla="*/ 382936 h 5296383"/>
              <a:gd name="connsiteX8204" fmla="*/ 7407716 w 9310410"/>
              <a:gd name="connsiteY8204" fmla="*/ 361362 h 5296383"/>
              <a:gd name="connsiteX8205" fmla="*/ 7423897 w 9310410"/>
              <a:gd name="connsiteY8205" fmla="*/ 348178 h 5296383"/>
              <a:gd name="connsiteX8206" fmla="*/ 7423298 w 9310410"/>
              <a:gd name="connsiteY8206" fmla="*/ 337991 h 5296383"/>
              <a:gd name="connsiteX8207" fmla="*/ 7414908 w 9310410"/>
              <a:gd name="connsiteY8207" fmla="*/ 336792 h 5296383"/>
              <a:gd name="connsiteX8208" fmla="*/ 7397529 w 9310410"/>
              <a:gd name="connsiteY8208" fmla="*/ 335593 h 5296383"/>
              <a:gd name="connsiteX8209" fmla="*/ 7366966 w 9310410"/>
              <a:gd name="connsiteY8209" fmla="*/ 337991 h 5296383"/>
              <a:gd name="connsiteX8210" fmla="*/ 7368164 w 9310410"/>
              <a:gd name="connsiteY8210" fmla="*/ 343384 h 5296383"/>
              <a:gd name="connsiteX8211" fmla="*/ 7370561 w 9310410"/>
              <a:gd name="connsiteY8211" fmla="*/ 349377 h 5296383"/>
              <a:gd name="connsiteX8212" fmla="*/ 7377752 w 9310410"/>
              <a:gd name="connsiteY8212" fmla="*/ 352373 h 5296383"/>
              <a:gd name="connsiteX8213" fmla="*/ 7378951 w 9310410"/>
              <a:gd name="connsiteY8213" fmla="*/ 357167 h 5296383"/>
              <a:gd name="connsiteX8214" fmla="*/ 7384944 w 9310410"/>
              <a:gd name="connsiteY8214" fmla="*/ 358366 h 5296383"/>
              <a:gd name="connsiteX8215" fmla="*/ 7395131 w 9310410"/>
              <a:gd name="connsiteY8215" fmla="*/ 355369 h 5296383"/>
              <a:gd name="connsiteX8216" fmla="*/ 7396930 w 9310410"/>
              <a:gd name="connsiteY8216" fmla="*/ 358965 h 5296383"/>
              <a:gd name="connsiteX8217" fmla="*/ 7407716 w 9310410"/>
              <a:gd name="connsiteY8217" fmla="*/ 361362 h 5296383"/>
              <a:gd name="connsiteX8218" fmla="*/ 6861778 w 9310410"/>
              <a:gd name="connsiteY8218" fmla="*/ 92887 h 5296383"/>
              <a:gd name="connsiteX8219" fmla="*/ 6846796 w 9310410"/>
              <a:gd name="connsiteY8219" fmla="*/ 93487 h 5296383"/>
              <a:gd name="connsiteX8220" fmla="*/ 6841402 w 9310410"/>
              <a:gd name="connsiteY8220" fmla="*/ 99479 h 5296383"/>
              <a:gd name="connsiteX8221" fmla="*/ 6831215 w 9310410"/>
              <a:gd name="connsiteY8221" fmla="*/ 110866 h 5296383"/>
              <a:gd name="connsiteX8222" fmla="*/ 6828818 w 9310410"/>
              <a:gd name="connsiteY8222" fmla="*/ 125848 h 5296383"/>
              <a:gd name="connsiteX8223" fmla="*/ 6842601 w 9310410"/>
              <a:gd name="connsiteY8223" fmla="*/ 124649 h 5296383"/>
              <a:gd name="connsiteX8224" fmla="*/ 6862377 w 9310410"/>
              <a:gd name="connsiteY8224" fmla="*/ 121653 h 5296383"/>
              <a:gd name="connsiteX8225" fmla="*/ 6875561 w 9310410"/>
              <a:gd name="connsiteY8225" fmla="*/ 131840 h 5296383"/>
              <a:gd name="connsiteX8226" fmla="*/ 6876160 w 9310410"/>
              <a:gd name="connsiteY8226" fmla="*/ 140230 h 5296383"/>
              <a:gd name="connsiteX8227" fmla="*/ 6872565 w 9310410"/>
              <a:gd name="connsiteY8227" fmla="*/ 148021 h 5296383"/>
              <a:gd name="connsiteX8228" fmla="*/ 6845598 w 9310410"/>
              <a:gd name="connsiteY8228" fmla="*/ 161804 h 5296383"/>
              <a:gd name="connsiteX8229" fmla="*/ 6819828 w 9310410"/>
              <a:gd name="connsiteY8229" fmla="*/ 168995 h 5296383"/>
              <a:gd name="connsiteX8230" fmla="*/ 6809641 w 9310410"/>
              <a:gd name="connsiteY8230" fmla="*/ 175587 h 5296383"/>
              <a:gd name="connsiteX8231" fmla="*/ 6811438 w 9310410"/>
              <a:gd name="connsiteY8231" fmla="*/ 184576 h 5296383"/>
              <a:gd name="connsiteX8232" fmla="*/ 6821627 w 9310410"/>
              <a:gd name="connsiteY8232" fmla="*/ 186973 h 5296383"/>
              <a:gd name="connsiteX8233" fmla="*/ 6830017 w 9310410"/>
              <a:gd name="connsiteY8233" fmla="*/ 191768 h 5296383"/>
              <a:gd name="connsiteX8234" fmla="*/ 6840204 w 9310410"/>
              <a:gd name="connsiteY8234" fmla="*/ 194764 h 5296383"/>
              <a:gd name="connsiteX8235" fmla="*/ 6871966 w 9310410"/>
              <a:gd name="connsiteY8235" fmla="*/ 188771 h 5296383"/>
              <a:gd name="connsiteX8236" fmla="*/ 6888146 w 9310410"/>
              <a:gd name="connsiteY8236" fmla="*/ 195963 h 5296383"/>
              <a:gd name="connsiteX8237" fmla="*/ 6918110 w 9310410"/>
              <a:gd name="connsiteY8237" fmla="*/ 188172 h 5296383"/>
              <a:gd name="connsiteX8238" fmla="*/ 6932492 w 9310410"/>
              <a:gd name="connsiteY8238" fmla="*/ 187573 h 5296383"/>
              <a:gd name="connsiteX8239" fmla="*/ 6928897 w 9310410"/>
              <a:gd name="connsiteY8239" fmla="*/ 193565 h 5296383"/>
              <a:gd name="connsiteX8240" fmla="*/ 6905525 w 9310410"/>
              <a:gd name="connsiteY8240" fmla="*/ 195963 h 5296383"/>
              <a:gd name="connsiteX8241" fmla="*/ 6915712 w 9310410"/>
              <a:gd name="connsiteY8241" fmla="*/ 200757 h 5296383"/>
              <a:gd name="connsiteX8242" fmla="*/ 6938485 w 9310410"/>
              <a:gd name="connsiteY8242" fmla="*/ 197161 h 5296383"/>
              <a:gd name="connsiteX8243" fmla="*/ 6943279 w 9310410"/>
              <a:gd name="connsiteY8243" fmla="*/ 200158 h 5296383"/>
              <a:gd name="connsiteX8244" fmla="*/ 6919908 w 9310410"/>
              <a:gd name="connsiteY8244" fmla="*/ 205551 h 5296383"/>
              <a:gd name="connsiteX8245" fmla="*/ 6894139 w 9310410"/>
              <a:gd name="connsiteY8245" fmla="*/ 207349 h 5296383"/>
              <a:gd name="connsiteX8246" fmla="*/ 6890543 w 9310410"/>
              <a:gd name="connsiteY8246" fmla="*/ 213941 h 5296383"/>
              <a:gd name="connsiteX8247" fmla="*/ 6888146 w 9310410"/>
              <a:gd name="connsiteY8247" fmla="*/ 219334 h 5296383"/>
              <a:gd name="connsiteX8248" fmla="*/ 6892940 w 9310410"/>
              <a:gd name="connsiteY8248" fmla="*/ 222331 h 5296383"/>
              <a:gd name="connsiteX8249" fmla="*/ 6906124 w 9310410"/>
              <a:gd name="connsiteY8249" fmla="*/ 218136 h 5296383"/>
              <a:gd name="connsiteX8250" fmla="*/ 6913315 w 9310410"/>
              <a:gd name="connsiteY8250" fmla="*/ 215739 h 5296383"/>
              <a:gd name="connsiteX8251" fmla="*/ 6924102 w 9310410"/>
              <a:gd name="connsiteY8251" fmla="*/ 216338 h 5296383"/>
              <a:gd name="connsiteX8252" fmla="*/ 6931293 w 9310410"/>
              <a:gd name="connsiteY8252" fmla="*/ 218735 h 5296383"/>
              <a:gd name="connsiteX8253" fmla="*/ 6926500 w 9310410"/>
              <a:gd name="connsiteY8253" fmla="*/ 225926 h 5296383"/>
              <a:gd name="connsiteX8254" fmla="*/ 6946275 w 9310410"/>
              <a:gd name="connsiteY8254" fmla="*/ 228923 h 5296383"/>
              <a:gd name="connsiteX8255" fmla="*/ 6954665 w 9310410"/>
              <a:gd name="connsiteY8255" fmla="*/ 231919 h 5296383"/>
              <a:gd name="connsiteX8256" fmla="*/ 6965452 w 9310410"/>
              <a:gd name="connsiteY8256" fmla="*/ 231320 h 5296383"/>
              <a:gd name="connsiteX8257" fmla="*/ 6975041 w 9310410"/>
              <a:gd name="connsiteY8257" fmla="*/ 230121 h 5296383"/>
              <a:gd name="connsiteX8258" fmla="*/ 6977438 w 9310410"/>
              <a:gd name="connsiteY8258" fmla="*/ 223529 h 5296383"/>
              <a:gd name="connsiteX8259" fmla="*/ 6979835 w 9310410"/>
              <a:gd name="connsiteY8259" fmla="*/ 218136 h 5296383"/>
              <a:gd name="connsiteX8260" fmla="*/ 6990022 w 9310410"/>
              <a:gd name="connsiteY8260" fmla="*/ 219334 h 5296383"/>
              <a:gd name="connsiteX8261" fmla="*/ 6998412 w 9310410"/>
              <a:gd name="connsiteY8261" fmla="*/ 218136 h 5296383"/>
              <a:gd name="connsiteX8262" fmla="*/ 7019387 w 9310410"/>
              <a:gd name="connsiteY8262" fmla="*/ 211544 h 5296383"/>
              <a:gd name="connsiteX8263" fmla="*/ 7034968 w 9310410"/>
              <a:gd name="connsiteY8263" fmla="*/ 207349 h 5296383"/>
              <a:gd name="connsiteX8264" fmla="*/ 7048152 w 9310410"/>
              <a:gd name="connsiteY8264" fmla="*/ 204952 h 5296383"/>
              <a:gd name="connsiteX8265" fmla="*/ 7061336 w 9310410"/>
              <a:gd name="connsiteY8265" fmla="*/ 204352 h 5296383"/>
              <a:gd name="connsiteX8266" fmla="*/ 7078115 w 9310410"/>
              <a:gd name="connsiteY8266" fmla="*/ 205551 h 5296383"/>
              <a:gd name="connsiteX8267" fmla="*/ 7093097 w 9310410"/>
              <a:gd name="connsiteY8267" fmla="*/ 204952 h 5296383"/>
              <a:gd name="connsiteX8268" fmla="*/ 7123661 w 9310410"/>
              <a:gd name="connsiteY8268" fmla="*/ 207948 h 5296383"/>
              <a:gd name="connsiteX8269" fmla="*/ 7148231 w 9310410"/>
              <a:gd name="connsiteY8269" fmla="*/ 219334 h 5296383"/>
              <a:gd name="connsiteX8270" fmla="*/ 7179992 w 9310410"/>
              <a:gd name="connsiteY8270" fmla="*/ 225327 h 5296383"/>
              <a:gd name="connsiteX8271" fmla="*/ 7190779 w 9310410"/>
              <a:gd name="connsiteY8271" fmla="*/ 231320 h 5296383"/>
              <a:gd name="connsiteX8272" fmla="*/ 7191378 w 9310410"/>
              <a:gd name="connsiteY8272" fmla="*/ 238511 h 5296383"/>
              <a:gd name="connsiteX8273" fmla="*/ 7197371 w 9310410"/>
              <a:gd name="connsiteY8273" fmla="*/ 237912 h 5296383"/>
              <a:gd name="connsiteX8274" fmla="*/ 7223140 w 9310410"/>
              <a:gd name="connsiteY8274" fmla="*/ 242107 h 5296383"/>
              <a:gd name="connsiteX8275" fmla="*/ 7239919 w 9310410"/>
              <a:gd name="connsiteY8275" fmla="*/ 248699 h 5296383"/>
              <a:gd name="connsiteX8276" fmla="*/ 7254901 w 9310410"/>
              <a:gd name="connsiteY8276" fmla="*/ 260684 h 5296383"/>
              <a:gd name="connsiteX8277" fmla="*/ 7268086 w 9310410"/>
              <a:gd name="connsiteY8277" fmla="*/ 264280 h 5296383"/>
              <a:gd name="connsiteX8278" fmla="*/ 7279472 w 9310410"/>
              <a:gd name="connsiteY8278" fmla="*/ 278662 h 5296383"/>
              <a:gd name="connsiteX8279" fmla="*/ 7287861 w 9310410"/>
              <a:gd name="connsiteY8279" fmla="*/ 283457 h 5296383"/>
              <a:gd name="connsiteX8280" fmla="*/ 7290858 w 9310410"/>
              <a:gd name="connsiteY8280" fmla="*/ 286453 h 5296383"/>
              <a:gd name="connsiteX8281" fmla="*/ 7295053 w 9310410"/>
              <a:gd name="connsiteY8281" fmla="*/ 279262 h 5296383"/>
              <a:gd name="connsiteX8282" fmla="*/ 7293854 w 9310410"/>
              <a:gd name="connsiteY8282" fmla="*/ 290049 h 5296383"/>
              <a:gd name="connsiteX8283" fmla="*/ 7299248 w 9310410"/>
              <a:gd name="connsiteY8283" fmla="*/ 303233 h 5296383"/>
              <a:gd name="connsiteX8284" fmla="*/ 7314829 w 9310410"/>
              <a:gd name="connsiteY8284" fmla="*/ 306229 h 5296383"/>
              <a:gd name="connsiteX8285" fmla="*/ 7320821 w 9310410"/>
              <a:gd name="connsiteY8285" fmla="*/ 303832 h 5296383"/>
              <a:gd name="connsiteX8286" fmla="*/ 7325616 w 9310410"/>
              <a:gd name="connsiteY8286" fmla="*/ 298438 h 5296383"/>
              <a:gd name="connsiteX8287" fmla="*/ 7320222 w 9310410"/>
              <a:gd name="connsiteY8287" fmla="*/ 290648 h 5296383"/>
              <a:gd name="connsiteX8288" fmla="*/ 7312432 w 9310410"/>
              <a:gd name="connsiteY8288" fmla="*/ 281059 h 5296383"/>
              <a:gd name="connsiteX8289" fmla="*/ 7311832 w 9310410"/>
              <a:gd name="connsiteY8289" fmla="*/ 275666 h 5296383"/>
              <a:gd name="connsiteX8290" fmla="*/ 7327414 w 9310410"/>
              <a:gd name="connsiteY8290" fmla="*/ 282857 h 5296383"/>
              <a:gd name="connsiteX8291" fmla="*/ 7342396 w 9310410"/>
              <a:gd name="connsiteY8291" fmla="*/ 287052 h 5296383"/>
              <a:gd name="connsiteX8292" fmla="*/ 7360973 w 9310410"/>
              <a:gd name="connsiteY8292" fmla="*/ 287652 h 5296383"/>
              <a:gd name="connsiteX8293" fmla="*/ 7386142 w 9310410"/>
              <a:gd name="connsiteY8293" fmla="*/ 293045 h 5296383"/>
              <a:gd name="connsiteX8294" fmla="*/ 7415507 w 9310410"/>
              <a:gd name="connsiteY8294" fmla="*/ 308027 h 5296383"/>
              <a:gd name="connsiteX8295" fmla="*/ 7403521 w 9310410"/>
              <a:gd name="connsiteY8295" fmla="*/ 315218 h 5296383"/>
              <a:gd name="connsiteX8296" fmla="*/ 7378951 w 9310410"/>
              <a:gd name="connsiteY8296" fmla="*/ 314020 h 5296383"/>
              <a:gd name="connsiteX8297" fmla="*/ 7359175 w 9310410"/>
              <a:gd name="connsiteY8297" fmla="*/ 315817 h 5296383"/>
              <a:gd name="connsiteX8298" fmla="*/ 7351984 w 9310410"/>
              <a:gd name="connsiteY8298" fmla="*/ 326005 h 5296383"/>
              <a:gd name="connsiteX8299" fmla="*/ 7372959 w 9310410"/>
              <a:gd name="connsiteY8299" fmla="*/ 327204 h 5296383"/>
              <a:gd name="connsiteX8300" fmla="*/ 7399327 w 9310410"/>
              <a:gd name="connsiteY8300" fmla="*/ 327204 h 5296383"/>
              <a:gd name="connsiteX8301" fmla="*/ 7417904 w 9310410"/>
              <a:gd name="connsiteY8301" fmla="*/ 327803 h 5296383"/>
              <a:gd name="connsiteX8302" fmla="*/ 7423298 w 9310410"/>
              <a:gd name="connsiteY8302" fmla="*/ 324806 h 5296383"/>
              <a:gd name="connsiteX8303" fmla="*/ 7430489 w 9310410"/>
              <a:gd name="connsiteY8303" fmla="*/ 322409 h 5296383"/>
              <a:gd name="connsiteX8304" fmla="*/ 7434683 w 9310410"/>
              <a:gd name="connsiteY8304" fmla="*/ 326604 h 5296383"/>
              <a:gd name="connsiteX8305" fmla="*/ 7456258 w 9310410"/>
              <a:gd name="connsiteY8305" fmla="*/ 345781 h 5296383"/>
              <a:gd name="connsiteX8306" fmla="*/ 7464647 w 9310410"/>
              <a:gd name="connsiteY8306" fmla="*/ 352373 h 5296383"/>
              <a:gd name="connsiteX8307" fmla="*/ 7456857 w 9310410"/>
              <a:gd name="connsiteY8307" fmla="*/ 349976 h 5296383"/>
              <a:gd name="connsiteX8308" fmla="*/ 7453861 w 9310410"/>
              <a:gd name="connsiteY8308" fmla="*/ 355369 h 5296383"/>
              <a:gd name="connsiteX8309" fmla="*/ 7462251 w 9310410"/>
              <a:gd name="connsiteY8309" fmla="*/ 360164 h 5296383"/>
              <a:gd name="connsiteX8310" fmla="*/ 7468243 w 9310410"/>
              <a:gd name="connsiteY8310" fmla="*/ 360763 h 5296383"/>
              <a:gd name="connsiteX8311" fmla="*/ 7447269 w 9310410"/>
              <a:gd name="connsiteY8311" fmla="*/ 384135 h 5296383"/>
              <a:gd name="connsiteX8312" fmla="*/ 7443073 w 9310410"/>
              <a:gd name="connsiteY8312" fmla="*/ 390727 h 5296383"/>
              <a:gd name="connsiteX8313" fmla="*/ 7455059 w 9310410"/>
              <a:gd name="connsiteY8313" fmla="*/ 385932 h 5296383"/>
              <a:gd name="connsiteX8314" fmla="*/ 7471240 w 9310410"/>
              <a:gd name="connsiteY8314" fmla="*/ 380539 h 5296383"/>
              <a:gd name="connsiteX8315" fmla="*/ 7473037 w 9310410"/>
              <a:gd name="connsiteY8315" fmla="*/ 372149 h 5296383"/>
              <a:gd name="connsiteX8316" fmla="*/ 7473636 w 9310410"/>
              <a:gd name="connsiteY8316" fmla="*/ 366156 h 5296383"/>
              <a:gd name="connsiteX8317" fmla="*/ 7479030 w 9310410"/>
              <a:gd name="connsiteY8317" fmla="*/ 367954 h 5296383"/>
              <a:gd name="connsiteX8318" fmla="*/ 7476633 w 9310410"/>
              <a:gd name="connsiteY8318" fmla="*/ 381138 h 5296383"/>
              <a:gd name="connsiteX8319" fmla="*/ 7483225 w 9310410"/>
              <a:gd name="connsiteY8319" fmla="*/ 383535 h 5296383"/>
              <a:gd name="connsiteX8320" fmla="*/ 7503001 w 9310410"/>
              <a:gd name="connsiteY8320" fmla="*/ 381138 h 5296383"/>
              <a:gd name="connsiteX8321" fmla="*/ 7500603 w 9310410"/>
              <a:gd name="connsiteY8321" fmla="*/ 385333 h 5296383"/>
              <a:gd name="connsiteX8322" fmla="*/ 7473037 w 9310410"/>
              <a:gd name="connsiteY8322" fmla="*/ 393723 h 5296383"/>
              <a:gd name="connsiteX8323" fmla="*/ 7465846 w 9310410"/>
              <a:gd name="connsiteY8323" fmla="*/ 397319 h 5296383"/>
              <a:gd name="connsiteX8324" fmla="*/ 7462850 w 9310410"/>
              <a:gd name="connsiteY8324" fmla="*/ 407506 h 5296383"/>
              <a:gd name="connsiteX8325" fmla="*/ 7474835 w 9310410"/>
              <a:gd name="connsiteY8325" fmla="*/ 411102 h 5296383"/>
              <a:gd name="connsiteX8326" fmla="*/ 7500004 w 9310410"/>
              <a:gd name="connsiteY8326" fmla="*/ 394922 h 5296383"/>
              <a:gd name="connsiteX8327" fmla="*/ 7510792 w 9310410"/>
              <a:gd name="connsiteY8327" fmla="*/ 389528 h 5296383"/>
              <a:gd name="connsiteX8328" fmla="*/ 7510192 w 9310410"/>
              <a:gd name="connsiteY8328" fmla="*/ 393124 h 5296383"/>
              <a:gd name="connsiteX8329" fmla="*/ 7513189 w 9310410"/>
              <a:gd name="connsiteY8329" fmla="*/ 397319 h 5296383"/>
              <a:gd name="connsiteX8330" fmla="*/ 7517983 w 9310410"/>
              <a:gd name="connsiteY8330" fmla="*/ 400914 h 5296383"/>
              <a:gd name="connsiteX8331" fmla="*/ 7489218 w 9310410"/>
              <a:gd name="connsiteY8331" fmla="*/ 404510 h 5296383"/>
              <a:gd name="connsiteX8332" fmla="*/ 7479030 w 9310410"/>
              <a:gd name="connsiteY8332" fmla="*/ 414698 h 5296383"/>
              <a:gd name="connsiteX8333" fmla="*/ 7484423 w 9310410"/>
              <a:gd name="connsiteY8333" fmla="*/ 429679 h 5296383"/>
              <a:gd name="connsiteX8334" fmla="*/ 7509593 w 9310410"/>
              <a:gd name="connsiteY8334" fmla="*/ 436271 h 5296383"/>
              <a:gd name="connsiteX8335" fmla="*/ 7514387 w 9310410"/>
              <a:gd name="connsiteY8335" fmla="*/ 442863 h 5296383"/>
              <a:gd name="connsiteX8336" fmla="*/ 7511990 w 9310410"/>
              <a:gd name="connsiteY8336" fmla="*/ 448257 h 5296383"/>
              <a:gd name="connsiteX8337" fmla="*/ 7523376 w 9310410"/>
              <a:gd name="connsiteY8337" fmla="*/ 441066 h 5296383"/>
              <a:gd name="connsiteX8338" fmla="*/ 7537160 w 9310410"/>
              <a:gd name="connsiteY8338" fmla="*/ 422488 h 5296383"/>
              <a:gd name="connsiteX8339" fmla="*/ 7539556 w 9310410"/>
              <a:gd name="connsiteY8339" fmla="*/ 425485 h 5296383"/>
              <a:gd name="connsiteX8340" fmla="*/ 7523975 w 9310410"/>
              <a:gd name="connsiteY8340" fmla="*/ 448856 h 5296383"/>
              <a:gd name="connsiteX8341" fmla="*/ 7526373 w 9310410"/>
              <a:gd name="connsiteY8341" fmla="*/ 458445 h 5296383"/>
              <a:gd name="connsiteX8342" fmla="*/ 7534163 w 9310410"/>
              <a:gd name="connsiteY8342" fmla="*/ 460842 h 5296383"/>
              <a:gd name="connsiteX8343" fmla="*/ 7543153 w 9310410"/>
              <a:gd name="connsiteY8343" fmla="*/ 466235 h 5296383"/>
              <a:gd name="connsiteX8344" fmla="*/ 7550943 w 9310410"/>
              <a:gd name="connsiteY8344" fmla="*/ 467434 h 5296383"/>
              <a:gd name="connsiteX8345" fmla="*/ 7559333 w 9310410"/>
              <a:gd name="connsiteY8345" fmla="*/ 469831 h 5296383"/>
              <a:gd name="connsiteX8346" fmla="*/ 7568322 w 9310410"/>
              <a:gd name="connsiteY8346" fmla="*/ 465636 h 5296383"/>
              <a:gd name="connsiteX8347" fmla="*/ 7576113 w 9310410"/>
              <a:gd name="connsiteY8347" fmla="*/ 455448 h 5296383"/>
              <a:gd name="connsiteX8348" fmla="*/ 7581505 w 9310410"/>
              <a:gd name="connsiteY8348" fmla="*/ 457845 h 5296383"/>
              <a:gd name="connsiteX8349" fmla="*/ 7572516 w 9310410"/>
              <a:gd name="connsiteY8349" fmla="*/ 463838 h 5296383"/>
              <a:gd name="connsiteX8350" fmla="*/ 7571318 w 9310410"/>
              <a:gd name="connsiteY8350" fmla="*/ 472827 h 5296383"/>
              <a:gd name="connsiteX8351" fmla="*/ 7573715 w 9310410"/>
              <a:gd name="connsiteY8351" fmla="*/ 477022 h 5296383"/>
              <a:gd name="connsiteX8352" fmla="*/ 7578509 w 9310410"/>
              <a:gd name="connsiteY8352" fmla="*/ 479419 h 5296383"/>
              <a:gd name="connsiteX8353" fmla="*/ 7583903 w 9310410"/>
              <a:gd name="connsiteY8353" fmla="*/ 483614 h 5296383"/>
              <a:gd name="connsiteX8354" fmla="*/ 7591094 w 9310410"/>
              <a:gd name="connsiteY8354" fmla="*/ 489008 h 5296383"/>
              <a:gd name="connsiteX8355" fmla="*/ 7605476 w 9310410"/>
              <a:gd name="connsiteY8355" fmla="*/ 498596 h 5296383"/>
              <a:gd name="connsiteX8356" fmla="*/ 7616863 w 9310410"/>
              <a:gd name="connsiteY8356" fmla="*/ 506986 h 5296383"/>
              <a:gd name="connsiteX8357" fmla="*/ 7621657 w 9310410"/>
              <a:gd name="connsiteY8357" fmla="*/ 506387 h 5296383"/>
              <a:gd name="connsiteX8358" fmla="*/ 7621058 w 9310410"/>
              <a:gd name="connsiteY8358" fmla="*/ 486011 h 5296383"/>
              <a:gd name="connsiteX8359" fmla="*/ 7613866 w 9310410"/>
              <a:gd name="connsiteY8359" fmla="*/ 481217 h 5296383"/>
              <a:gd name="connsiteX8360" fmla="*/ 7605476 w 9310410"/>
              <a:gd name="connsiteY8360" fmla="*/ 474026 h 5296383"/>
              <a:gd name="connsiteX8361" fmla="*/ 7609672 w 9310410"/>
              <a:gd name="connsiteY8361" fmla="*/ 474625 h 5296383"/>
              <a:gd name="connsiteX8362" fmla="*/ 7626451 w 9310410"/>
              <a:gd name="connsiteY8362" fmla="*/ 479419 h 5296383"/>
              <a:gd name="connsiteX8363" fmla="*/ 7637837 w 9310410"/>
              <a:gd name="connsiteY8363" fmla="*/ 482416 h 5296383"/>
              <a:gd name="connsiteX8364" fmla="*/ 7640235 w 9310410"/>
              <a:gd name="connsiteY8364" fmla="*/ 484813 h 5296383"/>
              <a:gd name="connsiteX8365" fmla="*/ 7631845 w 9310410"/>
              <a:gd name="connsiteY8365" fmla="*/ 487210 h 5296383"/>
              <a:gd name="connsiteX8366" fmla="*/ 7637837 w 9310410"/>
              <a:gd name="connsiteY8366" fmla="*/ 509982 h 5296383"/>
              <a:gd name="connsiteX8367" fmla="*/ 7652819 w 9310410"/>
              <a:gd name="connsiteY8367" fmla="*/ 523166 h 5296383"/>
              <a:gd name="connsiteX8368" fmla="*/ 7660011 w 9310410"/>
              <a:gd name="connsiteY8368" fmla="*/ 523765 h 5296383"/>
              <a:gd name="connsiteX8369" fmla="*/ 7668400 w 9310410"/>
              <a:gd name="connsiteY8369" fmla="*/ 523166 h 5296383"/>
              <a:gd name="connsiteX8370" fmla="*/ 7677389 w 9310410"/>
              <a:gd name="connsiteY8370" fmla="*/ 521968 h 5296383"/>
              <a:gd name="connsiteX8371" fmla="*/ 7674993 w 9310410"/>
              <a:gd name="connsiteY8371" fmla="*/ 526163 h 5296383"/>
              <a:gd name="connsiteX8372" fmla="*/ 7666603 w 9310410"/>
              <a:gd name="connsiteY8372" fmla="*/ 530357 h 5296383"/>
              <a:gd name="connsiteX8373" fmla="*/ 7674993 w 9310410"/>
              <a:gd name="connsiteY8373" fmla="*/ 532155 h 5296383"/>
              <a:gd name="connsiteX8374" fmla="*/ 7689975 w 9310410"/>
              <a:gd name="connsiteY8374" fmla="*/ 532755 h 5296383"/>
              <a:gd name="connsiteX8375" fmla="*/ 7697765 w 9310410"/>
              <a:gd name="connsiteY8375" fmla="*/ 535152 h 5296383"/>
              <a:gd name="connsiteX8376" fmla="*/ 7702559 w 9310410"/>
              <a:gd name="connsiteY8376" fmla="*/ 534552 h 5296383"/>
              <a:gd name="connsiteX8377" fmla="*/ 7707353 w 9310410"/>
              <a:gd name="connsiteY8377" fmla="*/ 546538 h 5296383"/>
              <a:gd name="connsiteX8378" fmla="*/ 7716942 w 9310410"/>
              <a:gd name="connsiteY8378" fmla="*/ 553729 h 5296383"/>
              <a:gd name="connsiteX8379" fmla="*/ 7727728 w 9310410"/>
              <a:gd name="connsiteY8379" fmla="*/ 557325 h 5296383"/>
              <a:gd name="connsiteX8380" fmla="*/ 7740313 w 9310410"/>
              <a:gd name="connsiteY8380" fmla="*/ 559123 h 5296383"/>
              <a:gd name="connsiteX8381" fmla="*/ 7748703 w 9310410"/>
              <a:gd name="connsiteY8381" fmla="*/ 562119 h 5296383"/>
              <a:gd name="connsiteX8382" fmla="*/ 7752299 w 9310410"/>
              <a:gd name="connsiteY8382" fmla="*/ 567512 h 5296383"/>
              <a:gd name="connsiteX8383" fmla="*/ 7759490 w 9310410"/>
              <a:gd name="connsiteY8383" fmla="*/ 567512 h 5296383"/>
              <a:gd name="connsiteX8384" fmla="*/ 7770277 w 9310410"/>
              <a:gd name="connsiteY8384" fmla="*/ 575902 h 5296383"/>
              <a:gd name="connsiteX8385" fmla="*/ 7776869 w 9310410"/>
              <a:gd name="connsiteY8385" fmla="*/ 577101 h 5296383"/>
              <a:gd name="connsiteX8386" fmla="*/ 7779866 w 9310410"/>
              <a:gd name="connsiteY8386" fmla="*/ 578899 h 5296383"/>
              <a:gd name="connsiteX8387" fmla="*/ 7788855 w 9310410"/>
              <a:gd name="connsiteY8387" fmla="*/ 583094 h 5296383"/>
              <a:gd name="connsiteX8388" fmla="*/ 7799042 w 9310410"/>
              <a:gd name="connsiteY8388" fmla="*/ 581895 h 5296383"/>
              <a:gd name="connsiteX8389" fmla="*/ 7806233 w 9310410"/>
              <a:gd name="connsiteY8389" fmla="*/ 585491 h 5296383"/>
              <a:gd name="connsiteX8390" fmla="*/ 7814024 w 9310410"/>
              <a:gd name="connsiteY8390" fmla="*/ 589686 h 5296383"/>
              <a:gd name="connsiteX8391" fmla="*/ 7830804 w 9310410"/>
              <a:gd name="connsiteY8391" fmla="*/ 579498 h 5296383"/>
              <a:gd name="connsiteX8392" fmla="*/ 7837396 w 9310410"/>
              <a:gd name="connsiteY8392" fmla="*/ 572307 h 5296383"/>
              <a:gd name="connsiteX8393" fmla="*/ 7840991 w 9310410"/>
              <a:gd name="connsiteY8393" fmla="*/ 568112 h 5296383"/>
              <a:gd name="connsiteX8394" fmla="*/ 7848182 w 9310410"/>
              <a:gd name="connsiteY8394" fmla="*/ 568711 h 5296383"/>
              <a:gd name="connsiteX8395" fmla="*/ 7851779 w 9310410"/>
              <a:gd name="connsiteY8395" fmla="*/ 571108 h 5296383"/>
              <a:gd name="connsiteX8396" fmla="*/ 7857171 w 9310410"/>
              <a:gd name="connsiteY8396" fmla="*/ 576502 h 5296383"/>
              <a:gd name="connsiteX8397" fmla="*/ 7859569 w 9310410"/>
              <a:gd name="connsiteY8397" fmla="*/ 579498 h 5296383"/>
              <a:gd name="connsiteX8398" fmla="*/ 7861367 w 9310410"/>
              <a:gd name="connsiteY8398" fmla="*/ 584891 h 5296383"/>
              <a:gd name="connsiteX8399" fmla="*/ 7878146 w 9310410"/>
              <a:gd name="connsiteY8399" fmla="*/ 585491 h 5296383"/>
              <a:gd name="connsiteX8400" fmla="*/ 7884739 w 9310410"/>
              <a:gd name="connsiteY8400" fmla="*/ 593881 h 5296383"/>
              <a:gd name="connsiteX8401" fmla="*/ 7884739 w 9310410"/>
              <a:gd name="connsiteY8401" fmla="*/ 578899 h 5296383"/>
              <a:gd name="connsiteX8402" fmla="*/ 7888933 w 9310410"/>
              <a:gd name="connsiteY8402" fmla="*/ 589086 h 5296383"/>
              <a:gd name="connsiteX8403" fmla="*/ 7899721 w 9310410"/>
              <a:gd name="connsiteY8403" fmla="*/ 598675 h 5296383"/>
              <a:gd name="connsiteX8404" fmla="*/ 7905713 w 9310410"/>
              <a:gd name="connsiteY8404" fmla="*/ 593281 h 5296383"/>
              <a:gd name="connsiteX8405" fmla="*/ 7907511 w 9310410"/>
              <a:gd name="connsiteY8405" fmla="*/ 589086 h 5296383"/>
              <a:gd name="connsiteX8406" fmla="*/ 7918897 w 9310410"/>
              <a:gd name="connsiteY8406" fmla="*/ 584891 h 5296383"/>
              <a:gd name="connsiteX8407" fmla="*/ 7906911 w 9310410"/>
              <a:gd name="connsiteY8407" fmla="*/ 580697 h 5296383"/>
              <a:gd name="connsiteX8408" fmla="*/ 7900320 w 9310410"/>
              <a:gd name="connsiteY8408" fmla="*/ 577700 h 5296383"/>
              <a:gd name="connsiteX8409" fmla="*/ 7905113 w 9310410"/>
              <a:gd name="connsiteY8409" fmla="*/ 576502 h 5296383"/>
              <a:gd name="connsiteX8410" fmla="*/ 7919496 w 9310410"/>
              <a:gd name="connsiteY8410" fmla="*/ 574104 h 5296383"/>
              <a:gd name="connsiteX8411" fmla="*/ 7917099 w 9310410"/>
              <a:gd name="connsiteY8411" fmla="*/ 570509 h 5296383"/>
              <a:gd name="connsiteX8412" fmla="*/ 7909309 w 9310410"/>
              <a:gd name="connsiteY8412" fmla="*/ 568112 h 5296383"/>
              <a:gd name="connsiteX8413" fmla="*/ 7906312 w 9310410"/>
              <a:gd name="connsiteY8413" fmla="*/ 562119 h 5296383"/>
              <a:gd name="connsiteX8414" fmla="*/ 7899121 w 9310410"/>
              <a:gd name="connsiteY8414" fmla="*/ 553729 h 5296383"/>
              <a:gd name="connsiteX8415" fmla="*/ 7888933 w 9310410"/>
              <a:gd name="connsiteY8415" fmla="*/ 551332 h 5296383"/>
              <a:gd name="connsiteX8416" fmla="*/ 7889532 w 9310410"/>
              <a:gd name="connsiteY8416" fmla="*/ 547137 h 5296383"/>
              <a:gd name="connsiteX8417" fmla="*/ 7887135 w 9310410"/>
              <a:gd name="connsiteY8417" fmla="*/ 541744 h 5296383"/>
              <a:gd name="connsiteX8418" fmla="*/ 7884739 w 9310410"/>
              <a:gd name="connsiteY8418" fmla="*/ 536949 h 5296383"/>
              <a:gd name="connsiteX8419" fmla="*/ 7874551 w 9310410"/>
              <a:gd name="connsiteY8419" fmla="*/ 524365 h 5296383"/>
              <a:gd name="connsiteX8420" fmla="*/ 7870356 w 9310410"/>
              <a:gd name="connsiteY8420" fmla="*/ 520170 h 5296383"/>
              <a:gd name="connsiteX8421" fmla="*/ 7861367 w 9310410"/>
              <a:gd name="connsiteY8421" fmla="*/ 515975 h 5296383"/>
              <a:gd name="connsiteX8422" fmla="*/ 7857171 w 9310410"/>
              <a:gd name="connsiteY8422" fmla="*/ 511780 h 5296383"/>
              <a:gd name="connsiteX8423" fmla="*/ 7852977 w 9310410"/>
              <a:gd name="connsiteY8423" fmla="*/ 506986 h 5296383"/>
              <a:gd name="connsiteX8424" fmla="*/ 7846984 w 9310410"/>
              <a:gd name="connsiteY8424" fmla="*/ 506387 h 5296383"/>
              <a:gd name="connsiteX8425" fmla="*/ 7848782 w 9310410"/>
              <a:gd name="connsiteY8425" fmla="*/ 501592 h 5296383"/>
              <a:gd name="connsiteX8426" fmla="*/ 7852977 w 9310410"/>
              <a:gd name="connsiteY8426" fmla="*/ 499195 h 5296383"/>
              <a:gd name="connsiteX8427" fmla="*/ 7852378 w 9310410"/>
              <a:gd name="connsiteY8427" fmla="*/ 492004 h 5296383"/>
              <a:gd name="connsiteX8428" fmla="*/ 7843389 w 9310410"/>
              <a:gd name="connsiteY8428" fmla="*/ 486610 h 5296383"/>
              <a:gd name="connsiteX8429" fmla="*/ 7831403 w 9310410"/>
              <a:gd name="connsiteY8429" fmla="*/ 474625 h 5296383"/>
              <a:gd name="connsiteX8430" fmla="*/ 7833800 w 9310410"/>
              <a:gd name="connsiteY8430" fmla="*/ 472827 h 5296383"/>
              <a:gd name="connsiteX8431" fmla="*/ 7836797 w 9310410"/>
              <a:gd name="connsiteY8431" fmla="*/ 470430 h 5296383"/>
              <a:gd name="connsiteX8432" fmla="*/ 7840392 w 9310410"/>
              <a:gd name="connsiteY8432" fmla="*/ 468632 h 5296383"/>
              <a:gd name="connsiteX8433" fmla="*/ 7835598 w 9310410"/>
              <a:gd name="connsiteY8433" fmla="*/ 465037 h 5296383"/>
              <a:gd name="connsiteX8434" fmla="*/ 7827808 w 9310410"/>
              <a:gd name="connsiteY8434" fmla="*/ 463239 h 5296383"/>
              <a:gd name="connsiteX8435" fmla="*/ 7833201 w 9310410"/>
              <a:gd name="connsiteY8435" fmla="*/ 462040 h 5296383"/>
              <a:gd name="connsiteX8436" fmla="*/ 7835598 w 9310410"/>
              <a:gd name="connsiteY8436" fmla="*/ 459044 h 5296383"/>
              <a:gd name="connsiteX8437" fmla="*/ 7829605 w 9310410"/>
              <a:gd name="connsiteY8437" fmla="*/ 453650 h 5296383"/>
              <a:gd name="connsiteX8438" fmla="*/ 7817620 w 9310410"/>
              <a:gd name="connsiteY8438" fmla="*/ 453051 h 5296383"/>
              <a:gd name="connsiteX8439" fmla="*/ 7808031 w 9310410"/>
              <a:gd name="connsiteY8439" fmla="*/ 449455 h 5296383"/>
              <a:gd name="connsiteX8440" fmla="*/ 7812826 w 9310410"/>
              <a:gd name="connsiteY8440" fmla="*/ 445261 h 5296383"/>
              <a:gd name="connsiteX8441" fmla="*/ 7818819 w 9310410"/>
              <a:gd name="connsiteY8441" fmla="*/ 443463 h 5296383"/>
              <a:gd name="connsiteX8442" fmla="*/ 7811627 w 9310410"/>
              <a:gd name="connsiteY8442" fmla="*/ 440466 h 5296383"/>
              <a:gd name="connsiteX8443" fmla="*/ 7800240 w 9310410"/>
              <a:gd name="connsiteY8443" fmla="*/ 435073 h 5296383"/>
              <a:gd name="connsiteX8444" fmla="*/ 7790652 w 9310410"/>
              <a:gd name="connsiteY8444" fmla="*/ 429679 h 5296383"/>
              <a:gd name="connsiteX8445" fmla="*/ 7786458 w 9310410"/>
              <a:gd name="connsiteY8445" fmla="*/ 423087 h 5296383"/>
              <a:gd name="connsiteX8446" fmla="*/ 7795447 w 9310410"/>
              <a:gd name="connsiteY8446" fmla="*/ 420690 h 5296383"/>
              <a:gd name="connsiteX8447" fmla="*/ 7788255 w 9310410"/>
              <a:gd name="connsiteY8447" fmla="*/ 413499 h 5296383"/>
              <a:gd name="connsiteX8448" fmla="*/ 7786458 w 9310410"/>
              <a:gd name="connsiteY8448" fmla="*/ 408106 h 5296383"/>
              <a:gd name="connsiteX8449" fmla="*/ 7789454 w 9310410"/>
              <a:gd name="connsiteY8449" fmla="*/ 402113 h 5296383"/>
              <a:gd name="connsiteX8450" fmla="*/ 7794248 w 9310410"/>
              <a:gd name="connsiteY8450" fmla="*/ 399716 h 5296383"/>
              <a:gd name="connsiteX8451" fmla="*/ 7799042 w 9310410"/>
              <a:gd name="connsiteY8451" fmla="*/ 396719 h 5296383"/>
              <a:gd name="connsiteX8452" fmla="*/ 7796046 w 9310410"/>
              <a:gd name="connsiteY8452" fmla="*/ 390727 h 5296383"/>
              <a:gd name="connsiteX8453" fmla="*/ 7794248 w 9310410"/>
              <a:gd name="connsiteY8453" fmla="*/ 386532 h 5296383"/>
              <a:gd name="connsiteX8454" fmla="*/ 7791851 w 9310410"/>
              <a:gd name="connsiteY8454" fmla="*/ 379940 h 5296383"/>
              <a:gd name="connsiteX8455" fmla="*/ 7783461 w 9310410"/>
              <a:gd name="connsiteY8455" fmla="*/ 372748 h 5296383"/>
              <a:gd name="connsiteX8456" fmla="*/ 7790652 w 9310410"/>
              <a:gd name="connsiteY8456" fmla="*/ 371550 h 5296383"/>
              <a:gd name="connsiteX8457" fmla="*/ 7806833 w 9310410"/>
              <a:gd name="connsiteY8457" fmla="*/ 381738 h 5296383"/>
              <a:gd name="connsiteX8458" fmla="*/ 7812826 w 9310410"/>
              <a:gd name="connsiteY8458" fmla="*/ 380539 h 5296383"/>
              <a:gd name="connsiteX8459" fmla="*/ 7818219 w 9310410"/>
              <a:gd name="connsiteY8459" fmla="*/ 378142 h 5296383"/>
              <a:gd name="connsiteX8460" fmla="*/ 7822414 w 9310410"/>
              <a:gd name="connsiteY8460" fmla="*/ 374546 h 5296383"/>
              <a:gd name="connsiteX8461" fmla="*/ 7826609 w 9310410"/>
              <a:gd name="connsiteY8461" fmla="*/ 355969 h 5296383"/>
              <a:gd name="connsiteX8462" fmla="*/ 7826010 w 9310410"/>
              <a:gd name="connsiteY8462" fmla="*/ 348777 h 5296383"/>
              <a:gd name="connsiteX8463" fmla="*/ 7826010 w 9310410"/>
              <a:gd name="connsiteY8463" fmla="*/ 337391 h 5296383"/>
              <a:gd name="connsiteX8464" fmla="*/ 7818219 w 9310410"/>
              <a:gd name="connsiteY8464" fmla="*/ 324207 h 5296383"/>
              <a:gd name="connsiteX8465" fmla="*/ 7811028 w 9310410"/>
              <a:gd name="connsiteY8465" fmla="*/ 306229 h 5296383"/>
              <a:gd name="connsiteX8466" fmla="*/ 7803237 w 9310410"/>
              <a:gd name="connsiteY8466" fmla="*/ 292446 h 5296383"/>
              <a:gd name="connsiteX8467" fmla="*/ 7796046 w 9310410"/>
              <a:gd name="connsiteY8467" fmla="*/ 289449 h 5296383"/>
              <a:gd name="connsiteX8468" fmla="*/ 7787656 w 9310410"/>
              <a:gd name="connsiteY8468" fmla="*/ 284655 h 5296383"/>
              <a:gd name="connsiteX8469" fmla="*/ 7786458 w 9310410"/>
              <a:gd name="connsiteY8469" fmla="*/ 279262 h 5296383"/>
              <a:gd name="connsiteX8470" fmla="*/ 7806233 w 9310410"/>
              <a:gd name="connsiteY8470" fmla="*/ 286453 h 5296383"/>
              <a:gd name="connsiteX8471" fmla="*/ 7814623 w 9310410"/>
              <a:gd name="connsiteY8471" fmla="*/ 287052 h 5296383"/>
              <a:gd name="connsiteX8472" fmla="*/ 7820616 w 9310410"/>
              <a:gd name="connsiteY8472" fmla="*/ 284655 h 5296383"/>
              <a:gd name="connsiteX8473" fmla="*/ 7826010 w 9310410"/>
              <a:gd name="connsiteY8473" fmla="*/ 282258 h 5296383"/>
              <a:gd name="connsiteX8474" fmla="*/ 7830204 w 9310410"/>
              <a:gd name="connsiteY8474" fmla="*/ 278662 h 5296383"/>
              <a:gd name="connsiteX8475" fmla="*/ 7832002 w 9310410"/>
              <a:gd name="connsiteY8475" fmla="*/ 273269 h 5296383"/>
              <a:gd name="connsiteX8476" fmla="*/ 7831403 w 9310410"/>
              <a:gd name="connsiteY8476" fmla="*/ 271471 h 5296383"/>
              <a:gd name="connsiteX8477" fmla="*/ 7795447 w 9310410"/>
              <a:gd name="connsiteY8477" fmla="*/ 246901 h 5296383"/>
              <a:gd name="connsiteX8478" fmla="*/ 7569520 w 9310410"/>
              <a:gd name="connsiteY8478" fmla="*/ 100678 h 5296383"/>
              <a:gd name="connsiteX8479" fmla="*/ 7390338 w 9310410"/>
              <a:gd name="connsiteY8479" fmla="*/ 0 h 5296383"/>
              <a:gd name="connsiteX8480" fmla="*/ 7093697 w 9310410"/>
              <a:gd name="connsiteY8480" fmla="*/ 0 h 5296383"/>
              <a:gd name="connsiteX8481" fmla="*/ 7039163 w 9310410"/>
              <a:gd name="connsiteY8481" fmla="*/ 0 h 5296383"/>
              <a:gd name="connsiteX8482" fmla="*/ 6983431 w 9310410"/>
              <a:gd name="connsiteY8482" fmla="*/ 0 h 5296383"/>
              <a:gd name="connsiteX8483" fmla="*/ 7003206 w 9310410"/>
              <a:gd name="connsiteY8483" fmla="*/ 10787 h 5296383"/>
              <a:gd name="connsiteX8484" fmla="*/ 7021784 w 9310410"/>
              <a:gd name="connsiteY8484" fmla="*/ 15581 h 5296383"/>
              <a:gd name="connsiteX8485" fmla="*/ 7010997 w 9310410"/>
              <a:gd name="connsiteY8485" fmla="*/ 17379 h 5296383"/>
              <a:gd name="connsiteX8486" fmla="*/ 7008600 w 9310410"/>
              <a:gd name="connsiteY8486" fmla="*/ 19776 h 5296383"/>
              <a:gd name="connsiteX8487" fmla="*/ 6998412 w 9310410"/>
              <a:gd name="connsiteY8487" fmla="*/ 25170 h 5296383"/>
              <a:gd name="connsiteX8488" fmla="*/ 6977438 w 9310410"/>
              <a:gd name="connsiteY8488" fmla="*/ 30563 h 5296383"/>
              <a:gd name="connsiteX8489" fmla="*/ 6981632 w 9310410"/>
              <a:gd name="connsiteY8489" fmla="*/ 40151 h 5296383"/>
              <a:gd name="connsiteX8490" fmla="*/ 6977438 w 9310410"/>
              <a:gd name="connsiteY8490" fmla="*/ 38953 h 5296383"/>
              <a:gd name="connsiteX8491" fmla="*/ 6967850 w 9310410"/>
              <a:gd name="connsiteY8491" fmla="*/ 32960 h 5296383"/>
              <a:gd name="connsiteX8492" fmla="*/ 6952868 w 9310410"/>
              <a:gd name="connsiteY8492" fmla="*/ 22772 h 5296383"/>
              <a:gd name="connsiteX8493" fmla="*/ 6932492 w 9310410"/>
              <a:gd name="connsiteY8493" fmla="*/ 22173 h 5296383"/>
              <a:gd name="connsiteX8494" fmla="*/ 6917510 w 9310410"/>
              <a:gd name="connsiteY8494" fmla="*/ 31162 h 5296383"/>
              <a:gd name="connsiteX8495" fmla="*/ 6910919 w 9310410"/>
              <a:gd name="connsiteY8495" fmla="*/ 34758 h 5296383"/>
              <a:gd name="connsiteX8496" fmla="*/ 6891142 w 9310410"/>
              <a:gd name="connsiteY8496" fmla="*/ 38953 h 5296383"/>
              <a:gd name="connsiteX8497" fmla="*/ 6879157 w 9310410"/>
              <a:gd name="connsiteY8497" fmla="*/ 43148 h 5296383"/>
              <a:gd name="connsiteX8498" fmla="*/ 6885149 w 9310410"/>
              <a:gd name="connsiteY8498" fmla="*/ 48541 h 5296383"/>
              <a:gd name="connsiteX8499" fmla="*/ 6897734 w 9310410"/>
              <a:gd name="connsiteY8499" fmla="*/ 52736 h 5296383"/>
              <a:gd name="connsiteX8500" fmla="*/ 6879756 w 9310410"/>
              <a:gd name="connsiteY8500" fmla="*/ 53335 h 5296383"/>
              <a:gd name="connsiteX8501" fmla="*/ 6870168 w 9310410"/>
              <a:gd name="connsiteY8501" fmla="*/ 65321 h 5296383"/>
              <a:gd name="connsiteX8502" fmla="*/ 6880955 w 9310410"/>
              <a:gd name="connsiteY8502" fmla="*/ 76108 h 5296383"/>
              <a:gd name="connsiteX8503" fmla="*/ 6883951 w 9310410"/>
              <a:gd name="connsiteY8503" fmla="*/ 80303 h 5296383"/>
              <a:gd name="connsiteX8504" fmla="*/ 6870168 w 9310410"/>
              <a:gd name="connsiteY8504" fmla="*/ 78505 h 5296383"/>
              <a:gd name="connsiteX8505" fmla="*/ 6851590 w 9310410"/>
              <a:gd name="connsiteY8505" fmla="*/ 74909 h 5296383"/>
              <a:gd name="connsiteX8506" fmla="*/ 6853988 w 9310410"/>
              <a:gd name="connsiteY8506" fmla="*/ 83299 h 5296383"/>
              <a:gd name="connsiteX8507" fmla="*/ 6861778 w 9310410"/>
              <a:gd name="connsiteY8507" fmla="*/ 92887 h 5296383"/>
              <a:gd name="connsiteX8508" fmla="*/ 4253738 w 9310410"/>
              <a:gd name="connsiteY8508" fmla="*/ 1659989 h 5296383"/>
              <a:gd name="connsiteX8509" fmla="*/ 4244149 w 9310410"/>
              <a:gd name="connsiteY8509" fmla="*/ 1670776 h 5296383"/>
              <a:gd name="connsiteX8510" fmla="*/ 4247146 w 9310410"/>
              <a:gd name="connsiteY8510" fmla="*/ 1682761 h 5296383"/>
              <a:gd name="connsiteX8511" fmla="*/ 4247745 w 9310410"/>
              <a:gd name="connsiteY8511" fmla="*/ 1694148 h 5296383"/>
              <a:gd name="connsiteX8512" fmla="*/ 4253738 w 9310410"/>
              <a:gd name="connsiteY8512" fmla="*/ 1706133 h 5296383"/>
              <a:gd name="connsiteX8513" fmla="*/ 4260929 w 9310410"/>
              <a:gd name="connsiteY8513" fmla="*/ 1697743 h 5296383"/>
              <a:gd name="connsiteX8514" fmla="*/ 4273514 w 9310410"/>
              <a:gd name="connsiteY8514" fmla="*/ 1692350 h 5296383"/>
              <a:gd name="connsiteX8515" fmla="*/ 4262727 w 9310410"/>
              <a:gd name="connsiteY8515" fmla="*/ 1683361 h 5296383"/>
              <a:gd name="connsiteX8516" fmla="*/ 4256135 w 9310410"/>
              <a:gd name="connsiteY8516" fmla="*/ 1674971 h 5296383"/>
              <a:gd name="connsiteX8517" fmla="*/ 4265723 w 9310410"/>
              <a:gd name="connsiteY8517" fmla="*/ 1672574 h 5296383"/>
              <a:gd name="connsiteX8518" fmla="*/ 4277109 w 9310410"/>
              <a:gd name="connsiteY8518" fmla="*/ 1668978 h 5296383"/>
              <a:gd name="connsiteX8519" fmla="*/ 4297485 w 9310410"/>
              <a:gd name="connsiteY8519" fmla="*/ 1669577 h 5296383"/>
              <a:gd name="connsiteX8520" fmla="*/ 4325051 w 9310410"/>
              <a:gd name="connsiteY8520" fmla="*/ 1686357 h 5296383"/>
              <a:gd name="connsiteX8521" fmla="*/ 4334040 w 9310410"/>
              <a:gd name="connsiteY8521" fmla="*/ 1688155 h 5296383"/>
              <a:gd name="connsiteX8522" fmla="*/ 4341232 w 9310410"/>
              <a:gd name="connsiteY8522" fmla="*/ 1666581 h 5296383"/>
              <a:gd name="connsiteX8523" fmla="*/ 4358611 w 9310410"/>
              <a:gd name="connsiteY8523" fmla="*/ 1660588 h 5296383"/>
              <a:gd name="connsiteX8524" fmla="*/ 4365203 w 9310410"/>
              <a:gd name="connsiteY8524" fmla="*/ 1656393 h 5296383"/>
              <a:gd name="connsiteX8525" fmla="*/ 4369398 w 9310410"/>
              <a:gd name="connsiteY8525" fmla="*/ 1651000 h 5296383"/>
              <a:gd name="connsiteX8526" fmla="*/ 4369997 w 9310410"/>
              <a:gd name="connsiteY8526" fmla="*/ 1654595 h 5296383"/>
              <a:gd name="connsiteX8527" fmla="*/ 4375390 w 9310410"/>
              <a:gd name="connsiteY8527" fmla="*/ 1655794 h 5296383"/>
              <a:gd name="connsiteX8528" fmla="*/ 4388574 w 9310410"/>
              <a:gd name="connsiteY8528" fmla="*/ 1646805 h 5296383"/>
              <a:gd name="connsiteX8529" fmla="*/ 4390971 w 9310410"/>
              <a:gd name="connsiteY8529" fmla="*/ 1639614 h 5296383"/>
              <a:gd name="connsiteX8530" fmla="*/ 4384379 w 9310410"/>
              <a:gd name="connsiteY8530" fmla="*/ 1622834 h 5296383"/>
              <a:gd name="connsiteX8531" fmla="*/ 4382582 w 9310410"/>
              <a:gd name="connsiteY8531" fmla="*/ 1613845 h 5296383"/>
              <a:gd name="connsiteX8532" fmla="*/ 4367000 w 9310410"/>
              <a:gd name="connsiteY8532" fmla="*/ 1628827 h 5296383"/>
              <a:gd name="connsiteX8533" fmla="*/ 4362805 w 9310410"/>
              <a:gd name="connsiteY8533" fmla="*/ 1624032 h 5296383"/>
              <a:gd name="connsiteX8534" fmla="*/ 4358011 w 9310410"/>
              <a:gd name="connsiteY8534" fmla="*/ 1622834 h 5296383"/>
              <a:gd name="connsiteX8535" fmla="*/ 4354416 w 9310410"/>
              <a:gd name="connsiteY8535" fmla="*/ 1622235 h 5296383"/>
              <a:gd name="connsiteX8536" fmla="*/ 4341232 w 9310410"/>
              <a:gd name="connsiteY8536" fmla="*/ 1613845 h 5296383"/>
              <a:gd name="connsiteX8537" fmla="*/ 4328048 w 9310410"/>
              <a:gd name="connsiteY8537" fmla="*/ 1604256 h 5296383"/>
              <a:gd name="connsiteX8538" fmla="*/ 4314264 w 9310410"/>
              <a:gd name="connsiteY8538" fmla="*/ 1588076 h 5296383"/>
              <a:gd name="connsiteX8539" fmla="*/ 4304077 w 9310410"/>
              <a:gd name="connsiteY8539" fmla="*/ 1571296 h 5296383"/>
              <a:gd name="connsiteX8540" fmla="*/ 4297485 w 9310410"/>
              <a:gd name="connsiteY8540" fmla="*/ 1577888 h 5296383"/>
              <a:gd name="connsiteX8541" fmla="*/ 4292691 w 9310410"/>
              <a:gd name="connsiteY8541" fmla="*/ 1606654 h 5296383"/>
              <a:gd name="connsiteX8542" fmla="*/ 4290293 w 9310410"/>
              <a:gd name="connsiteY8542" fmla="*/ 1625830 h 5296383"/>
              <a:gd name="connsiteX8543" fmla="*/ 4285499 w 9310410"/>
              <a:gd name="connsiteY8543" fmla="*/ 1638415 h 5296383"/>
              <a:gd name="connsiteX8544" fmla="*/ 4279507 w 9310410"/>
              <a:gd name="connsiteY8544" fmla="*/ 1644408 h 5296383"/>
              <a:gd name="connsiteX8545" fmla="*/ 4265124 w 9310410"/>
              <a:gd name="connsiteY8545" fmla="*/ 1642011 h 5296383"/>
              <a:gd name="connsiteX8546" fmla="*/ 4256734 w 9310410"/>
              <a:gd name="connsiteY8546" fmla="*/ 1640213 h 5296383"/>
              <a:gd name="connsiteX8547" fmla="*/ 4260330 w 9310410"/>
              <a:gd name="connsiteY8547" fmla="*/ 1651000 h 5296383"/>
              <a:gd name="connsiteX8548" fmla="*/ 4253738 w 9310410"/>
              <a:gd name="connsiteY8548" fmla="*/ 1659989 h 5296383"/>
              <a:gd name="connsiteX8549" fmla="*/ 3964888 w 9310410"/>
              <a:gd name="connsiteY8549" fmla="*/ 1986593 h 5296383"/>
              <a:gd name="connsiteX8550" fmla="*/ 3967284 w 9310410"/>
              <a:gd name="connsiteY8550" fmla="*/ 1994983 h 5296383"/>
              <a:gd name="connsiteX8551" fmla="*/ 3972079 w 9310410"/>
              <a:gd name="connsiteY8551" fmla="*/ 1994384 h 5296383"/>
              <a:gd name="connsiteX8552" fmla="*/ 3976274 w 9310410"/>
              <a:gd name="connsiteY8552" fmla="*/ 1985994 h 5296383"/>
              <a:gd name="connsiteX8553" fmla="*/ 3978072 w 9310410"/>
              <a:gd name="connsiteY8553" fmla="*/ 1994983 h 5296383"/>
              <a:gd name="connsiteX8554" fmla="*/ 3978671 w 9310410"/>
              <a:gd name="connsiteY8554" fmla="*/ 1999178 h 5296383"/>
              <a:gd name="connsiteX8555" fmla="*/ 3976274 w 9310410"/>
              <a:gd name="connsiteY8555" fmla="*/ 2006369 h 5296383"/>
              <a:gd name="connsiteX8556" fmla="*/ 3973277 w 9310410"/>
              <a:gd name="connsiteY8556" fmla="*/ 2014759 h 5296383"/>
              <a:gd name="connsiteX8557" fmla="*/ 3968483 w 9310410"/>
              <a:gd name="connsiteY8557" fmla="*/ 2021950 h 5296383"/>
              <a:gd name="connsiteX8558" fmla="*/ 3971479 w 9310410"/>
              <a:gd name="connsiteY8558" fmla="*/ 2035134 h 5296383"/>
              <a:gd name="connsiteX8559" fmla="*/ 3970281 w 9310410"/>
              <a:gd name="connsiteY8559" fmla="*/ 2043524 h 5296383"/>
              <a:gd name="connsiteX8560" fmla="*/ 3970880 w 9310410"/>
              <a:gd name="connsiteY8560" fmla="*/ 2048918 h 5296383"/>
              <a:gd name="connsiteX8561" fmla="*/ 3976873 w 9310410"/>
              <a:gd name="connsiteY8561" fmla="*/ 2044723 h 5296383"/>
              <a:gd name="connsiteX8562" fmla="*/ 3976274 w 9310410"/>
              <a:gd name="connsiteY8562" fmla="*/ 2035134 h 5296383"/>
              <a:gd name="connsiteX8563" fmla="*/ 3983465 w 9310410"/>
              <a:gd name="connsiteY8563" fmla="*/ 2029741 h 5296383"/>
              <a:gd name="connsiteX8564" fmla="*/ 3982866 w 9310410"/>
              <a:gd name="connsiteY8564" fmla="*/ 2035134 h 5296383"/>
              <a:gd name="connsiteX8565" fmla="*/ 3981068 w 9310410"/>
              <a:gd name="connsiteY8565" fmla="*/ 2042326 h 5296383"/>
              <a:gd name="connsiteX8566" fmla="*/ 3979869 w 9310410"/>
              <a:gd name="connsiteY8566" fmla="*/ 2049517 h 5296383"/>
              <a:gd name="connsiteX8567" fmla="*/ 3979270 w 9310410"/>
              <a:gd name="connsiteY8567" fmla="*/ 2054910 h 5296383"/>
              <a:gd name="connsiteX8568" fmla="*/ 3994252 w 9310410"/>
              <a:gd name="connsiteY8568" fmla="*/ 2042326 h 5296383"/>
              <a:gd name="connsiteX8569" fmla="*/ 3999046 w 9310410"/>
              <a:gd name="connsiteY8569" fmla="*/ 2032138 h 5296383"/>
              <a:gd name="connsiteX8570" fmla="*/ 4003840 w 9310410"/>
              <a:gd name="connsiteY8570" fmla="*/ 2020153 h 5296383"/>
              <a:gd name="connsiteX8571" fmla="*/ 4015826 w 9310410"/>
              <a:gd name="connsiteY8571" fmla="*/ 1993185 h 5296383"/>
              <a:gd name="connsiteX8572" fmla="*/ 4016425 w 9310410"/>
              <a:gd name="connsiteY8572" fmla="*/ 1978803 h 5296383"/>
              <a:gd name="connsiteX8573" fmla="*/ 4012230 w 9310410"/>
              <a:gd name="connsiteY8573" fmla="*/ 1975207 h 5296383"/>
              <a:gd name="connsiteX8574" fmla="*/ 4012230 w 9310410"/>
              <a:gd name="connsiteY8574" fmla="*/ 1971611 h 5296383"/>
              <a:gd name="connsiteX8575" fmla="*/ 4008035 w 9310410"/>
              <a:gd name="connsiteY8575" fmla="*/ 1963821 h 5296383"/>
              <a:gd name="connsiteX8576" fmla="*/ 3994252 w 9310410"/>
              <a:gd name="connsiteY8576" fmla="*/ 1958427 h 5296383"/>
              <a:gd name="connsiteX8577" fmla="*/ 3986461 w 9310410"/>
              <a:gd name="connsiteY8577" fmla="*/ 1958427 h 5296383"/>
              <a:gd name="connsiteX8578" fmla="*/ 3966685 w 9310410"/>
              <a:gd name="connsiteY8578" fmla="*/ 1972810 h 5296383"/>
              <a:gd name="connsiteX8579" fmla="*/ 3964888 w 9310410"/>
              <a:gd name="connsiteY8579" fmla="*/ 1986593 h 5296383"/>
              <a:gd name="connsiteX8580" fmla="*/ 4105717 w 9310410"/>
              <a:gd name="connsiteY8580" fmla="*/ 1898500 h 5296383"/>
              <a:gd name="connsiteX8581" fmla="*/ 4087739 w 9310410"/>
              <a:gd name="connsiteY8581" fmla="*/ 1899698 h 5296383"/>
              <a:gd name="connsiteX8582" fmla="*/ 4077551 w 9310410"/>
              <a:gd name="connsiteY8582" fmla="*/ 1902695 h 5296383"/>
              <a:gd name="connsiteX8583" fmla="*/ 4066764 w 9310410"/>
              <a:gd name="connsiteY8583" fmla="*/ 1903294 h 5296383"/>
              <a:gd name="connsiteX8584" fmla="*/ 4053580 w 9310410"/>
              <a:gd name="connsiteY8584" fmla="*/ 1903893 h 5296383"/>
              <a:gd name="connsiteX8585" fmla="*/ 4041595 w 9310410"/>
              <a:gd name="connsiteY8585" fmla="*/ 1908688 h 5296383"/>
              <a:gd name="connsiteX8586" fmla="*/ 4026014 w 9310410"/>
              <a:gd name="connsiteY8586" fmla="*/ 1921872 h 5296383"/>
              <a:gd name="connsiteX8587" fmla="*/ 4011032 w 9310410"/>
              <a:gd name="connsiteY8587" fmla="*/ 1926666 h 5296383"/>
              <a:gd name="connsiteX8588" fmla="*/ 4003840 w 9310410"/>
              <a:gd name="connsiteY8588" fmla="*/ 1933857 h 5296383"/>
              <a:gd name="connsiteX8589" fmla="*/ 3988259 w 9310410"/>
              <a:gd name="connsiteY8589" fmla="*/ 1945843 h 5296383"/>
              <a:gd name="connsiteX8590" fmla="*/ 3987660 w 9310410"/>
              <a:gd name="connsiteY8590" fmla="*/ 1955431 h 5296383"/>
              <a:gd name="connsiteX8591" fmla="*/ 3992454 w 9310410"/>
              <a:gd name="connsiteY8591" fmla="*/ 1959626 h 5296383"/>
              <a:gd name="connsiteX8592" fmla="*/ 4001443 w 9310410"/>
              <a:gd name="connsiteY8592" fmla="*/ 1957229 h 5296383"/>
              <a:gd name="connsiteX8593" fmla="*/ 4012830 w 9310410"/>
              <a:gd name="connsiteY8593" fmla="*/ 1956629 h 5296383"/>
              <a:gd name="connsiteX8594" fmla="*/ 4021819 w 9310410"/>
              <a:gd name="connsiteY8594" fmla="*/ 1954832 h 5296383"/>
              <a:gd name="connsiteX8595" fmla="*/ 4025414 w 9310410"/>
              <a:gd name="connsiteY8595" fmla="*/ 1955431 h 5296383"/>
              <a:gd name="connsiteX8596" fmla="*/ 4033205 w 9310410"/>
              <a:gd name="connsiteY8596" fmla="*/ 1951835 h 5296383"/>
              <a:gd name="connsiteX8597" fmla="*/ 4038598 w 9310410"/>
              <a:gd name="connsiteY8597" fmla="*/ 1945843 h 5296383"/>
              <a:gd name="connsiteX8598" fmla="*/ 4043992 w 9310410"/>
              <a:gd name="connsiteY8598" fmla="*/ 1941048 h 5296383"/>
              <a:gd name="connsiteX8599" fmla="*/ 4051782 w 9310410"/>
              <a:gd name="connsiteY8599" fmla="*/ 1938651 h 5296383"/>
              <a:gd name="connsiteX8600" fmla="*/ 4057176 w 9310410"/>
              <a:gd name="connsiteY8600" fmla="*/ 1936254 h 5296383"/>
              <a:gd name="connsiteX8601" fmla="*/ 4067363 w 9310410"/>
              <a:gd name="connsiteY8601" fmla="*/ 1933857 h 5296383"/>
              <a:gd name="connsiteX8602" fmla="*/ 4078150 w 9310410"/>
              <a:gd name="connsiteY8602" fmla="*/ 1930861 h 5296383"/>
              <a:gd name="connsiteX8603" fmla="*/ 4093132 w 9310410"/>
              <a:gd name="connsiteY8603" fmla="*/ 1927864 h 5296383"/>
              <a:gd name="connsiteX8604" fmla="*/ 4109912 w 9310410"/>
              <a:gd name="connsiteY8604" fmla="*/ 1944045 h 5296383"/>
              <a:gd name="connsiteX8605" fmla="*/ 4105117 w 9310410"/>
              <a:gd name="connsiteY8605" fmla="*/ 1954232 h 5296383"/>
              <a:gd name="connsiteX8606" fmla="*/ 4106916 w 9310410"/>
              <a:gd name="connsiteY8606" fmla="*/ 1965619 h 5296383"/>
              <a:gd name="connsiteX8607" fmla="*/ 4122497 w 9310410"/>
              <a:gd name="connsiteY8607" fmla="*/ 1972810 h 5296383"/>
              <a:gd name="connsiteX8608" fmla="*/ 4130887 w 9310410"/>
              <a:gd name="connsiteY8608" fmla="*/ 1956030 h 5296383"/>
              <a:gd name="connsiteX8609" fmla="*/ 4132684 w 9310410"/>
              <a:gd name="connsiteY8609" fmla="*/ 1951835 h 5296383"/>
              <a:gd name="connsiteX8610" fmla="*/ 4136879 w 9310410"/>
              <a:gd name="connsiteY8610" fmla="*/ 1944644 h 5296383"/>
              <a:gd name="connsiteX8611" fmla="*/ 4147666 w 9310410"/>
              <a:gd name="connsiteY8611" fmla="*/ 1942846 h 5296383"/>
              <a:gd name="connsiteX8612" fmla="*/ 4151861 w 9310410"/>
              <a:gd name="connsiteY8612" fmla="*/ 1938052 h 5296383"/>
              <a:gd name="connsiteX8613" fmla="*/ 4148865 w 9310410"/>
              <a:gd name="connsiteY8613" fmla="*/ 1924269 h 5296383"/>
              <a:gd name="connsiteX8614" fmla="*/ 4165644 w 9310410"/>
              <a:gd name="connsiteY8614" fmla="*/ 1926066 h 5296383"/>
              <a:gd name="connsiteX8615" fmla="*/ 4165045 w 9310410"/>
              <a:gd name="connsiteY8615" fmla="*/ 1930861 h 5296383"/>
              <a:gd name="connsiteX8616" fmla="*/ 4157854 w 9310410"/>
              <a:gd name="connsiteY8616" fmla="*/ 1935056 h 5296383"/>
              <a:gd name="connsiteX8617" fmla="*/ 4182424 w 9310410"/>
              <a:gd name="connsiteY8617" fmla="*/ 1934456 h 5296383"/>
              <a:gd name="connsiteX8618" fmla="*/ 4195009 w 9310410"/>
              <a:gd name="connsiteY8618" fmla="*/ 1932059 h 5296383"/>
              <a:gd name="connsiteX8619" fmla="*/ 4197406 w 9310410"/>
              <a:gd name="connsiteY8619" fmla="*/ 1927265 h 5296383"/>
              <a:gd name="connsiteX8620" fmla="*/ 4201001 w 9310410"/>
              <a:gd name="connsiteY8620" fmla="*/ 1920673 h 5296383"/>
              <a:gd name="connsiteX8621" fmla="*/ 4208792 w 9310410"/>
              <a:gd name="connsiteY8621" fmla="*/ 1918276 h 5296383"/>
              <a:gd name="connsiteX8622" fmla="*/ 4206395 w 9310410"/>
              <a:gd name="connsiteY8622" fmla="*/ 1932059 h 5296383"/>
              <a:gd name="connsiteX8623" fmla="*/ 4205196 w 9310410"/>
              <a:gd name="connsiteY8623" fmla="*/ 1940449 h 5296383"/>
              <a:gd name="connsiteX8624" fmla="*/ 4216583 w 9310410"/>
              <a:gd name="connsiteY8624" fmla="*/ 1928464 h 5296383"/>
              <a:gd name="connsiteX8625" fmla="*/ 4223175 w 9310410"/>
              <a:gd name="connsiteY8625" fmla="*/ 1917077 h 5296383"/>
              <a:gd name="connsiteX8626" fmla="*/ 4228568 w 9310410"/>
              <a:gd name="connsiteY8626" fmla="*/ 1910485 h 5296383"/>
              <a:gd name="connsiteX8627" fmla="*/ 4238756 w 9310410"/>
              <a:gd name="connsiteY8627" fmla="*/ 1900298 h 5296383"/>
              <a:gd name="connsiteX8628" fmla="*/ 4238156 w 9310410"/>
              <a:gd name="connsiteY8628" fmla="*/ 1909886 h 5296383"/>
              <a:gd name="connsiteX8629" fmla="*/ 4235160 w 9310410"/>
              <a:gd name="connsiteY8629" fmla="*/ 1927864 h 5296383"/>
              <a:gd name="connsiteX8630" fmla="*/ 4245348 w 9310410"/>
              <a:gd name="connsiteY8630" fmla="*/ 1917677 h 5296383"/>
              <a:gd name="connsiteX8631" fmla="*/ 4250142 w 9310410"/>
              <a:gd name="connsiteY8631" fmla="*/ 1908688 h 5296383"/>
              <a:gd name="connsiteX8632" fmla="*/ 4256135 w 9310410"/>
              <a:gd name="connsiteY8632" fmla="*/ 1903294 h 5296383"/>
              <a:gd name="connsiteX8633" fmla="*/ 4254936 w 9310410"/>
              <a:gd name="connsiteY8633" fmla="*/ 1893706 h 5296383"/>
              <a:gd name="connsiteX8634" fmla="*/ 4258532 w 9310410"/>
              <a:gd name="connsiteY8634" fmla="*/ 1867338 h 5296383"/>
              <a:gd name="connsiteX8635" fmla="*/ 4265723 w 9310410"/>
              <a:gd name="connsiteY8635" fmla="*/ 1834977 h 5296383"/>
              <a:gd name="connsiteX8636" fmla="*/ 4275911 w 9310410"/>
              <a:gd name="connsiteY8636" fmla="*/ 1818796 h 5296383"/>
              <a:gd name="connsiteX8637" fmla="*/ 4281304 w 9310410"/>
              <a:gd name="connsiteY8637" fmla="*/ 1812804 h 5296383"/>
              <a:gd name="connsiteX8638" fmla="*/ 4284301 w 9310410"/>
              <a:gd name="connsiteY8638" fmla="*/ 1800818 h 5296383"/>
              <a:gd name="connsiteX8639" fmla="*/ 4290893 w 9310410"/>
              <a:gd name="connsiteY8639" fmla="*/ 1781042 h 5296383"/>
              <a:gd name="connsiteX8640" fmla="*/ 4291492 w 9310410"/>
              <a:gd name="connsiteY8640" fmla="*/ 1775649 h 5296383"/>
              <a:gd name="connsiteX8641" fmla="*/ 4292691 w 9310410"/>
              <a:gd name="connsiteY8641" fmla="*/ 1765461 h 5296383"/>
              <a:gd name="connsiteX8642" fmla="*/ 4291492 w 9310410"/>
              <a:gd name="connsiteY8642" fmla="*/ 1757671 h 5296383"/>
              <a:gd name="connsiteX8643" fmla="*/ 4286098 w 9310410"/>
              <a:gd name="connsiteY8643" fmla="*/ 1741490 h 5296383"/>
              <a:gd name="connsiteX8644" fmla="*/ 4277709 w 9310410"/>
              <a:gd name="connsiteY8644" fmla="*/ 1720516 h 5296383"/>
              <a:gd name="connsiteX8645" fmla="*/ 4280106 w 9310410"/>
              <a:gd name="connsiteY8645" fmla="*/ 1712126 h 5296383"/>
              <a:gd name="connsiteX8646" fmla="*/ 4278907 w 9310410"/>
              <a:gd name="connsiteY8646" fmla="*/ 1703736 h 5296383"/>
              <a:gd name="connsiteX8647" fmla="*/ 4268120 w 9310410"/>
              <a:gd name="connsiteY8647" fmla="*/ 1707931 h 5296383"/>
              <a:gd name="connsiteX8648" fmla="*/ 4270517 w 9310410"/>
              <a:gd name="connsiteY8648" fmla="*/ 1713324 h 5296383"/>
              <a:gd name="connsiteX8649" fmla="*/ 4273514 w 9310410"/>
              <a:gd name="connsiteY8649" fmla="*/ 1719916 h 5296383"/>
              <a:gd name="connsiteX8650" fmla="*/ 4269319 w 9310410"/>
              <a:gd name="connsiteY8650" fmla="*/ 1726508 h 5296383"/>
              <a:gd name="connsiteX8651" fmla="*/ 4262727 w 9310410"/>
              <a:gd name="connsiteY8651" fmla="*/ 1723512 h 5296383"/>
              <a:gd name="connsiteX8652" fmla="*/ 4252539 w 9310410"/>
              <a:gd name="connsiteY8652" fmla="*/ 1721115 h 5296383"/>
              <a:gd name="connsiteX8653" fmla="*/ 4246546 w 9310410"/>
              <a:gd name="connsiteY8653" fmla="*/ 1729505 h 5296383"/>
              <a:gd name="connsiteX8654" fmla="*/ 4241153 w 9310410"/>
              <a:gd name="connsiteY8654" fmla="*/ 1733700 h 5296383"/>
              <a:gd name="connsiteX8655" fmla="*/ 4241153 w 9310410"/>
              <a:gd name="connsiteY8655" fmla="*/ 1745685 h 5296383"/>
              <a:gd name="connsiteX8656" fmla="*/ 4241752 w 9310410"/>
              <a:gd name="connsiteY8656" fmla="*/ 1754075 h 5296383"/>
              <a:gd name="connsiteX8657" fmla="*/ 4244149 w 9310410"/>
              <a:gd name="connsiteY8657" fmla="*/ 1757071 h 5296383"/>
              <a:gd name="connsiteX8658" fmla="*/ 4244149 w 9310410"/>
              <a:gd name="connsiteY8658" fmla="*/ 1766060 h 5296383"/>
              <a:gd name="connsiteX8659" fmla="*/ 4239954 w 9310410"/>
              <a:gd name="connsiteY8659" fmla="*/ 1781642 h 5296383"/>
              <a:gd name="connsiteX8660" fmla="*/ 4236958 w 9310410"/>
              <a:gd name="connsiteY8660" fmla="*/ 1794826 h 5296383"/>
              <a:gd name="connsiteX8661" fmla="*/ 4223774 w 9310410"/>
              <a:gd name="connsiteY8661" fmla="*/ 1815201 h 5296383"/>
              <a:gd name="connsiteX8662" fmla="*/ 4198005 w 9310410"/>
              <a:gd name="connsiteY8662" fmla="*/ 1842767 h 5296383"/>
              <a:gd name="connsiteX8663" fmla="*/ 4182424 w 9310410"/>
              <a:gd name="connsiteY8663" fmla="*/ 1853554 h 5296383"/>
              <a:gd name="connsiteX8664" fmla="*/ 4175233 w 9310410"/>
              <a:gd name="connsiteY8664" fmla="*/ 1857749 h 5296383"/>
              <a:gd name="connsiteX8665" fmla="*/ 4165644 w 9310410"/>
              <a:gd name="connsiteY8665" fmla="*/ 1857749 h 5296383"/>
              <a:gd name="connsiteX8666" fmla="*/ 4165045 w 9310410"/>
              <a:gd name="connsiteY8666" fmla="*/ 1848760 h 5296383"/>
              <a:gd name="connsiteX8667" fmla="*/ 4165644 w 9310410"/>
              <a:gd name="connsiteY8667" fmla="*/ 1841569 h 5296383"/>
              <a:gd name="connsiteX8668" fmla="*/ 4150663 w 9310410"/>
              <a:gd name="connsiteY8668" fmla="*/ 1857150 h 5296383"/>
              <a:gd name="connsiteX8669" fmla="*/ 4138677 w 9310410"/>
              <a:gd name="connsiteY8669" fmla="*/ 1876926 h 5296383"/>
              <a:gd name="connsiteX8670" fmla="*/ 4130887 w 9310410"/>
              <a:gd name="connsiteY8670" fmla="*/ 1893706 h 5296383"/>
              <a:gd name="connsiteX8671" fmla="*/ 4122497 w 9310410"/>
              <a:gd name="connsiteY8671" fmla="*/ 1900897 h 5296383"/>
              <a:gd name="connsiteX8672" fmla="*/ 4110511 w 9310410"/>
              <a:gd name="connsiteY8672" fmla="*/ 1899698 h 5296383"/>
              <a:gd name="connsiteX8673" fmla="*/ 4105717 w 9310410"/>
              <a:gd name="connsiteY8673" fmla="*/ 1898500 h 5296383"/>
              <a:gd name="connsiteX8674" fmla="*/ 3174445 w 9310410"/>
              <a:gd name="connsiteY8674" fmla="*/ 2738083 h 5296383"/>
              <a:gd name="connsiteX8675" fmla="*/ 3172048 w 9310410"/>
              <a:gd name="connsiteY8675" fmla="*/ 2746473 h 5296383"/>
              <a:gd name="connsiteX8676" fmla="*/ 3176842 w 9310410"/>
              <a:gd name="connsiteY8676" fmla="*/ 2744075 h 5296383"/>
              <a:gd name="connsiteX8677" fmla="*/ 3174445 w 9310410"/>
              <a:gd name="connsiteY8677" fmla="*/ 2738083 h 5296383"/>
              <a:gd name="connsiteX8678" fmla="*/ 3646074 w 9310410"/>
              <a:gd name="connsiteY8678" fmla="*/ 2549911 h 5296383"/>
              <a:gd name="connsiteX8679" fmla="*/ 3638882 w 9310410"/>
              <a:gd name="connsiteY8679" fmla="*/ 2549311 h 5296383"/>
              <a:gd name="connsiteX8680" fmla="*/ 3640680 w 9310410"/>
              <a:gd name="connsiteY8680" fmla="*/ 2557102 h 5296383"/>
              <a:gd name="connsiteX8681" fmla="*/ 3643677 w 9310410"/>
              <a:gd name="connsiteY8681" fmla="*/ 2567290 h 5296383"/>
              <a:gd name="connsiteX8682" fmla="*/ 3647872 w 9310410"/>
              <a:gd name="connsiteY8682" fmla="*/ 2582272 h 5296383"/>
              <a:gd name="connsiteX8683" fmla="*/ 3651467 w 9310410"/>
              <a:gd name="connsiteY8683" fmla="*/ 2602048 h 5296383"/>
              <a:gd name="connsiteX8684" fmla="*/ 3658658 w 9310410"/>
              <a:gd name="connsiteY8684" fmla="*/ 2602647 h 5296383"/>
              <a:gd name="connsiteX8685" fmla="*/ 3663453 w 9310410"/>
              <a:gd name="connsiteY8685" fmla="*/ 2598452 h 5296383"/>
              <a:gd name="connsiteX8686" fmla="*/ 3664651 w 9310410"/>
              <a:gd name="connsiteY8686" fmla="*/ 2611037 h 5296383"/>
              <a:gd name="connsiteX8687" fmla="*/ 3662254 w 9310410"/>
              <a:gd name="connsiteY8687" fmla="*/ 2619427 h 5296383"/>
              <a:gd name="connsiteX8688" fmla="*/ 3659857 w 9310410"/>
              <a:gd name="connsiteY8688" fmla="*/ 2627816 h 5296383"/>
              <a:gd name="connsiteX8689" fmla="*/ 3664651 w 9310410"/>
              <a:gd name="connsiteY8689" fmla="*/ 2626618 h 5296383"/>
              <a:gd name="connsiteX8690" fmla="*/ 3665850 w 9310410"/>
              <a:gd name="connsiteY8690" fmla="*/ 2629015 h 5296383"/>
              <a:gd name="connsiteX8691" fmla="*/ 3669446 w 9310410"/>
              <a:gd name="connsiteY8691" fmla="*/ 2630813 h 5296383"/>
              <a:gd name="connsiteX8692" fmla="*/ 3673640 w 9310410"/>
              <a:gd name="connsiteY8692" fmla="*/ 2633210 h 5296383"/>
              <a:gd name="connsiteX8693" fmla="*/ 3683828 w 9310410"/>
              <a:gd name="connsiteY8693" fmla="*/ 2632611 h 5296383"/>
              <a:gd name="connsiteX8694" fmla="*/ 3701207 w 9310410"/>
              <a:gd name="connsiteY8694" fmla="*/ 2632011 h 5296383"/>
              <a:gd name="connsiteX8695" fmla="*/ 3711395 w 9310410"/>
              <a:gd name="connsiteY8695" fmla="*/ 2645195 h 5296383"/>
              <a:gd name="connsiteX8696" fmla="*/ 3717987 w 9310410"/>
              <a:gd name="connsiteY8696" fmla="*/ 2642798 h 5296383"/>
              <a:gd name="connsiteX8697" fmla="*/ 3715589 w 9310410"/>
              <a:gd name="connsiteY8697" fmla="*/ 2633210 h 5296383"/>
              <a:gd name="connsiteX8698" fmla="*/ 3724579 w 9310410"/>
              <a:gd name="connsiteY8698" fmla="*/ 2635607 h 5296383"/>
              <a:gd name="connsiteX8699" fmla="*/ 3732369 w 9310410"/>
              <a:gd name="connsiteY8699" fmla="*/ 2645795 h 5296383"/>
              <a:gd name="connsiteX8700" fmla="*/ 3732969 w 9310410"/>
              <a:gd name="connsiteY8700" fmla="*/ 2652986 h 5296383"/>
              <a:gd name="connsiteX8701" fmla="*/ 3745553 w 9310410"/>
              <a:gd name="connsiteY8701" fmla="*/ 2661975 h 5296383"/>
              <a:gd name="connsiteX8702" fmla="*/ 3751546 w 9310410"/>
              <a:gd name="connsiteY8702" fmla="*/ 2666170 h 5296383"/>
              <a:gd name="connsiteX8703" fmla="*/ 3759936 w 9310410"/>
              <a:gd name="connsiteY8703" fmla="*/ 2670964 h 5296383"/>
              <a:gd name="connsiteX8704" fmla="*/ 3761734 w 9310410"/>
              <a:gd name="connsiteY8704" fmla="*/ 2665571 h 5296383"/>
              <a:gd name="connsiteX8705" fmla="*/ 3759337 w 9310410"/>
              <a:gd name="connsiteY8705" fmla="*/ 2660177 h 5296383"/>
              <a:gd name="connsiteX8706" fmla="*/ 3750947 w 9310410"/>
              <a:gd name="connsiteY8706" fmla="*/ 2646394 h 5296383"/>
              <a:gd name="connsiteX8707" fmla="*/ 3746153 w 9310410"/>
              <a:gd name="connsiteY8707" fmla="*/ 2639802 h 5296383"/>
              <a:gd name="connsiteX8708" fmla="*/ 3747950 w 9310410"/>
              <a:gd name="connsiteY8708" fmla="*/ 2635008 h 5296383"/>
              <a:gd name="connsiteX8709" fmla="*/ 3753943 w 9310410"/>
              <a:gd name="connsiteY8709" fmla="*/ 2631412 h 5296383"/>
              <a:gd name="connsiteX8710" fmla="*/ 3744355 w 9310410"/>
              <a:gd name="connsiteY8710" fmla="*/ 2626019 h 5296383"/>
              <a:gd name="connsiteX8711" fmla="*/ 3740160 w 9310410"/>
              <a:gd name="connsiteY8711" fmla="*/ 2627217 h 5296383"/>
              <a:gd name="connsiteX8712" fmla="*/ 3734766 w 9310410"/>
              <a:gd name="connsiteY8712" fmla="*/ 2623622 h 5296383"/>
              <a:gd name="connsiteX8713" fmla="*/ 3723380 w 9310410"/>
              <a:gd name="connsiteY8713" fmla="*/ 2611636 h 5296383"/>
              <a:gd name="connsiteX8714" fmla="*/ 3713792 w 9310410"/>
              <a:gd name="connsiteY8714" fmla="*/ 2612235 h 5296383"/>
              <a:gd name="connsiteX8715" fmla="*/ 3708998 w 9310410"/>
              <a:gd name="connsiteY8715" fmla="*/ 2612835 h 5296383"/>
              <a:gd name="connsiteX8716" fmla="*/ 3705402 w 9310410"/>
              <a:gd name="connsiteY8716" fmla="*/ 2618228 h 5296383"/>
              <a:gd name="connsiteX8717" fmla="*/ 3701207 w 9310410"/>
              <a:gd name="connsiteY8717" fmla="*/ 2622423 h 5296383"/>
              <a:gd name="connsiteX8718" fmla="*/ 3693417 w 9310410"/>
              <a:gd name="connsiteY8718" fmla="*/ 2620026 h 5296383"/>
              <a:gd name="connsiteX8719" fmla="*/ 3689222 w 9310410"/>
              <a:gd name="connsiteY8719" fmla="*/ 2605643 h 5296383"/>
              <a:gd name="connsiteX8720" fmla="*/ 3684427 w 9310410"/>
              <a:gd name="connsiteY8720" fmla="*/ 2584669 h 5296383"/>
              <a:gd name="connsiteX8721" fmla="*/ 3691618 w 9310410"/>
              <a:gd name="connsiteY8721" fmla="*/ 2569088 h 5296383"/>
              <a:gd name="connsiteX8722" fmla="*/ 3697611 w 9310410"/>
              <a:gd name="connsiteY8722" fmla="*/ 2563694 h 5296383"/>
              <a:gd name="connsiteX8723" fmla="*/ 3693417 w 9310410"/>
              <a:gd name="connsiteY8723" fmla="*/ 2560698 h 5296383"/>
              <a:gd name="connsiteX8724" fmla="*/ 3695813 w 9310410"/>
              <a:gd name="connsiteY8724" fmla="*/ 2551709 h 5296383"/>
              <a:gd name="connsiteX8725" fmla="*/ 3704203 w 9310410"/>
              <a:gd name="connsiteY8725" fmla="*/ 2550510 h 5296383"/>
              <a:gd name="connsiteX8726" fmla="*/ 3709597 w 9310410"/>
              <a:gd name="connsiteY8726" fmla="*/ 2546315 h 5296383"/>
              <a:gd name="connsiteX8727" fmla="*/ 3711994 w 9310410"/>
              <a:gd name="connsiteY8727" fmla="*/ 2536727 h 5296383"/>
              <a:gd name="connsiteX8728" fmla="*/ 3715589 w 9310410"/>
              <a:gd name="connsiteY8728" fmla="*/ 2520546 h 5296383"/>
              <a:gd name="connsiteX8729" fmla="*/ 3716788 w 9310410"/>
              <a:gd name="connsiteY8729" fmla="*/ 2508561 h 5296383"/>
              <a:gd name="connsiteX8730" fmla="*/ 3716788 w 9310410"/>
              <a:gd name="connsiteY8730" fmla="*/ 2501969 h 5296383"/>
              <a:gd name="connsiteX8731" fmla="*/ 3713193 w 9310410"/>
              <a:gd name="connsiteY8731" fmla="*/ 2497774 h 5296383"/>
              <a:gd name="connsiteX8732" fmla="*/ 3714391 w 9310410"/>
              <a:gd name="connsiteY8732" fmla="*/ 2476799 h 5296383"/>
              <a:gd name="connsiteX8733" fmla="*/ 3713792 w 9310410"/>
              <a:gd name="connsiteY8733" fmla="*/ 2468409 h 5296383"/>
              <a:gd name="connsiteX8734" fmla="*/ 3708398 w 9310410"/>
              <a:gd name="connsiteY8734" fmla="*/ 2471406 h 5296383"/>
              <a:gd name="connsiteX8735" fmla="*/ 3696413 w 9310410"/>
              <a:gd name="connsiteY8735" fmla="*/ 2473803 h 5296383"/>
              <a:gd name="connsiteX8736" fmla="*/ 3686225 w 9310410"/>
              <a:gd name="connsiteY8736" fmla="*/ 2466012 h 5296383"/>
              <a:gd name="connsiteX8737" fmla="*/ 3672442 w 9310410"/>
              <a:gd name="connsiteY8737" fmla="*/ 2464215 h 5296383"/>
              <a:gd name="connsiteX8738" fmla="*/ 3664052 w 9310410"/>
              <a:gd name="connsiteY8738" fmla="*/ 2479197 h 5296383"/>
              <a:gd name="connsiteX8739" fmla="*/ 3664052 w 9310410"/>
              <a:gd name="connsiteY8739" fmla="*/ 2487586 h 5296383"/>
              <a:gd name="connsiteX8740" fmla="*/ 3661655 w 9310410"/>
              <a:gd name="connsiteY8740" fmla="*/ 2498972 h 5296383"/>
              <a:gd name="connsiteX8741" fmla="*/ 3659857 w 9310410"/>
              <a:gd name="connsiteY8741" fmla="*/ 2516951 h 5296383"/>
              <a:gd name="connsiteX8742" fmla="*/ 3654464 w 9310410"/>
              <a:gd name="connsiteY8742" fmla="*/ 2531933 h 5296383"/>
              <a:gd name="connsiteX8743" fmla="*/ 3654464 w 9310410"/>
              <a:gd name="connsiteY8743" fmla="*/ 2545716 h 5296383"/>
              <a:gd name="connsiteX8744" fmla="*/ 3646074 w 9310410"/>
              <a:gd name="connsiteY8744" fmla="*/ 2549911 h 5296383"/>
              <a:gd name="connsiteX8745" fmla="*/ 3793495 w 9310410"/>
              <a:gd name="connsiteY8745" fmla="*/ 2678755 h 5296383"/>
              <a:gd name="connsiteX8746" fmla="*/ 3783907 w 9310410"/>
              <a:gd name="connsiteY8746" fmla="*/ 2673361 h 5296383"/>
              <a:gd name="connsiteX8747" fmla="*/ 3772520 w 9310410"/>
              <a:gd name="connsiteY8747" fmla="*/ 2673961 h 5296383"/>
              <a:gd name="connsiteX8748" fmla="*/ 3768326 w 9310410"/>
              <a:gd name="connsiteY8748" fmla="*/ 2676358 h 5296383"/>
              <a:gd name="connsiteX8749" fmla="*/ 3775517 w 9310410"/>
              <a:gd name="connsiteY8749" fmla="*/ 2693137 h 5296383"/>
              <a:gd name="connsiteX8750" fmla="*/ 3780910 w 9310410"/>
              <a:gd name="connsiteY8750" fmla="*/ 2702726 h 5296383"/>
              <a:gd name="connsiteX8751" fmla="*/ 3783308 w 9310410"/>
              <a:gd name="connsiteY8751" fmla="*/ 2712314 h 5296383"/>
              <a:gd name="connsiteX8752" fmla="*/ 3790499 w 9310410"/>
              <a:gd name="connsiteY8752" fmla="*/ 2723101 h 5296383"/>
              <a:gd name="connsiteX8753" fmla="*/ 3799488 w 9310410"/>
              <a:gd name="connsiteY8753" fmla="*/ 2723700 h 5296383"/>
              <a:gd name="connsiteX8754" fmla="*/ 3801885 w 9310410"/>
              <a:gd name="connsiteY8754" fmla="*/ 2720105 h 5296383"/>
              <a:gd name="connsiteX8755" fmla="*/ 3799488 w 9310410"/>
              <a:gd name="connsiteY8755" fmla="*/ 2715310 h 5296383"/>
              <a:gd name="connsiteX8756" fmla="*/ 3797091 w 9310410"/>
              <a:gd name="connsiteY8756" fmla="*/ 2709318 h 5296383"/>
              <a:gd name="connsiteX8757" fmla="*/ 3796491 w 9310410"/>
              <a:gd name="connsiteY8757" fmla="*/ 2691339 h 5296383"/>
              <a:gd name="connsiteX8758" fmla="*/ 3793495 w 9310410"/>
              <a:gd name="connsiteY8758" fmla="*/ 2678755 h 5296383"/>
              <a:gd name="connsiteX8759" fmla="*/ 3683828 w 9310410"/>
              <a:gd name="connsiteY8759" fmla="*/ 2651188 h 5296383"/>
              <a:gd name="connsiteX8760" fmla="*/ 3675438 w 9310410"/>
              <a:gd name="connsiteY8760" fmla="*/ 2645195 h 5296383"/>
              <a:gd name="connsiteX8761" fmla="*/ 3668247 w 9310410"/>
              <a:gd name="connsiteY8761" fmla="*/ 2643398 h 5296383"/>
              <a:gd name="connsiteX8762" fmla="*/ 3658059 w 9310410"/>
              <a:gd name="connsiteY8762" fmla="*/ 2642798 h 5296383"/>
              <a:gd name="connsiteX8763" fmla="*/ 3653864 w 9310410"/>
              <a:gd name="connsiteY8763" fmla="*/ 2642199 h 5296383"/>
              <a:gd name="connsiteX8764" fmla="*/ 3653265 w 9310410"/>
              <a:gd name="connsiteY8764" fmla="*/ 2646993 h 5296383"/>
              <a:gd name="connsiteX8765" fmla="*/ 3659258 w 9310410"/>
              <a:gd name="connsiteY8765" fmla="*/ 2652387 h 5296383"/>
              <a:gd name="connsiteX8766" fmla="*/ 3665251 w 9310410"/>
              <a:gd name="connsiteY8766" fmla="*/ 2664372 h 5296383"/>
              <a:gd name="connsiteX8767" fmla="*/ 3669446 w 9310410"/>
              <a:gd name="connsiteY8767" fmla="*/ 2676358 h 5296383"/>
              <a:gd name="connsiteX8768" fmla="*/ 3679034 w 9310410"/>
              <a:gd name="connsiteY8768" fmla="*/ 2682350 h 5296383"/>
              <a:gd name="connsiteX8769" fmla="*/ 3684427 w 9310410"/>
              <a:gd name="connsiteY8769" fmla="*/ 2670365 h 5296383"/>
              <a:gd name="connsiteX8770" fmla="*/ 3686824 w 9310410"/>
              <a:gd name="connsiteY8770" fmla="*/ 2659578 h 5296383"/>
              <a:gd name="connsiteX8771" fmla="*/ 3683828 w 9310410"/>
              <a:gd name="connsiteY8771" fmla="*/ 2651188 h 5296383"/>
              <a:gd name="connsiteX8772" fmla="*/ 3689821 w 9310410"/>
              <a:gd name="connsiteY8772" fmla="*/ 2744075 h 5296383"/>
              <a:gd name="connsiteX8773" fmla="*/ 3696413 w 9310410"/>
              <a:gd name="connsiteY8773" fmla="*/ 2745873 h 5296383"/>
              <a:gd name="connsiteX8774" fmla="*/ 3707200 w 9310410"/>
              <a:gd name="connsiteY8774" fmla="*/ 2734487 h 5296383"/>
              <a:gd name="connsiteX8775" fmla="*/ 3713792 w 9310410"/>
              <a:gd name="connsiteY8775" fmla="*/ 2723700 h 5296383"/>
              <a:gd name="connsiteX8776" fmla="*/ 3721582 w 9310410"/>
              <a:gd name="connsiteY8776" fmla="*/ 2715310 h 5296383"/>
              <a:gd name="connsiteX8777" fmla="*/ 3728774 w 9310410"/>
              <a:gd name="connsiteY8777" fmla="*/ 2703325 h 5296383"/>
              <a:gd name="connsiteX8778" fmla="*/ 3725178 w 9310410"/>
              <a:gd name="connsiteY8778" fmla="*/ 2697931 h 5296383"/>
              <a:gd name="connsiteX8779" fmla="*/ 3713792 w 9310410"/>
              <a:gd name="connsiteY8779" fmla="*/ 2701527 h 5296383"/>
              <a:gd name="connsiteX8780" fmla="*/ 3700008 w 9310410"/>
              <a:gd name="connsiteY8780" fmla="*/ 2696134 h 5296383"/>
              <a:gd name="connsiteX8781" fmla="*/ 3692817 w 9310410"/>
              <a:gd name="connsiteY8781" fmla="*/ 2697332 h 5296383"/>
              <a:gd name="connsiteX8782" fmla="*/ 3697012 w 9310410"/>
              <a:gd name="connsiteY8782" fmla="*/ 2706321 h 5296383"/>
              <a:gd name="connsiteX8783" fmla="*/ 3694615 w 9310410"/>
              <a:gd name="connsiteY8783" fmla="*/ 2718307 h 5296383"/>
              <a:gd name="connsiteX8784" fmla="*/ 3692817 w 9310410"/>
              <a:gd name="connsiteY8784" fmla="*/ 2734487 h 5296383"/>
              <a:gd name="connsiteX8785" fmla="*/ 3689821 w 9310410"/>
              <a:gd name="connsiteY8785" fmla="*/ 2744075 h 5296383"/>
              <a:gd name="connsiteX8786" fmla="*/ 3735965 w 9310410"/>
              <a:gd name="connsiteY8786" fmla="*/ 2735086 h 5296383"/>
              <a:gd name="connsiteX8787" fmla="*/ 3730571 w 9310410"/>
              <a:gd name="connsiteY8787" fmla="*/ 2727895 h 5296383"/>
              <a:gd name="connsiteX8788" fmla="*/ 3722182 w 9310410"/>
              <a:gd name="connsiteY8788" fmla="*/ 2735086 h 5296383"/>
              <a:gd name="connsiteX8789" fmla="*/ 3720384 w 9310410"/>
              <a:gd name="connsiteY8789" fmla="*/ 2743476 h 5296383"/>
              <a:gd name="connsiteX8790" fmla="*/ 3714391 w 9310410"/>
              <a:gd name="connsiteY8790" fmla="*/ 2750668 h 5296383"/>
              <a:gd name="connsiteX8791" fmla="*/ 3707200 w 9310410"/>
              <a:gd name="connsiteY8791" fmla="*/ 2769245 h 5296383"/>
              <a:gd name="connsiteX8792" fmla="*/ 3725178 w 9310410"/>
              <a:gd name="connsiteY8792" fmla="*/ 2784227 h 5296383"/>
              <a:gd name="connsiteX8793" fmla="*/ 3729373 w 9310410"/>
              <a:gd name="connsiteY8793" fmla="*/ 2775238 h 5296383"/>
              <a:gd name="connsiteX8794" fmla="*/ 3730571 w 9310410"/>
              <a:gd name="connsiteY8794" fmla="*/ 2755462 h 5296383"/>
              <a:gd name="connsiteX8795" fmla="*/ 3735965 w 9310410"/>
              <a:gd name="connsiteY8795" fmla="*/ 2735086 h 5296383"/>
              <a:gd name="connsiteX8796" fmla="*/ 3614312 w 9310410"/>
              <a:gd name="connsiteY8796" fmla="*/ 2730892 h 5296383"/>
              <a:gd name="connsiteX8797" fmla="*/ 3608320 w 9310410"/>
              <a:gd name="connsiteY8797" fmla="*/ 2736285 h 5296383"/>
              <a:gd name="connsiteX8798" fmla="*/ 3604724 w 9310410"/>
              <a:gd name="connsiteY8798" fmla="*/ 2740480 h 5296383"/>
              <a:gd name="connsiteX8799" fmla="*/ 3599330 w 9310410"/>
              <a:gd name="connsiteY8799" fmla="*/ 2750668 h 5296383"/>
              <a:gd name="connsiteX8800" fmla="*/ 3595136 w 9310410"/>
              <a:gd name="connsiteY8800" fmla="*/ 2755462 h 5296383"/>
              <a:gd name="connsiteX8801" fmla="*/ 3574161 w 9310410"/>
              <a:gd name="connsiteY8801" fmla="*/ 2775238 h 5296383"/>
              <a:gd name="connsiteX8802" fmla="*/ 3553785 w 9310410"/>
              <a:gd name="connsiteY8802" fmla="*/ 2797411 h 5296383"/>
              <a:gd name="connsiteX8803" fmla="*/ 3553785 w 9310410"/>
              <a:gd name="connsiteY8803" fmla="*/ 2808198 h 5296383"/>
              <a:gd name="connsiteX8804" fmla="*/ 3565771 w 9310410"/>
              <a:gd name="connsiteY8804" fmla="*/ 2796212 h 5296383"/>
              <a:gd name="connsiteX8805" fmla="*/ 3575959 w 9310410"/>
              <a:gd name="connsiteY8805" fmla="*/ 2785426 h 5296383"/>
              <a:gd name="connsiteX8806" fmla="*/ 3585547 w 9310410"/>
              <a:gd name="connsiteY8806" fmla="*/ 2777635 h 5296383"/>
              <a:gd name="connsiteX8807" fmla="*/ 3597533 w 9310410"/>
              <a:gd name="connsiteY8807" fmla="*/ 2764451 h 5296383"/>
              <a:gd name="connsiteX8808" fmla="*/ 3605323 w 9310410"/>
              <a:gd name="connsiteY8808" fmla="*/ 2754263 h 5296383"/>
              <a:gd name="connsiteX8809" fmla="*/ 3614312 w 9310410"/>
              <a:gd name="connsiteY8809" fmla="*/ 2745274 h 5296383"/>
              <a:gd name="connsiteX8810" fmla="*/ 3621504 w 9310410"/>
              <a:gd name="connsiteY8810" fmla="*/ 2739881 h 5296383"/>
              <a:gd name="connsiteX8811" fmla="*/ 3622702 w 9310410"/>
              <a:gd name="connsiteY8811" fmla="*/ 2733888 h 5296383"/>
              <a:gd name="connsiteX8812" fmla="*/ 3622103 w 9310410"/>
              <a:gd name="connsiteY8812" fmla="*/ 2721303 h 5296383"/>
              <a:gd name="connsiteX8813" fmla="*/ 3622702 w 9310410"/>
              <a:gd name="connsiteY8813" fmla="*/ 2715310 h 5296383"/>
              <a:gd name="connsiteX8814" fmla="*/ 3619706 w 9310410"/>
              <a:gd name="connsiteY8814" fmla="*/ 2712913 h 5296383"/>
              <a:gd name="connsiteX8815" fmla="*/ 3615511 w 9310410"/>
              <a:gd name="connsiteY8815" fmla="*/ 2724300 h 5296383"/>
              <a:gd name="connsiteX8816" fmla="*/ 3614312 w 9310410"/>
              <a:gd name="connsiteY8816" fmla="*/ 2730892 h 5296383"/>
              <a:gd name="connsiteX8817" fmla="*/ 3764131 w 9310410"/>
              <a:gd name="connsiteY8817" fmla="*/ 2801606 h 5296383"/>
              <a:gd name="connsiteX8818" fmla="*/ 3756340 w 9310410"/>
              <a:gd name="connsiteY8818" fmla="*/ 2804003 h 5296383"/>
              <a:gd name="connsiteX8819" fmla="*/ 3747950 w 9310410"/>
              <a:gd name="connsiteY8819" fmla="*/ 2814191 h 5296383"/>
              <a:gd name="connsiteX8820" fmla="*/ 3742557 w 9310410"/>
              <a:gd name="connsiteY8820" fmla="*/ 2820783 h 5296383"/>
              <a:gd name="connsiteX8821" fmla="*/ 3738362 w 9310410"/>
              <a:gd name="connsiteY8821" fmla="*/ 2820183 h 5296383"/>
              <a:gd name="connsiteX8822" fmla="*/ 3741358 w 9310410"/>
              <a:gd name="connsiteY8822" fmla="*/ 2811194 h 5296383"/>
              <a:gd name="connsiteX8823" fmla="*/ 3734766 w 9310410"/>
              <a:gd name="connsiteY8823" fmla="*/ 2804602 h 5296383"/>
              <a:gd name="connsiteX8824" fmla="*/ 3726377 w 9310410"/>
              <a:gd name="connsiteY8824" fmla="*/ 2805201 h 5296383"/>
              <a:gd name="connsiteX8825" fmla="*/ 3716788 w 9310410"/>
              <a:gd name="connsiteY8825" fmla="*/ 2812992 h 5296383"/>
              <a:gd name="connsiteX8826" fmla="*/ 3710196 w 9310410"/>
              <a:gd name="connsiteY8826" fmla="*/ 2820183 h 5296383"/>
              <a:gd name="connsiteX8827" fmla="*/ 3696413 w 9310410"/>
              <a:gd name="connsiteY8827" fmla="*/ 2826775 h 5296383"/>
              <a:gd name="connsiteX8828" fmla="*/ 3689821 w 9310410"/>
              <a:gd name="connsiteY8828" fmla="*/ 2838162 h 5296383"/>
              <a:gd name="connsiteX8829" fmla="*/ 3687424 w 9310410"/>
              <a:gd name="connsiteY8829" fmla="*/ 2847750 h 5296383"/>
              <a:gd name="connsiteX8830" fmla="*/ 3691618 w 9310410"/>
              <a:gd name="connsiteY8830" fmla="*/ 2851945 h 5296383"/>
              <a:gd name="connsiteX8831" fmla="*/ 3695214 w 9310410"/>
              <a:gd name="connsiteY8831" fmla="*/ 2849548 h 5296383"/>
              <a:gd name="connsiteX8832" fmla="*/ 3698211 w 9310410"/>
              <a:gd name="connsiteY8832" fmla="*/ 2843555 h 5296383"/>
              <a:gd name="connsiteX8833" fmla="*/ 3702406 w 9310410"/>
              <a:gd name="connsiteY8833" fmla="*/ 2835165 h 5296383"/>
              <a:gd name="connsiteX8834" fmla="*/ 3710795 w 9310410"/>
              <a:gd name="connsiteY8834" fmla="*/ 2836963 h 5296383"/>
              <a:gd name="connsiteX8835" fmla="*/ 3716788 w 9310410"/>
              <a:gd name="connsiteY8835" fmla="*/ 2835765 h 5296383"/>
              <a:gd name="connsiteX8836" fmla="*/ 3721582 w 9310410"/>
              <a:gd name="connsiteY8836" fmla="*/ 2838162 h 5296383"/>
              <a:gd name="connsiteX8837" fmla="*/ 3728774 w 9310410"/>
              <a:gd name="connsiteY8837" fmla="*/ 2844154 h 5296383"/>
              <a:gd name="connsiteX8838" fmla="*/ 3730571 w 9310410"/>
              <a:gd name="connsiteY8838" fmla="*/ 2839360 h 5296383"/>
              <a:gd name="connsiteX8839" fmla="*/ 3731770 w 9310410"/>
              <a:gd name="connsiteY8839" fmla="*/ 2831570 h 5296383"/>
              <a:gd name="connsiteX8840" fmla="*/ 3741958 w 9310410"/>
              <a:gd name="connsiteY8840" fmla="*/ 2833367 h 5296383"/>
              <a:gd name="connsiteX8841" fmla="*/ 3750348 w 9310410"/>
              <a:gd name="connsiteY8841" fmla="*/ 2841757 h 5296383"/>
              <a:gd name="connsiteX8842" fmla="*/ 3745553 w 9310410"/>
              <a:gd name="connsiteY8842" fmla="*/ 2851346 h 5296383"/>
              <a:gd name="connsiteX8843" fmla="*/ 3744355 w 9310410"/>
              <a:gd name="connsiteY8843" fmla="*/ 2865728 h 5296383"/>
              <a:gd name="connsiteX8844" fmla="*/ 3744355 w 9310410"/>
              <a:gd name="connsiteY8844" fmla="*/ 2874118 h 5296383"/>
              <a:gd name="connsiteX8845" fmla="*/ 3746752 w 9310410"/>
              <a:gd name="connsiteY8845" fmla="*/ 2880111 h 5296383"/>
              <a:gd name="connsiteX8846" fmla="*/ 3758737 w 9310410"/>
              <a:gd name="connsiteY8846" fmla="*/ 2891497 h 5296383"/>
              <a:gd name="connsiteX8847" fmla="*/ 3770124 w 9310410"/>
              <a:gd name="connsiteY8847" fmla="*/ 2895093 h 5296383"/>
              <a:gd name="connsiteX8848" fmla="*/ 3778513 w 9310410"/>
              <a:gd name="connsiteY8848" fmla="*/ 2892696 h 5296383"/>
              <a:gd name="connsiteX8849" fmla="*/ 3783308 w 9310410"/>
              <a:gd name="connsiteY8849" fmla="*/ 2895093 h 5296383"/>
              <a:gd name="connsiteX8850" fmla="*/ 3790499 w 9310410"/>
              <a:gd name="connsiteY8850" fmla="*/ 2901085 h 5296383"/>
              <a:gd name="connsiteX8851" fmla="*/ 3797690 w 9310410"/>
              <a:gd name="connsiteY8851" fmla="*/ 2887302 h 5296383"/>
              <a:gd name="connsiteX8852" fmla="*/ 3791697 w 9310410"/>
              <a:gd name="connsiteY8852" fmla="*/ 2875317 h 5296383"/>
              <a:gd name="connsiteX8853" fmla="*/ 3790499 w 9310410"/>
              <a:gd name="connsiteY8853" fmla="*/ 2862732 h 5296383"/>
              <a:gd name="connsiteX8854" fmla="*/ 3795293 w 9310410"/>
              <a:gd name="connsiteY8854" fmla="*/ 2849548 h 5296383"/>
              <a:gd name="connsiteX8855" fmla="*/ 3798889 w 9310410"/>
              <a:gd name="connsiteY8855" fmla="*/ 2851945 h 5296383"/>
              <a:gd name="connsiteX8856" fmla="*/ 3803084 w 9310410"/>
              <a:gd name="connsiteY8856" fmla="*/ 2862133 h 5296383"/>
              <a:gd name="connsiteX8857" fmla="*/ 3806080 w 9310410"/>
              <a:gd name="connsiteY8857" fmla="*/ 2872919 h 5296383"/>
              <a:gd name="connsiteX8858" fmla="*/ 3810275 w 9310410"/>
              <a:gd name="connsiteY8858" fmla="*/ 2874118 h 5296383"/>
              <a:gd name="connsiteX8859" fmla="*/ 3810874 w 9310410"/>
              <a:gd name="connsiteY8859" fmla="*/ 2863930 h 5296383"/>
              <a:gd name="connsiteX8860" fmla="*/ 3817466 w 9310410"/>
              <a:gd name="connsiteY8860" fmla="*/ 2857938 h 5296383"/>
              <a:gd name="connsiteX8861" fmla="*/ 3820462 w 9310410"/>
              <a:gd name="connsiteY8861" fmla="*/ 2841158 h 5296383"/>
              <a:gd name="connsiteX8862" fmla="*/ 3817466 w 9310410"/>
              <a:gd name="connsiteY8862" fmla="*/ 2832768 h 5296383"/>
              <a:gd name="connsiteX8863" fmla="*/ 3817466 w 9310410"/>
              <a:gd name="connsiteY8863" fmla="*/ 2825577 h 5296383"/>
              <a:gd name="connsiteX8864" fmla="*/ 3818065 w 9310410"/>
              <a:gd name="connsiteY8864" fmla="*/ 2813591 h 5296383"/>
              <a:gd name="connsiteX8865" fmla="*/ 3812672 w 9310410"/>
              <a:gd name="connsiteY8865" fmla="*/ 2805801 h 5296383"/>
              <a:gd name="connsiteX8866" fmla="*/ 3810874 w 9310410"/>
              <a:gd name="connsiteY8866" fmla="*/ 2798609 h 5296383"/>
              <a:gd name="connsiteX8867" fmla="*/ 3810874 w 9310410"/>
              <a:gd name="connsiteY8867" fmla="*/ 2788422 h 5296383"/>
              <a:gd name="connsiteX8868" fmla="*/ 3806679 w 9310410"/>
              <a:gd name="connsiteY8868" fmla="*/ 2781830 h 5296383"/>
              <a:gd name="connsiteX8869" fmla="*/ 3802484 w 9310410"/>
              <a:gd name="connsiteY8869" fmla="*/ 2777635 h 5296383"/>
              <a:gd name="connsiteX8870" fmla="*/ 3792896 w 9310410"/>
              <a:gd name="connsiteY8870" fmla="*/ 2771642 h 5296383"/>
              <a:gd name="connsiteX8871" fmla="*/ 3787502 w 9310410"/>
              <a:gd name="connsiteY8871" fmla="*/ 2773440 h 5296383"/>
              <a:gd name="connsiteX8872" fmla="*/ 3789900 w 9310410"/>
              <a:gd name="connsiteY8872" fmla="*/ 2784826 h 5296383"/>
              <a:gd name="connsiteX8873" fmla="*/ 3783907 w 9310410"/>
              <a:gd name="connsiteY8873" fmla="*/ 2787223 h 5296383"/>
              <a:gd name="connsiteX8874" fmla="*/ 3779712 w 9310410"/>
              <a:gd name="connsiteY8874" fmla="*/ 2789620 h 5296383"/>
              <a:gd name="connsiteX8875" fmla="*/ 3772520 w 9310410"/>
              <a:gd name="connsiteY8875" fmla="*/ 2790220 h 5296383"/>
              <a:gd name="connsiteX8876" fmla="*/ 3767127 w 9310410"/>
              <a:gd name="connsiteY8876" fmla="*/ 2795014 h 5296383"/>
              <a:gd name="connsiteX8877" fmla="*/ 3764131 w 9310410"/>
              <a:gd name="connsiteY8877" fmla="*/ 2801606 h 5296383"/>
              <a:gd name="connsiteX8878" fmla="*/ 2541612 w 9310410"/>
              <a:gd name="connsiteY8878" fmla="*/ 2827974 h 5296383"/>
              <a:gd name="connsiteX8879" fmla="*/ 2537417 w 9310410"/>
              <a:gd name="connsiteY8879" fmla="*/ 2806999 h 5296383"/>
              <a:gd name="connsiteX8880" fmla="*/ 2533821 w 9310410"/>
              <a:gd name="connsiteY8880" fmla="*/ 2796812 h 5296383"/>
              <a:gd name="connsiteX8881" fmla="*/ 2529627 w 9310410"/>
              <a:gd name="connsiteY8881" fmla="*/ 2786624 h 5296383"/>
              <a:gd name="connsiteX8882" fmla="*/ 2523034 w 9310410"/>
              <a:gd name="connsiteY8882" fmla="*/ 2771642 h 5296383"/>
              <a:gd name="connsiteX8883" fmla="*/ 2519439 w 9310410"/>
              <a:gd name="connsiteY8883" fmla="*/ 2757859 h 5296383"/>
              <a:gd name="connsiteX8884" fmla="*/ 2516442 w 9310410"/>
              <a:gd name="connsiteY8884" fmla="*/ 2751267 h 5296383"/>
              <a:gd name="connsiteX8885" fmla="*/ 2513446 w 9310410"/>
              <a:gd name="connsiteY8885" fmla="*/ 2744075 h 5296383"/>
              <a:gd name="connsiteX8886" fmla="*/ 2503258 w 9310410"/>
              <a:gd name="connsiteY8886" fmla="*/ 2739281 h 5296383"/>
              <a:gd name="connsiteX8887" fmla="*/ 2498464 w 9310410"/>
              <a:gd name="connsiteY8887" fmla="*/ 2751267 h 5296383"/>
              <a:gd name="connsiteX8888" fmla="*/ 2505056 w 9310410"/>
              <a:gd name="connsiteY8888" fmla="*/ 2760256 h 5296383"/>
              <a:gd name="connsiteX8889" fmla="*/ 2502659 w 9310410"/>
              <a:gd name="connsiteY8889" fmla="*/ 2769245 h 5296383"/>
              <a:gd name="connsiteX8890" fmla="*/ 2497266 w 9310410"/>
              <a:gd name="connsiteY8890" fmla="*/ 2771043 h 5296383"/>
              <a:gd name="connsiteX8891" fmla="*/ 2493670 w 9310410"/>
              <a:gd name="connsiteY8891" fmla="*/ 2772841 h 5296383"/>
              <a:gd name="connsiteX8892" fmla="*/ 2493071 w 9310410"/>
              <a:gd name="connsiteY8892" fmla="*/ 2786025 h 5296383"/>
              <a:gd name="connsiteX8893" fmla="*/ 2491273 w 9310410"/>
              <a:gd name="connsiteY8893" fmla="*/ 2800407 h 5296383"/>
              <a:gd name="connsiteX8894" fmla="*/ 2487078 w 9310410"/>
              <a:gd name="connsiteY8894" fmla="*/ 2801007 h 5296383"/>
              <a:gd name="connsiteX8895" fmla="*/ 2484082 w 9310410"/>
              <a:gd name="connsiteY8895" fmla="*/ 2798010 h 5296383"/>
              <a:gd name="connsiteX8896" fmla="*/ 2484681 w 9310410"/>
              <a:gd name="connsiteY8896" fmla="*/ 2810595 h 5296383"/>
              <a:gd name="connsiteX8897" fmla="*/ 2484082 w 9310410"/>
              <a:gd name="connsiteY8897" fmla="*/ 2837562 h 5296383"/>
              <a:gd name="connsiteX8898" fmla="*/ 2488876 w 9310410"/>
              <a:gd name="connsiteY8898" fmla="*/ 2866328 h 5296383"/>
              <a:gd name="connsiteX8899" fmla="*/ 2500861 w 9310410"/>
              <a:gd name="connsiteY8899" fmla="*/ 2881908 h 5296383"/>
              <a:gd name="connsiteX8900" fmla="*/ 2537417 w 9310410"/>
              <a:gd name="connsiteY8900" fmla="*/ 2868125 h 5296383"/>
              <a:gd name="connsiteX8901" fmla="*/ 2541612 w 9310410"/>
              <a:gd name="connsiteY8901" fmla="*/ 2850147 h 5296383"/>
              <a:gd name="connsiteX8902" fmla="*/ 2541612 w 9310410"/>
              <a:gd name="connsiteY8902" fmla="*/ 2827974 h 5296383"/>
              <a:gd name="connsiteX8903" fmla="*/ 1733191 w 9310410"/>
              <a:gd name="connsiteY8903" fmla="*/ 3969591 h 5296383"/>
              <a:gd name="connsiteX8904" fmla="*/ 1731993 w 9310410"/>
              <a:gd name="connsiteY8904" fmla="*/ 3958205 h 5296383"/>
              <a:gd name="connsiteX8905" fmla="*/ 1737386 w 9310410"/>
              <a:gd name="connsiteY8905" fmla="*/ 3946219 h 5296383"/>
              <a:gd name="connsiteX8906" fmla="*/ 1737386 w 9310410"/>
              <a:gd name="connsiteY8906" fmla="*/ 3918652 h 5296383"/>
              <a:gd name="connsiteX8907" fmla="*/ 1737986 w 9310410"/>
              <a:gd name="connsiteY8907" fmla="*/ 3903071 h 5296383"/>
              <a:gd name="connsiteX8908" fmla="*/ 1735589 w 9310410"/>
              <a:gd name="connsiteY8908" fmla="*/ 3882696 h 5296383"/>
              <a:gd name="connsiteX8909" fmla="*/ 1733791 w 9310410"/>
              <a:gd name="connsiteY8909" fmla="*/ 3865317 h 5296383"/>
              <a:gd name="connsiteX8910" fmla="*/ 1731993 w 9310410"/>
              <a:gd name="connsiteY8910" fmla="*/ 3830559 h 5296383"/>
              <a:gd name="connsiteX8911" fmla="*/ 1729596 w 9310410"/>
              <a:gd name="connsiteY8911" fmla="*/ 3788610 h 5296383"/>
              <a:gd name="connsiteX8912" fmla="*/ 1729596 w 9310410"/>
              <a:gd name="connsiteY8912" fmla="*/ 3778423 h 5296383"/>
              <a:gd name="connsiteX8913" fmla="*/ 1724202 w 9310410"/>
              <a:gd name="connsiteY8913" fmla="*/ 3769433 h 5296383"/>
              <a:gd name="connsiteX8914" fmla="*/ 1724801 w 9310410"/>
              <a:gd name="connsiteY8914" fmla="*/ 3757448 h 5296383"/>
              <a:gd name="connsiteX8915" fmla="*/ 1727798 w 9310410"/>
              <a:gd name="connsiteY8915" fmla="*/ 3748459 h 5296383"/>
              <a:gd name="connsiteX8916" fmla="*/ 1731993 w 9310410"/>
              <a:gd name="connsiteY8916" fmla="*/ 3740668 h 5296383"/>
              <a:gd name="connsiteX8917" fmla="*/ 1733791 w 9310410"/>
              <a:gd name="connsiteY8917" fmla="*/ 3732278 h 5296383"/>
              <a:gd name="connsiteX8918" fmla="*/ 1731993 w 9310410"/>
              <a:gd name="connsiteY8918" fmla="*/ 3726286 h 5296383"/>
              <a:gd name="connsiteX8919" fmla="*/ 1726000 w 9310410"/>
              <a:gd name="connsiteY8919" fmla="*/ 3717896 h 5296383"/>
              <a:gd name="connsiteX8920" fmla="*/ 1718809 w 9310410"/>
              <a:gd name="connsiteY8920" fmla="*/ 3699917 h 5296383"/>
              <a:gd name="connsiteX8921" fmla="*/ 1716412 w 9310410"/>
              <a:gd name="connsiteY8921" fmla="*/ 3687932 h 5296383"/>
              <a:gd name="connsiteX8922" fmla="*/ 1722404 w 9310410"/>
              <a:gd name="connsiteY8922" fmla="*/ 3689131 h 5296383"/>
              <a:gd name="connsiteX8923" fmla="*/ 1728996 w 9310410"/>
              <a:gd name="connsiteY8923" fmla="*/ 3702914 h 5296383"/>
              <a:gd name="connsiteX8924" fmla="*/ 1731993 w 9310410"/>
              <a:gd name="connsiteY8924" fmla="*/ 3705311 h 5296383"/>
              <a:gd name="connsiteX8925" fmla="*/ 1733191 w 9310410"/>
              <a:gd name="connsiteY8925" fmla="*/ 3708307 h 5296383"/>
              <a:gd name="connsiteX8926" fmla="*/ 1736787 w 9310410"/>
              <a:gd name="connsiteY8926" fmla="*/ 3710704 h 5296383"/>
              <a:gd name="connsiteX8927" fmla="*/ 1739184 w 9310410"/>
              <a:gd name="connsiteY8927" fmla="*/ 3697521 h 5296383"/>
              <a:gd name="connsiteX8928" fmla="*/ 1733191 w 9310410"/>
              <a:gd name="connsiteY8928" fmla="*/ 3680741 h 5296383"/>
              <a:gd name="connsiteX8929" fmla="*/ 1731993 w 9310410"/>
              <a:gd name="connsiteY8929" fmla="*/ 3674149 h 5296383"/>
              <a:gd name="connsiteX8930" fmla="*/ 1728996 w 9310410"/>
              <a:gd name="connsiteY8930" fmla="*/ 3668755 h 5296383"/>
              <a:gd name="connsiteX8931" fmla="*/ 1727199 w 9310410"/>
              <a:gd name="connsiteY8931" fmla="*/ 3661564 h 5296383"/>
              <a:gd name="connsiteX8932" fmla="*/ 1723004 w 9310410"/>
              <a:gd name="connsiteY8932" fmla="*/ 3651376 h 5296383"/>
              <a:gd name="connsiteX8933" fmla="*/ 1720007 w 9310410"/>
              <a:gd name="connsiteY8933" fmla="*/ 3632799 h 5296383"/>
              <a:gd name="connsiteX8934" fmla="*/ 1715213 w 9310410"/>
              <a:gd name="connsiteY8934" fmla="*/ 3612424 h 5296383"/>
              <a:gd name="connsiteX8935" fmla="*/ 1706823 w 9310410"/>
              <a:gd name="connsiteY8935" fmla="*/ 3599839 h 5296383"/>
              <a:gd name="connsiteX8936" fmla="*/ 1698433 w 9310410"/>
              <a:gd name="connsiteY8936" fmla="*/ 3592648 h 5296383"/>
              <a:gd name="connsiteX8937" fmla="*/ 1694238 w 9310410"/>
              <a:gd name="connsiteY8937" fmla="*/ 3585456 h 5296383"/>
              <a:gd name="connsiteX8938" fmla="*/ 1691841 w 9310410"/>
              <a:gd name="connsiteY8938" fmla="*/ 3577066 h 5296383"/>
              <a:gd name="connsiteX8939" fmla="*/ 1687047 w 9310410"/>
              <a:gd name="connsiteY8939" fmla="*/ 3574070 h 5296383"/>
              <a:gd name="connsiteX8940" fmla="*/ 1684051 w 9310410"/>
              <a:gd name="connsiteY8940" fmla="*/ 3569276 h 5296383"/>
              <a:gd name="connsiteX8941" fmla="*/ 1678658 w 9310410"/>
              <a:gd name="connsiteY8941" fmla="*/ 3568677 h 5296383"/>
              <a:gd name="connsiteX8942" fmla="*/ 1674463 w 9310410"/>
              <a:gd name="connsiteY8942" fmla="*/ 3575868 h 5296383"/>
              <a:gd name="connsiteX8943" fmla="*/ 1671466 w 9310410"/>
              <a:gd name="connsiteY8943" fmla="*/ 3578864 h 5296383"/>
              <a:gd name="connsiteX8944" fmla="*/ 1671466 w 9310410"/>
              <a:gd name="connsiteY8944" fmla="*/ 3586055 h 5296383"/>
              <a:gd name="connsiteX8945" fmla="*/ 1675062 w 9310410"/>
              <a:gd name="connsiteY8945" fmla="*/ 3598041 h 5296383"/>
              <a:gd name="connsiteX8946" fmla="*/ 1673863 w 9310410"/>
              <a:gd name="connsiteY8946" fmla="*/ 3608229 h 5296383"/>
              <a:gd name="connsiteX8947" fmla="*/ 1671466 w 9310410"/>
              <a:gd name="connsiteY8947" fmla="*/ 3617218 h 5296383"/>
              <a:gd name="connsiteX8948" fmla="*/ 1668470 w 9310410"/>
              <a:gd name="connsiteY8948" fmla="*/ 3623210 h 5296383"/>
              <a:gd name="connsiteX8949" fmla="*/ 1667870 w 9310410"/>
              <a:gd name="connsiteY8949" fmla="*/ 3628604 h 5296383"/>
              <a:gd name="connsiteX8950" fmla="*/ 1662477 w 9310410"/>
              <a:gd name="connsiteY8950" fmla="*/ 3631001 h 5296383"/>
              <a:gd name="connsiteX8951" fmla="*/ 1652289 w 9310410"/>
              <a:gd name="connsiteY8951" fmla="*/ 3629203 h 5296383"/>
              <a:gd name="connsiteX8952" fmla="*/ 1658282 w 9310410"/>
              <a:gd name="connsiteY8952" fmla="*/ 3642387 h 5296383"/>
              <a:gd name="connsiteX8953" fmla="*/ 1657683 w 9310410"/>
              <a:gd name="connsiteY8953" fmla="*/ 3647781 h 5296383"/>
              <a:gd name="connsiteX8954" fmla="*/ 1654687 w 9310410"/>
              <a:gd name="connsiteY8954" fmla="*/ 3653174 h 5296383"/>
              <a:gd name="connsiteX8955" fmla="*/ 1658881 w 9310410"/>
              <a:gd name="connsiteY8955" fmla="*/ 3663362 h 5296383"/>
              <a:gd name="connsiteX8956" fmla="*/ 1664275 w 9310410"/>
              <a:gd name="connsiteY8956" fmla="*/ 3668156 h 5296383"/>
              <a:gd name="connsiteX8957" fmla="*/ 1660080 w 9310410"/>
              <a:gd name="connsiteY8957" fmla="*/ 3666957 h 5296383"/>
              <a:gd name="connsiteX8958" fmla="*/ 1654687 w 9310410"/>
              <a:gd name="connsiteY8958" fmla="*/ 3670553 h 5296383"/>
              <a:gd name="connsiteX8959" fmla="*/ 1651690 w 9310410"/>
              <a:gd name="connsiteY8959" fmla="*/ 3677145 h 5296383"/>
              <a:gd name="connsiteX8960" fmla="*/ 1651091 w 9310410"/>
              <a:gd name="connsiteY8960" fmla="*/ 3671751 h 5296383"/>
              <a:gd name="connsiteX8961" fmla="*/ 1646297 w 9310410"/>
              <a:gd name="connsiteY8961" fmla="*/ 3672950 h 5296383"/>
              <a:gd name="connsiteX8962" fmla="*/ 1648694 w 9310410"/>
              <a:gd name="connsiteY8962" fmla="*/ 3690329 h 5296383"/>
              <a:gd name="connsiteX8963" fmla="*/ 1654087 w 9310410"/>
              <a:gd name="connsiteY8963" fmla="*/ 3704712 h 5296383"/>
              <a:gd name="connsiteX8964" fmla="*/ 1646297 w 9310410"/>
              <a:gd name="connsiteY8964" fmla="*/ 3699917 h 5296383"/>
              <a:gd name="connsiteX8965" fmla="*/ 1640903 w 9310410"/>
              <a:gd name="connsiteY8965" fmla="*/ 3695722 h 5296383"/>
              <a:gd name="connsiteX8966" fmla="*/ 1635510 w 9310410"/>
              <a:gd name="connsiteY8966" fmla="*/ 3704712 h 5296383"/>
              <a:gd name="connsiteX8967" fmla="*/ 1640304 w 9310410"/>
              <a:gd name="connsiteY8967" fmla="*/ 3717297 h 5296383"/>
              <a:gd name="connsiteX8968" fmla="*/ 1642701 w 9310410"/>
              <a:gd name="connsiteY8968" fmla="*/ 3725686 h 5296383"/>
              <a:gd name="connsiteX8969" fmla="*/ 1637307 w 9310410"/>
              <a:gd name="connsiteY8969" fmla="*/ 3721492 h 5296383"/>
              <a:gd name="connsiteX8970" fmla="*/ 1630116 w 9310410"/>
              <a:gd name="connsiteY8970" fmla="*/ 3713701 h 5296383"/>
              <a:gd name="connsiteX8971" fmla="*/ 1625921 w 9310410"/>
              <a:gd name="connsiteY8971" fmla="*/ 3716697 h 5296383"/>
              <a:gd name="connsiteX8972" fmla="*/ 1621726 w 9310410"/>
              <a:gd name="connsiteY8972" fmla="*/ 3720892 h 5296383"/>
              <a:gd name="connsiteX8973" fmla="*/ 1621127 w 9310410"/>
              <a:gd name="connsiteY8973" fmla="*/ 3725686 h 5296383"/>
              <a:gd name="connsiteX8974" fmla="*/ 1617532 w 9310410"/>
              <a:gd name="connsiteY8974" fmla="*/ 3726286 h 5296383"/>
              <a:gd name="connsiteX8975" fmla="*/ 1613337 w 9310410"/>
              <a:gd name="connsiteY8975" fmla="*/ 3728683 h 5296383"/>
              <a:gd name="connsiteX8976" fmla="*/ 1611539 w 9310410"/>
              <a:gd name="connsiteY8976" fmla="*/ 3724488 h 5296383"/>
              <a:gd name="connsiteX8977" fmla="*/ 1606145 w 9310410"/>
              <a:gd name="connsiteY8977" fmla="*/ 3725087 h 5296383"/>
              <a:gd name="connsiteX8978" fmla="*/ 1598355 w 9310410"/>
              <a:gd name="connsiteY8978" fmla="*/ 3732278 h 5296383"/>
              <a:gd name="connsiteX8979" fmla="*/ 1590564 w 9310410"/>
              <a:gd name="connsiteY8979" fmla="*/ 3739470 h 5296383"/>
              <a:gd name="connsiteX8980" fmla="*/ 1590564 w 9310410"/>
              <a:gd name="connsiteY8980" fmla="*/ 3752653 h 5296383"/>
              <a:gd name="connsiteX8981" fmla="*/ 1589965 w 9310410"/>
              <a:gd name="connsiteY8981" fmla="*/ 3769433 h 5296383"/>
              <a:gd name="connsiteX8982" fmla="*/ 1588167 w 9310410"/>
              <a:gd name="connsiteY8982" fmla="*/ 3782617 h 5296383"/>
              <a:gd name="connsiteX8983" fmla="*/ 1591763 w 9310410"/>
              <a:gd name="connsiteY8983" fmla="*/ 3797599 h 5296383"/>
              <a:gd name="connsiteX8984" fmla="*/ 1602550 w 9310410"/>
              <a:gd name="connsiteY8984" fmla="*/ 3817375 h 5296383"/>
              <a:gd name="connsiteX8985" fmla="*/ 1609741 w 9310410"/>
              <a:gd name="connsiteY8985" fmla="*/ 3832357 h 5296383"/>
              <a:gd name="connsiteX8986" fmla="*/ 1616932 w 9310410"/>
              <a:gd name="connsiteY8986" fmla="*/ 3852133 h 5296383"/>
              <a:gd name="connsiteX8987" fmla="*/ 1621127 w 9310410"/>
              <a:gd name="connsiteY8987" fmla="*/ 3865317 h 5296383"/>
              <a:gd name="connsiteX8988" fmla="*/ 1621726 w 9310410"/>
              <a:gd name="connsiteY8988" fmla="*/ 3876104 h 5296383"/>
              <a:gd name="connsiteX8989" fmla="*/ 1622326 w 9310410"/>
              <a:gd name="connsiteY8989" fmla="*/ 3886891 h 5296383"/>
              <a:gd name="connsiteX8990" fmla="*/ 1621127 w 9310410"/>
              <a:gd name="connsiteY8990" fmla="*/ 3897079 h 5296383"/>
              <a:gd name="connsiteX8991" fmla="*/ 1616932 w 9310410"/>
              <a:gd name="connsiteY8991" fmla="*/ 3907266 h 5296383"/>
              <a:gd name="connsiteX8992" fmla="*/ 1616932 w 9310410"/>
              <a:gd name="connsiteY8992" fmla="*/ 3919252 h 5296383"/>
              <a:gd name="connsiteX8993" fmla="*/ 1613936 w 9310410"/>
              <a:gd name="connsiteY8993" fmla="*/ 3930039 h 5296383"/>
              <a:gd name="connsiteX8994" fmla="*/ 1610340 w 9310410"/>
              <a:gd name="connsiteY8994" fmla="*/ 3937230 h 5296383"/>
              <a:gd name="connsiteX8995" fmla="*/ 1610939 w 9310410"/>
              <a:gd name="connsiteY8995" fmla="*/ 3945620 h 5296383"/>
              <a:gd name="connsiteX8996" fmla="*/ 1616333 w 9310410"/>
              <a:gd name="connsiteY8996" fmla="*/ 3958804 h 5296383"/>
              <a:gd name="connsiteX8997" fmla="*/ 1623524 w 9310410"/>
              <a:gd name="connsiteY8997" fmla="*/ 3980977 h 5296383"/>
              <a:gd name="connsiteX8998" fmla="*/ 1636109 w 9310410"/>
              <a:gd name="connsiteY8998" fmla="*/ 3998356 h 5296383"/>
              <a:gd name="connsiteX8999" fmla="*/ 1644499 w 9310410"/>
              <a:gd name="connsiteY8999" fmla="*/ 4013338 h 5296383"/>
              <a:gd name="connsiteX9000" fmla="*/ 1645697 w 9310410"/>
              <a:gd name="connsiteY9000" fmla="*/ 4021728 h 5296383"/>
              <a:gd name="connsiteX9001" fmla="*/ 1648095 w 9310410"/>
              <a:gd name="connsiteY9001" fmla="*/ 4027720 h 5296383"/>
              <a:gd name="connsiteX9002" fmla="*/ 1650492 w 9310410"/>
              <a:gd name="connsiteY9002" fmla="*/ 4039107 h 5296383"/>
              <a:gd name="connsiteX9003" fmla="*/ 1658282 w 9310410"/>
              <a:gd name="connsiteY9003" fmla="*/ 4055287 h 5296383"/>
              <a:gd name="connsiteX9004" fmla="*/ 1672665 w 9310410"/>
              <a:gd name="connsiteY9004" fmla="*/ 4069670 h 5296383"/>
              <a:gd name="connsiteX9005" fmla="*/ 1679856 w 9310410"/>
              <a:gd name="connsiteY9005" fmla="*/ 4077460 h 5296383"/>
              <a:gd name="connsiteX9006" fmla="*/ 1681654 w 9310410"/>
              <a:gd name="connsiteY9006" fmla="*/ 4080456 h 5296383"/>
              <a:gd name="connsiteX9007" fmla="*/ 1688845 w 9310410"/>
              <a:gd name="connsiteY9007" fmla="*/ 4085251 h 5296383"/>
              <a:gd name="connsiteX9008" fmla="*/ 1700831 w 9310410"/>
              <a:gd name="connsiteY9008" fmla="*/ 4090644 h 5296383"/>
              <a:gd name="connsiteX9009" fmla="*/ 1714614 w 9310410"/>
              <a:gd name="connsiteY9009" fmla="*/ 4081655 h 5296383"/>
              <a:gd name="connsiteX9010" fmla="*/ 1726000 w 9310410"/>
              <a:gd name="connsiteY9010" fmla="*/ 4070269 h 5296383"/>
              <a:gd name="connsiteX9011" fmla="*/ 1730794 w 9310410"/>
              <a:gd name="connsiteY9011" fmla="*/ 4069670 h 5296383"/>
              <a:gd name="connsiteX9012" fmla="*/ 1741581 w 9310410"/>
              <a:gd name="connsiteY9012" fmla="*/ 4064875 h 5296383"/>
              <a:gd name="connsiteX9013" fmla="*/ 1744578 w 9310410"/>
              <a:gd name="connsiteY9013" fmla="*/ 4017533 h 5296383"/>
              <a:gd name="connsiteX9014" fmla="*/ 1733191 w 9310410"/>
              <a:gd name="connsiteY9014" fmla="*/ 3969591 h 5296383"/>
              <a:gd name="connsiteX9015" fmla="*/ 1568990 w 9310410"/>
              <a:gd name="connsiteY9015" fmla="*/ 1713324 h 5296383"/>
              <a:gd name="connsiteX9016" fmla="*/ 1564795 w 9310410"/>
              <a:gd name="connsiteY9016" fmla="*/ 1709129 h 5296383"/>
              <a:gd name="connsiteX9017" fmla="*/ 1542023 w 9310410"/>
              <a:gd name="connsiteY9017" fmla="*/ 1710328 h 5296383"/>
              <a:gd name="connsiteX9018" fmla="*/ 1528240 w 9310410"/>
              <a:gd name="connsiteY9018" fmla="*/ 1710328 h 5296383"/>
              <a:gd name="connsiteX9019" fmla="*/ 1515655 w 9310410"/>
              <a:gd name="connsiteY9019" fmla="*/ 1716920 h 5296383"/>
              <a:gd name="connsiteX9020" fmla="*/ 1513258 w 9310410"/>
              <a:gd name="connsiteY9020" fmla="*/ 1724711 h 5296383"/>
              <a:gd name="connsiteX9021" fmla="*/ 1516853 w 9310410"/>
              <a:gd name="connsiteY9021" fmla="*/ 1733700 h 5296383"/>
              <a:gd name="connsiteX9022" fmla="*/ 1519251 w 9310410"/>
              <a:gd name="connsiteY9022" fmla="*/ 1737894 h 5296383"/>
              <a:gd name="connsiteX9023" fmla="*/ 1531236 w 9310410"/>
              <a:gd name="connsiteY9023" fmla="*/ 1734299 h 5296383"/>
              <a:gd name="connsiteX9024" fmla="*/ 1538427 w 9310410"/>
              <a:gd name="connsiteY9024" fmla="*/ 1731902 h 5296383"/>
              <a:gd name="connsiteX9025" fmla="*/ 1547416 w 9310410"/>
              <a:gd name="connsiteY9025" fmla="*/ 1732501 h 5296383"/>
              <a:gd name="connsiteX9026" fmla="*/ 1551611 w 9310410"/>
              <a:gd name="connsiteY9026" fmla="*/ 1725909 h 5296383"/>
              <a:gd name="connsiteX9027" fmla="*/ 1568990 w 9310410"/>
              <a:gd name="connsiteY9027" fmla="*/ 1713324 h 5296383"/>
              <a:gd name="connsiteX9028" fmla="*/ 1830274 w 9310410"/>
              <a:gd name="connsiteY9028" fmla="*/ 1514965 h 5296383"/>
              <a:gd name="connsiteX9029" fmla="*/ 1830274 w 9310410"/>
              <a:gd name="connsiteY9029" fmla="*/ 1514965 h 5296383"/>
              <a:gd name="connsiteX9030" fmla="*/ 1830274 w 9310410"/>
              <a:gd name="connsiteY9030" fmla="*/ 1514965 h 5296383"/>
              <a:gd name="connsiteX9031" fmla="*/ 5138865 w 9310410"/>
              <a:gd name="connsiteY9031" fmla="*/ 4472382 h 5296383"/>
              <a:gd name="connsiteX9032" fmla="*/ 5141861 w 9310410"/>
              <a:gd name="connsiteY9032" fmla="*/ 4462793 h 5296383"/>
              <a:gd name="connsiteX9033" fmla="*/ 5136468 w 9310410"/>
              <a:gd name="connsiteY9033" fmla="*/ 4467588 h 5296383"/>
              <a:gd name="connsiteX9034" fmla="*/ 5131674 w 9310410"/>
              <a:gd name="connsiteY9034" fmla="*/ 4466988 h 5296383"/>
              <a:gd name="connsiteX9035" fmla="*/ 5128078 w 9310410"/>
              <a:gd name="connsiteY9035" fmla="*/ 4463393 h 5296383"/>
              <a:gd name="connsiteX9036" fmla="*/ 5114894 w 9310410"/>
              <a:gd name="connsiteY9036" fmla="*/ 4474779 h 5296383"/>
              <a:gd name="connsiteX9037" fmla="*/ 5111299 w 9310410"/>
              <a:gd name="connsiteY9037" fmla="*/ 4460396 h 5296383"/>
              <a:gd name="connsiteX9038" fmla="*/ 5107703 w 9310410"/>
              <a:gd name="connsiteY9038" fmla="*/ 4451407 h 5296383"/>
              <a:gd name="connsiteX9039" fmla="*/ 5107104 w 9310410"/>
              <a:gd name="connsiteY9039" fmla="*/ 4444216 h 5296383"/>
              <a:gd name="connsiteX9040" fmla="*/ 5103508 w 9310410"/>
              <a:gd name="connsiteY9040" fmla="*/ 4440620 h 5296383"/>
              <a:gd name="connsiteX9041" fmla="*/ 5096916 w 9310410"/>
              <a:gd name="connsiteY9041" fmla="*/ 4449609 h 5296383"/>
              <a:gd name="connsiteX9042" fmla="*/ 5089725 w 9310410"/>
              <a:gd name="connsiteY9042" fmla="*/ 4459198 h 5296383"/>
              <a:gd name="connsiteX9043" fmla="*/ 5079537 w 9310410"/>
              <a:gd name="connsiteY9043" fmla="*/ 4474779 h 5296383"/>
              <a:gd name="connsiteX9044" fmla="*/ 5068151 w 9310410"/>
              <a:gd name="connsiteY9044" fmla="*/ 4487963 h 5296383"/>
              <a:gd name="connsiteX9045" fmla="*/ 5059761 w 9310410"/>
              <a:gd name="connsiteY9045" fmla="*/ 4505941 h 5296383"/>
              <a:gd name="connsiteX9046" fmla="*/ 5046577 w 9310410"/>
              <a:gd name="connsiteY9046" fmla="*/ 4528713 h 5296383"/>
              <a:gd name="connsiteX9047" fmla="*/ 5032794 w 9310410"/>
              <a:gd name="connsiteY9047" fmla="*/ 4537702 h 5296383"/>
              <a:gd name="connsiteX9048" fmla="*/ 5023205 w 9310410"/>
              <a:gd name="connsiteY9048" fmla="*/ 4543695 h 5296383"/>
              <a:gd name="connsiteX9049" fmla="*/ 5010021 w 9310410"/>
              <a:gd name="connsiteY9049" fmla="*/ 4550287 h 5296383"/>
              <a:gd name="connsiteX9050" fmla="*/ 5009422 w 9310410"/>
              <a:gd name="connsiteY9050" fmla="*/ 4554482 h 5296383"/>
              <a:gd name="connsiteX9051" fmla="*/ 5010021 w 9310410"/>
              <a:gd name="connsiteY9051" fmla="*/ 4558078 h 5296383"/>
              <a:gd name="connsiteX9052" fmla="*/ 4996837 w 9310410"/>
              <a:gd name="connsiteY9052" fmla="*/ 4557479 h 5296383"/>
              <a:gd name="connsiteX9053" fmla="*/ 4988447 w 9310410"/>
              <a:gd name="connsiteY9053" fmla="*/ 4560475 h 5296383"/>
              <a:gd name="connsiteX9054" fmla="*/ 4982455 w 9310410"/>
              <a:gd name="connsiteY9054" fmla="*/ 4565269 h 5296383"/>
              <a:gd name="connsiteX9055" fmla="*/ 4977061 w 9310410"/>
              <a:gd name="connsiteY9055" fmla="*/ 4574258 h 5296383"/>
              <a:gd name="connsiteX9056" fmla="*/ 4972267 w 9310410"/>
              <a:gd name="connsiteY9056" fmla="*/ 4578453 h 5296383"/>
              <a:gd name="connsiteX9057" fmla="*/ 4966874 w 9310410"/>
              <a:gd name="connsiteY9057" fmla="*/ 4583248 h 5296383"/>
              <a:gd name="connsiteX9058" fmla="*/ 4961480 w 9310410"/>
              <a:gd name="connsiteY9058" fmla="*/ 4588641 h 5296383"/>
              <a:gd name="connsiteX9059" fmla="*/ 4954289 w 9310410"/>
              <a:gd name="connsiteY9059" fmla="*/ 4592836 h 5296383"/>
              <a:gd name="connsiteX9060" fmla="*/ 4945899 w 9310410"/>
              <a:gd name="connsiteY9060" fmla="*/ 4601825 h 5296383"/>
              <a:gd name="connsiteX9061" fmla="*/ 4945300 w 9310410"/>
              <a:gd name="connsiteY9061" fmla="*/ 4607218 h 5296383"/>
              <a:gd name="connsiteX9062" fmla="*/ 4943502 w 9310410"/>
              <a:gd name="connsiteY9062" fmla="*/ 4614410 h 5296383"/>
              <a:gd name="connsiteX9063" fmla="*/ 4939307 w 9310410"/>
              <a:gd name="connsiteY9063" fmla="*/ 4618604 h 5296383"/>
              <a:gd name="connsiteX9064" fmla="*/ 4929719 w 9310410"/>
              <a:gd name="connsiteY9064" fmla="*/ 4624597 h 5296383"/>
              <a:gd name="connsiteX9065" fmla="*/ 4939307 w 9310410"/>
              <a:gd name="connsiteY9065" fmla="*/ 4631789 h 5296383"/>
              <a:gd name="connsiteX9066" fmla="*/ 4958484 w 9310410"/>
              <a:gd name="connsiteY9066" fmla="*/ 4633586 h 5296383"/>
              <a:gd name="connsiteX9067" fmla="*/ 4968072 w 9310410"/>
              <a:gd name="connsiteY9067" fmla="*/ 4640179 h 5296383"/>
              <a:gd name="connsiteX9068" fmla="*/ 4974664 w 9310410"/>
              <a:gd name="connsiteY9068" fmla="*/ 4643175 h 5296383"/>
              <a:gd name="connsiteX9069" fmla="*/ 4978859 w 9310410"/>
              <a:gd name="connsiteY9069" fmla="*/ 4647370 h 5296383"/>
              <a:gd name="connsiteX9070" fmla="*/ 4986050 w 9310410"/>
              <a:gd name="connsiteY9070" fmla="*/ 4651565 h 5296383"/>
              <a:gd name="connsiteX9071" fmla="*/ 4998635 w 9310410"/>
              <a:gd name="connsiteY9071" fmla="*/ 4650965 h 5296383"/>
              <a:gd name="connsiteX9072" fmla="*/ 5009422 w 9310410"/>
              <a:gd name="connsiteY9072" fmla="*/ 4644374 h 5296383"/>
              <a:gd name="connsiteX9073" fmla="*/ 5017213 w 9310410"/>
              <a:gd name="connsiteY9073" fmla="*/ 4640778 h 5296383"/>
              <a:gd name="connsiteX9074" fmla="*/ 5025003 w 9310410"/>
              <a:gd name="connsiteY9074" fmla="*/ 4634785 h 5296383"/>
              <a:gd name="connsiteX9075" fmla="*/ 5034592 w 9310410"/>
              <a:gd name="connsiteY9075" fmla="*/ 4629991 h 5296383"/>
              <a:gd name="connsiteX9076" fmla="*/ 5042382 w 9310410"/>
              <a:gd name="connsiteY9076" fmla="*/ 4621601 h 5296383"/>
              <a:gd name="connsiteX9077" fmla="*/ 5045379 w 9310410"/>
              <a:gd name="connsiteY9077" fmla="*/ 4609615 h 5296383"/>
              <a:gd name="connsiteX9078" fmla="*/ 5053769 w 9310410"/>
              <a:gd name="connsiteY9078" fmla="*/ 4591637 h 5296383"/>
              <a:gd name="connsiteX9079" fmla="*/ 5053769 w 9310410"/>
              <a:gd name="connsiteY9079" fmla="*/ 4581450 h 5296383"/>
              <a:gd name="connsiteX9080" fmla="*/ 5056765 w 9310410"/>
              <a:gd name="connsiteY9080" fmla="*/ 4574258 h 5296383"/>
              <a:gd name="connsiteX9081" fmla="*/ 5060959 w 9310410"/>
              <a:gd name="connsiteY9081" fmla="*/ 4572461 h 5296383"/>
              <a:gd name="connsiteX9082" fmla="*/ 5068151 w 9310410"/>
              <a:gd name="connsiteY9082" fmla="*/ 4568865 h 5296383"/>
              <a:gd name="connsiteX9083" fmla="*/ 5076541 w 9310410"/>
              <a:gd name="connsiteY9083" fmla="*/ 4561673 h 5296383"/>
              <a:gd name="connsiteX9084" fmla="*/ 5079537 w 9310410"/>
              <a:gd name="connsiteY9084" fmla="*/ 4559277 h 5296383"/>
              <a:gd name="connsiteX9085" fmla="*/ 5087927 w 9310410"/>
              <a:gd name="connsiteY9085" fmla="*/ 4560475 h 5296383"/>
              <a:gd name="connsiteX9086" fmla="*/ 5098714 w 9310410"/>
              <a:gd name="connsiteY9086" fmla="*/ 4562273 h 5296383"/>
              <a:gd name="connsiteX9087" fmla="*/ 5107104 w 9310410"/>
              <a:gd name="connsiteY9087" fmla="*/ 4554482 h 5296383"/>
              <a:gd name="connsiteX9088" fmla="*/ 5098714 w 9310410"/>
              <a:gd name="connsiteY9088" fmla="*/ 4546092 h 5296383"/>
              <a:gd name="connsiteX9089" fmla="*/ 5109501 w 9310410"/>
              <a:gd name="connsiteY9089" fmla="*/ 4532309 h 5296383"/>
              <a:gd name="connsiteX9090" fmla="*/ 5124483 w 9310410"/>
              <a:gd name="connsiteY9090" fmla="*/ 4514331 h 5296383"/>
              <a:gd name="connsiteX9091" fmla="*/ 5136468 w 9310410"/>
              <a:gd name="connsiteY9091" fmla="*/ 4497551 h 5296383"/>
              <a:gd name="connsiteX9092" fmla="*/ 5134670 w 9310410"/>
              <a:gd name="connsiteY9092" fmla="*/ 4490959 h 5296383"/>
              <a:gd name="connsiteX9093" fmla="*/ 5137067 w 9310410"/>
              <a:gd name="connsiteY9093" fmla="*/ 4484966 h 5296383"/>
              <a:gd name="connsiteX9094" fmla="*/ 5137667 w 9310410"/>
              <a:gd name="connsiteY9094" fmla="*/ 4479573 h 5296383"/>
              <a:gd name="connsiteX9095" fmla="*/ 5138865 w 9310410"/>
              <a:gd name="connsiteY9095" fmla="*/ 4472382 h 5296383"/>
              <a:gd name="connsiteX9096" fmla="*/ 5267709 w 9310410"/>
              <a:gd name="connsiteY9096" fmla="*/ 4348931 h 5296383"/>
              <a:gd name="connsiteX9097" fmla="*/ 5254525 w 9310410"/>
              <a:gd name="connsiteY9097" fmla="*/ 4346534 h 5296383"/>
              <a:gd name="connsiteX9098" fmla="*/ 5244338 w 9310410"/>
              <a:gd name="connsiteY9098" fmla="*/ 4358520 h 5296383"/>
              <a:gd name="connsiteX9099" fmla="*/ 5234749 w 9310410"/>
              <a:gd name="connsiteY9099" fmla="*/ 4362115 h 5296383"/>
              <a:gd name="connsiteX9100" fmla="*/ 5229955 w 9310410"/>
              <a:gd name="connsiteY9100" fmla="*/ 4364513 h 5296383"/>
              <a:gd name="connsiteX9101" fmla="*/ 5225161 w 9310410"/>
              <a:gd name="connsiteY9101" fmla="*/ 4363913 h 5296383"/>
              <a:gd name="connsiteX9102" fmla="*/ 5210778 w 9310410"/>
              <a:gd name="connsiteY9102" fmla="*/ 4356722 h 5296383"/>
              <a:gd name="connsiteX9103" fmla="*/ 5198792 w 9310410"/>
              <a:gd name="connsiteY9103" fmla="*/ 4353726 h 5296383"/>
              <a:gd name="connsiteX9104" fmla="*/ 5199991 w 9310410"/>
              <a:gd name="connsiteY9104" fmla="*/ 4348931 h 5296383"/>
              <a:gd name="connsiteX9105" fmla="*/ 5202388 w 9310410"/>
              <a:gd name="connsiteY9105" fmla="*/ 4335747 h 5296383"/>
              <a:gd name="connsiteX9106" fmla="*/ 5199991 w 9310410"/>
              <a:gd name="connsiteY9106" fmla="*/ 4325560 h 5296383"/>
              <a:gd name="connsiteX9107" fmla="*/ 5197594 w 9310410"/>
              <a:gd name="connsiteY9107" fmla="*/ 4322563 h 5296383"/>
              <a:gd name="connsiteX9108" fmla="*/ 5198193 w 9310410"/>
              <a:gd name="connsiteY9108" fmla="*/ 4317170 h 5296383"/>
              <a:gd name="connsiteX9109" fmla="*/ 5192201 w 9310410"/>
              <a:gd name="connsiteY9109" fmla="*/ 4314773 h 5296383"/>
              <a:gd name="connsiteX9110" fmla="*/ 5190403 w 9310410"/>
              <a:gd name="connsiteY9110" fmla="*/ 4326159 h 5296383"/>
              <a:gd name="connsiteX9111" fmla="*/ 5187407 w 9310410"/>
              <a:gd name="connsiteY9111" fmla="*/ 4333350 h 5296383"/>
              <a:gd name="connsiteX9112" fmla="*/ 5185009 w 9310410"/>
              <a:gd name="connsiteY9112" fmla="*/ 4333949 h 5296383"/>
              <a:gd name="connsiteX9113" fmla="*/ 5180215 w 9310410"/>
              <a:gd name="connsiteY9113" fmla="*/ 4329155 h 5296383"/>
              <a:gd name="connsiteX9114" fmla="*/ 5171226 w 9310410"/>
              <a:gd name="connsiteY9114" fmla="*/ 4319567 h 5296383"/>
              <a:gd name="connsiteX9115" fmla="*/ 5174822 w 9310410"/>
              <a:gd name="connsiteY9115" fmla="*/ 4311177 h 5296383"/>
              <a:gd name="connsiteX9116" fmla="*/ 5172425 w 9310410"/>
              <a:gd name="connsiteY9116" fmla="*/ 4300989 h 5296383"/>
              <a:gd name="connsiteX9117" fmla="*/ 5164634 w 9310410"/>
              <a:gd name="connsiteY9117" fmla="*/ 4289004 h 5296383"/>
              <a:gd name="connsiteX9118" fmla="*/ 5167031 w 9310410"/>
              <a:gd name="connsiteY9118" fmla="*/ 4284809 h 5296383"/>
              <a:gd name="connsiteX9119" fmla="*/ 5168829 w 9310410"/>
              <a:gd name="connsiteY9119" fmla="*/ 4274621 h 5296383"/>
              <a:gd name="connsiteX9120" fmla="*/ 5161638 w 9310410"/>
              <a:gd name="connsiteY9120" fmla="*/ 4275221 h 5296383"/>
              <a:gd name="connsiteX9121" fmla="*/ 5158042 w 9310410"/>
              <a:gd name="connsiteY9121" fmla="*/ 4271625 h 5296383"/>
              <a:gd name="connsiteX9122" fmla="*/ 5153847 w 9310410"/>
              <a:gd name="connsiteY9122" fmla="*/ 4264434 h 5296383"/>
              <a:gd name="connsiteX9123" fmla="*/ 5147255 w 9310410"/>
              <a:gd name="connsiteY9123" fmla="*/ 4256643 h 5296383"/>
              <a:gd name="connsiteX9124" fmla="*/ 5142461 w 9310410"/>
              <a:gd name="connsiteY9124" fmla="*/ 4256643 h 5296383"/>
              <a:gd name="connsiteX9125" fmla="*/ 5137067 w 9310410"/>
              <a:gd name="connsiteY9125" fmla="*/ 4253047 h 5296383"/>
              <a:gd name="connsiteX9126" fmla="*/ 5134670 w 9310410"/>
              <a:gd name="connsiteY9126" fmla="*/ 4242860 h 5296383"/>
              <a:gd name="connsiteX9127" fmla="*/ 5134071 w 9310410"/>
              <a:gd name="connsiteY9127" fmla="*/ 4237466 h 5296383"/>
              <a:gd name="connsiteX9128" fmla="*/ 5129277 w 9310410"/>
              <a:gd name="connsiteY9128" fmla="*/ 4239264 h 5296383"/>
              <a:gd name="connsiteX9129" fmla="*/ 5128078 w 9310410"/>
              <a:gd name="connsiteY9129" fmla="*/ 4249452 h 5296383"/>
              <a:gd name="connsiteX9130" fmla="*/ 5140064 w 9310410"/>
              <a:gd name="connsiteY9130" fmla="*/ 4274022 h 5296383"/>
              <a:gd name="connsiteX9131" fmla="*/ 5141861 w 9310410"/>
              <a:gd name="connsiteY9131" fmla="*/ 4282412 h 5296383"/>
              <a:gd name="connsiteX9132" fmla="*/ 5158641 w 9310410"/>
              <a:gd name="connsiteY9132" fmla="*/ 4308181 h 5296383"/>
              <a:gd name="connsiteX9133" fmla="*/ 5165233 w 9310410"/>
              <a:gd name="connsiteY9133" fmla="*/ 4308780 h 5296383"/>
              <a:gd name="connsiteX9134" fmla="*/ 5159840 w 9310410"/>
              <a:gd name="connsiteY9134" fmla="*/ 4312975 h 5296383"/>
              <a:gd name="connsiteX9135" fmla="*/ 5160439 w 9310410"/>
              <a:gd name="connsiteY9135" fmla="*/ 4320166 h 5296383"/>
              <a:gd name="connsiteX9136" fmla="*/ 5168829 w 9310410"/>
              <a:gd name="connsiteY9136" fmla="*/ 4330354 h 5296383"/>
              <a:gd name="connsiteX9137" fmla="*/ 5163436 w 9310410"/>
              <a:gd name="connsiteY9137" fmla="*/ 4333350 h 5296383"/>
              <a:gd name="connsiteX9138" fmla="*/ 5159840 w 9310410"/>
              <a:gd name="connsiteY9138" fmla="*/ 4335747 h 5296383"/>
              <a:gd name="connsiteX9139" fmla="*/ 5165832 w 9310410"/>
              <a:gd name="connsiteY9139" fmla="*/ 4342938 h 5296383"/>
              <a:gd name="connsiteX9140" fmla="*/ 5165233 w 9310410"/>
              <a:gd name="connsiteY9140" fmla="*/ 4354924 h 5296383"/>
              <a:gd name="connsiteX9141" fmla="*/ 5165832 w 9310410"/>
              <a:gd name="connsiteY9141" fmla="*/ 4364513 h 5296383"/>
              <a:gd name="connsiteX9142" fmla="*/ 5164634 w 9310410"/>
              <a:gd name="connsiteY9142" fmla="*/ 4370505 h 5296383"/>
              <a:gd name="connsiteX9143" fmla="*/ 5157443 w 9310410"/>
              <a:gd name="connsiteY9143" fmla="*/ 4379494 h 5296383"/>
              <a:gd name="connsiteX9144" fmla="*/ 5144259 w 9310410"/>
              <a:gd name="connsiteY9144" fmla="*/ 4394476 h 5296383"/>
              <a:gd name="connsiteX9145" fmla="*/ 5135869 w 9310410"/>
              <a:gd name="connsiteY9145" fmla="*/ 4405263 h 5296383"/>
              <a:gd name="connsiteX9146" fmla="*/ 5142461 w 9310410"/>
              <a:gd name="connsiteY9146" fmla="*/ 4416649 h 5296383"/>
              <a:gd name="connsiteX9147" fmla="*/ 5152649 w 9310410"/>
              <a:gd name="connsiteY9147" fmla="*/ 4420844 h 5296383"/>
              <a:gd name="connsiteX9148" fmla="*/ 5168829 w 9310410"/>
              <a:gd name="connsiteY9148" fmla="*/ 4428635 h 5296383"/>
              <a:gd name="connsiteX9149" fmla="*/ 5164634 w 9310410"/>
              <a:gd name="connsiteY9149" fmla="*/ 4460396 h 5296383"/>
              <a:gd name="connsiteX9150" fmla="*/ 5152049 w 9310410"/>
              <a:gd name="connsiteY9150" fmla="*/ 4472382 h 5296383"/>
              <a:gd name="connsiteX9151" fmla="*/ 5162836 w 9310410"/>
              <a:gd name="connsiteY9151" fmla="*/ 4479573 h 5296383"/>
              <a:gd name="connsiteX9152" fmla="*/ 5167631 w 9310410"/>
              <a:gd name="connsiteY9152" fmla="*/ 4483768 h 5296383"/>
              <a:gd name="connsiteX9153" fmla="*/ 5177818 w 9310410"/>
              <a:gd name="connsiteY9153" fmla="*/ 4481371 h 5296383"/>
              <a:gd name="connsiteX9154" fmla="*/ 5196396 w 9310410"/>
              <a:gd name="connsiteY9154" fmla="*/ 4462793 h 5296383"/>
              <a:gd name="connsiteX9155" fmla="*/ 5209580 w 9310410"/>
              <a:gd name="connsiteY9155" fmla="*/ 4447811 h 5296383"/>
              <a:gd name="connsiteX9156" fmla="*/ 5219767 w 9310410"/>
              <a:gd name="connsiteY9156" fmla="*/ 4432830 h 5296383"/>
              <a:gd name="connsiteX9157" fmla="*/ 5223962 w 9310410"/>
              <a:gd name="connsiteY9157" fmla="*/ 4425039 h 5296383"/>
              <a:gd name="connsiteX9158" fmla="*/ 5222164 w 9310410"/>
              <a:gd name="connsiteY9158" fmla="*/ 4419646 h 5296383"/>
              <a:gd name="connsiteX9159" fmla="*/ 5222763 w 9310410"/>
              <a:gd name="connsiteY9159" fmla="*/ 4411256 h 5296383"/>
              <a:gd name="connsiteX9160" fmla="*/ 5236547 w 9310410"/>
              <a:gd name="connsiteY9160" fmla="*/ 4405263 h 5296383"/>
              <a:gd name="connsiteX9161" fmla="*/ 5243139 w 9310410"/>
              <a:gd name="connsiteY9161" fmla="*/ 4411256 h 5296383"/>
              <a:gd name="connsiteX9162" fmla="*/ 5245536 w 9310410"/>
              <a:gd name="connsiteY9162" fmla="*/ 4401068 h 5296383"/>
              <a:gd name="connsiteX9163" fmla="*/ 5247334 w 9310410"/>
              <a:gd name="connsiteY9163" fmla="*/ 4396274 h 5296383"/>
              <a:gd name="connsiteX9164" fmla="*/ 5245536 w 9310410"/>
              <a:gd name="connsiteY9164" fmla="*/ 4387884 h 5296383"/>
              <a:gd name="connsiteX9165" fmla="*/ 5250330 w 9310410"/>
              <a:gd name="connsiteY9165" fmla="*/ 4384288 h 5296383"/>
              <a:gd name="connsiteX9166" fmla="*/ 5263514 w 9310410"/>
              <a:gd name="connsiteY9166" fmla="*/ 4370505 h 5296383"/>
              <a:gd name="connsiteX9167" fmla="*/ 5268908 w 9310410"/>
              <a:gd name="connsiteY9167" fmla="*/ 4360917 h 5296383"/>
              <a:gd name="connsiteX9168" fmla="*/ 5267709 w 9310410"/>
              <a:gd name="connsiteY9168" fmla="*/ 4348931 h 5296383"/>
              <a:gd name="connsiteX9169" fmla="*/ 7933280 w 9310410"/>
              <a:gd name="connsiteY9169" fmla="*/ 987603 h 5296383"/>
              <a:gd name="connsiteX9170" fmla="*/ 7941070 w 9310410"/>
              <a:gd name="connsiteY9170" fmla="*/ 991798 h 5296383"/>
              <a:gd name="connsiteX9171" fmla="*/ 7958449 w 9310410"/>
              <a:gd name="connsiteY9171" fmla="*/ 1024159 h 5296383"/>
              <a:gd name="connsiteX9172" fmla="*/ 7967438 w 9310410"/>
              <a:gd name="connsiteY9172" fmla="*/ 1034946 h 5296383"/>
              <a:gd name="connsiteX9173" fmla="*/ 7973431 w 9310410"/>
              <a:gd name="connsiteY9173" fmla="*/ 1037343 h 5296383"/>
              <a:gd name="connsiteX9174" fmla="*/ 7970434 w 9310410"/>
              <a:gd name="connsiteY9174" fmla="*/ 1043935 h 5296383"/>
              <a:gd name="connsiteX9175" fmla="*/ 7966240 w 9310410"/>
              <a:gd name="connsiteY9175" fmla="*/ 1043336 h 5296383"/>
              <a:gd name="connsiteX9176" fmla="*/ 7970434 w 9310410"/>
              <a:gd name="connsiteY9176" fmla="*/ 1054722 h 5296383"/>
              <a:gd name="connsiteX9177" fmla="*/ 7965041 w 9310410"/>
              <a:gd name="connsiteY9177" fmla="*/ 1062513 h 5296383"/>
              <a:gd name="connsiteX9178" fmla="*/ 7963243 w 9310410"/>
              <a:gd name="connsiteY9178" fmla="*/ 1074498 h 5296383"/>
              <a:gd name="connsiteX9179" fmla="*/ 7972233 w 9310410"/>
              <a:gd name="connsiteY9179" fmla="*/ 1069105 h 5296383"/>
              <a:gd name="connsiteX9180" fmla="*/ 7980023 w 9310410"/>
              <a:gd name="connsiteY9180" fmla="*/ 1071502 h 5296383"/>
              <a:gd name="connsiteX9181" fmla="*/ 7974030 w 9310410"/>
              <a:gd name="connsiteY9181" fmla="*/ 1096072 h 5296383"/>
              <a:gd name="connsiteX9182" fmla="*/ 7996803 w 9310410"/>
              <a:gd name="connsiteY9182" fmla="*/ 1104462 h 5296383"/>
              <a:gd name="connsiteX9183" fmla="*/ 8002795 w 9310410"/>
              <a:gd name="connsiteY9183" fmla="*/ 1096671 h 5296383"/>
              <a:gd name="connsiteX9184" fmla="*/ 8006391 w 9310410"/>
              <a:gd name="connsiteY9184" fmla="*/ 1096072 h 5296383"/>
              <a:gd name="connsiteX9185" fmla="*/ 8021373 w 9310410"/>
              <a:gd name="connsiteY9185" fmla="*/ 1099069 h 5296383"/>
              <a:gd name="connsiteX9186" fmla="*/ 8033957 w 9310410"/>
              <a:gd name="connsiteY9186" fmla="*/ 1091877 h 5296383"/>
              <a:gd name="connsiteX9187" fmla="*/ 8039950 w 9310410"/>
              <a:gd name="connsiteY9187" fmla="*/ 1082888 h 5296383"/>
              <a:gd name="connsiteX9188" fmla="*/ 8044145 w 9310410"/>
              <a:gd name="connsiteY9188" fmla="*/ 1072101 h 5296383"/>
              <a:gd name="connsiteX9189" fmla="*/ 8050138 w 9310410"/>
              <a:gd name="connsiteY9189" fmla="*/ 1078693 h 5296383"/>
              <a:gd name="connsiteX9190" fmla="*/ 8052535 w 9310410"/>
              <a:gd name="connsiteY9190" fmla="*/ 1090679 h 5296383"/>
              <a:gd name="connsiteX9191" fmla="*/ 8059726 w 9310410"/>
              <a:gd name="connsiteY9191" fmla="*/ 1088282 h 5296383"/>
              <a:gd name="connsiteX9192" fmla="*/ 8061524 w 9310410"/>
              <a:gd name="connsiteY9192" fmla="*/ 1081090 h 5296383"/>
              <a:gd name="connsiteX9193" fmla="*/ 8066917 w 9310410"/>
              <a:gd name="connsiteY9193" fmla="*/ 1073899 h 5296383"/>
              <a:gd name="connsiteX9194" fmla="*/ 8069914 w 9310410"/>
              <a:gd name="connsiteY9194" fmla="*/ 1077495 h 5296383"/>
              <a:gd name="connsiteX9195" fmla="*/ 8069315 w 9310410"/>
              <a:gd name="connsiteY9195" fmla="*/ 1088881 h 5296383"/>
              <a:gd name="connsiteX9196" fmla="*/ 8068715 w 9310410"/>
              <a:gd name="connsiteY9196" fmla="*/ 1098469 h 5296383"/>
              <a:gd name="connsiteX9197" fmla="*/ 8068715 w 9310410"/>
              <a:gd name="connsiteY9197" fmla="*/ 1109256 h 5296383"/>
              <a:gd name="connsiteX9198" fmla="*/ 8074109 w 9310410"/>
              <a:gd name="connsiteY9198" fmla="*/ 1108657 h 5296383"/>
              <a:gd name="connsiteX9199" fmla="*/ 8077705 w 9310410"/>
              <a:gd name="connsiteY9199" fmla="*/ 1104462 h 5296383"/>
              <a:gd name="connsiteX9200" fmla="*/ 8078304 w 9310410"/>
              <a:gd name="connsiteY9200" fmla="*/ 1097271 h 5296383"/>
              <a:gd name="connsiteX9201" fmla="*/ 8077705 w 9310410"/>
              <a:gd name="connsiteY9201" fmla="*/ 1086484 h 5296383"/>
              <a:gd name="connsiteX9202" fmla="*/ 8083098 w 9310410"/>
              <a:gd name="connsiteY9202" fmla="*/ 1084087 h 5296383"/>
              <a:gd name="connsiteX9203" fmla="*/ 8083697 w 9310410"/>
              <a:gd name="connsiteY9203" fmla="*/ 1078693 h 5296383"/>
              <a:gd name="connsiteX9204" fmla="*/ 8078304 w 9310410"/>
              <a:gd name="connsiteY9204" fmla="*/ 1067307 h 5296383"/>
              <a:gd name="connsiteX9205" fmla="*/ 8083697 w 9310410"/>
              <a:gd name="connsiteY9205" fmla="*/ 1069704 h 5296383"/>
              <a:gd name="connsiteX9206" fmla="*/ 8095683 w 9310410"/>
              <a:gd name="connsiteY9206" fmla="*/ 1079892 h 5296383"/>
              <a:gd name="connsiteX9207" fmla="*/ 8099278 w 9310410"/>
              <a:gd name="connsiteY9207" fmla="*/ 1092476 h 5296383"/>
              <a:gd name="connsiteX9208" fmla="*/ 8104672 w 9310410"/>
              <a:gd name="connsiteY9208" fmla="*/ 1099668 h 5296383"/>
              <a:gd name="connsiteX9209" fmla="*/ 8107668 w 9310410"/>
              <a:gd name="connsiteY9209" fmla="*/ 1091278 h 5296383"/>
              <a:gd name="connsiteX9210" fmla="*/ 8107069 w 9310410"/>
              <a:gd name="connsiteY9210" fmla="*/ 1085885 h 5296383"/>
              <a:gd name="connsiteX9211" fmla="*/ 8112463 w 9310410"/>
              <a:gd name="connsiteY9211" fmla="*/ 1091278 h 5296383"/>
              <a:gd name="connsiteX9212" fmla="*/ 8116657 w 9310410"/>
              <a:gd name="connsiteY9212" fmla="*/ 1097271 h 5296383"/>
              <a:gd name="connsiteX9213" fmla="*/ 8120852 w 9310410"/>
              <a:gd name="connsiteY9213" fmla="*/ 1102664 h 5296383"/>
              <a:gd name="connsiteX9214" fmla="*/ 8128044 w 9310410"/>
              <a:gd name="connsiteY9214" fmla="*/ 1103263 h 5296383"/>
              <a:gd name="connsiteX9215" fmla="*/ 8131040 w 9310410"/>
              <a:gd name="connsiteY9215" fmla="*/ 1099668 h 5296383"/>
              <a:gd name="connsiteX9216" fmla="*/ 8126845 w 9310410"/>
              <a:gd name="connsiteY9216" fmla="*/ 1091278 h 5296383"/>
              <a:gd name="connsiteX9217" fmla="*/ 8122650 w 9310410"/>
              <a:gd name="connsiteY9217" fmla="*/ 1079292 h 5296383"/>
              <a:gd name="connsiteX9218" fmla="*/ 8121452 w 9310410"/>
              <a:gd name="connsiteY9218" fmla="*/ 1070303 h 5296383"/>
              <a:gd name="connsiteX9219" fmla="*/ 8114859 w 9310410"/>
              <a:gd name="connsiteY9219" fmla="*/ 1059516 h 5296383"/>
              <a:gd name="connsiteX9220" fmla="*/ 8119055 w 9310410"/>
              <a:gd name="connsiteY9220" fmla="*/ 1074498 h 5296383"/>
              <a:gd name="connsiteX9221" fmla="*/ 8110066 w 9310410"/>
              <a:gd name="connsiteY9221" fmla="*/ 1071502 h 5296383"/>
              <a:gd name="connsiteX9222" fmla="*/ 8106470 w 9310410"/>
              <a:gd name="connsiteY9222" fmla="*/ 1058318 h 5296383"/>
              <a:gd name="connsiteX9223" fmla="*/ 8104073 w 9310410"/>
              <a:gd name="connsiteY9223" fmla="*/ 1043935 h 5296383"/>
              <a:gd name="connsiteX9224" fmla="*/ 8099877 w 9310410"/>
              <a:gd name="connsiteY9224" fmla="*/ 1049329 h 5296383"/>
              <a:gd name="connsiteX9225" fmla="*/ 8096881 w 9310410"/>
              <a:gd name="connsiteY9225" fmla="*/ 1057119 h 5296383"/>
              <a:gd name="connsiteX9226" fmla="*/ 8101676 w 9310410"/>
              <a:gd name="connsiteY9226" fmla="*/ 1068506 h 5296383"/>
              <a:gd name="connsiteX9227" fmla="*/ 8104073 w 9310410"/>
              <a:gd name="connsiteY9227" fmla="*/ 1075098 h 5296383"/>
              <a:gd name="connsiteX9228" fmla="*/ 8099877 w 9310410"/>
              <a:gd name="connsiteY9228" fmla="*/ 1074498 h 5296383"/>
              <a:gd name="connsiteX9229" fmla="*/ 8086694 w 9310410"/>
              <a:gd name="connsiteY9229" fmla="*/ 1056520 h 5296383"/>
              <a:gd name="connsiteX9230" fmla="*/ 8086694 w 9310410"/>
              <a:gd name="connsiteY9230" fmla="*/ 1051127 h 5296383"/>
              <a:gd name="connsiteX9231" fmla="*/ 8090888 w 9310410"/>
              <a:gd name="connsiteY9231" fmla="*/ 1040340 h 5296383"/>
              <a:gd name="connsiteX9232" fmla="*/ 8089091 w 9310410"/>
              <a:gd name="connsiteY9232" fmla="*/ 1036145 h 5296383"/>
              <a:gd name="connsiteX9233" fmla="*/ 8083697 w 9310410"/>
              <a:gd name="connsiteY9233" fmla="*/ 1037943 h 5296383"/>
              <a:gd name="connsiteX9234" fmla="*/ 8079503 w 9310410"/>
              <a:gd name="connsiteY9234" fmla="*/ 1046332 h 5296383"/>
              <a:gd name="connsiteX9235" fmla="*/ 8075307 w 9310410"/>
              <a:gd name="connsiteY9235" fmla="*/ 1053524 h 5296383"/>
              <a:gd name="connsiteX9236" fmla="*/ 8072311 w 9310410"/>
              <a:gd name="connsiteY9236" fmla="*/ 1056520 h 5296383"/>
              <a:gd name="connsiteX9237" fmla="*/ 8072910 w 9310410"/>
              <a:gd name="connsiteY9237" fmla="*/ 1047531 h 5296383"/>
              <a:gd name="connsiteX9238" fmla="*/ 8068715 w 9310410"/>
              <a:gd name="connsiteY9238" fmla="*/ 1043336 h 5296383"/>
              <a:gd name="connsiteX9239" fmla="*/ 8060325 w 9310410"/>
              <a:gd name="connsiteY9239" fmla="*/ 1024758 h 5296383"/>
              <a:gd name="connsiteX9240" fmla="*/ 8060325 w 9310410"/>
              <a:gd name="connsiteY9240" fmla="*/ 1012773 h 5296383"/>
              <a:gd name="connsiteX9241" fmla="*/ 8052535 w 9310410"/>
              <a:gd name="connsiteY9241" fmla="*/ 1007380 h 5296383"/>
              <a:gd name="connsiteX9242" fmla="*/ 8039950 w 9310410"/>
              <a:gd name="connsiteY9242" fmla="*/ 1008578 h 5296383"/>
              <a:gd name="connsiteX9243" fmla="*/ 8018975 w 9310410"/>
              <a:gd name="connsiteY9243" fmla="*/ 1017567 h 5296383"/>
              <a:gd name="connsiteX9244" fmla="*/ 8010586 w 9310410"/>
              <a:gd name="connsiteY9244" fmla="*/ 1018766 h 5296383"/>
              <a:gd name="connsiteX9245" fmla="*/ 8003994 w 9310410"/>
              <a:gd name="connsiteY9245" fmla="*/ 1018166 h 5296383"/>
              <a:gd name="connsiteX9246" fmla="*/ 8000398 w 9310410"/>
              <a:gd name="connsiteY9246" fmla="*/ 1021762 h 5296383"/>
              <a:gd name="connsiteX9247" fmla="*/ 8002795 w 9310410"/>
              <a:gd name="connsiteY9247" fmla="*/ 1006780 h 5296383"/>
              <a:gd name="connsiteX9248" fmla="*/ 8000997 w 9310410"/>
              <a:gd name="connsiteY9248" fmla="*/ 998390 h 5296383"/>
              <a:gd name="connsiteX9249" fmla="*/ 7983019 w 9310410"/>
              <a:gd name="connsiteY9249" fmla="*/ 995993 h 5296383"/>
              <a:gd name="connsiteX9250" fmla="*/ 7980023 w 9310410"/>
              <a:gd name="connsiteY9250" fmla="*/ 991798 h 5296383"/>
              <a:gd name="connsiteX9251" fmla="*/ 7979423 w 9310410"/>
              <a:gd name="connsiteY9251" fmla="*/ 1001986 h 5296383"/>
              <a:gd name="connsiteX9252" fmla="*/ 7981821 w 9310410"/>
              <a:gd name="connsiteY9252" fmla="*/ 1013972 h 5296383"/>
              <a:gd name="connsiteX9253" fmla="*/ 7978225 w 9310410"/>
              <a:gd name="connsiteY9253" fmla="*/ 1018766 h 5296383"/>
              <a:gd name="connsiteX9254" fmla="*/ 7975828 w 9310410"/>
              <a:gd name="connsiteY9254" fmla="*/ 1005582 h 5296383"/>
              <a:gd name="connsiteX9255" fmla="*/ 7970434 w 9310410"/>
              <a:gd name="connsiteY9255" fmla="*/ 987603 h 5296383"/>
              <a:gd name="connsiteX9256" fmla="*/ 7965641 w 9310410"/>
              <a:gd name="connsiteY9256" fmla="*/ 966030 h 5296383"/>
              <a:gd name="connsiteX9257" fmla="*/ 7961445 w 9310410"/>
              <a:gd name="connsiteY9257" fmla="*/ 954044 h 5296383"/>
              <a:gd name="connsiteX9258" fmla="*/ 7952456 w 9310410"/>
              <a:gd name="connsiteY9258" fmla="*/ 956441 h 5296383"/>
              <a:gd name="connsiteX9259" fmla="*/ 7948861 w 9310410"/>
              <a:gd name="connsiteY9259" fmla="*/ 952246 h 5296383"/>
              <a:gd name="connsiteX9260" fmla="*/ 7958449 w 9310410"/>
              <a:gd name="connsiteY9260" fmla="*/ 946254 h 5296383"/>
              <a:gd name="connsiteX9261" fmla="*/ 7953055 w 9310410"/>
              <a:gd name="connsiteY9261" fmla="*/ 937864 h 5296383"/>
              <a:gd name="connsiteX9262" fmla="*/ 7939872 w 9310410"/>
              <a:gd name="connsiteY9262" fmla="*/ 939062 h 5296383"/>
              <a:gd name="connsiteX9263" fmla="*/ 7938673 w 9310410"/>
              <a:gd name="connsiteY9263" fmla="*/ 949849 h 5296383"/>
              <a:gd name="connsiteX9264" fmla="*/ 7939272 w 9310410"/>
              <a:gd name="connsiteY9264" fmla="*/ 979813 h 5296383"/>
              <a:gd name="connsiteX9265" fmla="*/ 7933280 w 9310410"/>
              <a:gd name="connsiteY9265" fmla="*/ 987603 h 5296383"/>
              <a:gd name="connsiteX9266" fmla="*/ 7393933 w 9310410"/>
              <a:gd name="connsiteY9266" fmla="*/ 1016968 h 5296383"/>
              <a:gd name="connsiteX9267" fmla="*/ 7403521 w 9310410"/>
              <a:gd name="connsiteY9267" fmla="*/ 1017567 h 5296383"/>
              <a:gd name="connsiteX9268" fmla="*/ 7407117 w 9310410"/>
              <a:gd name="connsiteY9268" fmla="*/ 1012773 h 5296383"/>
              <a:gd name="connsiteX9269" fmla="*/ 7396930 w 9310410"/>
              <a:gd name="connsiteY9269" fmla="*/ 1005582 h 5296383"/>
              <a:gd name="connsiteX9270" fmla="*/ 7380150 w 9310410"/>
              <a:gd name="connsiteY9270" fmla="*/ 1006780 h 5296383"/>
              <a:gd name="connsiteX9271" fmla="*/ 7385543 w 9310410"/>
              <a:gd name="connsiteY9271" fmla="*/ 1015769 h 5296383"/>
              <a:gd name="connsiteX9272" fmla="*/ 7393933 w 9310410"/>
              <a:gd name="connsiteY9272" fmla="*/ 1016968 h 5296383"/>
              <a:gd name="connsiteX9273" fmla="*/ 7453261 w 9310410"/>
              <a:gd name="connsiteY9273" fmla="*/ 1034946 h 5296383"/>
              <a:gd name="connsiteX9274" fmla="*/ 7449066 w 9310410"/>
              <a:gd name="connsiteY9274" fmla="*/ 1039141 h 5296383"/>
              <a:gd name="connsiteX9275" fmla="*/ 7453261 w 9310410"/>
              <a:gd name="connsiteY9275" fmla="*/ 1040939 h 5296383"/>
              <a:gd name="connsiteX9276" fmla="*/ 7453261 w 9310410"/>
              <a:gd name="connsiteY9276" fmla="*/ 1034946 h 5296383"/>
              <a:gd name="connsiteX9277" fmla="*/ 8119654 w 9310410"/>
              <a:gd name="connsiteY9277" fmla="*/ 2195740 h 5296383"/>
              <a:gd name="connsiteX9278" fmla="*/ 8114859 w 9310410"/>
              <a:gd name="connsiteY9278" fmla="*/ 2198137 h 5296383"/>
              <a:gd name="connsiteX9279" fmla="*/ 8109466 w 9310410"/>
              <a:gd name="connsiteY9279" fmla="*/ 2193343 h 5296383"/>
              <a:gd name="connsiteX9280" fmla="*/ 8111264 w 9310410"/>
              <a:gd name="connsiteY9280" fmla="*/ 2189148 h 5296383"/>
              <a:gd name="connsiteX9281" fmla="*/ 8102874 w 9310410"/>
              <a:gd name="connsiteY9281" fmla="*/ 2185552 h 5296383"/>
              <a:gd name="connsiteX9282" fmla="*/ 8094485 w 9310410"/>
              <a:gd name="connsiteY9282" fmla="*/ 2180159 h 5296383"/>
              <a:gd name="connsiteX9283" fmla="*/ 8086694 w 9310410"/>
              <a:gd name="connsiteY9283" fmla="*/ 2175365 h 5296383"/>
              <a:gd name="connsiteX9284" fmla="*/ 8084296 w 9310410"/>
              <a:gd name="connsiteY9284" fmla="*/ 2180758 h 5296383"/>
              <a:gd name="connsiteX9285" fmla="*/ 8081300 w 9310410"/>
              <a:gd name="connsiteY9285" fmla="*/ 2178361 h 5296383"/>
              <a:gd name="connsiteX9286" fmla="*/ 8077105 w 9310410"/>
              <a:gd name="connsiteY9286" fmla="*/ 2174166 h 5296383"/>
              <a:gd name="connsiteX9287" fmla="*/ 8071113 w 9310410"/>
              <a:gd name="connsiteY9287" fmla="*/ 2173567 h 5296383"/>
              <a:gd name="connsiteX9288" fmla="*/ 8064521 w 9310410"/>
              <a:gd name="connsiteY9288" fmla="*/ 2169372 h 5296383"/>
              <a:gd name="connsiteX9289" fmla="*/ 8058528 w 9310410"/>
              <a:gd name="connsiteY9289" fmla="*/ 2171769 h 5296383"/>
              <a:gd name="connsiteX9290" fmla="*/ 8056131 w 9310410"/>
              <a:gd name="connsiteY9290" fmla="*/ 2166375 h 5296383"/>
              <a:gd name="connsiteX9291" fmla="*/ 8056730 w 9310410"/>
              <a:gd name="connsiteY9291" fmla="*/ 2161581 h 5296383"/>
              <a:gd name="connsiteX9292" fmla="*/ 8050737 w 9310410"/>
              <a:gd name="connsiteY9292" fmla="*/ 2162181 h 5296383"/>
              <a:gd name="connsiteX9293" fmla="*/ 8042347 w 9310410"/>
              <a:gd name="connsiteY9293" fmla="*/ 2159783 h 5296383"/>
              <a:gd name="connsiteX9294" fmla="*/ 8027365 w 9310410"/>
              <a:gd name="connsiteY9294" fmla="*/ 2148997 h 5296383"/>
              <a:gd name="connsiteX9295" fmla="*/ 8009387 w 9310410"/>
              <a:gd name="connsiteY9295" fmla="*/ 2141805 h 5296383"/>
              <a:gd name="connsiteX9296" fmla="*/ 7997402 w 9310410"/>
              <a:gd name="connsiteY9296" fmla="*/ 2138210 h 5296383"/>
              <a:gd name="connsiteX9297" fmla="*/ 7990211 w 9310410"/>
              <a:gd name="connsiteY9297" fmla="*/ 2131618 h 5296383"/>
              <a:gd name="connsiteX9298" fmla="*/ 7987813 w 9310410"/>
              <a:gd name="connsiteY9298" fmla="*/ 2126823 h 5296383"/>
              <a:gd name="connsiteX9299" fmla="*/ 7982420 w 9310410"/>
              <a:gd name="connsiteY9299" fmla="*/ 2126224 h 5296383"/>
              <a:gd name="connsiteX9300" fmla="*/ 7976427 w 9310410"/>
              <a:gd name="connsiteY9300" fmla="*/ 2128621 h 5296383"/>
              <a:gd name="connsiteX9301" fmla="*/ 7968037 w 9310410"/>
              <a:gd name="connsiteY9301" fmla="*/ 2125026 h 5296383"/>
              <a:gd name="connsiteX9302" fmla="*/ 7959648 w 9310410"/>
              <a:gd name="connsiteY9302" fmla="*/ 2122029 h 5296383"/>
              <a:gd name="connsiteX9303" fmla="*/ 7953655 w 9310410"/>
              <a:gd name="connsiteY9303" fmla="*/ 2122629 h 5296383"/>
              <a:gd name="connsiteX9304" fmla="*/ 7949460 w 9310410"/>
              <a:gd name="connsiteY9304" fmla="*/ 2119632 h 5296383"/>
              <a:gd name="connsiteX9305" fmla="*/ 7941070 w 9310410"/>
              <a:gd name="connsiteY9305" fmla="*/ 2124426 h 5296383"/>
              <a:gd name="connsiteX9306" fmla="*/ 7938673 w 9310410"/>
              <a:gd name="connsiteY9306" fmla="*/ 2122629 h 5296383"/>
              <a:gd name="connsiteX9307" fmla="*/ 7933280 w 9310410"/>
              <a:gd name="connsiteY9307" fmla="*/ 2122629 h 5296383"/>
              <a:gd name="connsiteX9308" fmla="*/ 7926088 w 9310410"/>
              <a:gd name="connsiteY9308" fmla="*/ 2118434 h 5296383"/>
              <a:gd name="connsiteX9309" fmla="*/ 7905713 w 9310410"/>
              <a:gd name="connsiteY9309" fmla="*/ 2128621 h 5296383"/>
              <a:gd name="connsiteX9310" fmla="*/ 7897323 w 9310410"/>
              <a:gd name="connsiteY9310" fmla="*/ 2134015 h 5296383"/>
              <a:gd name="connsiteX9311" fmla="*/ 7892529 w 9310410"/>
              <a:gd name="connsiteY9311" fmla="*/ 2138210 h 5296383"/>
              <a:gd name="connsiteX9312" fmla="*/ 7879345 w 9310410"/>
              <a:gd name="connsiteY9312" fmla="*/ 2150794 h 5296383"/>
              <a:gd name="connsiteX9313" fmla="*/ 7875150 w 9310410"/>
              <a:gd name="connsiteY9313" fmla="*/ 2160383 h 5296383"/>
              <a:gd name="connsiteX9314" fmla="*/ 7878146 w 9310410"/>
              <a:gd name="connsiteY9314" fmla="*/ 2168772 h 5296383"/>
              <a:gd name="connsiteX9315" fmla="*/ 7877547 w 9310410"/>
              <a:gd name="connsiteY9315" fmla="*/ 2172967 h 5296383"/>
              <a:gd name="connsiteX9316" fmla="*/ 7870356 w 9310410"/>
              <a:gd name="connsiteY9316" fmla="*/ 2176563 h 5296383"/>
              <a:gd name="connsiteX9317" fmla="*/ 7866161 w 9310410"/>
              <a:gd name="connsiteY9317" fmla="*/ 2180758 h 5296383"/>
              <a:gd name="connsiteX9318" fmla="*/ 7869157 w 9310410"/>
              <a:gd name="connsiteY9318" fmla="*/ 2184354 h 5296383"/>
              <a:gd name="connsiteX9319" fmla="*/ 7877547 w 9310410"/>
              <a:gd name="connsiteY9319" fmla="*/ 2181357 h 5296383"/>
              <a:gd name="connsiteX9320" fmla="*/ 7880543 w 9310410"/>
              <a:gd name="connsiteY9320" fmla="*/ 2184354 h 5296383"/>
              <a:gd name="connsiteX9321" fmla="*/ 7884739 w 9310410"/>
              <a:gd name="connsiteY9321" fmla="*/ 2183754 h 5296383"/>
              <a:gd name="connsiteX9322" fmla="*/ 7891331 w 9310410"/>
              <a:gd name="connsiteY9322" fmla="*/ 2176563 h 5296383"/>
              <a:gd name="connsiteX9323" fmla="*/ 7893728 w 9310410"/>
              <a:gd name="connsiteY9323" fmla="*/ 2166375 h 5296383"/>
              <a:gd name="connsiteX9324" fmla="*/ 7902117 w 9310410"/>
              <a:gd name="connsiteY9324" fmla="*/ 2163978 h 5296383"/>
              <a:gd name="connsiteX9325" fmla="*/ 7905713 w 9310410"/>
              <a:gd name="connsiteY9325" fmla="*/ 2155589 h 5296383"/>
              <a:gd name="connsiteX9326" fmla="*/ 7916500 w 9310410"/>
              <a:gd name="connsiteY9326" fmla="*/ 2143603 h 5296383"/>
              <a:gd name="connsiteX9327" fmla="*/ 7933280 w 9310410"/>
              <a:gd name="connsiteY9327" fmla="*/ 2141206 h 5296383"/>
              <a:gd name="connsiteX9328" fmla="*/ 7938673 w 9310410"/>
              <a:gd name="connsiteY9328" fmla="*/ 2148997 h 5296383"/>
              <a:gd name="connsiteX9329" fmla="*/ 7928485 w 9310410"/>
              <a:gd name="connsiteY9329" fmla="*/ 2149596 h 5296383"/>
              <a:gd name="connsiteX9330" fmla="*/ 7933879 w 9310410"/>
              <a:gd name="connsiteY9330" fmla="*/ 2154989 h 5296383"/>
              <a:gd name="connsiteX9331" fmla="*/ 7941070 w 9310410"/>
              <a:gd name="connsiteY9331" fmla="*/ 2157386 h 5296383"/>
              <a:gd name="connsiteX9332" fmla="*/ 7948262 w 9310410"/>
              <a:gd name="connsiteY9332" fmla="*/ 2160383 h 5296383"/>
              <a:gd name="connsiteX9333" fmla="*/ 7951258 w 9310410"/>
              <a:gd name="connsiteY9333" fmla="*/ 2157986 h 5296383"/>
              <a:gd name="connsiteX9334" fmla="*/ 7956052 w 9310410"/>
              <a:gd name="connsiteY9334" fmla="*/ 2156787 h 5296383"/>
              <a:gd name="connsiteX9335" fmla="*/ 7965641 w 9310410"/>
              <a:gd name="connsiteY9335" fmla="*/ 2162780 h 5296383"/>
              <a:gd name="connsiteX9336" fmla="*/ 7972832 w 9310410"/>
              <a:gd name="connsiteY9336" fmla="*/ 2159783 h 5296383"/>
              <a:gd name="connsiteX9337" fmla="*/ 7972233 w 9310410"/>
              <a:gd name="connsiteY9337" fmla="*/ 2153791 h 5296383"/>
              <a:gd name="connsiteX9338" fmla="*/ 7978225 w 9310410"/>
              <a:gd name="connsiteY9338" fmla="*/ 2160982 h 5296383"/>
              <a:gd name="connsiteX9339" fmla="*/ 7986615 w 9310410"/>
              <a:gd name="connsiteY9339" fmla="*/ 2169971 h 5296383"/>
              <a:gd name="connsiteX9340" fmla="*/ 7995604 w 9310410"/>
              <a:gd name="connsiteY9340" fmla="*/ 2174166 h 5296383"/>
              <a:gd name="connsiteX9341" fmla="*/ 8002795 w 9310410"/>
              <a:gd name="connsiteY9341" fmla="*/ 2174765 h 5296383"/>
              <a:gd name="connsiteX9342" fmla="*/ 8012983 w 9310410"/>
              <a:gd name="connsiteY9342" fmla="*/ 2178960 h 5296383"/>
              <a:gd name="connsiteX9343" fmla="*/ 8024968 w 9310410"/>
              <a:gd name="connsiteY9343" fmla="*/ 2178361 h 5296383"/>
              <a:gd name="connsiteX9344" fmla="*/ 8030362 w 9310410"/>
              <a:gd name="connsiteY9344" fmla="*/ 2179560 h 5296383"/>
              <a:gd name="connsiteX9345" fmla="*/ 8038752 w 9310410"/>
              <a:gd name="connsiteY9345" fmla="*/ 2188549 h 5296383"/>
              <a:gd name="connsiteX9346" fmla="*/ 8047142 w 9310410"/>
              <a:gd name="connsiteY9346" fmla="*/ 2201733 h 5296383"/>
              <a:gd name="connsiteX9347" fmla="*/ 8060925 w 9310410"/>
              <a:gd name="connsiteY9347" fmla="*/ 2205328 h 5296383"/>
              <a:gd name="connsiteX9348" fmla="*/ 8074708 w 9310410"/>
              <a:gd name="connsiteY9348" fmla="*/ 2210722 h 5296383"/>
              <a:gd name="connsiteX9349" fmla="*/ 8078304 w 9310410"/>
              <a:gd name="connsiteY9349" fmla="*/ 2217913 h 5296383"/>
              <a:gd name="connsiteX9350" fmla="*/ 8079503 w 9310410"/>
              <a:gd name="connsiteY9350" fmla="*/ 2223306 h 5296383"/>
              <a:gd name="connsiteX9351" fmla="*/ 8075906 w 9310410"/>
              <a:gd name="connsiteY9351" fmla="*/ 2229899 h 5296383"/>
              <a:gd name="connsiteX9352" fmla="*/ 8069914 w 9310410"/>
              <a:gd name="connsiteY9352" fmla="*/ 2233494 h 5296383"/>
              <a:gd name="connsiteX9353" fmla="*/ 8070514 w 9310410"/>
              <a:gd name="connsiteY9353" fmla="*/ 2242483 h 5296383"/>
              <a:gd name="connsiteX9354" fmla="*/ 8102874 w 9310410"/>
              <a:gd name="connsiteY9354" fmla="*/ 2238288 h 5296383"/>
              <a:gd name="connsiteX9355" fmla="*/ 8112463 w 9310410"/>
              <a:gd name="connsiteY9355" fmla="*/ 2232895 h 5296383"/>
              <a:gd name="connsiteX9356" fmla="*/ 8116058 w 9310410"/>
              <a:gd name="connsiteY9356" fmla="*/ 2233494 h 5296383"/>
              <a:gd name="connsiteX9357" fmla="*/ 8128044 w 9310410"/>
              <a:gd name="connsiteY9357" fmla="*/ 2232895 h 5296383"/>
              <a:gd name="connsiteX9358" fmla="*/ 8130441 w 9310410"/>
              <a:gd name="connsiteY9358" fmla="*/ 2227501 h 5296383"/>
              <a:gd name="connsiteX9359" fmla="*/ 8132837 w 9310410"/>
              <a:gd name="connsiteY9359" fmla="*/ 2231696 h 5296383"/>
              <a:gd name="connsiteX9360" fmla="*/ 8137033 w 9310410"/>
              <a:gd name="connsiteY9360" fmla="*/ 2234693 h 5296383"/>
              <a:gd name="connsiteX9361" fmla="*/ 8149018 w 9310410"/>
              <a:gd name="connsiteY9361" fmla="*/ 2226902 h 5296383"/>
              <a:gd name="connsiteX9362" fmla="*/ 8155610 w 9310410"/>
              <a:gd name="connsiteY9362" fmla="*/ 2222108 h 5296383"/>
              <a:gd name="connsiteX9363" fmla="*/ 8151416 w 9310410"/>
              <a:gd name="connsiteY9363" fmla="*/ 2214917 h 5296383"/>
              <a:gd name="connsiteX9364" fmla="*/ 8138231 w 9310410"/>
              <a:gd name="connsiteY9364" fmla="*/ 2210722 h 5296383"/>
              <a:gd name="connsiteX9365" fmla="*/ 8128643 w 9310410"/>
              <a:gd name="connsiteY9365" fmla="*/ 2200534 h 5296383"/>
              <a:gd name="connsiteX9366" fmla="*/ 8119654 w 9310410"/>
              <a:gd name="connsiteY9366" fmla="*/ 2195740 h 5296383"/>
              <a:gd name="connsiteX9367" fmla="*/ 8173588 w 9310410"/>
              <a:gd name="connsiteY9367" fmla="*/ 2300613 h 5296383"/>
              <a:gd name="connsiteX9368" fmla="*/ 8182578 w 9310410"/>
              <a:gd name="connsiteY9368" fmla="*/ 2303010 h 5296383"/>
              <a:gd name="connsiteX9369" fmla="*/ 8192166 w 9310410"/>
              <a:gd name="connsiteY9369" fmla="*/ 2303010 h 5296383"/>
              <a:gd name="connsiteX9370" fmla="*/ 8209545 w 9310410"/>
              <a:gd name="connsiteY9370" fmla="*/ 2298815 h 5296383"/>
              <a:gd name="connsiteX9371" fmla="*/ 8235314 w 9310410"/>
              <a:gd name="connsiteY9371" fmla="*/ 2299414 h 5296383"/>
              <a:gd name="connsiteX9372" fmla="*/ 8243703 w 9310410"/>
              <a:gd name="connsiteY9372" fmla="*/ 2304208 h 5296383"/>
              <a:gd name="connsiteX9373" fmla="*/ 8247299 w 9310410"/>
              <a:gd name="connsiteY9373" fmla="*/ 2310201 h 5296383"/>
              <a:gd name="connsiteX9374" fmla="*/ 8256288 w 9310410"/>
              <a:gd name="connsiteY9374" fmla="*/ 2319790 h 5296383"/>
              <a:gd name="connsiteX9375" fmla="*/ 8259285 w 9310410"/>
              <a:gd name="connsiteY9375" fmla="*/ 2300613 h 5296383"/>
              <a:gd name="connsiteX9376" fmla="*/ 8259884 w 9310410"/>
              <a:gd name="connsiteY9376" fmla="*/ 2295819 h 5296383"/>
              <a:gd name="connsiteX9377" fmla="*/ 8264079 w 9310410"/>
              <a:gd name="connsiteY9377" fmla="*/ 2291624 h 5296383"/>
              <a:gd name="connsiteX9378" fmla="*/ 8269472 w 9310410"/>
              <a:gd name="connsiteY9378" fmla="*/ 2293422 h 5296383"/>
              <a:gd name="connsiteX9379" fmla="*/ 8271270 w 9310410"/>
              <a:gd name="connsiteY9379" fmla="*/ 2300014 h 5296383"/>
              <a:gd name="connsiteX9380" fmla="*/ 8276064 w 9310410"/>
              <a:gd name="connsiteY9380" fmla="*/ 2297616 h 5296383"/>
              <a:gd name="connsiteX9381" fmla="*/ 8281458 w 9310410"/>
              <a:gd name="connsiteY9381" fmla="*/ 2288627 h 5296383"/>
              <a:gd name="connsiteX9382" fmla="*/ 8290447 w 9310410"/>
              <a:gd name="connsiteY9382" fmla="*/ 2281436 h 5296383"/>
              <a:gd name="connsiteX9383" fmla="*/ 8306627 w 9310410"/>
              <a:gd name="connsiteY9383" fmla="*/ 2279039 h 5296383"/>
              <a:gd name="connsiteX9384" fmla="*/ 8313819 w 9310410"/>
              <a:gd name="connsiteY9384" fmla="*/ 2288627 h 5296383"/>
              <a:gd name="connsiteX9385" fmla="*/ 8317414 w 9310410"/>
              <a:gd name="connsiteY9385" fmla="*/ 2287429 h 5296383"/>
              <a:gd name="connsiteX9386" fmla="*/ 8319811 w 9310410"/>
              <a:gd name="connsiteY9386" fmla="*/ 2279039 h 5296383"/>
              <a:gd name="connsiteX9387" fmla="*/ 8318013 w 9310410"/>
              <a:gd name="connsiteY9387" fmla="*/ 2274844 h 5296383"/>
              <a:gd name="connsiteX9388" fmla="*/ 8317414 w 9310410"/>
              <a:gd name="connsiteY9388" fmla="*/ 2267054 h 5296383"/>
              <a:gd name="connsiteX9389" fmla="*/ 8310223 w 9310410"/>
              <a:gd name="connsiteY9389" fmla="*/ 2258664 h 5296383"/>
              <a:gd name="connsiteX9390" fmla="*/ 8300035 w 9310410"/>
              <a:gd name="connsiteY9390" fmla="*/ 2255667 h 5296383"/>
              <a:gd name="connsiteX9391" fmla="*/ 8285652 w 9310410"/>
              <a:gd name="connsiteY9391" fmla="*/ 2254469 h 5296383"/>
              <a:gd name="connsiteX9392" fmla="*/ 8276064 w 9310410"/>
              <a:gd name="connsiteY9392" fmla="*/ 2252671 h 5296383"/>
              <a:gd name="connsiteX9393" fmla="*/ 8280259 w 9310410"/>
              <a:gd name="connsiteY9393" fmla="*/ 2250274 h 5296383"/>
              <a:gd name="connsiteX9394" fmla="*/ 8288050 w 9310410"/>
              <a:gd name="connsiteY9394" fmla="*/ 2246079 h 5296383"/>
              <a:gd name="connsiteX9395" fmla="*/ 8282057 w 9310410"/>
              <a:gd name="connsiteY9395" fmla="*/ 2244281 h 5296383"/>
              <a:gd name="connsiteX9396" fmla="*/ 8270071 w 9310410"/>
              <a:gd name="connsiteY9396" fmla="*/ 2241884 h 5296383"/>
              <a:gd name="connsiteX9397" fmla="*/ 8264678 w 9310410"/>
              <a:gd name="connsiteY9397" fmla="*/ 2228700 h 5296383"/>
              <a:gd name="connsiteX9398" fmla="*/ 8249696 w 9310410"/>
              <a:gd name="connsiteY9398" fmla="*/ 2227501 h 5296383"/>
              <a:gd name="connsiteX9399" fmla="*/ 8229321 w 9310410"/>
              <a:gd name="connsiteY9399" fmla="*/ 2228101 h 5296383"/>
              <a:gd name="connsiteX9400" fmla="*/ 8222129 w 9310410"/>
              <a:gd name="connsiteY9400" fmla="*/ 2234693 h 5296383"/>
              <a:gd name="connsiteX9401" fmla="*/ 8224527 w 9310410"/>
              <a:gd name="connsiteY9401" fmla="*/ 2235891 h 5296383"/>
              <a:gd name="connsiteX9402" fmla="*/ 8224527 w 9310410"/>
              <a:gd name="connsiteY9402" fmla="*/ 2236491 h 5296383"/>
              <a:gd name="connsiteX9403" fmla="*/ 8222729 w 9310410"/>
              <a:gd name="connsiteY9403" fmla="*/ 2234693 h 5296383"/>
              <a:gd name="connsiteX9404" fmla="*/ 8204750 w 9310410"/>
              <a:gd name="connsiteY9404" fmla="*/ 2231696 h 5296383"/>
              <a:gd name="connsiteX9405" fmla="*/ 8184975 w 9310410"/>
              <a:gd name="connsiteY9405" fmla="*/ 2234093 h 5296383"/>
              <a:gd name="connsiteX9406" fmla="*/ 8181379 w 9310410"/>
              <a:gd name="connsiteY9406" fmla="*/ 2238288 h 5296383"/>
              <a:gd name="connsiteX9407" fmla="*/ 8181379 w 9310410"/>
              <a:gd name="connsiteY9407" fmla="*/ 2243083 h 5296383"/>
              <a:gd name="connsiteX9408" fmla="*/ 8185574 w 9310410"/>
              <a:gd name="connsiteY9408" fmla="*/ 2246079 h 5296383"/>
              <a:gd name="connsiteX9409" fmla="*/ 8204151 w 9310410"/>
              <a:gd name="connsiteY9409" fmla="*/ 2249674 h 5296383"/>
              <a:gd name="connsiteX9410" fmla="*/ 8204750 w 9310410"/>
              <a:gd name="connsiteY9410" fmla="*/ 2259862 h 5296383"/>
              <a:gd name="connsiteX9411" fmla="*/ 8211942 w 9310410"/>
              <a:gd name="connsiteY9411" fmla="*/ 2273645 h 5296383"/>
              <a:gd name="connsiteX9412" fmla="*/ 8220332 w 9310410"/>
              <a:gd name="connsiteY9412" fmla="*/ 2280837 h 5296383"/>
              <a:gd name="connsiteX9413" fmla="*/ 8216137 w 9310410"/>
              <a:gd name="connsiteY9413" fmla="*/ 2288627 h 5296383"/>
              <a:gd name="connsiteX9414" fmla="*/ 8199357 w 9310410"/>
              <a:gd name="connsiteY9414" fmla="*/ 2291025 h 5296383"/>
              <a:gd name="connsiteX9415" fmla="*/ 8192765 w 9310410"/>
              <a:gd name="connsiteY9415" fmla="*/ 2293422 h 5296383"/>
              <a:gd name="connsiteX9416" fmla="*/ 8191567 w 9310410"/>
              <a:gd name="connsiteY9416" fmla="*/ 2289826 h 5296383"/>
              <a:gd name="connsiteX9417" fmla="*/ 8187971 w 9310410"/>
              <a:gd name="connsiteY9417" fmla="*/ 2288627 h 5296383"/>
              <a:gd name="connsiteX9418" fmla="*/ 8177783 w 9310410"/>
              <a:gd name="connsiteY9418" fmla="*/ 2289826 h 5296383"/>
              <a:gd name="connsiteX9419" fmla="*/ 8170592 w 9310410"/>
              <a:gd name="connsiteY9419" fmla="*/ 2294021 h 5296383"/>
              <a:gd name="connsiteX9420" fmla="*/ 8173588 w 9310410"/>
              <a:gd name="connsiteY9420" fmla="*/ 2300613 h 5296383"/>
              <a:gd name="connsiteX9421" fmla="*/ 7579109 w 9310410"/>
              <a:gd name="connsiteY9421" fmla="*/ 5199900 h 5296383"/>
              <a:gd name="connsiteX9422" fmla="*/ 7592293 w 9310410"/>
              <a:gd name="connsiteY9422" fmla="*/ 5187915 h 5296383"/>
              <a:gd name="connsiteX9423" fmla="*/ 7608473 w 9310410"/>
              <a:gd name="connsiteY9423" fmla="*/ 5183720 h 5296383"/>
              <a:gd name="connsiteX9424" fmla="*/ 7616863 w 9310410"/>
              <a:gd name="connsiteY9424" fmla="*/ 5175929 h 5296383"/>
              <a:gd name="connsiteX9425" fmla="*/ 7612668 w 9310410"/>
              <a:gd name="connsiteY9425" fmla="*/ 5171135 h 5296383"/>
              <a:gd name="connsiteX9426" fmla="*/ 7601282 w 9310410"/>
              <a:gd name="connsiteY9426" fmla="*/ 5175929 h 5296383"/>
              <a:gd name="connsiteX9427" fmla="*/ 7594091 w 9310410"/>
              <a:gd name="connsiteY9427" fmla="*/ 5173532 h 5296383"/>
              <a:gd name="connsiteX9428" fmla="*/ 7591094 w 9310410"/>
              <a:gd name="connsiteY9428" fmla="*/ 5178326 h 5296383"/>
              <a:gd name="connsiteX9429" fmla="*/ 7583304 w 9310410"/>
              <a:gd name="connsiteY9429" fmla="*/ 5185518 h 5296383"/>
              <a:gd name="connsiteX9430" fmla="*/ 7573116 w 9310410"/>
              <a:gd name="connsiteY9430" fmla="*/ 5185518 h 5296383"/>
              <a:gd name="connsiteX9431" fmla="*/ 7574914 w 9310410"/>
              <a:gd name="connsiteY9431" fmla="*/ 5189113 h 5296383"/>
              <a:gd name="connsiteX9432" fmla="*/ 7574914 w 9310410"/>
              <a:gd name="connsiteY9432" fmla="*/ 5196305 h 5296383"/>
              <a:gd name="connsiteX9433" fmla="*/ 7579109 w 9310410"/>
              <a:gd name="connsiteY9433" fmla="*/ 5199900 h 5296383"/>
              <a:gd name="connsiteX9434" fmla="*/ 7690574 w 9310410"/>
              <a:gd name="connsiteY9434" fmla="*/ 5273012 h 5296383"/>
              <a:gd name="connsiteX9435" fmla="*/ 7682184 w 9310410"/>
              <a:gd name="connsiteY9435" fmla="*/ 5265820 h 5296383"/>
              <a:gd name="connsiteX9436" fmla="*/ 7674993 w 9310410"/>
              <a:gd name="connsiteY9436" fmla="*/ 5247842 h 5296383"/>
              <a:gd name="connsiteX9437" fmla="*/ 7664805 w 9310410"/>
              <a:gd name="connsiteY9437" fmla="*/ 5231063 h 5296383"/>
              <a:gd name="connsiteX9438" fmla="*/ 7667202 w 9310410"/>
              <a:gd name="connsiteY9438" fmla="*/ 5214882 h 5296383"/>
              <a:gd name="connsiteX9439" fmla="*/ 7671397 w 9310410"/>
              <a:gd name="connsiteY9439" fmla="*/ 5207691 h 5296383"/>
              <a:gd name="connsiteX9440" fmla="*/ 7677989 w 9310410"/>
              <a:gd name="connsiteY9440" fmla="*/ 5195706 h 5296383"/>
              <a:gd name="connsiteX9441" fmla="*/ 7677989 w 9310410"/>
              <a:gd name="connsiteY9441" fmla="*/ 5189113 h 5296383"/>
              <a:gd name="connsiteX9442" fmla="*/ 7673195 w 9310410"/>
              <a:gd name="connsiteY9442" fmla="*/ 5187915 h 5296383"/>
              <a:gd name="connsiteX9443" fmla="*/ 7665404 w 9310410"/>
              <a:gd name="connsiteY9443" fmla="*/ 5183720 h 5296383"/>
              <a:gd name="connsiteX9444" fmla="*/ 7656415 w 9310410"/>
              <a:gd name="connsiteY9444" fmla="*/ 5185518 h 5296383"/>
              <a:gd name="connsiteX9445" fmla="*/ 7644429 w 9310410"/>
              <a:gd name="connsiteY9445" fmla="*/ 5187915 h 5296383"/>
              <a:gd name="connsiteX9446" fmla="*/ 7640834 w 9310410"/>
              <a:gd name="connsiteY9446" fmla="*/ 5190911 h 5296383"/>
              <a:gd name="connsiteX9447" fmla="*/ 7635440 w 9310410"/>
              <a:gd name="connsiteY9447" fmla="*/ 5197503 h 5296383"/>
              <a:gd name="connsiteX9448" fmla="*/ 7629447 w 9310410"/>
              <a:gd name="connsiteY9448" fmla="*/ 5205294 h 5296383"/>
              <a:gd name="connsiteX9449" fmla="*/ 7639635 w 9310410"/>
              <a:gd name="connsiteY9449" fmla="*/ 5207092 h 5296383"/>
              <a:gd name="connsiteX9450" fmla="*/ 7642632 w 9310410"/>
              <a:gd name="connsiteY9450" fmla="*/ 5209489 h 5296383"/>
              <a:gd name="connsiteX9451" fmla="*/ 7627051 w 9310410"/>
              <a:gd name="connsiteY9451" fmla="*/ 5219677 h 5296383"/>
              <a:gd name="connsiteX9452" fmla="*/ 7615665 w 9310410"/>
              <a:gd name="connsiteY9452" fmla="*/ 5237055 h 5296383"/>
              <a:gd name="connsiteX9453" fmla="*/ 7630047 w 9310410"/>
              <a:gd name="connsiteY9453" fmla="*/ 5252637 h 5296383"/>
              <a:gd name="connsiteX9454" fmla="*/ 7642632 w 9310410"/>
              <a:gd name="connsiteY9454" fmla="*/ 5257431 h 5296383"/>
              <a:gd name="connsiteX9455" fmla="*/ 7648025 w 9310410"/>
              <a:gd name="connsiteY9455" fmla="*/ 5261626 h 5296383"/>
              <a:gd name="connsiteX9456" fmla="*/ 7634841 w 9310410"/>
              <a:gd name="connsiteY9456" fmla="*/ 5258629 h 5296383"/>
              <a:gd name="connsiteX9457" fmla="*/ 7627650 w 9310410"/>
              <a:gd name="connsiteY9457" fmla="*/ 5256232 h 5296383"/>
              <a:gd name="connsiteX9458" fmla="*/ 7627650 w 9310410"/>
              <a:gd name="connsiteY9458" fmla="*/ 5255633 h 5296383"/>
              <a:gd name="connsiteX9459" fmla="*/ 7616863 w 9310410"/>
              <a:gd name="connsiteY9459" fmla="*/ 5251438 h 5296383"/>
              <a:gd name="connsiteX9460" fmla="*/ 7615065 w 9310410"/>
              <a:gd name="connsiteY9460" fmla="*/ 5248442 h 5296383"/>
              <a:gd name="connsiteX9461" fmla="*/ 7607275 w 9310410"/>
              <a:gd name="connsiteY9461" fmla="*/ 5244846 h 5296383"/>
              <a:gd name="connsiteX9462" fmla="*/ 7601881 w 9310410"/>
              <a:gd name="connsiteY9462" fmla="*/ 5240651 h 5296383"/>
              <a:gd name="connsiteX9463" fmla="*/ 7597686 w 9310410"/>
              <a:gd name="connsiteY9463" fmla="*/ 5235257 h 5296383"/>
              <a:gd name="connsiteX9464" fmla="*/ 7599484 w 9310410"/>
              <a:gd name="connsiteY9464" fmla="*/ 5242449 h 5296383"/>
              <a:gd name="connsiteX9465" fmla="*/ 7596487 w 9310410"/>
              <a:gd name="connsiteY9465" fmla="*/ 5245445 h 5296383"/>
              <a:gd name="connsiteX9466" fmla="*/ 7592293 w 9310410"/>
              <a:gd name="connsiteY9466" fmla="*/ 5246044 h 5296383"/>
              <a:gd name="connsiteX9467" fmla="*/ 7589296 w 9310410"/>
              <a:gd name="connsiteY9467" fmla="*/ 5244846 h 5296383"/>
              <a:gd name="connsiteX9468" fmla="*/ 7582105 w 9310410"/>
              <a:gd name="connsiteY9468" fmla="*/ 5240052 h 5296383"/>
              <a:gd name="connsiteX9469" fmla="*/ 7574314 w 9310410"/>
              <a:gd name="connsiteY9469" fmla="*/ 5240052 h 5296383"/>
              <a:gd name="connsiteX9470" fmla="*/ 7568921 w 9310410"/>
              <a:gd name="connsiteY9470" fmla="*/ 5239452 h 5296383"/>
              <a:gd name="connsiteX9471" fmla="*/ 7564726 w 9310410"/>
              <a:gd name="connsiteY9471" fmla="*/ 5238254 h 5296383"/>
              <a:gd name="connsiteX9472" fmla="*/ 7565325 w 9310410"/>
              <a:gd name="connsiteY9472" fmla="*/ 5243647 h 5296383"/>
              <a:gd name="connsiteX9473" fmla="*/ 7571318 w 9310410"/>
              <a:gd name="connsiteY9473" fmla="*/ 5246044 h 5296383"/>
              <a:gd name="connsiteX9474" fmla="*/ 7578509 w 9310410"/>
              <a:gd name="connsiteY9474" fmla="*/ 5251438 h 5296383"/>
              <a:gd name="connsiteX9475" fmla="*/ 7603080 w 9310410"/>
              <a:gd name="connsiteY9475" fmla="*/ 5260427 h 5296383"/>
              <a:gd name="connsiteX9476" fmla="*/ 7619859 w 9310410"/>
              <a:gd name="connsiteY9476" fmla="*/ 5263423 h 5296383"/>
              <a:gd name="connsiteX9477" fmla="*/ 7624054 w 9310410"/>
              <a:gd name="connsiteY9477" fmla="*/ 5262824 h 5296383"/>
              <a:gd name="connsiteX9478" fmla="*/ 7627650 w 9310410"/>
              <a:gd name="connsiteY9478" fmla="*/ 5264023 h 5296383"/>
              <a:gd name="connsiteX9479" fmla="*/ 7638436 w 9310410"/>
              <a:gd name="connsiteY9479" fmla="*/ 5267019 h 5296383"/>
              <a:gd name="connsiteX9480" fmla="*/ 7654617 w 9310410"/>
              <a:gd name="connsiteY9480" fmla="*/ 5279604 h 5296383"/>
              <a:gd name="connsiteX9481" fmla="*/ 7674393 w 9310410"/>
              <a:gd name="connsiteY9481" fmla="*/ 5280203 h 5296383"/>
              <a:gd name="connsiteX9482" fmla="*/ 7679187 w 9310410"/>
              <a:gd name="connsiteY9482" fmla="*/ 5280802 h 5296383"/>
              <a:gd name="connsiteX9483" fmla="*/ 7691173 w 9310410"/>
              <a:gd name="connsiteY9483" fmla="*/ 5280203 h 5296383"/>
              <a:gd name="connsiteX9484" fmla="*/ 7690574 w 9310410"/>
              <a:gd name="connsiteY9484" fmla="*/ 5273012 h 5296383"/>
              <a:gd name="connsiteX9485" fmla="*/ 6452474 w 9310410"/>
              <a:gd name="connsiteY9485" fmla="*/ 152815 h 5296383"/>
              <a:gd name="connsiteX9486" fmla="*/ 6481838 w 9310410"/>
              <a:gd name="connsiteY9486" fmla="*/ 139631 h 5296383"/>
              <a:gd name="connsiteX9487" fmla="*/ 6486632 w 9310410"/>
              <a:gd name="connsiteY9487" fmla="*/ 143826 h 5296383"/>
              <a:gd name="connsiteX9488" fmla="*/ 6468654 w 9310410"/>
              <a:gd name="connsiteY9488" fmla="*/ 155811 h 5296383"/>
              <a:gd name="connsiteX9489" fmla="*/ 6469253 w 9310410"/>
              <a:gd name="connsiteY9489" fmla="*/ 163003 h 5296383"/>
              <a:gd name="connsiteX9490" fmla="*/ 6489629 w 9310410"/>
              <a:gd name="connsiteY9490" fmla="*/ 151017 h 5296383"/>
              <a:gd name="connsiteX9491" fmla="*/ 6509405 w 9310410"/>
              <a:gd name="connsiteY9491" fmla="*/ 142627 h 5296383"/>
              <a:gd name="connsiteX9492" fmla="*/ 6511802 w 9310410"/>
              <a:gd name="connsiteY9492" fmla="*/ 143826 h 5296383"/>
              <a:gd name="connsiteX9493" fmla="*/ 6499217 w 9310410"/>
              <a:gd name="connsiteY9493" fmla="*/ 151616 h 5296383"/>
              <a:gd name="connsiteX9494" fmla="*/ 6486033 w 9310410"/>
              <a:gd name="connsiteY9494" fmla="*/ 160006 h 5296383"/>
              <a:gd name="connsiteX9495" fmla="*/ 6501614 w 9310410"/>
              <a:gd name="connsiteY9495" fmla="*/ 172591 h 5296383"/>
              <a:gd name="connsiteX9496" fmla="*/ 6520191 w 9310410"/>
              <a:gd name="connsiteY9496" fmla="*/ 167797 h 5296383"/>
              <a:gd name="connsiteX9497" fmla="*/ 6527383 w 9310410"/>
              <a:gd name="connsiteY9497" fmla="*/ 157609 h 5296383"/>
              <a:gd name="connsiteX9498" fmla="*/ 6527982 w 9310410"/>
              <a:gd name="connsiteY9498" fmla="*/ 143226 h 5296383"/>
              <a:gd name="connsiteX9499" fmla="*/ 6529181 w 9310410"/>
              <a:gd name="connsiteY9499" fmla="*/ 139631 h 5296383"/>
              <a:gd name="connsiteX9500" fmla="*/ 6532177 w 9310410"/>
              <a:gd name="connsiteY9500" fmla="*/ 140230 h 5296383"/>
              <a:gd name="connsiteX9501" fmla="*/ 6532776 w 9310410"/>
              <a:gd name="connsiteY9501" fmla="*/ 158208 h 5296383"/>
              <a:gd name="connsiteX9502" fmla="*/ 6548957 w 9310410"/>
              <a:gd name="connsiteY9502" fmla="*/ 149219 h 5296383"/>
              <a:gd name="connsiteX9503" fmla="*/ 6550155 w 9310410"/>
              <a:gd name="connsiteY9503" fmla="*/ 142627 h 5296383"/>
              <a:gd name="connsiteX9504" fmla="*/ 6569332 w 9310410"/>
              <a:gd name="connsiteY9504" fmla="*/ 142028 h 5296383"/>
              <a:gd name="connsiteX9505" fmla="*/ 6569332 w 9310410"/>
              <a:gd name="connsiteY9505" fmla="*/ 150418 h 5296383"/>
              <a:gd name="connsiteX9506" fmla="*/ 6599296 w 9310410"/>
              <a:gd name="connsiteY9506" fmla="*/ 139032 h 5296383"/>
              <a:gd name="connsiteX9507" fmla="*/ 6646638 w 9310410"/>
              <a:gd name="connsiteY9507" fmla="*/ 118656 h 5296383"/>
              <a:gd name="connsiteX9508" fmla="*/ 6667613 w 9310410"/>
              <a:gd name="connsiteY9508" fmla="*/ 108469 h 5296383"/>
              <a:gd name="connsiteX9509" fmla="*/ 6667014 w 9310410"/>
              <a:gd name="connsiteY9509" fmla="*/ 112664 h 5296383"/>
              <a:gd name="connsiteX9510" fmla="*/ 6656826 w 9310410"/>
              <a:gd name="connsiteY9510" fmla="*/ 118057 h 5296383"/>
              <a:gd name="connsiteX9511" fmla="*/ 6648436 w 9310410"/>
              <a:gd name="connsiteY9511" fmla="*/ 125248 h 5296383"/>
              <a:gd name="connsiteX9512" fmla="*/ 6650834 w 9310410"/>
              <a:gd name="connsiteY9512" fmla="*/ 132440 h 5296383"/>
              <a:gd name="connsiteX9513" fmla="*/ 6670609 w 9310410"/>
              <a:gd name="connsiteY9513" fmla="*/ 127046 h 5296383"/>
              <a:gd name="connsiteX9514" fmla="*/ 6669411 w 9310410"/>
              <a:gd name="connsiteY9514" fmla="*/ 131840 h 5296383"/>
              <a:gd name="connsiteX9515" fmla="*/ 6655028 w 9310410"/>
              <a:gd name="connsiteY9515" fmla="*/ 139631 h 5296383"/>
              <a:gd name="connsiteX9516" fmla="*/ 6664017 w 9310410"/>
              <a:gd name="connsiteY9516" fmla="*/ 143826 h 5296383"/>
              <a:gd name="connsiteX9517" fmla="*/ 6647837 w 9310410"/>
              <a:gd name="connsiteY9517" fmla="*/ 145024 h 5296383"/>
              <a:gd name="connsiteX9518" fmla="*/ 6631057 w 9310410"/>
              <a:gd name="connsiteY9518" fmla="*/ 147421 h 5296383"/>
              <a:gd name="connsiteX9519" fmla="*/ 6618473 w 9310410"/>
              <a:gd name="connsiteY9519" fmla="*/ 152216 h 5296383"/>
              <a:gd name="connsiteX9520" fmla="*/ 6619671 w 9310410"/>
              <a:gd name="connsiteY9520" fmla="*/ 162403 h 5296383"/>
              <a:gd name="connsiteX9521" fmla="*/ 6632855 w 9310410"/>
              <a:gd name="connsiteY9521" fmla="*/ 169595 h 5296383"/>
              <a:gd name="connsiteX9522" fmla="*/ 6647238 w 9310410"/>
              <a:gd name="connsiteY9522" fmla="*/ 171992 h 5296383"/>
              <a:gd name="connsiteX9523" fmla="*/ 6650234 w 9310410"/>
              <a:gd name="connsiteY9523" fmla="*/ 176187 h 5296383"/>
              <a:gd name="connsiteX9524" fmla="*/ 6644841 w 9310410"/>
              <a:gd name="connsiteY9524" fmla="*/ 177385 h 5296383"/>
              <a:gd name="connsiteX9525" fmla="*/ 6628061 w 9310410"/>
              <a:gd name="connsiteY9525" fmla="*/ 174988 h 5296383"/>
              <a:gd name="connsiteX9526" fmla="*/ 6605289 w 9310410"/>
              <a:gd name="connsiteY9526" fmla="*/ 165999 h 5296383"/>
              <a:gd name="connsiteX9527" fmla="*/ 6589108 w 9310410"/>
              <a:gd name="connsiteY9527" fmla="*/ 163003 h 5296383"/>
              <a:gd name="connsiteX9528" fmla="*/ 6563340 w 9310410"/>
              <a:gd name="connsiteY9528" fmla="*/ 161804 h 5296383"/>
              <a:gd name="connsiteX9529" fmla="*/ 6551354 w 9310410"/>
              <a:gd name="connsiteY9529" fmla="*/ 172591 h 5296383"/>
              <a:gd name="connsiteX9530" fmla="*/ 6569332 w 9310410"/>
              <a:gd name="connsiteY9530" fmla="*/ 181580 h 5296383"/>
              <a:gd name="connsiteX9531" fmla="*/ 6571729 w 9310410"/>
              <a:gd name="connsiteY9531" fmla="*/ 183977 h 5296383"/>
              <a:gd name="connsiteX9532" fmla="*/ 6578322 w 9310410"/>
              <a:gd name="connsiteY9532" fmla="*/ 186374 h 5296383"/>
              <a:gd name="connsiteX9533" fmla="*/ 6611881 w 9310410"/>
              <a:gd name="connsiteY9533" fmla="*/ 196562 h 5296383"/>
              <a:gd name="connsiteX9534" fmla="*/ 6612480 w 9310410"/>
              <a:gd name="connsiteY9534" fmla="*/ 201955 h 5296383"/>
              <a:gd name="connsiteX9535" fmla="*/ 6604090 w 9310410"/>
              <a:gd name="connsiteY9535" fmla="*/ 206750 h 5296383"/>
              <a:gd name="connsiteX9536" fmla="*/ 6628660 w 9310410"/>
              <a:gd name="connsiteY9536" fmla="*/ 206150 h 5296383"/>
              <a:gd name="connsiteX9537" fmla="*/ 6651433 w 9310410"/>
              <a:gd name="connsiteY9537" fmla="*/ 198959 h 5296383"/>
              <a:gd name="connsiteX9538" fmla="*/ 6663418 w 9310410"/>
              <a:gd name="connsiteY9538" fmla="*/ 200158 h 5296383"/>
              <a:gd name="connsiteX9539" fmla="*/ 6657425 w 9310410"/>
              <a:gd name="connsiteY9539" fmla="*/ 204352 h 5296383"/>
              <a:gd name="connsiteX9540" fmla="*/ 6644242 w 9310410"/>
              <a:gd name="connsiteY9540" fmla="*/ 206150 h 5296383"/>
              <a:gd name="connsiteX9541" fmla="*/ 6655627 w 9310410"/>
              <a:gd name="connsiteY9541" fmla="*/ 208547 h 5296383"/>
              <a:gd name="connsiteX9542" fmla="*/ 6653830 w 9310410"/>
              <a:gd name="connsiteY9542" fmla="*/ 212143 h 5296383"/>
              <a:gd name="connsiteX9543" fmla="*/ 6634054 w 9310410"/>
              <a:gd name="connsiteY9543" fmla="*/ 209746 h 5296383"/>
              <a:gd name="connsiteX9544" fmla="*/ 6619671 w 9310410"/>
              <a:gd name="connsiteY9544" fmla="*/ 212742 h 5296383"/>
              <a:gd name="connsiteX9545" fmla="*/ 6606487 w 9310410"/>
              <a:gd name="connsiteY9545" fmla="*/ 214540 h 5296383"/>
              <a:gd name="connsiteX9546" fmla="*/ 6595700 w 9310410"/>
              <a:gd name="connsiteY9546" fmla="*/ 218735 h 5296383"/>
              <a:gd name="connsiteX9547" fmla="*/ 6589707 w 9310410"/>
              <a:gd name="connsiteY9547" fmla="*/ 224128 h 5296383"/>
              <a:gd name="connsiteX9548" fmla="*/ 6589108 w 9310410"/>
              <a:gd name="connsiteY9548" fmla="*/ 231919 h 5296383"/>
              <a:gd name="connsiteX9549" fmla="*/ 6593902 w 9310410"/>
              <a:gd name="connsiteY9549" fmla="*/ 236114 h 5296383"/>
              <a:gd name="connsiteX9550" fmla="*/ 6607086 w 9310410"/>
              <a:gd name="connsiteY9550" fmla="*/ 235515 h 5296383"/>
              <a:gd name="connsiteX9551" fmla="*/ 6613079 w 9310410"/>
              <a:gd name="connsiteY9551" fmla="*/ 228923 h 5296383"/>
              <a:gd name="connsiteX9552" fmla="*/ 6616674 w 9310410"/>
              <a:gd name="connsiteY9552" fmla="*/ 230720 h 5296383"/>
              <a:gd name="connsiteX9553" fmla="*/ 6623866 w 9310410"/>
              <a:gd name="connsiteY9553" fmla="*/ 233717 h 5296383"/>
              <a:gd name="connsiteX9554" fmla="*/ 6623267 w 9310410"/>
              <a:gd name="connsiteY9554" fmla="*/ 223529 h 5296383"/>
              <a:gd name="connsiteX9555" fmla="*/ 6625664 w 9310410"/>
              <a:gd name="connsiteY9555" fmla="*/ 220533 h 5296383"/>
              <a:gd name="connsiteX9556" fmla="*/ 6638249 w 9310410"/>
              <a:gd name="connsiteY9556" fmla="*/ 225926 h 5296383"/>
              <a:gd name="connsiteX9557" fmla="*/ 6638848 w 9310410"/>
              <a:gd name="connsiteY9557" fmla="*/ 230720 h 5296383"/>
              <a:gd name="connsiteX9558" fmla="*/ 6641245 w 9310410"/>
              <a:gd name="connsiteY9558" fmla="*/ 237912 h 5296383"/>
              <a:gd name="connsiteX9559" fmla="*/ 6641844 w 9310410"/>
              <a:gd name="connsiteY9559" fmla="*/ 243305 h 5296383"/>
              <a:gd name="connsiteX9560" fmla="*/ 6650234 w 9310410"/>
              <a:gd name="connsiteY9560" fmla="*/ 246302 h 5296383"/>
              <a:gd name="connsiteX9561" fmla="*/ 6658024 w 9310410"/>
              <a:gd name="connsiteY9561" fmla="*/ 245702 h 5296383"/>
              <a:gd name="connsiteX9562" fmla="*/ 6671209 w 9310410"/>
              <a:gd name="connsiteY9562" fmla="*/ 243305 h 5296383"/>
              <a:gd name="connsiteX9563" fmla="*/ 6667014 w 9310410"/>
              <a:gd name="connsiteY9563" fmla="*/ 233118 h 5296383"/>
              <a:gd name="connsiteX9564" fmla="*/ 6669411 w 9310410"/>
              <a:gd name="connsiteY9564" fmla="*/ 224728 h 5296383"/>
              <a:gd name="connsiteX9565" fmla="*/ 6672407 w 9310410"/>
              <a:gd name="connsiteY9565" fmla="*/ 227724 h 5296383"/>
              <a:gd name="connsiteX9566" fmla="*/ 6679598 w 9310410"/>
              <a:gd name="connsiteY9566" fmla="*/ 242706 h 5296383"/>
              <a:gd name="connsiteX9567" fmla="*/ 6671209 w 9310410"/>
              <a:gd name="connsiteY9567" fmla="*/ 251695 h 5296383"/>
              <a:gd name="connsiteX9568" fmla="*/ 6650234 w 9310410"/>
              <a:gd name="connsiteY9568" fmla="*/ 254092 h 5296383"/>
              <a:gd name="connsiteX9569" fmla="*/ 6636451 w 9310410"/>
              <a:gd name="connsiteY9569" fmla="*/ 248699 h 5296383"/>
              <a:gd name="connsiteX9570" fmla="*/ 6614877 w 9310410"/>
              <a:gd name="connsiteY9570" fmla="*/ 242706 h 5296383"/>
              <a:gd name="connsiteX9571" fmla="*/ 6599296 w 9310410"/>
              <a:gd name="connsiteY9571" fmla="*/ 247500 h 5296383"/>
              <a:gd name="connsiteX9572" fmla="*/ 6603491 w 9310410"/>
              <a:gd name="connsiteY9572" fmla="*/ 254691 h 5296383"/>
              <a:gd name="connsiteX9573" fmla="*/ 6619671 w 9310410"/>
              <a:gd name="connsiteY9573" fmla="*/ 260684 h 5296383"/>
              <a:gd name="connsiteX9574" fmla="*/ 6620870 w 9310410"/>
              <a:gd name="connsiteY9574" fmla="*/ 264879 h 5296383"/>
              <a:gd name="connsiteX9575" fmla="*/ 6606487 w 9310410"/>
              <a:gd name="connsiteY9575" fmla="*/ 267276 h 5296383"/>
              <a:gd name="connsiteX9576" fmla="*/ 6597498 w 9310410"/>
              <a:gd name="connsiteY9576" fmla="*/ 279262 h 5296383"/>
              <a:gd name="connsiteX9577" fmla="*/ 6613678 w 9310410"/>
              <a:gd name="connsiteY9577" fmla="*/ 293045 h 5296383"/>
              <a:gd name="connsiteX9578" fmla="*/ 6620271 w 9310410"/>
              <a:gd name="connsiteY9578" fmla="*/ 285854 h 5296383"/>
              <a:gd name="connsiteX9579" fmla="*/ 6622667 w 9310410"/>
              <a:gd name="connsiteY9579" fmla="*/ 281659 h 5296383"/>
              <a:gd name="connsiteX9580" fmla="*/ 6635852 w 9310410"/>
              <a:gd name="connsiteY9580" fmla="*/ 290049 h 5296383"/>
              <a:gd name="connsiteX9581" fmla="*/ 6639447 w 9310410"/>
              <a:gd name="connsiteY9581" fmla="*/ 281659 h 5296383"/>
              <a:gd name="connsiteX9582" fmla="*/ 6643043 w 9310410"/>
              <a:gd name="connsiteY9582" fmla="*/ 282258 h 5296383"/>
              <a:gd name="connsiteX9583" fmla="*/ 6681995 w 9310410"/>
              <a:gd name="connsiteY9583" fmla="*/ 282258 h 5296383"/>
              <a:gd name="connsiteX9584" fmla="*/ 6687389 w 9310410"/>
              <a:gd name="connsiteY9584" fmla="*/ 275666 h 5296383"/>
              <a:gd name="connsiteX9585" fmla="*/ 6682595 w 9310410"/>
              <a:gd name="connsiteY9585" fmla="*/ 270872 h 5296383"/>
              <a:gd name="connsiteX9586" fmla="*/ 6683794 w 9310410"/>
              <a:gd name="connsiteY9586" fmla="*/ 267276 h 5296383"/>
              <a:gd name="connsiteX9587" fmla="*/ 6693981 w 9310410"/>
              <a:gd name="connsiteY9587" fmla="*/ 271471 h 5296383"/>
              <a:gd name="connsiteX9588" fmla="*/ 6700573 w 9310410"/>
              <a:gd name="connsiteY9588" fmla="*/ 273868 h 5296383"/>
              <a:gd name="connsiteX9589" fmla="*/ 6699974 w 9310410"/>
              <a:gd name="connsiteY9589" fmla="*/ 268475 h 5296383"/>
              <a:gd name="connsiteX9590" fmla="*/ 6701772 w 9310410"/>
              <a:gd name="connsiteY9590" fmla="*/ 264879 h 5296383"/>
              <a:gd name="connsiteX9591" fmla="*/ 6717952 w 9310410"/>
              <a:gd name="connsiteY9591" fmla="*/ 273269 h 5296383"/>
              <a:gd name="connsiteX9592" fmla="*/ 6716754 w 9310410"/>
              <a:gd name="connsiteY9592" fmla="*/ 266078 h 5296383"/>
              <a:gd name="connsiteX9593" fmla="*/ 6711959 w 9310410"/>
              <a:gd name="connsiteY9593" fmla="*/ 260684 h 5296383"/>
              <a:gd name="connsiteX9594" fmla="*/ 6724544 w 9310410"/>
              <a:gd name="connsiteY9594" fmla="*/ 263081 h 5296383"/>
              <a:gd name="connsiteX9595" fmla="*/ 6738926 w 9310410"/>
              <a:gd name="connsiteY9595" fmla="*/ 270273 h 5296383"/>
              <a:gd name="connsiteX9596" fmla="*/ 6750912 w 9310410"/>
              <a:gd name="connsiteY9596" fmla="*/ 272670 h 5296383"/>
              <a:gd name="connsiteX9597" fmla="*/ 6761100 w 9310410"/>
              <a:gd name="connsiteY9597" fmla="*/ 267875 h 5296383"/>
              <a:gd name="connsiteX9598" fmla="*/ 6770688 w 9310410"/>
              <a:gd name="connsiteY9598" fmla="*/ 259486 h 5296383"/>
              <a:gd name="connsiteX9599" fmla="*/ 6776681 w 9310410"/>
              <a:gd name="connsiteY9599" fmla="*/ 257089 h 5296383"/>
              <a:gd name="connsiteX9600" fmla="*/ 6783273 w 9310410"/>
              <a:gd name="connsiteY9600" fmla="*/ 251096 h 5296383"/>
              <a:gd name="connsiteX9601" fmla="*/ 6791064 w 9310410"/>
              <a:gd name="connsiteY9601" fmla="*/ 242706 h 5296383"/>
              <a:gd name="connsiteX9602" fmla="*/ 6777280 w 9310410"/>
              <a:gd name="connsiteY9602" fmla="*/ 242706 h 5296383"/>
              <a:gd name="connsiteX9603" fmla="*/ 6760500 w 9310410"/>
              <a:gd name="connsiteY9603" fmla="*/ 242706 h 5296383"/>
              <a:gd name="connsiteX9604" fmla="*/ 6750912 w 9310410"/>
              <a:gd name="connsiteY9604" fmla="*/ 237912 h 5296383"/>
              <a:gd name="connsiteX9605" fmla="*/ 6737728 w 9310410"/>
              <a:gd name="connsiteY9605" fmla="*/ 240908 h 5296383"/>
              <a:gd name="connsiteX9606" fmla="*/ 6707165 w 9310410"/>
              <a:gd name="connsiteY9606" fmla="*/ 242706 h 5296383"/>
              <a:gd name="connsiteX9607" fmla="*/ 6694580 w 9310410"/>
              <a:gd name="connsiteY9607" fmla="*/ 232518 h 5296383"/>
              <a:gd name="connsiteX9608" fmla="*/ 6698775 w 9310410"/>
              <a:gd name="connsiteY9608" fmla="*/ 230121 h 5296383"/>
              <a:gd name="connsiteX9609" fmla="*/ 6708364 w 9310410"/>
              <a:gd name="connsiteY9609" fmla="*/ 234316 h 5296383"/>
              <a:gd name="connsiteX9610" fmla="*/ 6731136 w 9310410"/>
              <a:gd name="connsiteY9610" fmla="*/ 236713 h 5296383"/>
              <a:gd name="connsiteX9611" fmla="*/ 6751511 w 9310410"/>
              <a:gd name="connsiteY9611" fmla="*/ 229522 h 5296383"/>
              <a:gd name="connsiteX9612" fmla="*/ 6759302 w 9310410"/>
              <a:gd name="connsiteY9612" fmla="*/ 227724 h 5296383"/>
              <a:gd name="connsiteX9613" fmla="*/ 6764096 w 9310410"/>
              <a:gd name="connsiteY9613" fmla="*/ 221132 h 5296383"/>
              <a:gd name="connsiteX9614" fmla="*/ 6760500 w 9310410"/>
              <a:gd name="connsiteY9614" fmla="*/ 214540 h 5296383"/>
              <a:gd name="connsiteX9615" fmla="*/ 6761100 w 9310410"/>
              <a:gd name="connsiteY9615" fmla="*/ 209746 h 5296383"/>
              <a:gd name="connsiteX9616" fmla="*/ 6773685 w 9310410"/>
              <a:gd name="connsiteY9616" fmla="*/ 207349 h 5296383"/>
              <a:gd name="connsiteX9617" fmla="*/ 6783872 w 9310410"/>
              <a:gd name="connsiteY9617" fmla="*/ 201356 h 5296383"/>
              <a:gd name="connsiteX9618" fmla="*/ 6776681 w 9310410"/>
              <a:gd name="connsiteY9618" fmla="*/ 192367 h 5296383"/>
              <a:gd name="connsiteX9619" fmla="*/ 6751511 w 9310410"/>
              <a:gd name="connsiteY9619" fmla="*/ 180981 h 5296383"/>
              <a:gd name="connsiteX9620" fmla="*/ 6731136 w 9310410"/>
              <a:gd name="connsiteY9620" fmla="*/ 189371 h 5296383"/>
              <a:gd name="connsiteX9621" fmla="*/ 6726342 w 9310410"/>
              <a:gd name="connsiteY9621" fmla="*/ 189970 h 5296383"/>
              <a:gd name="connsiteX9622" fmla="*/ 6717952 w 9310410"/>
              <a:gd name="connsiteY9622" fmla="*/ 183378 h 5296383"/>
              <a:gd name="connsiteX9623" fmla="*/ 6746118 w 9310410"/>
              <a:gd name="connsiteY9623" fmla="*/ 176187 h 5296383"/>
              <a:gd name="connsiteX9624" fmla="*/ 6745518 w 9310410"/>
              <a:gd name="connsiteY9624" fmla="*/ 169595 h 5296383"/>
              <a:gd name="connsiteX9625" fmla="*/ 6733533 w 9310410"/>
              <a:gd name="connsiteY9625" fmla="*/ 172591 h 5296383"/>
              <a:gd name="connsiteX9626" fmla="*/ 6716754 w 9310410"/>
              <a:gd name="connsiteY9626" fmla="*/ 173190 h 5296383"/>
              <a:gd name="connsiteX9627" fmla="*/ 6711959 w 9310410"/>
              <a:gd name="connsiteY9627" fmla="*/ 171992 h 5296383"/>
              <a:gd name="connsiteX9628" fmla="*/ 6726941 w 9310410"/>
              <a:gd name="connsiteY9628" fmla="*/ 166598 h 5296383"/>
              <a:gd name="connsiteX9629" fmla="*/ 6738926 w 9310410"/>
              <a:gd name="connsiteY9629" fmla="*/ 163003 h 5296383"/>
              <a:gd name="connsiteX9630" fmla="*/ 6746118 w 9310410"/>
              <a:gd name="connsiteY9630" fmla="*/ 162403 h 5296383"/>
              <a:gd name="connsiteX9631" fmla="*/ 6751511 w 9310410"/>
              <a:gd name="connsiteY9631" fmla="*/ 165999 h 5296383"/>
              <a:gd name="connsiteX9632" fmla="*/ 6758703 w 9310410"/>
              <a:gd name="connsiteY9632" fmla="*/ 165999 h 5296383"/>
              <a:gd name="connsiteX9633" fmla="*/ 6765295 w 9310410"/>
              <a:gd name="connsiteY9633" fmla="*/ 157010 h 5296383"/>
              <a:gd name="connsiteX9634" fmla="*/ 6751511 w 9310410"/>
              <a:gd name="connsiteY9634" fmla="*/ 154013 h 5296383"/>
              <a:gd name="connsiteX9635" fmla="*/ 6741923 w 9310410"/>
              <a:gd name="connsiteY9635" fmla="*/ 154613 h 5296383"/>
              <a:gd name="connsiteX9636" fmla="*/ 6751511 w 9310410"/>
              <a:gd name="connsiteY9636" fmla="*/ 149818 h 5296383"/>
              <a:gd name="connsiteX9637" fmla="*/ 6770688 w 9310410"/>
              <a:gd name="connsiteY9637" fmla="*/ 152216 h 5296383"/>
              <a:gd name="connsiteX9638" fmla="*/ 6793460 w 9310410"/>
              <a:gd name="connsiteY9638" fmla="*/ 136035 h 5296383"/>
              <a:gd name="connsiteX9639" fmla="*/ 6780277 w 9310410"/>
              <a:gd name="connsiteY9639" fmla="*/ 135436 h 5296383"/>
              <a:gd name="connsiteX9640" fmla="*/ 6777280 w 9310410"/>
              <a:gd name="connsiteY9640" fmla="*/ 131840 h 5296383"/>
              <a:gd name="connsiteX9641" fmla="*/ 6795258 w 9310410"/>
              <a:gd name="connsiteY9641" fmla="*/ 129443 h 5296383"/>
              <a:gd name="connsiteX9642" fmla="*/ 6797656 w 9310410"/>
              <a:gd name="connsiteY9642" fmla="*/ 122851 h 5296383"/>
              <a:gd name="connsiteX9643" fmla="*/ 6803049 w 9310410"/>
              <a:gd name="connsiteY9643" fmla="*/ 121053 h 5296383"/>
              <a:gd name="connsiteX9644" fmla="*/ 6811438 w 9310410"/>
              <a:gd name="connsiteY9644" fmla="*/ 116858 h 5296383"/>
              <a:gd name="connsiteX9645" fmla="*/ 6821627 w 9310410"/>
              <a:gd name="connsiteY9645" fmla="*/ 100079 h 5296383"/>
              <a:gd name="connsiteX9646" fmla="*/ 6828818 w 9310410"/>
              <a:gd name="connsiteY9646" fmla="*/ 83898 h 5296383"/>
              <a:gd name="connsiteX9647" fmla="*/ 6816832 w 9310410"/>
              <a:gd name="connsiteY9647" fmla="*/ 83299 h 5296383"/>
              <a:gd name="connsiteX9648" fmla="*/ 6798255 w 9310410"/>
              <a:gd name="connsiteY9648" fmla="*/ 92288 h 5296383"/>
              <a:gd name="connsiteX9649" fmla="*/ 6794060 w 9310410"/>
              <a:gd name="connsiteY9649" fmla="*/ 88693 h 5296383"/>
              <a:gd name="connsiteX9650" fmla="*/ 6779078 w 9310410"/>
              <a:gd name="connsiteY9650" fmla="*/ 89292 h 5296383"/>
              <a:gd name="connsiteX9651" fmla="*/ 6774284 w 9310410"/>
              <a:gd name="connsiteY9651" fmla="*/ 83898 h 5296383"/>
              <a:gd name="connsiteX9652" fmla="*/ 6793460 w 9310410"/>
              <a:gd name="connsiteY9652" fmla="*/ 79703 h 5296383"/>
              <a:gd name="connsiteX9653" fmla="*/ 6812038 w 9310410"/>
              <a:gd name="connsiteY9653" fmla="*/ 73711 h 5296383"/>
              <a:gd name="connsiteX9654" fmla="*/ 6820428 w 9310410"/>
              <a:gd name="connsiteY9654" fmla="*/ 71314 h 5296383"/>
              <a:gd name="connsiteX9655" fmla="*/ 6836009 w 9310410"/>
              <a:gd name="connsiteY9655" fmla="*/ 63523 h 5296383"/>
              <a:gd name="connsiteX9656" fmla="*/ 6850991 w 9310410"/>
              <a:gd name="connsiteY9656" fmla="*/ 58130 h 5296383"/>
              <a:gd name="connsiteX9657" fmla="*/ 6853988 w 9310410"/>
              <a:gd name="connsiteY9657" fmla="*/ 43148 h 5296383"/>
              <a:gd name="connsiteX9658" fmla="*/ 6835409 w 9310410"/>
              <a:gd name="connsiteY9658" fmla="*/ 41350 h 5296383"/>
              <a:gd name="connsiteX9659" fmla="*/ 6822226 w 9310410"/>
              <a:gd name="connsiteY9659" fmla="*/ 46743 h 5296383"/>
              <a:gd name="connsiteX9660" fmla="*/ 6777879 w 9310410"/>
              <a:gd name="connsiteY9660" fmla="*/ 40751 h 5296383"/>
              <a:gd name="connsiteX9661" fmla="*/ 6769489 w 9310410"/>
              <a:gd name="connsiteY9661" fmla="*/ 44946 h 5296383"/>
              <a:gd name="connsiteX9662" fmla="*/ 6764096 w 9310410"/>
              <a:gd name="connsiteY9662" fmla="*/ 47343 h 5296383"/>
              <a:gd name="connsiteX9663" fmla="*/ 6752111 w 9310410"/>
              <a:gd name="connsiteY9663" fmla="*/ 53335 h 5296383"/>
              <a:gd name="connsiteX9664" fmla="*/ 6743122 w 9310410"/>
              <a:gd name="connsiteY9664" fmla="*/ 55732 h 5296383"/>
              <a:gd name="connsiteX9665" fmla="*/ 6723346 w 9310410"/>
              <a:gd name="connsiteY9665" fmla="*/ 61126 h 5296383"/>
              <a:gd name="connsiteX9666" fmla="*/ 6728739 w 9310410"/>
              <a:gd name="connsiteY9666" fmla="*/ 54534 h 5296383"/>
              <a:gd name="connsiteX9667" fmla="*/ 6749714 w 9310410"/>
              <a:gd name="connsiteY9667" fmla="*/ 47343 h 5296383"/>
              <a:gd name="connsiteX9668" fmla="*/ 6743122 w 9310410"/>
              <a:gd name="connsiteY9668" fmla="*/ 43148 h 5296383"/>
              <a:gd name="connsiteX9669" fmla="*/ 6719151 w 9310410"/>
              <a:gd name="connsiteY9669" fmla="*/ 44346 h 5296383"/>
              <a:gd name="connsiteX9670" fmla="*/ 6709562 w 9310410"/>
              <a:gd name="connsiteY9670" fmla="*/ 46743 h 5296383"/>
              <a:gd name="connsiteX9671" fmla="*/ 6702371 w 9310410"/>
              <a:gd name="connsiteY9671" fmla="*/ 47343 h 5296383"/>
              <a:gd name="connsiteX9672" fmla="*/ 6670010 w 9310410"/>
              <a:gd name="connsiteY9672" fmla="*/ 57530 h 5296383"/>
              <a:gd name="connsiteX9673" fmla="*/ 6673605 w 9310410"/>
              <a:gd name="connsiteY9673" fmla="*/ 62924 h 5296383"/>
              <a:gd name="connsiteX9674" fmla="*/ 6671808 w 9310410"/>
              <a:gd name="connsiteY9674" fmla="*/ 67119 h 5296383"/>
              <a:gd name="connsiteX9675" fmla="*/ 6655028 w 9310410"/>
              <a:gd name="connsiteY9675" fmla="*/ 62324 h 5296383"/>
              <a:gd name="connsiteX9676" fmla="*/ 6637649 w 9310410"/>
              <a:gd name="connsiteY9676" fmla="*/ 62924 h 5296383"/>
              <a:gd name="connsiteX9677" fmla="*/ 6623267 w 9310410"/>
              <a:gd name="connsiteY9677" fmla="*/ 67718 h 5296383"/>
              <a:gd name="connsiteX9678" fmla="*/ 6625064 w 9310410"/>
              <a:gd name="connsiteY9678" fmla="*/ 74909 h 5296383"/>
              <a:gd name="connsiteX9679" fmla="*/ 6620870 w 9310410"/>
              <a:gd name="connsiteY9679" fmla="*/ 78505 h 5296383"/>
              <a:gd name="connsiteX9680" fmla="*/ 6582516 w 9310410"/>
              <a:gd name="connsiteY9680" fmla="*/ 83299 h 5296383"/>
              <a:gd name="connsiteX9681" fmla="*/ 6575924 w 9310410"/>
              <a:gd name="connsiteY9681" fmla="*/ 89292 h 5296383"/>
              <a:gd name="connsiteX9682" fmla="*/ 6598097 w 9310410"/>
              <a:gd name="connsiteY9682" fmla="*/ 91689 h 5296383"/>
              <a:gd name="connsiteX9683" fmla="*/ 6580119 w 9310410"/>
              <a:gd name="connsiteY9683" fmla="*/ 92887 h 5296383"/>
              <a:gd name="connsiteX9684" fmla="*/ 6562141 w 9310410"/>
              <a:gd name="connsiteY9684" fmla="*/ 92288 h 5296383"/>
              <a:gd name="connsiteX9685" fmla="*/ 6577722 w 9310410"/>
              <a:gd name="connsiteY9685" fmla="*/ 100678 h 5296383"/>
              <a:gd name="connsiteX9686" fmla="*/ 6574725 w 9310410"/>
              <a:gd name="connsiteY9686" fmla="*/ 104873 h 5296383"/>
              <a:gd name="connsiteX9687" fmla="*/ 6560942 w 9310410"/>
              <a:gd name="connsiteY9687" fmla="*/ 106671 h 5296383"/>
              <a:gd name="connsiteX9688" fmla="*/ 6553152 w 9310410"/>
              <a:gd name="connsiteY9688" fmla="*/ 104873 h 5296383"/>
              <a:gd name="connsiteX9689" fmla="*/ 6530380 w 9310410"/>
              <a:gd name="connsiteY9689" fmla="*/ 104274 h 5296383"/>
              <a:gd name="connsiteX9690" fmla="*/ 6515398 w 9310410"/>
              <a:gd name="connsiteY9690" fmla="*/ 100678 h 5296383"/>
              <a:gd name="connsiteX9691" fmla="*/ 6502812 w 9310410"/>
              <a:gd name="connsiteY9691" fmla="*/ 98880 h 5296383"/>
              <a:gd name="connsiteX9692" fmla="*/ 6490827 w 9310410"/>
              <a:gd name="connsiteY9692" fmla="*/ 101277 h 5296383"/>
              <a:gd name="connsiteX9693" fmla="*/ 6502812 w 9310410"/>
              <a:gd name="connsiteY9693" fmla="*/ 106071 h 5296383"/>
              <a:gd name="connsiteX9694" fmla="*/ 6513600 w 9310410"/>
              <a:gd name="connsiteY9694" fmla="*/ 110266 h 5296383"/>
              <a:gd name="connsiteX9695" fmla="*/ 6524387 w 9310410"/>
              <a:gd name="connsiteY9695" fmla="*/ 112064 h 5296383"/>
              <a:gd name="connsiteX9696" fmla="*/ 6522589 w 9310410"/>
              <a:gd name="connsiteY9696" fmla="*/ 116858 h 5296383"/>
              <a:gd name="connsiteX9697" fmla="*/ 6498019 w 9310410"/>
              <a:gd name="connsiteY9697" fmla="*/ 114461 h 5296383"/>
              <a:gd name="connsiteX9698" fmla="*/ 6487831 w 9310410"/>
              <a:gd name="connsiteY9698" fmla="*/ 116259 h 5296383"/>
              <a:gd name="connsiteX9699" fmla="*/ 6495621 w 9310410"/>
              <a:gd name="connsiteY9699" fmla="*/ 119855 h 5296383"/>
              <a:gd name="connsiteX9700" fmla="*/ 6491427 w 9310410"/>
              <a:gd name="connsiteY9700" fmla="*/ 122252 h 5296383"/>
              <a:gd name="connsiteX9701" fmla="*/ 6476445 w 9310410"/>
              <a:gd name="connsiteY9701" fmla="*/ 119256 h 5296383"/>
              <a:gd name="connsiteX9702" fmla="*/ 6463860 w 9310410"/>
              <a:gd name="connsiteY9702" fmla="*/ 123450 h 5296383"/>
              <a:gd name="connsiteX9703" fmla="*/ 6451874 w 9310410"/>
              <a:gd name="connsiteY9703" fmla="*/ 130042 h 5296383"/>
              <a:gd name="connsiteX9704" fmla="*/ 6433896 w 9310410"/>
              <a:gd name="connsiteY9704" fmla="*/ 142028 h 5296383"/>
              <a:gd name="connsiteX9705" fmla="*/ 6452474 w 9310410"/>
              <a:gd name="connsiteY9705" fmla="*/ 152815 h 5296383"/>
              <a:gd name="connsiteX9706" fmla="*/ 6375767 w 9310410"/>
              <a:gd name="connsiteY9706" fmla="*/ 170194 h 5296383"/>
              <a:gd name="connsiteX9707" fmla="*/ 6390748 w 9310410"/>
              <a:gd name="connsiteY9707" fmla="*/ 167797 h 5296383"/>
              <a:gd name="connsiteX9708" fmla="*/ 6401536 w 9310410"/>
              <a:gd name="connsiteY9708" fmla="*/ 165400 h 5296383"/>
              <a:gd name="connsiteX9709" fmla="*/ 6410525 w 9310410"/>
              <a:gd name="connsiteY9709" fmla="*/ 165999 h 5296383"/>
              <a:gd name="connsiteX9710" fmla="*/ 6384756 w 9310410"/>
              <a:gd name="connsiteY9710" fmla="*/ 173190 h 5296383"/>
              <a:gd name="connsiteX9711" fmla="*/ 6375167 w 9310410"/>
              <a:gd name="connsiteY9711" fmla="*/ 181580 h 5296383"/>
              <a:gd name="connsiteX9712" fmla="*/ 6399738 w 9310410"/>
              <a:gd name="connsiteY9712" fmla="*/ 180981 h 5296383"/>
              <a:gd name="connsiteX9713" fmla="*/ 6419514 w 9310410"/>
              <a:gd name="connsiteY9713" fmla="*/ 176786 h 5296383"/>
              <a:gd name="connsiteX9714" fmla="*/ 6427903 w 9310410"/>
              <a:gd name="connsiteY9714" fmla="*/ 177984 h 5296383"/>
              <a:gd name="connsiteX9715" fmla="*/ 6438091 w 9310410"/>
              <a:gd name="connsiteY9715" fmla="*/ 180381 h 5296383"/>
              <a:gd name="connsiteX9716" fmla="*/ 6448878 w 9310410"/>
              <a:gd name="connsiteY9716" fmla="*/ 180981 h 5296383"/>
              <a:gd name="connsiteX9717" fmla="*/ 6448279 w 9310410"/>
              <a:gd name="connsiteY9717" fmla="*/ 185176 h 5296383"/>
              <a:gd name="connsiteX9718" fmla="*/ 6425507 w 9310410"/>
              <a:gd name="connsiteY9718" fmla="*/ 184576 h 5296383"/>
              <a:gd name="connsiteX9719" fmla="*/ 6411124 w 9310410"/>
              <a:gd name="connsiteY9719" fmla="*/ 186973 h 5296383"/>
              <a:gd name="connsiteX9720" fmla="*/ 6411723 w 9310410"/>
              <a:gd name="connsiteY9720" fmla="*/ 192367 h 5296383"/>
              <a:gd name="connsiteX9721" fmla="*/ 6416518 w 9310410"/>
              <a:gd name="connsiteY9721" fmla="*/ 195363 h 5296383"/>
              <a:gd name="connsiteX9722" fmla="*/ 6414120 w 9310410"/>
              <a:gd name="connsiteY9722" fmla="*/ 201356 h 5296383"/>
              <a:gd name="connsiteX9723" fmla="*/ 6436892 w 9310410"/>
              <a:gd name="connsiteY9723" fmla="*/ 200757 h 5296383"/>
              <a:gd name="connsiteX9724" fmla="*/ 6456669 w 9310410"/>
              <a:gd name="connsiteY9724" fmla="*/ 195363 h 5296383"/>
              <a:gd name="connsiteX9725" fmla="*/ 6461463 w 9310410"/>
              <a:gd name="connsiteY9725" fmla="*/ 197760 h 5296383"/>
              <a:gd name="connsiteX9726" fmla="*/ 6464459 w 9310410"/>
              <a:gd name="connsiteY9726" fmla="*/ 202555 h 5296383"/>
              <a:gd name="connsiteX9727" fmla="*/ 6459066 w 9310410"/>
              <a:gd name="connsiteY9727" fmla="*/ 204952 h 5296383"/>
              <a:gd name="connsiteX9728" fmla="*/ 6443485 w 9310410"/>
              <a:gd name="connsiteY9728" fmla="*/ 204352 h 5296383"/>
              <a:gd name="connsiteX9729" fmla="*/ 6426705 w 9310410"/>
              <a:gd name="connsiteY9729" fmla="*/ 206750 h 5296383"/>
              <a:gd name="connsiteX9730" fmla="*/ 6421910 w 9310410"/>
              <a:gd name="connsiteY9730" fmla="*/ 209746 h 5296383"/>
              <a:gd name="connsiteX9731" fmla="*/ 6436293 w 9310410"/>
              <a:gd name="connsiteY9731" fmla="*/ 218136 h 5296383"/>
              <a:gd name="connsiteX9732" fmla="*/ 6450676 w 9310410"/>
              <a:gd name="connsiteY9732" fmla="*/ 217536 h 5296383"/>
              <a:gd name="connsiteX9733" fmla="*/ 6460863 w 9310410"/>
              <a:gd name="connsiteY9733" fmla="*/ 217536 h 5296383"/>
              <a:gd name="connsiteX9734" fmla="*/ 6450676 w 9310410"/>
              <a:gd name="connsiteY9734" fmla="*/ 222331 h 5296383"/>
              <a:gd name="connsiteX9735" fmla="*/ 6457867 w 9310410"/>
              <a:gd name="connsiteY9735" fmla="*/ 224128 h 5296383"/>
              <a:gd name="connsiteX9736" fmla="*/ 6469253 w 9310410"/>
              <a:gd name="connsiteY9736" fmla="*/ 221731 h 5296383"/>
              <a:gd name="connsiteX9737" fmla="*/ 6483636 w 9310410"/>
              <a:gd name="connsiteY9737" fmla="*/ 216937 h 5296383"/>
              <a:gd name="connsiteX9738" fmla="*/ 6490228 w 9310410"/>
              <a:gd name="connsiteY9738" fmla="*/ 215139 h 5296383"/>
              <a:gd name="connsiteX9739" fmla="*/ 6507607 w 9310410"/>
              <a:gd name="connsiteY9739" fmla="*/ 218136 h 5296383"/>
              <a:gd name="connsiteX9740" fmla="*/ 6512401 w 9310410"/>
              <a:gd name="connsiteY9740" fmla="*/ 220533 h 5296383"/>
              <a:gd name="connsiteX9741" fmla="*/ 6493224 w 9310410"/>
              <a:gd name="connsiteY9741" fmla="*/ 223529 h 5296383"/>
              <a:gd name="connsiteX9742" fmla="*/ 6472250 w 9310410"/>
              <a:gd name="connsiteY9742" fmla="*/ 228323 h 5296383"/>
              <a:gd name="connsiteX9743" fmla="*/ 6476445 w 9310410"/>
              <a:gd name="connsiteY9743" fmla="*/ 238511 h 5296383"/>
              <a:gd name="connsiteX9744" fmla="*/ 6480040 w 9310410"/>
              <a:gd name="connsiteY9744" fmla="*/ 241507 h 5296383"/>
              <a:gd name="connsiteX9745" fmla="*/ 6480040 w 9310410"/>
              <a:gd name="connsiteY9745" fmla="*/ 246302 h 5296383"/>
              <a:gd name="connsiteX9746" fmla="*/ 6494423 w 9310410"/>
              <a:gd name="connsiteY9746" fmla="*/ 240908 h 5296383"/>
              <a:gd name="connsiteX9747" fmla="*/ 6506409 w 9310410"/>
              <a:gd name="connsiteY9747" fmla="*/ 242107 h 5296383"/>
              <a:gd name="connsiteX9748" fmla="*/ 6499217 w 9310410"/>
              <a:gd name="connsiteY9748" fmla="*/ 248099 h 5296383"/>
              <a:gd name="connsiteX9749" fmla="*/ 6505210 w 9310410"/>
              <a:gd name="connsiteY9749" fmla="*/ 252294 h 5296383"/>
              <a:gd name="connsiteX9750" fmla="*/ 6527982 w 9310410"/>
              <a:gd name="connsiteY9750" fmla="*/ 252294 h 5296383"/>
              <a:gd name="connsiteX9751" fmla="*/ 6535173 w 9310410"/>
              <a:gd name="connsiteY9751" fmla="*/ 251096 h 5296383"/>
              <a:gd name="connsiteX9752" fmla="*/ 6542964 w 9310410"/>
              <a:gd name="connsiteY9752" fmla="*/ 248699 h 5296383"/>
              <a:gd name="connsiteX9753" fmla="*/ 6542964 w 9310410"/>
              <a:gd name="connsiteY9753" fmla="*/ 243305 h 5296383"/>
              <a:gd name="connsiteX9754" fmla="*/ 6535173 w 9310410"/>
              <a:gd name="connsiteY9754" fmla="*/ 239110 h 5296383"/>
              <a:gd name="connsiteX9755" fmla="*/ 6548358 w 9310410"/>
              <a:gd name="connsiteY9755" fmla="*/ 243305 h 5296383"/>
              <a:gd name="connsiteX9756" fmla="*/ 6558545 w 9310410"/>
              <a:gd name="connsiteY9756" fmla="*/ 244504 h 5296383"/>
              <a:gd name="connsiteX9757" fmla="*/ 6556148 w 9310410"/>
              <a:gd name="connsiteY9757" fmla="*/ 236114 h 5296383"/>
              <a:gd name="connsiteX9758" fmla="*/ 6552552 w 9310410"/>
              <a:gd name="connsiteY9758" fmla="*/ 232518 h 5296383"/>
              <a:gd name="connsiteX9759" fmla="*/ 6566336 w 9310410"/>
              <a:gd name="connsiteY9759" fmla="*/ 235515 h 5296383"/>
              <a:gd name="connsiteX9760" fmla="*/ 6568733 w 9310410"/>
              <a:gd name="connsiteY9760" fmla="*/ 231320 h 5296383"/>
              <a:gd name="connsiteX9761" fmla="*/ 6560343 w 9310410"/>
              <a:gd name="connsiteY9761" fmla="*/ 218735 h 5296383"/>
              <a:gd name="connsiteX9762" fmla="*/ 6568733 w 9310410"/>
              <a:gd name="connsiteY9762" fmla="*/ 222930 h 5296383"/>
              <a:gd name="connsiteX9763" fmla="*/ 6572928 w 9310410"/>
              <a:gd name="connsiteY9763" fmla="*/ 218735 h 5296383"/>
              <a:gd name="connsiteX9764" fmla="*/ 6576523 w 9310410"/>
              <a:gd name="connsiteY9764" fmla="*/ 211544 h 5296383"/>
              <a:gd name="connsiteX9765" fmla="*/ 6580718 w 9310410"/>
              <a:gd name="connsiteY9765" fmla="*/ 209746 h 5296383"/>
              <a:gd name="connsiteX9766" fmla="*/ 6588509 w 9310410"/>
              <a:gd name="connsiteY9766" fmla="*/ 204952 h 5296383"/>
              <a:gd name="connsiteX9767" fmla="*/ 6587910 w 9310410"/>
              <a:gd name="connsiteY9767" fmla="*/ 193565 h 5296383"/>
              <a:gd name="connsiteX9768" fmla="*/ 6565137 w 9310410"/>
              <a:gd name="connsiteY9768" fmla="*/ 190569 h 5296383"/>
              <a:gd name="connsiteX9769" fmla="*/ 6551953 w 9310410"/>
              <a:gd name="connsiteY9769" fmla="*/ 194764 h 5296383"/>
              <a:gd name="connsiteX9770" fmla="*/ 6548957 w 9310410"/>
              <a:gd name="connsiteY9770" fmla="*/ 186374 h 5296383"/>
              <a:gd name="connsiteX9771" fmla="*/ 6541166 w 9310410"/>
              <a:gd name="connsiteY9771" fmla="*/ 181580 h 5296383"/>
              <a:gd name="connsiteX9772" fmla="*/ 6529181 w 9310410"/>
              <a:gd name="connsiteY9772" fmla="*/ 182179 h 5296383"/>
              <a:gd name="connsiteX9773" fmla="*/ 6515398 w 9310410"/>
              <a:gd name="connsiteY9773" fmla="*/ 176187 h 5296383"/>
              <a:gd name="connsiteX9774" fmla="*/ 6487231 w 9310410"/>
              <a:gd name="connsiteY9774" fmla="*/ 178584 h 5296383"/>
              <a:gd name="connsiteX9775" fmla="*/ 6454870 w 9310410"/>
              <a:gd name="connsiteY9775" fmla="*/ 168396 h 5296383"/>
              <a:gd name="connsiteX9776" fmla="*/ 6441687 w 9310410"/>
              <a:gd name="connsiteY9776" fmla="*/ 163003 h 5296383"/>
              <a:gd name="connsiteX9777" fmla="*/ 6422510 w 9310410"/>
              <a:gd name="connsiteY9777" fmla="*/ 157010 h 5296383"/>
              <a:gd name="connsiteX9778" fmla="*/ 6399738 w 9310410"/>
              <a:gd name="connsiteY9778" fmla="*/ 159407 h 5296383"/>
              <a:gd name="connsiteX9779" fmla="*/ 6375167 w 9310410"/>
              <a:gd name="connsiteY9779" fmla="*/ 165400 h 5296383"/>
              <a:gd name="connsiteX9780" fmla="*/ 6375767 w 9310410"/>
              <a:gd name="connsiteY9780" fmla="*/ 170194 h 5296383"/>
              <a:gd name="connsiteX9781" fmla="*/ 6260106 w 9310410"/>
              <a:gd name="connsiteY9781" fmla="*/ 262482 h 5296383"/>
              <a:gd name="connsiteX9782" fmla="*/ 6268496 w 9310410"/>
              <a:gd name="connsiteY9782" fmla="*/ 267875 h 5296383"/>
              <a:gd name="connsiteX9783" fmla="*/ 6274489 w 9310410"/>
              <a:gd name="connsiteY9783" fmla="*/ 265478 h 5296383"/>
              <a:gd name="connsiteX9784" fmla="*/ 6287074 w 9310410"/>
              <a:gd name="connsiteY9784" fmla="*/ 266078 h 5296383"/>
              <a:gd name="connsiteX9785" fmla="*/ 6293666 w 9310410"/>
              <a:gd name="connsiteY9785" fmla="*/ 264280 h 5296383"/>
              <a:gd name="connsiteX9786" fmla="*/ 6298460 w 9310410"/>
              <a:gd name="connsiteY9786" fmla="*/ 263681 h 5296383"/>
              <a:gd name="connsiteX9787" fmla="*/ 6310446 w 9310410"/>
              <a:gd name="connsiteY9787" fmla="*/ 267875 h 5296383"/>
              <a:gd name="connsiteX9788" fmla="*/ 6315839 w 9310410"/>
              <a:gd name="connsiteY9788" fmla="*/ 272070 h 5296383"/>
              <a:gd name="connsiteX9789" fmla="*/ 6300857 w 9310410"/>
              <a:gd name="connsiteY9789" fmla="*/ 275666 h 5296383"/>
              <a:gd name="connsiteX9790" fmla="*/ 6303255 w 9310410"/>
              <a:gd name="connsiteY9790" fmla="*/ 284056 h 5296383"/>
              <a:gd name="connsiteX9791" fmla="*/ 6322431 w 9310410"/>
              <a:gd name="connsiteY9791" fmla="*/ 276865 h 5296383"/>
              <a:gd name="connsiteX9792" fmla="*/ 6333817 w 9310410"/>
              <a:gd name="connsiteY9792" fmla="*/ 276265 h 5296383"/>
              <a:gd name="connsiteX9793" fmla="*/ 6341008 w 9310410"/>
              <a:gd name="connsiteY9793" fmla="*/ 276865 h 5296383"/>
              <a:gd name="connsiteX9794" fmla="*/ 6359587 w 9310410"/>
              <a:gd name="connsiteY9794" fmla="*/ 277464 h 5296383"/>
              <a:gd name="connsiteX9795" fmla="*/ 6369175 w 9310410"/>
              <a:gd name="connsiteY9795" fmla="*/ 279861 h 5296383"/>
              <a:gd name="connsiteX9796" fmla="*/ 6387153 w 9310410"/>
              <a:gd name="connsiteY9796" fmla="*/ 285854 h 5296383"/>
              <a:gd name="connsiteX9797" fmla="*/ 6409925 w 9310410"/>
              <a:gd name="connsiteY9797" fmla="*/ 288850 h 5296383"/>
              <a:gd name="connsiteX9798" fmla="*/ 6417716 w 9310410"/>
              <a:gd name="connsiteY9798" fmla="*/ 282857 h 5296383"/>
              <a:gd name="connsiteX9799" fmla="*/ 6412322 w 9310410"/>
              <a:gd name="connsiteY9799" fmla="*/ 276865 h 5296383"/>
              <a:gd name="connsiteX9800" fmla="*/ 6397939 w 9310410"/>
              <a:gd name="connsiteY9800" fmla="*/ 269673 h 5296383"/>
              <a:gd name="connsiteX9801" fmla="*/ 6381160 w 9310410"/>
              <a:gd name="connsiteY9801" fmla="*/ 265478 h 5296383"/>
              <a:gd name="connsiteX9802" fmla="*/ 6367976 w 9310410"/>
              <a:gd name="connsiteY9802" fmla="*/ 257688 h 5296383"/>
              <a:gd name="connsiteX9803" fmla="*/ 6351197 w 9310410"/>
              <a:gd name="connsiteY9803" fmla="*/ 257688 h 5296383"/>
              <a:gd name="connsiteX9804" fmla="*/ 6348200 w 9310410"/>
              <a:gd name="connsiteY9804" fmla="*/ 254691 h 5296383"/>
              <a:gd name="connsiteX9805" fmla="*/ 6339211 w 9310410"/>
              <a:gd name="connsiteY9805" fmla="*/ 250497 h 5296383"/>
              <a:gd name="connsiteX9806" fmla="*/ 6323630 w 9310410"/>
              <a:gd name="connsiteY9806" fmla="*/ 250497 h 5296383"/>
              <a:gd name="connsiteX9807" fmla="*/ 6318236 w 9310410"/>
              <a:gd name="connsiteY9807" fmla="*/ 254092 h 5296383"/>
              <a:gd name="connsiteX9808" fmla="*/ 6311045 w 9310410"/>
              <a:gd name="connsiteY9808" fmla="*/ 252294 h 5296383"/>
              <a:gd name="connsiteX9809" fmla="*/ 6286475 w 9310410"/>
              <a:gd name="connsiteY9809" fmla="*/ 249897 h 5296383"/>
              <a:gd name="connsiteX9810" fmla="*/ 6258908 w 9310410"/>
              <a:gd name="connsiteY9810" fmla="*/ 254092 h 5296383"/>
              <a:gd name="connsiteX9811" fmla="*/ 6260106 w 9310410"/>
              <a:gd name="connsiteY9811" fmla="*/ 262482 h 5296383"/>
              <a:gd name="connsiteX9812" fmla="*/ 6449478 w 9310410"/>
              <a:gd name="connsiteY9812" fmla="*/ 343983 h 5296383"/>
              <a:gd name="connsiteX9813" fmla="*/ 6429701 w 9310410"/>
              <a:gd name="connsiteY9813" fmla="*/ 341586 h 5296383"/>
              <a:gd name="connsiteX9814" fmla="*/ 6405730 w 9310410"/>
              <a:gd name="connsiteY9814" fmla="*/ 333796 h 5296383"/>
              <a:gd name="connsiteX9815" fmla="*/ 6393745 w 9310410"/>
              <a:gd name="connsiteY9815" fmla="*/ 334994 h 5296383"/>
              <a:gd name="connsiteX9816" fmla="*/ 6403333 w 9310410"/>
              <a:gd name="connsiteY9816" fmla="*/ 340388 h 5296383"/>
              <a:gd name="connsiteX9817" fmla="*/ 6420113 w 9310410"/>
              <a:gd name="connsiteY9817" fmla="*/ 348777 h 5296383"/>
              <a:gd name="connsiteX9818" fmla="*/ 6418315 w 9310410"/>
              <a:gd name="connsiteY9818" fmla="*/ 352972 h 5296383"/>
              <a:gd name="connsiteX9819" fmla="*/ 6408128 w 9310410"/>
              <a:gd name="connsiteY9819" fmla="*/ 356568 h 5296383"/>
              <a:gd name="connsiteX9820" fmla="*/ 6410525 w 9310410"/>
              <a:gd name="connsiteY9820" fmla="*/ 363759 h 5296383"/>
              <a:gd name="connsiteX9821" fmla="*/ 6428503 w 9310410"/>
              <a:gd name="connsiteY9821" fmla="*/ 358366 h 5296383"/>
              <a:gd name="connsiteX9822" fmla="*/ 6442885 w 9310410"/>
              <a:gd name="connsiteY9822" fmla="*/ 352373 h 5296383"/>
              <a:gd name="connsiteX9823" fmla="*/ 6451874 w 9310410"/>
              <a:gd name="connsiteY9823" fmla="*/ 355969 h 5296383"/>
              <a:gd name="connsiteX9824" fmla="*/ 6469852 w 9310410"/>
              <a:gd name="connsiteY9824" fmla="*/ 373947 h 5296383"/>
              <a:gd name="connsiteX9825" fmla="*/ 6503412 w 9310410"/>
              <a:gd name="connsiteY9825" fmla="*/ 361961 h 5296383"/>
              <a:gd name="connsiteX9826" fmla="*/ 6499217 w 9310410"/>
              <a:gd name="connsiteY9826" fmla="*/ 355369 h 5296383"/>
              <a:gd name="connsiteX9827" fmla="*/ 6496221 w 9310410"/>
              <a:gd name="connsiteY9827" fmla="*/ 351175 h 5296383"/>
              <a:gd name="connsiteX9828" fmla="*/ 6490827 w 9310410"/>
              <a:gd name="connsiteY9828" fmla="*/ 342785 h 5296383"/>
              <a:gd name="connsiteX9829" fmla="*/ 6485434 w 9310410"/>
              <a:gd name="connsiteY9829" fmla="*/ 340987 h 5296383"/>
              <a:gd name="connsiteX9830" fmla="*/ 6480640 w 9310410"/>
              <a:gd name="connsiteY9830" fmla="*/ 330200 h 5296383"/>
              <a:gd name="connsiteX9831" fmla="*/ 6475845 w 9310410"/>
              <a:gd name="connsiteY9831" fmla="*/ 325406 h 5296383"/>
              <a:gd name="connsiteX9832" fmla="*/ 6468055 w 9310410"/>
              <a:gd name="connsiteY9832" fmla="*/ 321810 h 5296383"/>
              <a:gd name="connsiteX9833" fmla="*/ 6466856 w 9310410"/>
              <a:gd name="connsiteY9833" fmla="*/ 317615 h 5296383"/>
              <a:gd name="connsiteX9834" fmla="*/ 6459665 w 9310410"/>
              <a:gd name="connsiteY9834" fmla="*/ 314619 h 5296383"/>
              <a:gd name="connsiteX9835" fmla="*/ 6445881 w 9310410"/>
              <a:gd name="connsiteY9835" fmla="*/ 312821 h 5296383"/>
              <a:gd name="connsiteX9836" fmla="*/ 6442286 w 9310410"/>
              <a:gd name="connsiteY9836" fmla="*/ 317615 h 5296383"/>
              <a:gd name="connsiteX9837" fmla="*/ 6435694 w 9310410"/>
              <a:gd name="connsiteY9837" fmla="*/ 320012 h 5296383"/>
              <a:gd name="connsiteX9838" fmla="*/ 6419514 w 9310410"/>
              <a:gd name="connsiteY9838" fmla="*/ 319413 h 5296383"/>
              <a:gd name="connsiteX9839" fmla="*/ 6420712 w 9310410"/>
              <a:gd name="connsiteY9839" fmla="*/ 325406 h 5296383"/>
              <a:gd name="connsiteX9840" fmla="*/ 6422510 w 9310410"/>
              <a:gd name="connsiteY9840" fmla="*/ 328402 h 5296383"/>
              <a:gd name="connsiteX9841" fmla="*/ 6425507 w 9310410"/>
              <a:gd name="connsiteY9841" fmla="*/ 335593 h 5296383"/>
              <a:gd name="connsiteX9842" fmla="*/ 6445881 w 9310410"/>
              <a:gd name="connsiteY9842" fmla="*/ 340987 h 5296383"/>
              <a:gd name="connsiteX9843" fmla="*/ 6449478 w 9310410"/>
              <a:gd name="connsiteY9843" fmla="*/ 343983 h 5296383"/>
              <a:gd name="connsiteX9844" fmla="*/ 6596899 w 9310410"/>
              <a:gd name="connsiteY9844" fmla="*/ 460242 h 5296383"/>
              <a:gd name="connsiteX9845" fmla="*/ 6605888 w 9310410"/>
              <a:gd name="connsiteY9845" fmla="*/ 451853 h 5296383"/>
              <a:gd name="connsiteX9846" fmla="*/ 6592104 w 9310410"/>
              <a:gd name="connsiteY9846" fmla="*/ 438669 h 5296383"/>
              <a:gd name="connsiteX9847" fmla="*/ 6583714 w 9310410"/>
              <a:gd name="connsiteY9847" fmla="*/ 425485 h 5296383"/>
              <a:gd name="connsiteX9848" fmla="*/ 6575924 w 9310410"/>
              <a:gd name="connsiteY9848" fmla="*/ 429679 h 5296383"/>
              <a:gd name="connsiteX9849" fmla="*/ 6567534 w 9310410"/>
              <a:gd name="connsiteY9849" fmla="*/ 429080 h 5296383"/>
              <a:gd name="connsiteX9850" fmla="*/ 6560343 w 9310410"/>
              <a:gd name="connsiteY9850" fmla="*/ 429080 h 5296383"/>
              <a:gd name="connsiteX9851" fmla="*/ 6553152 w 9310410"/>
              <a:gd name="connsiteY9851" fmla="*/ 424885 h 5296383"/>
              <a:gd name="connsiteX9852" fmla="*/ 6539369 w 9310410"/>
              <a:gd name="connsiteY9852" fmla="*/ 416495 h 5296383"/>
              <a:gd name="connsiteX9853" fmla="*/ 6536971 w 9310410"/>
              <a:gd name="connsiteY9853" fmla="*/ 414098 h 5296383"/>
              <a:gd name="connsiteX9854" fmla="*/ 6542365 w 9310410"/>
              <a:gd name="connsiteY9854" fmla="*/ 411102 h 5296383"/>
              <a:gd name="connsiteX9855" fmla="*/ 6546560 w 9310410"/>
              <a:gd name="connsiteY9855" fmla="*/ 404510 h 5296383"/>
              <a:gd name="connsiteX9856" fmla="*/ 6548957 w 9310410"/>
              <a:gd name="connsiteY9856" fmla="*/ 400315 h 5296383"/>
              <a:gd name="connsiteX9857" fmla="*/ 6546560 w 9310410"/>
              <a:gd name="connsiteY9857" fmla="*/ 391925 h 5296383"/>
              <a:gd name="connsiteX9858" fmla="*/ 6533376 w 9310410"/>
              <a:gd name="connsiteY9858" fmla="*/ 396719 h 5296383"/>
              <a:gd name="connsiteX9859" fmla="*/ 6500416 w 9310410"/>
              <a:gd name="connsiteY9859" fmla="*/ 405708 h 5296383"/>
              <a:gd name="connsiteX9860" fmla="*/ 6483636 w 9310410"/>
              <a:gd name="connsiteY9860" fmla="*/ 402712 h 5296383"/>
              <a:gd name="connsiteX9861" fmla="*/ 6474048 w 9310410"/>
              <a:gd name="connsiteY9861" fmla="*/ 409903 h 5296383"/>
              <a:gd name="connsiteX9862" fmla="*/ 6486632 w 9310410"/>
              <a:gd name="connsiteY9862" fmla="*/ 423087 h 5296383"/>
              <a:gd name="connsiteX9863" fmla="*/ 6511802 w 9310410"/>
              <a:gd name="connsiteY9863" fmla="*/ 428481 h 5296383"/>
              <a:gd name="connsiteX9864" fmla="*/ 6513001 w 9310410"/>
              <a:gd name="connsiteY9864" fmla="*/ 435073 h 5296383"/>
              <a:gd name="connsiteX9865" fmla="*/ 6506409 w 9310410"/>
              <a:gd name="connsiteY9865" fmla="*/ 437470 h 5296383"/>
              <a:gd name="connsiteX9866" fmla="*/ 6489030 w 9310410"/>
              <a:gd name="connsiteY9866" fmla="*/ 432077 h 5296383"/>
              <a:gd name="connsiteX9867" fmla="*/ 6477643 w 9310410"/>
              <a:gd name="connsiteY9867" fmla="*/ 431477 h 5296383"/>
              <a:gd name="connsiteX9868" fmla="*/ 6469253 w 9310410"/>
              <a:gd name="connsiteY9868" fmla="*/ 436271 h 5296383"/>
              <a:gd name="connsiteX9869" fmla="*/ 6486033 w 9310410"/>
              <a:gd name="connsiteY9869" fmla="*/ 447058 h 5296383"/>
              <a:gd name="connsiteX9870" fmla="*/ 6497420 w 9310410"/>
              <a:gd name="connsiteY9870" fmla="*/ 454250 h 5296383"/>
              <a:gd name="connsiteX9871" fmla="*/ 6505210 w 9310410"/>
              <a:gd name="connsiteY9871" fmla="*/ 455448 h 5296383"/>
              <a:gd name="connsiteX9872" fmla="*/ 6513600 w 9310410"/>
              <a:gd name="connsiteY9872" fmla="*/ 456047 h 5296383"/>
              <a:gd name="connsiteX9873" fmla="*/ 6522589 w 9310410"/>
              <a:gd name="connsiteY9873" fmla="*/ 454849 h 5296383"/>
              <a:gd name="connsiteX9874" fmla="*/ 6530979 w 9310410"/>
              <a:gd name="connsiteY9874" fmla="*/ 457246 h 5296383"/>
              <a:gd name="connsiteX9875" fmla="*/ 6545361 w 9310410"/>
              <a:gd name="connsiteY9875" fmla="*/ 462639 h 5296383"/>
              <a:gd name="connsiteX9876" fmla="*/ 6569332 w 9310410"/>
              <a:gd name="connsiteY9876" fmla="*/ 476423 h 5296383"/>
              <a:gd name="connsiteX9877" fmla="*/ 6580119 w 9310410"/>
              <a:gd name="connsiteY9877" fmla="*/ 474625 h 5296383"/>
              <a:gd name="connsiteX9878" fmla="*/ 6579520 w 9310410"/>
              <a:gd name="connsiteY9878" fmla="*/ 465636 h 5296383"/>
              <a:gd name="connsiteX9879" fmla="*/ 6586711 w 9310410"/>
              <a:gd name="connsiteY9879" fmla="*/ 461441 h 5296383"/>
              <a:gd name="connsiteX9880" fmla="*/ 6596899 w 9310410"/>
              <a:gd name="connsiteY9880" fmla="*/ 460242 h 5296383"/>
              <a:gd name="connsiteX9881" fmla="*/ 6043170 w 9310410"/>
              <a:gd name="connsiteY9881" fmla="*/ 399116 h 5296383"/>
              <a:gd name="connsiteX9882" fmla="*/ 6059949 w 9310410"/>
              <a:gd name="connsiteY9882" fmla="*/ 402113 h 5296383"/>
              <a:gd name="connsiteX9883" fmla="*/ 6076729 w 9310410"/>
              <a:gd name="connsiteY9883" fmla="*/ 399716 h 5296383"/>
              <a:gd name="connsiteX9884" fmla="*/ 6088115 w 9310410"/>
              <a:gd name="connsiteY9884" fmla="*/ 403311 h 5296383"/>
              <a:gd name="connsiteX9885" fmla="*/ 6090512 w 9310410"/>
              <a:gd name="connsiteY9885" fmla="*/ 398517 h 5296383"/>
              <a:gd name="connsiteX9886" fmla="*/ 6094108 w 9310410"/>
              <a:gd name="connsiteY9886" fmla="*/ 394922 h 5296383"/>
              <a:gd name="connsiteX9887" fmla="*/ 6111487 w 9310410"/>
              <a:gd name="connsiteY9887" fmla="*/ 402113 h 5296383"/>
              <a:gd name="connsiteX9888" fmla="*/ 6110288 w 9310410"/>
              <a:gd name="connsiteY9888" fmla="*/ 391326 h 5296383"/>
              <a:gd name="connsiteX9889" fmla="*/ 6113285 w 9310410"/>
              <a:gd name="connsiteY9889" fmla="*/ 386532 h 5296383"/>
              <a:gd name="connsiteX9890" fmla="*/ 6121674 w 9310410"/>
              <a:gd name="connsiteY9890" fmla="*/ 384135 h 5296383"/>
              <a:gd name="connsiteX9891" fmla="*/ 6124072 w 9310410"/>
              <a:gd name="connsiteY9891" fmla="*/ 378142 h 5296383"/>
              <a:gd name="connsiteX9892" fmla="*/ 6128866 w 9310410"/>
              <a:gd name="connsiteY9892" fmla="*/ 374546 h 5296383"/>
              <a:gd name="connsiteX9893" fmla="*/ 6133660 w 9310410"/>
              <a:gd name="connsiteY9893" fmla="*/ 375146 h 5296383"/>
              <a:gd name="connsiteX9894" fmla="*/ 6149241 w 9310410"/>
              <a:gd name="connsiteY9894" fmla="*/ 378142 h 5296383"/>
              <a:gd name="connsiteX9895" fmla="*/ 6154035 w 9310410"/>
              <a:gd name="connsiteY9895" fmla="*/ 366156 h 5296383"/>
              <a:gd name="connsiteX9896" fmla="*/ 6157032 w 9310410"/>
              <a:gd name="connsiteY9896" fmla="*/ 356568 h 5296383"/>
              <a:gd name="connsiteX9897" fmla="*/ 6157631 w 9310410"/>
              <a:gd name="connsiteY9897" fmla="*/ 351175 h 5296383"/>
              <a:gd name="connsiteX9898" fmla="*/ 6153436 w 9310410"/>
              <a:gd name="connsiteY9898" fmla="*/ 343983 h 5296383"/>
              <a:gd name="connsiteX9899" fmla="*/ 6148642 w 9310410"/>
              <a:gd name="connsiteY9899" fmla="*/ 339189 h 5296383"/>
              <a:gd name="connsiteX9900" fmla="*/ 6131862 w 9310410"/>
              <a:gd name="connsiteY9900" fmla="*/ 336792 h 5296383"/>
              <a:gd name="connsiteX9901" fmla="*/ 6123472 w 9310410"/>
              <a:gd name="connsiteY9901" fmla="*/ 336193 h 5296383"/>
              <a:gd name="connsiteX9902" fmla="*/ 6122873 w 9310410"/>
              <a:gd name="connsiteY9902" fmla="*/ 340388 h 5296383"/>
              <a:gd name="connsiteX9903" fmla="*/ 6114483 w 9310410"/>
              <a:gd name="connsiteY9903" fmla="*/ 344583 h 5296383"/>
              <a:gd name="connsiteX9904" fmla="*/ 6083321 w 9310410"/>
              <a:gd name="connsiteY9904" fmla="*/ 358366 h 5296383"/>
              <a:gd name="connsiteX9905" fmla="*/ 6070137 w 9310410"/>
              <a:gd name="connsiteY9905" fmla="*/ 371550 h 5296383"/>
              <a:gd name="connsiteX9906" fmla="*/ 6062346 w 9310410"/>
              <a:gd name="connsiteY9906" fmla="*/ 383535 h 5296383"/>
              <a:gd name="connsiteX9907" fmla="*/ 6056354 w 9310410"/>
              <a:gd name="connsiteY9907" fmla="*/ 387730 h 5296383"/>
              <a:gd name="connsiteX9908" fmla="*/ 6047365 w 9310410"/>
              <a:gd name="connsiteY9908" fmla="*/ 390727 h 5296383"/>
              <a:gd name="connsiteX9909" fmla="*/ 6043170 w 9310410"/>
              <a:gd name="connsiteY9909" fmla="*/ 399116 h 5296383"/>
              <a:gd name="connsiteX9910" fmla="*/ 6185797 w 9310410"/>
              <a:gd name="connsiteY9910" fmla="*/ 413499 h 5296383"/>
              <a:gd name="connsiteX9911" fmla="*/ 6192988 w 9310410"/>
              <a:gd name="connsiteY9911" fmla="*/ 412900 h 5296383"/>
              <a:gd name="connsiteX9912" fmla="*/ 6201378 w 9310410"/>
              <a:gd name="connsiteY9912" fmla="*/ 410503 h 5296383"/>
              <a:gd name="connsiteX9913" fmla="*/ 6210966 w 9310410"/>
              <a:gd name="connsiteY9913" fmla="*/ 411102 h 5296383"/>
              <a:gd name="connsiteX9914" fmla="*/ 6221754 w 9310410"/>
              <a:gd name="connsiteY9914" fmla="*/ 404510 h 5296383"/>
              <a:gd name="connsiteX9915" fmla="*/ 6227746 w 9310410"/>
              <a:gd name="connsiteY9915" fmla="*/ 401514 h 5296383"/>
              <a:gd name="connsiteX9916" fmla="*/ 6241529 w 9310410"/>
              <a:gd name="connsiteY9916" fmla="*/ 403311 h 5296383"/>
              <a:gd name="connsiteX9917" fmla="*/ 6249919 w 9310410"/>
              <a:gd name="connsiteY9917" fmla="*/ 401514 h 5296383"/>
              <a:gd name="connsiteX9918" fmla="*/ 6265500 w 9310410"/>
              <a:gd name="connsiteY9918" fmla="*/ 397319 h 5296383"/>
              <a:gd name="connsiteX9919" fmla="*/ 6272692 w 9310410"/>
              <a:gd name="connsiteY9919" fmla="*/ 399716 h 5296383"/>
              <a:gd name="connsiteX9920" fmla="*/ 6260106 w 9310410"/>
              <a:gd name="connsiteY9920" fmla="*/ 407506 h 5296383"/>
              <a:gd name="connsiteX9921" fmla="*/ 6249919 w 9310410"/>
              <a:gd name="connsiteY9921" fmla="*/ 412900 h 5296383"/>
              <a:gd name="connsiteX9922" fmla="*/ 6240331 w 9310410"/>
              <a:gd name="connsiteY9922" fmla="*/ 420091 h 5296383"/>
              <a:gd name="connsiteX9923" fmla="*/ 6247522 w 9310410"/>
              <a:gd name="connsiteY9923" fmla="*/ 429679 h 5296383"/>
              <a:gd name="connsiteX9924" fmla="*/ 6278085 w 9310410"/>
              <a:gd name="connsiteY9924" fmla="*/ 421889 h 5296383"/>
              <a:gd name="connsiteX9925" fmla="*/ 6296063 w 9310410"/>
              <a:gd name="connsiteY9925" fmla="*/ 409304 h 5296383"/>
              <a:gd name="connsiteX9926" fmla="*/ 6301457 w 9310410"/>
              <a:gd name="connsiteY9926" fmla="*/ 406308 h 5296383"/>
              <a:gd name="connsiteX9927" fmla="*/ 6312244 w 9310410"/>
              <a:gd name="connsiteY9927" fmla="*/ 394322 h 5296383"/>
              <a:gd name="connsiteX9928" fmla="*/ 6320634 w 9310410"/>
              <a:gd name="connsiteY9928" fmla="*/ 392524 h 5296383"/>
              <a:gd name="connsiteX9929" fmla="*/ 6326626 w 9310410"/>
              <a:gd name="connsiteY9929" fmla="*/ 397319 h 5296383"/>
              <a:gd name="connsiteX9930" fmla="*/ 6333817 w 9310410"/>
              <a:gd name="connsiteY9930" fmla="*/ 396120 h 5296383"/>
              <a:gd name="connsiteX9931" fmla="*/ 6344605 w 9310410"/>
              <a:gd name="connsiteY9931" fmla="*/ 394922 h 5296383"/>
              <a:gd name="connsiteX9932" fmla="*/ 6358987 w 9310410"/>
              <a:gd name="connsiteY9932" fmla="*/ 387730 h 5296383"/>
              <a:gd name="connsiteX9933" fmla="*/ 6358388 w 9310410"/>
              <a:gd name="connsiteY9933" fmla="*/ 381138 h 5296383"/>
              <a:gd name="connsiteX9934" fmla="*/ 6351197 w 9310410"/>
              <a:gd name="connsiteY9934" fmla="*/ 370951 h 5296383"/>
              <a:gd name="connsiteX9935" fmla="*/ 6330222 w 9310410"/>
              <a:gd name="connsiteY9935" fmla="*/ 354171 h 5296383"/>
              <a:gd name="connsiteX9936" fmla="*/ 6327226 w 9310410"/>
              <a:gd name="connsiteY9936" fmla="*/ 358965 h 5296383"/>
              <a:gd name="connsiteX9937" fmla="*/ 6334417 w 9310410"/>
              <a:gd name="connsiteY9937" fmla="*/ 370351 h 5296383"/>
              <a:gd name="connsiteX9938" fmla="*/ 6329023 w 9310410"/>
              <a:gd name="connsiteY9938" fmla="*/ 369752 h 5296383"/>
              <a:gd name="connsiteX9939" fmla="*/ 6321233 w 9310410"/>
              <a:gd name="connsiteY9939" fmla="*/ 369153 h 5296383"/>
              <a:gd name="connsiteX9940" fmla="*/ 6317037 w 9310410"/>
              <a:gd name="connsiteY9940" fmla="*/ 368554 h 5296383"/>
              <a:gd name="connsiteX9941" fmla="*/ 6307449 w 9310410"/>
              <a:gd name="connsiteY9941" fmla="*/ 360164 h 5296383"/>
              <a:gd name="connsiteX9942" fmla="*/ 6295464 w 9310410"/>
              <a:gd name="connsiteY9942" fmla="*/ 353572 h 5296383"/>
              <a:gd name="connsiteX9943" fmla="*/ 6282280 w 9310410"/>
              <a:gd name="connsiteY9943" fmla="*/ 345182 h 5296383"/>
              <a:gd name="connsiteX9944" fmla="*/ 6269096 w 9310410"/>
              <a:gd name="connsiteY9944" fmla="*/ 344583 h 5296383"/>
              <a:gd name="connsiteX9945" fmla="*/ 6258908 w 9310410"/>
              <a:gd name="connsiteY9945" fmla="*/ 351175 h 5296383"/>
              <a:gd name="connsiteX9946" fmla="*/ 6263103 w 9310410"/>
              <a:gd name="connsiteY9946" fmla="*/ 365557 h 5296383"/>
              <a:gd name="connsiteX9947" fmla="*/ 6275088 w 9310410"/>
              <a:gd name="connsiteY9947" fmla="*/ 366156 h 5296383"/>
              <a:gd name="connsiteX9948" fmla="*/ 6280482 w 9310410"/>
              <a:gd name="connsiteY9948" fmla="*/ 369153 h 5296383"/>
              <a:gd name="connsiteX9949" fmla="*/ 6279883 w 9310410"/>
              <a:gd name="connsiteY9949" fmla="*/ 375146 h 5296383"/>
              <a:gd name="connsiteX9950" fmla="*/ 6297861 w 9310410"/>
              <a:gd name="connsiteY9950" fmla="*/ 379940 h 5296383"/>
              <a:gd name="connsiteX9951" fmla="*/ 6284677 w 9310410"/>
              <a:gd name="connsiteY9951" fmla="*/ 381738 h 5296383"/>
              <a:gd name="connsiteX9952" fmla="*/ 6266099 w 9310410"/>
              <a:gd name="connsiteY9952" fmla="*/ 383535 h 5296383"/>
              <a:gd name="connsiteX9953" fmla="*/ 6250518 w 9310410"/>
              <a:gd name="connsiteY9953" fmla="*/ 382936 h 5296383"/>
              <a:gd name="connsiteX9954" fmla="*/ 6232540 w 9310410"/>
              <a:gd name="connsiteY9954" fmla="*/ 372748 h 5296383"/>
              <a:gd name="connsiteX9955" fmla="*/ 6215761 w 9310410"/>
              <a:gd name="connsiteY9955" fmla="*/ 372149 h 5296383"/>
              <a:gd name="connsiteX9956" fmla="*/ 6195984 w 9310410"/>
              <a:gd name="connsiteY9956" fmla="*/ 369752 h 5296383"/>
              <a:gd name="connsiteX9957" fmla="*/ 6182201 w 9310410"/>
              <a:gd name="connsiteY9957" fmla="*/ 369153 h 5296383"/>
              <a:gd name="connsiteX9958" fmla="*/ 6181602 w 9310410"/>
              <a:gd name="connsiteY9958" fmla="*/ 374546 h 5296383"/>
              <a:gd name="connsiteX9959" fmla="*/ 6179804 w 9310410"/>
              <a:gd name="connsiteY9959" fmla="*/ 378741 h 5296383"/>
              <a:gd name="connsiteX9960" fmla="*/ 6179804 w 9310410"/>
              <a:gd name="connsiteY9960" fmla="*/ 387730 h 5296383"/>
              <a:gd name="connsiteX9961" fmla="*/ 6189393 w 9310410"/>
              <a:gd name="connsiteY9961" fmla="*/ 387131 h 5296383"/>
              <a:gd name="connsiteX9962" fmla="*/ 6190591 w 9310410"/>
              <a:gd name="connsiteY9962" fmla="*/ 390727 h 5296383"/>
              <a:gd name="connsiteX9963" fmla="*/ 6174411 w 9310410"/>
              <a:gd name="connsiteY9963" fmla="*/ 393723 h 5296383"/>
              <a:gd name="connsiteX9964" fmla="*/ 6176808 w 9310410"/>
              <a:gd name="connsiteY9964" fmla="*/ 397918 h 5296383"/>
              <a:gd name="connsiteX9965" fmla="*/ 6188793 w 9310410"/>
              <a:gd name="connsiteY9965" fmla="*/ 394322 h 5296383"/>
              <a:gd name="connsiteX9966" fmla="*/ 6189393 w 9310410"/>
              <a:gd name="connsiteY9966" fmla="*/ 397918 h 5296383"/>
              <a:gd name="connsiteX9967" fmla="*/ 6176808 w 9310410"/>
              <a:gd name="connsiteY9967" fmla="*/ 402113 h 5296383"/>
              <a:gd name="connsiteX9968" fmla="*/ 6169017 w 9310410"/>
              <a:gd name="connsiteY9968" fmla="*/ 411102 h 5296383"/>
              <a:gd name="connsiteX9969" fmla="*/ 6185797 w 9310410"/>
              <a:gd name="connsiteY9969" fmla="*/ 413499 h 5296383"/>
              <a:gd name="connsiteX9970" fmla="*/ 6149841 w 9310410"/>
              <a:gd name="connsiteY9970" fmla="*/ 447658 h 5296383"/>
              <a:gd name="connsiteX9971" fmla="*/ 6125869 w 9310410"/>
              <a:gd name="connsiteY9971" fmla="*/ 446459 h 5296383"/>
              <a:gd name="connsiteX9972" fmla="*/ 6109090 w 9310410"/>
              <a:gd name="connsiteY9972" fmla="*/ 449455 h 5296383"/>
              <a:gd name="connsiteX9973" fmla="*/ 6087516 w 9310410"/>
              <a:gd name="connsiteY9973" fmla="*/ 457845 h 5296383"/>
              <a:gd name="connsiteX9974" fmla="*/ 6083920 w 9310410"/>
              <a:gd name="connsiteY9974" fmla="*/ 474026 h 5296383"/>
              <a:gd name="connsiteX9975" fmla="*/ 6094108 w 9310410"/>
              <a:gd name="connsiteY9975" fmla="*/ 486011 h 5296383"/>
              <a:gd name="connsiteX9976" fmla="*/ 6098902 w 9310410"/>
              <a:gd name="connsiteY9976" fmla="*/ 493202 h 5296383"/>
              <a:gd name="connsiteX9977" fmla="*/ 6100101 w 9310410"/>
              <a:gd name="connsiteY9977" fmla="*/ 497997 h 5296383"/>
              <a:gd name="connsiteX9978" fmla="*/ 6100700 w 9310410"/>
              <a:gd name="connsiteY9978" fmla="*/ 504589 h 5296383"/>
              <a:gd name="connsiteX9979" fmla="*/ 6100101 w 9310410"/>
              <a:gd name="connsiteY9979" fmla="*/ 519571 h 5296383"/>
              <a:gd name="connsiteX9980" fmla="*/ 6103696 w 9310410"/>
              <a:gd name="connsiteY9980" fmla="*/ 532755 h 5296383"/>
              <a:gd name="connsiteX9981" fmla="*/ 6142649 w 9310410"/>
              <a:gd name="connsiteY9981" fmla="*/ 549534 h 5296383"/>
              <a:gd name="connsiteX9982" fmla="*/ 6164223 w 9310410"/>
              <a:gd name="connsiteY9982" fmla="*/ 551931 h 5296383"/>
              <a:gd name="connsiteX9983" fmla="*/ 6172613 w 9310410"/>
              <a:gd name="connsiteY9983" fmla="*/ 544141 h 5296383"/>
              <a:gd name="connsiteX9984" fmla="*/ 6178605 w 9310410"/>
              <a:gd name="connsiteY9984" fmla="*/ 545339 h 5296383"/>
              <a:gd name="connsiteX9985" fmla="*/ 6194786 w 9310410"/>
              <a:gd name="connsiteY9985" fmla="*/ 538148 h 5296383"/>
              <a:gd name="connsiteX9986" fmla="*/ 6201977 w 9310410"/>
              <a:gd name="connsiteY9986" fmla="*/ 521368 h 5296383"/>
              <a:gd name="connsiteX9987" fmla="*/ 6201378 w 9310410"/>
              <a:gd name="connsiteY9987" fmla="*/ 515975 h 5296383"/>
              <a:gd name="connsiteX9988" fmla="*/ 6206172 w 9310410"/>
              <a:gd name="connsiteY9988" fmla="*/ 507585 h 5296383"/>
              <a:gd name="connsiteX9989" fmla="*/ 6212165 w 9310410"/>
              <a:gd name="connsiteY9989" fmla="*/ 497397 h 5296383"/>
              <a:gd name="connsiteX9990" fmla="*/ 6217558 w 9310410"/>
              <a:gd name="connsiteY9990" fmla="*/ 484813 h 5296383"/>
              <a:gd name="connsiteX9991" fmla="*/ 6237334 w 9310410"/>
              <a:gd name="connsiteY9991" fmla="*/ 466235 h 5296383"/>
              <a:gd name="connsiteX9992" fmla="*/ 6242128 w 9310410"/>
              <a:gd name="connsiteY9992" fmla="*/ 456647 h 5296383"/>
              <a:gd name="connsiteX9993" fmla="*/ 6213364 w 9310410"/>
              <a:gd name="connsiteY9993" fmla="*/ 441066 h 5296383"/>
              <a:gd name="connsiteX9994" fmla="*/ 6180403 w 9310410"/>
              <a:gd name="connsiteY9994" fmla="*/ 444661 h 5296383"/>
              <a:gd name="connsiteX9995" fmla="*/ 6172013 w 9310410"/>
              <a:gd name="connsiteY9995" fmla="*/ 446459 h 5296383"/>
              <a:gd name="connsiteX9996" fmla="*/ 6163024 w 9310410"/>
              <a:gd name="connsiteY9996" fmla="*/ 446459 h 5296383"/>
              <a:gd name="connsiteX9997" fmla="*/ 6149841 w 9310410"/>
              <a:gd name="connsiteY9997" fmla="*/ 447658 h 5296383"/>
              <a:gd name="connsiteX9998" fmla="*/ 6565736 w 9310410"/>
              <a:gd name="connsiteY9998" fmla="*/ 535751 h 5296383"/>
              <a:gd name="connsiteX9999" fmla="*/ 6575325 w 9310410"/>
              <a:gd name="connsiteY9999" fmla="*/ 538148 h 5296383"/>
              <a:gd name="connsiteX10000" fmla="*/ 6586112 w 9310410"/>
              <a:gd name="connsiteY10000" fmla="*/ 538747 h 5296383"/>
              <a:gd name="connsiteX10001" fmla="*/ 6577722 w 9310410"/>
              <a:gd name="connsiteY10001" fmla="*/ 523765 h 5296383"/>
              <a:gd name="connsiteX10002" fmla="*/ 6568133 w 9310410"/>
              <a:gd name="connsiteY10002" fmla="*/ 517173 h 5296383"/>
              <a:gd name="connsiteX10003" fmla="*/ 6527982 w 9310410"/>
              <a:gd name="connsiteY10003" fmla="*/ 512979 h 5296383"/>
              <a:gd name="connsiteX10004" fmla="*/ 6523787 w 9310410"/>
              <a:gd name="connsiteY10004" fmla="*/ 515376 h 5296383"/>
              <a:gd name="connsiteX10005" fmla="*/ 6517195 w 9310410"/>
              <a:gd name="connsiteY10005" fmla="*/ 517773 h 5296383"/>
              <a:gd name="connsiteX10006" fmla="*/ 6493823 w 9310410"/>
              <a:gd name="connsiteY10006" fmla="*/ 509383 h 5296383"/>
              <a:gd name="connsiteX10007" fmla="*/ 6483636 w 9310410"/>
              <a:gd name="connsiteY10007" fmla="*/ 500993 h 5296383"/>
              <a:gd name="connsiteX10008" fmla="*/ 6467456 w 9310410"/>
              <a:gd name="connsiteY10008" fmla="*/ 485412 h 5296383"/>
              <a:gd name="connsiteX10009" fmla="*/ 6458467 w 9310410"/>
              <a:gd name="connsiteY10009" fmla="*/ 483015 h 5296383"/>
              <a:gd name="connsiteX10010" fmla="*/ 6457867 w 9310410"/>
              <a:gd name="connsiteY10010" fmla="*/ 480018 h 5296383"/>
              <a:gd name="connsiteX10011" fmla="*/ 6454870 w 9310410"/>
              <a:gd name="connsiteY10011" fmla="*/ 473426 h 5296383"/>
              <a:gd name="connsiteX10012" fmla="*/ 6432099 w 9310410"/>
              <a:gd name="connsiteY10012" fmla="*/ 456047 h 5296383"/>
              <a:gd name="connsiteX10013" fmla="*/ 6408128 w 9310410"/>
              <a:gd name="connsiteY10013" fmla="*/ 442863 h 5296383"/>
              <a:gd name="connsiteX10014" fmla="*/ 6393745 w 9310410"/>
              <a:gd name="connsiteY10014" fmla="*/ 438669 h 5296383"/>
              <a:gd name="connsiteX10015" fmla="*/ 6385355 w 9310410"/>
              <a:gd name="connsiteY10015" fmla="*/ 439268 h 5296383"/>
              <a:gd name="connsiteX10016" fmla="*/ 6374568 w 9310410"/>
              <a:gd name="connsiteY10016" fmla="*/ 442863 h 5296383"/>
              <a:gd name="connsiteX10017" fmla="*/ 6375167 w 9310410"/>
              <a:gd name="connsiteY10017" fmla="*/ 450654 h 5296383"/>
              <a:gd name="connsiteX10018" fmla="*/ 6379961 w 9310410"/>
              <a:gd name="connsiteY10018" fmla="*/ 456047 h 5296383"/>
              <a:gd name="connsiteX10019" fmla="*/ 6391947 w 9310410"/>
              <a:gd name="connsiteY10019" fmla="*/ 465636 h 5296383"/>
              <a:gd name="connsiteX10020" fmla="*/ 6400337 w 9310410"/>
              <a:gd name="connsiteY10020" fmla="*/ 474625 h 5296383"/>
              <a:gd name="connsiteX10021" fmla="*/ 6412921 w 9310410"/>
              <a:gd name="connsiteY10021" fmla="*/ 492004 h 5296383"/>
              <a:gd name="connsiteX10022" fmla="*/ 6411723 w 9310410"/>
              <a:gd name="connsiteY10022" fmla="*/ 497997 h 5296383"/>
              <a:gd name="connsiteX10023" fmla="*/ 6391947 w 9310410"/>
              <a:gd name="connsiteY10023" fmla="*/ 481217 h 5296383"/>
              <a:gd name="connsiteX10024" fmla="*/ 6381759 w 9310410"/>
              <a:gd name="connsiteY10024" fmla="*/ 472827 h 5296383"/>
              <a:gd name="connsiteX10025" fmla="*/ 6370373 w 9310410"/>
              <a:gd name="connsiteY10025" fmla="*/ 468033 h 5296383"/>
              <a:gd name="connsiteX10026" fmla="*/ 6355990 w 9310410"/>
              <a:gd name="connsiteY10026" fmla="*/ 465037 h 5296383"/>
              <a:gd name="connsiteX10027" fmla="*/ 6345803 w 9310410"/>
              <a:gd name="connsiteY10027" fmla="*/ 469232 h 5296383"/>
              <a:gd name="connsiteX10028" fmla="*/ 6355391 w 9310410"/>
              <a:gd name="connsiteY10028" fmla="*/ 473426 h 5296383"/>
              <a:gd name="connsiteX10029" fmla="*/ 6360785 w 9310410"/>
              <a:gd name="connsiteY10029" fmla="*/ 481816 h 5296383"/>
              <a:gd name="connsiteX10030" fmla="*/ 6356590 w 9310410"/>
              <a:gd name="connsiteY10030" fmla="*/ 487210 h 5296383"/>
              <a:gd name="connsiteX10031" fmla="*/ 6336215 w 9310410"/>
              <a:gd name="connsiteY10031" fmla="*/ 493202 h 5296383"/>
              <a:gd name="connsiteX10032" fmla="*/ 6330821 w 9310410"/>
              <a:gd name="connsiteY10032" fmla="*/ 489008 h 5296383"/>
              <a:gd name="connsiteX10033" fmla="*/ 6317637 w 9310410"/>
              <a:gd name="connsiteY10033" fmla="*/ 474625 h 5296383"/>
              <a:gd name="connsiteX10034" fmla="*/ 6291868 w 9310410"/>
              <a:gd name="connsiteY10034" fmla="*/ 474625 h 5296383"/>
              <a:gd name="connsiteX10035" fmla="*/ 6287074 w 9310410"/>
              <a:gd name="connsiteY10035" fmla="*/ 484813 h 5296383"/>
              <a:gd name="connsiteX10036" fmla="*/ 6279883 w 9310410"/>
              <a:gd name="connsiteY10036" fmla="*/ 489008 h 5296383"/>
              <a:gd name="connsiteX10037" fmla="*/ 6275688 w 9310410"/>
              <a:gd name="connsiteY10037" fmla="*/ 483614 h 5296383"/>
              <a:gd name="connsiteX10038" fmla="*/ 6267897 w 9310410"/>
              <a:gd name="connsiteY10038" fmla="*/ 468632 h 5296383"/>
              <a:gd name="connsiteX10039" fmla="*/ 6248721 w 9310410"/>
              <a:gd name="connsiteY10039" fmla="*/ 469232 h 5296383"/>
              <a:gd name="connsiteX10040" fmla="*/ 6230143 w 9310410"/>
              <a:gd name="connsiteY10040" fmla="*/ 489008 h 5296383"/>
              <a:gd name="connsiteX10041" fmla="*/ 6223551 w 9310410"/>
              <a:gd name="connsiteY10041" fmla="*/ 503989 h 5296383"/>
              <a:gd name="connsiteX10042" fmla="*/ 6217558 w 9310410"/>
              <a:gd name="connsiteY10042" fmla="*/ 514177 h 5296383"/>
              <a:gd name="connsiteX10043" fmla="*/ 6219955 w 9310410"/>
              <a:gd name="connsiteY10043" fmla="*/ 527361 h 5296383"/>
              <a:gd name="connsiteX10044" fmla="*/ 6236735 w 9310410"/>
              <a:gd name="connsiteY10044" fmla="*/ 523166 h 5296383"/>
              <a:gd name="connsiteX10045" fmla="*/ 6237334 w 9310410"/>
              <a:gd name="connsiteY10045" fmla="*/ 530357 h 5296383"/>
              <a:gd name="connsiteX10046" fmla="*/ 6257110 w 9310410"/>
              <a:gd name="connsiteY10046" fmla="*/ 524365 h 5296383"/>
              <a:gd name="connsiteX10047" fmla="*/ 6274489 w 9310410"/>
              <a:gd name="connsiteY10047" fmla="*/ 520170 h 5296383"/>
              <a:gd name="connsiteX10048" fmla="*/ 6286475 w 9310410"/>
              <a:gd name="connsiteY10048" fmla="*/ 521368 h 5296383"/>
              <a:gd name="connsiteX10049" fmla="*/ 6279284 w 9310410"/>
              <a:gd name="connsiteY10049" fmla="*/ 525563 h 5296383"/>
              <a:gd name="connsiteX10050" fmla="*/ 6276287 w 9310410"/>
              <a:gd name="connsiteY10050" fmla="*/ 529758 h 5296383"/>
              <a:gd name="connsiteX10051" fmla="*/ 6275088 w 9310410"/>
              <a:gd name="connsiteY10051" fmla="*/ 533953 h 5296383"/>
              <a:gd name="connsiteX10052" fmla="*/ 6260706 w 9310410"/>
              <a:gd name="connsiteY10052" fmla="*/ 532755 h 5296383"/>
              <a:gd name="connsiteX10053" fmla="*/ 6247522 w 9310410"/>
              <a:gd name="connsiteY10053" fmla="*/ 538148 h 5296383"/>
              <a:gd name="connsiteX10054" fmla="*/ 6248721 w 9310410"/>
              <a:gd name="connsiteY10054" fmla="*/ 548935 h 5296383"/>
              <a:gd name="connsiteX10055" fmla="*/ 6268496 w 9310410"/>
              <a:gd name="connsiteY10055" fmla="*/ 553729 h 5296383"/>
              <a:gd name="connsiteX10056" fmla="*/ 6276886 w 9310410"/>
              <a:gd name="connsiteY10056" fmla="*/ 550733 h 5296383"/>
              <a:gd name="connsiteX10057" fmla="*/ 6296063 w 9310410"/>
              <a:gd name="connsiteY10057" fmla="*/ 550134 h 5296383"/>
              <a:gd name="connsiteX10058" fmla="*/ 6308048 w 9310410"/>
              <a:gd name="connsiteY10058" fmla="*/ 546538 h 5296383"/>
              <a:gd name="connsiteX10059" fmla="*/ 6314041 w 9310410"/>
              <a:gd name="connsiteY10059" fmla="*/ 545339 h 5296383"/>
              <a:gd name="connsiteX10060" fmla="*/ 6324828 w 9310410"/>
              <a:gd name="connsiteY10060" fmla="*/ 545339 h 5296383"/>
              <a:gd name="connsiteX10061" fmla="*/ 6345204 w 9310410"/>
              <a:gd name="connsiteY10061" fmla="*/ 545339 h 5296383"/>
              <a:gd name="connsiteX10062" fmla="*/ 6354792 w 9310410"/>
              <a:gd name="connsiteY10062" fmla="*/ 541744 h 5296383"/>
              <a:gd name="connsiteX10063" fmla="*/ 6366778 w 9310410"/>
              <a:gd name="connsiteY10063" fmla="*/ 544141 h 5296383"/>
              <a:gd name="connsiteX10064" fmla="*/ 6378763 w 9310410"/>
              <a:gd name="connsiteY10064" fmla="*/ 546538 h 5296383"/>
              <a:gd name="connsiteX10065" fmla="*/ 6382958 w 9310410"/>
              <a:gd name="connsiteY10065" fmla="*/ 550733 h 5296383"/>
              <a:gd name="connsiteX10066" fmla="*/ 6375767 w 9310410"/>
              <a:gd name="connsiteY10066" fmla="*/ 556726 h 5296383"/>
              <a:gd name="connsiteX10067" fmla="*/ 6366778 w 9310410"/>
              <a:gd name="connsiteY10067" fmla="*/ 560321 h 5296383"/>
              <a:gd name="connsiteX10068" fmla="*/ 6344005 w 9310410"/>
              <a:gd name="connsiteY10068" fmla="*/ 560920 h 5296383"/>
              <a:gd name="connsiteX10069" fmla="*/ 6326626 w 9310410"/>
              <a:gd name="connsiteY10069" fmla="*/ 565115 h 5296383"/>
              <a:gd name="connsiteX10070" fmla="*/ 6313442 w 9310410"/>
              <a:gd name="connsiteY10070" fmla="*/ 567512 h 5296383"/>
              <a:gd name="connsiteX10071" fmla="*/ 6306850 w 9310410"/>
              <a:gd name="connsiteY10071" fmla="*/ 568711 h 5296383"/>
              <a:gd name="connsiteX10072" fmla="*/ 6294266 w 9310410"/>
              <a:gd name="connsiteY10072" fmla="*/ 573505 h 5296383"/>
              <a:gd name="connsiteX10073" fmla="*/ 6302056 w 9310410"/>
              <a:gd name="connsiteY10073" fmla="*/ 585491 h 5296383"/>
              <a:gd name="connsiteX10074" fmla="*/ 6309247 w 9310410"/>
              <a:gd name="connsiteY10074" fmla="*/ 589686 h 5296383"/>
              <a:gd name="connsiteX10075" fmla="*/ 6326626 w 9310410"/>
              <a:gd name="connsiteY10075" fmla="*/ 592083 h 5296383"/>
              <a:gd name="connsiteX10076" fmla="*/ 6336215 w 9310410"/>
              <a:gd name="connsiteY10076" fmla="*/ 592682 h 5296383"/>
              <a:gd name="connsiteX10077" fmla="*/ 6352994 w 9310410"/>
              <a:gd name="connsiteY10077" fmla="*/ 590285 h 5296383"/>
              <a:gd name="connsiteX10078" fmla="*/ 6376965 w 9310410"/>
              <a:gd name="connsiteY10078" fmla="*/ 598075 h 5296383"/>
              <a:gd name="connsiteX10079" fmla="*/ 6384157 w 9310410"/>
              <a:gd name="connsiteY10079" fmla="*/ 608263 h 5296383"/>
              <a:gd name="connsiteX10080" fmla="*/ 6390149 w 9310410"/>
              <a:gd name="connsiteY10080" fmla="*/ 612458 h 5296383"/>
              <a:gd name="connsiteX10081" fmla="*/ 6397939 w 9310410"/>
              <a:gd name="connsiteY10081" fmla="*/ 613657 h 5296383"/>
              <a:gd name="connsiteX10082" fmla="*/ 6415918 w 9310410"/>
              <a:gd name="connsiteY10082" fmla="*/ 607664 h 5296383"/>
              <a:gd name="connsiteX10083" fmla="*/ 6421311 w 9310410"/>
              <a:gd name="connsiteY10083" fmla="*/ 605866 h 5296383"/>
              <a:gd name="connsiteX10084" fmla="*/ 6438091 w 9310410"/>
              <a:gd name="connsiteY10084" fmla="*/ 597476 h 5296383"/>
              <a:gd name="connsiteX10085" fmla="*/ 6459066 w 9310410"/>
              <a:gd name="connsiteY10085" fmla="*/ 587888 h 5296383"/>
              <a:gd name="connsiteX10086" fmla="*/ 6471051 w 9310410"/>
              <a:gd name="connsiteY10086" fmla="*/ 583693 h 5296383"/>
              <a:gd name="connsiteX10087" fmla="*/ 6492026 w 9310410"/>
              <a:gd name="connsiteY10087" fmla="*/ 570509 h 5296383"/>
              <a:gd name="connsiteX10088" fmla="*/ 6497420 w 9310410"/>
              <a:gd name="connsiteY10088" fmla="*/ 563318 h 5296383"/>
              <a:gd name="connsiteX10089" fmla="*/ 6504611 w 9310410"/>
              <a:gd name="connsiteY10089" fmla="*/ 566913 h 5296383"/>
              <a:gd name="connsiteX10090" fmla="*/ 6521390 w 9310410"/>
              <a:gd name="connsiteY10090" fmla="*/ 569910 h 5296383"/>
              <a:gd name="connsiteX10091" fmla="*/ 6530979 w 9310410"/>
              <a:gd name="connsiteY10091" fmla="*/ 572307 h 5296383"/>
              <a:gd name="connsiteX10092" fmla="*/ 6545361 w 9310410"/>
              <a:gd name="connsiteY10092" fmla="*/ 572906 h 5296383"/>
              <a:gd name="connsiteX10093" fmla="*/ 6551953 w 9310410"/>
              <a:gd name="connsiteY10093" fmla="*/ 572906 h 5296383"/>
              <a:gd name="connsiteX10094" fmla="*/ 6580718 w 9310410"/>
              <a:gd name="connsiteY10094" fmla="*/ 564516 h 5296383"/>
              <a:gd name="connsiteX10095" fmla="*/ 6567534 w 9310410"/>
              <a:gd name="connsiteY10095" fmla="*/ 547137 h 5296383"/>
              <a:gd name="connsiteX10096" fmla="*/ 6559144 w 9310410"/>
              <a:gd name="connsiteY10096" fmla="*/ 549534 h 5296383"/>
              <a:gd name="connsiteX10097" fmla="*/ 6551953 w 9310410"/>
              <a:gd name="connsiteY10097" fmla="*/ 544141 h 5296383"/>
              <a:gd name="connsiteX10098" fmla="*/ 6565736 w 9310410"/>
              <a:gd name="connsiteY10098" fmla="*/ 535751 h 5296383"/>
              <a:gd name="connsiteX10099" fmla="*/ 7018188 w 9310410"/>
              <a:gd name="connsiteY10099" fmla="*/ 678977 h 5296383"/>
              <a:gd name="connsiteX10100" fmla="*/ 7034968 w 9310410"/>
              <a:gd name="connsiteY10100" fmla="*/ 686768 h 5296383"/>
              <a:gd name="connsiteX10101" fmla="*/ 7047553 w 9310410"/>
              <a:gd name="connsiteY10101" fmla="*/ 685569 h 5296383"/>
              <a:gd name="connsiteX10102" fmla="*/ 7051748 w 9310410"/>
              <a:gd name="connsiteY10102" fmla="*/ 674783 h 5296383"/>
              <a:gd name="connsiteX10103" fmla="*/ 7057141 w 9310410"/>
              <a:gd name="connsiteY10103" fmla="*/ 652609 h 5296383"/>
              <a:gd name="connsiteX10104" fmla="*/ 7063733 w 9310410"/>
              <a:gd name="connsiteY10104" fmla="*/ 652010 h 5296383"/>
              <a:gd name="connsiteX10105" fmla="*/ 7074520 w 9310410"/>
              <a:gd name="connsiteY10105" fmla="*/ 654407 h 5296383"/>
              <a:gd name="connsiteX10106" fmla="*/ 7082910 w 9310410"/>
              <a:gd name="connsiteY10106" fmla="*/ 655606 h 5296383"/>
              <a:gd name="connsiteX10107" fmla="*/ 7109877 w 9310410"/>
              <a:gd name="connsiteY10107" fmla="*/ 660999 h 5296383"/>
              <a:gd name="connsiteX10108" fmla="*/ 7121863 w 9310410"/>
              <a:gd name="connsiteY10108" fmla="*/ 662797 h 5296383"/>
              <a:gd name="connsiteX10109" fmla="*/ 7123061 w 9310410"/>
              <a:gd name="connsiteY10109" fmla="*/ 652010 h 5296383"/>
              <a:gd name="connsiteX10110" fmla="*/ 7114672 w 9310410"/>
              <a:gd name="connsiteY10110" fmla="*/ 640025 h 5296383"/>
              <a:gd name="connsiteX10111" fmla="*/ 7107480 w 9310410"/>
              <a:gd name="connsiteY10111" fmla="*/ 640624 h 5296383"/>
              <a:gd name="connsiteX10112" fmla="*/ 7103285 w 9310410"/>
              <a:gd name="connsiteY10112" fmla="*/ 643021 h 5296383"/>
              <a:gd name="connsiteX10113" fmla="*/ 7093097 w 9310410"/>
              <a:gd name="connsiteY10113" fmla="*/ 643620 h 5296383"/>
              <a:gd name="connsiteX10114" fmla="*/ 7089502 w 9310410"/>
              <a:gd name="connsiteY10114" fmla="*/ 641223 h 5296383"/>
              <a:gd name="connsiteX10115" fmla="*/ 7082311 w 9310410"/>
              <a:gd name="connsiteY10115" fmla="*/ 632234 h 5296383"/>
              <a:gd name="connsiteX10116" fmla="*/ 7057141 w 9310410"/>
              <a:gd name="connsiteY10116" fmla="*/ 625043 h 5296383"/>
              <a:gd name="connsiteX10117" fmla="*/ 7035567 w 9310410"/>
              <a:gd name="connsiteY10117" fmla="*/ 622646 h 5296383"/>
              <a:gd name="connsiteX10118" fmla="*/ 7016990 w 9310410"/>
              <a:gd name="connsiteY10118" fmla="*/ 613657 h 5296383"/>
              <a:gd name="connsiteX10119" fmla="*/ 7003806 w 9310410"/>
              <a:gd name="connsiteY10119" fmla="*/ 614256 h 5296383"/>
              <a:gd name="connsiteX10120" fmla="*/ 6996015 w 9310410"/>
              <a:gd name="connsiteY10120" fmla="*/ 616653 h 5296383"/>
              <a:gd name="connsiteX10121" fmla="*/ 6991821 w 9310410"/>
              <a:gd name="connsiteY10121" fmla="*/ 619050 h 5296383"/>
              <a:gd name="connsiteX10122" fmla="*/ 6986427 w 9310410"/>
              <a:gd name="connsiteY10122" fmla="*/ 616653 h 5296383"/>
              <a:gd name="connsiteX10123" fmla="*/ 6981033 w 9310410"/>
              <a:gd name="connsiteY10123" fmla="*/ 611859 h 5296383"/>
              <a:gd name="connsiteX10124" fmla="*/ 6966051 w 9310410"/>
              <a:gd name="connsiteY10124" fmla="*/ 599873 h 5296383"/>
              <a:gd name="connsiteX10125" fmla="*/ 6963055 w 9310410"/>
              <a:gd name="connsiteY10125" fmla="*/ 604068 h 5296383"/>
              <a:gd name="connsiteX10126" fmla="*/ 6968449 w 9310410"/>
              <a:gd name="connsiteY10126" fmla="*/ 615454 h 5296383"/>
              <a:gd name="connsiteX10127" fmla="*/ 6978636 w 9310410"/>
              <a:gd name="connsiteY10127" fmla="*/ 633433 h 5296383"/>
              <a:gd name="connsiteX10128" fmla="*/ 6987625 w 9310410"/>
              <a:gd name="connsiteY10128" fmla="*/ 642422 h 5296383"/>
              <a:gd name="connsiteX10129" fmla="*/ 7003806 w 9310410"/>
              <a:gd name="connsiteY10129" fmla="*/ 657404 h 5296383"/>
              <a:gd name="connsiteX10130" fmla="*/ 7008001 w 9310410"/>
              <a:gd name="connsiteY10130" fmla="*/ 666992 h 5296383"/>
              <a:gd name="connsiteX10131" fmla="*/ 7018188 w 9310410"/>
              <a:gd name="connsiteY10131" fmla="*/ 678977 h 5296383"/>
              <a:gd name="connsiteX10132" fmla="*/ 6665216 w 9310410"/>
              <a:gd name="connsiteY10132" fmla="*/ 335593 h 5296383"/>
              <a:gd name="connsiteX10133" fmla="*/ 6681396 w 9310410"/>
              <a:gd name="connsiteY10133" fmla="*/ 343983 h 5296383"/>
              <a:gd name="connsiteX10134" fmla="*/ 6694580 w 9310410"/>
              <a:gd name="connsiteY10134" fmla="*/ 340388 h 5296383"/>
              <a:gd name="connsiteX10135" fmla="*/ 6746717 w 9310410"/>
              <a:gd name="connsiteY10135" fmla="*/ 335593 h 5296383"/>
              <a:gd name="connsiteX10136" fmla="*/ 6743122 w 9310410"/>
              <a:gd name="connsiteY10136" fmla="*/ 326604 h 5296383"/>
              <a:gd name="connsiteX10137" fmla="*/ 6746717 w 9310410"/>
              <a:gd name="connsiteY10137" fmla="*/ 323608 h 5296383"/>
              <a:gd name="connsiteX10138" fmla="*/ 6752710 w 9310410"/>
              <a:gd name="connsiteY10138" fmla="*/ 327204 h 5296383"/>
              <a:gd name="connsiteX10139" fmla="*/ 6764096 w 9310410"/>
              <a:gd name="connsiteY10139" fmla="*/ 327803 h 5296383"/>
              <a:gd name="connsiteX10140" fmla="*/ 6774284 w 9310410"/>
              <a:gd name="connsiteY10140" fmla="*/ 326005 h 5296383"/>
              <a:gd name="connsiteX10141" fmla="*/ 6789266 w 9310410"/>
              <a:gd name="connsiteY10141" fmla="*/ 323608 h 5296383"/>
              <a:gd name="connsiteX10142" fmla="*/ 6801251 w 9310410"/>
              <a:gd name="connsiteY10142" fmla="*/ 321211 h 5296383"/>
              <a:gd name="connsiteX10143" fmla="*/ 6799453 w 9310410"/>
              <a:gd name="connsiteY10143" fmla="*/ 311622 h 5296383"/>
              <a:gd name="connsiteX10144" fmla="*/ 6801251 w 9310410"/>
              <a:gd name="connsiteY10144" fmla="*/ 306828 h 5296383"/>
              <a:gd name="connsiteX10145" fmla="*/ 6801850 w 9310410"/>
              <a:gd name="connsiteY10145" fmla="*/ 302034 h 5296383"/>
              <a:gd name="connsiteX10146" fmla="*/ 6794060 w 9310410"/>
              <a:gd name="connsiteY10146" fmla="*/ 299637 h 5296383"/>
              <a:gd name="connsiteX10147" fmla="*/ 6789865 w 9310410"/>
              <a:gd name="connsiteY10147" fmla="*/ 292446 h 5296383"/>
              <a:gd name="connsiteX10148" fmla="*/ 6777280 w 9310410"/>
              <a:gd name="connsiteY10148" fmla="*/ 287052 h 5296383"/>
              <a:gd name="connsiteX10149" fmla="*/ 6747316 w 9310410"/>
              <a:gd name="connsiteY10149" fmla="*/ 287652 h 5296383"/>
              <a:gd name="connsiteX10150" fmla="*/ 6723346 w 9310410"/>
              <a:gd name="connsiteY10150" fmla="*/ 292446 h 5296383"/>
              <a:gd name="connsiteX10151" fmla="*/ 6711360 w 9310410"/>
              <a:gd name="connsiteY10151" fmla="*/ 293644 h 5296383"/>
              <a:gd name="connsiteX10152" fmla="*/ 6704169 w 9310410"/>
              <a:gd name="connsiteY10152" fmla="*/ 296641 h 5296383"/>
              <a:gd name="connsiteX10153" fmla="*/ 6696378 w 9310410"/>
              <a:gd name="connsiteY10153" fmla="*/ 302034 h 5296383"/>
              <a:gd name="connsiteX10154" fmla="*/ 6671808 w 9310410"/>
              <a:gd name="connsiteY10154" fmla="*/ 309225 h 5296383"/>
              <a:gd name="connsiteX10155" fmla="*/ 6655028 w 9310410"/>
              <a:gd name="connsiteY10155" fmla="*/ 310424 h 5296383"/>
              <a:gd name="connsiteX10156" fmla="*/ 6641245 w 9310410"/>
              <a:gd name="connsiteY10156" fmla="*/ 310424 h 5296383"/>
              <a:gd name="connsiteX10157" fmla="*/ 6639447 w 9310410"/>
              <a:gd name="connsiteY10157" fmla="*/ 315218 h 5296383"/>
              <a:gd name="connsiteX10158" fmla="*/ 6632256 w 9310410"/>
              <a:gd name="connsiteY10158" fmla="*/ 315218 h 5296383"/>
              <a:gd name="connsiteX10159" fmla="*/ 6619671 w 9310410"/>
              <a:gd name="connsiteY10159" fmla="*/ 314020 h 5296383"/>
              <a:gd name="connsiteX10160" fmla="*/ 6604689 w 9310410"/>
              <a:gd name="connsiteY10160" fmla="*/ 318214 h 5296383"/>
              <a:gd name="connsiteX10161" fmla="*/ 6600494 w 9310410"/>
              <a:gd name="connsiteY10161" fmla="*/ 316417 h 5296383"/>
              <a:gd name="connsiteX10162" fmla="*/ 6593303 w 9310410"/>
              <a:gd name="connsiteY10162" fmla="*/ 309225 h 5296383"/>
              <a:gd name="connsiteX10163" fmla="*/ 6587910 w 9310410"/>
              <a:gd name="connsiteY10163" fmla="*/ 303832 h 5296383"/>
              <a:gd name="connsiteX10164" fmla="*/ 6605289 w 9310410"/>
              <a:gd name="connsiteY10164" fmla="*/ 300836 h 5296383"/>
              <a:gd name="connsiteX10165" fmla="*/ 6597498 w 9310410"/>
              <a:gd name="connsiteY10165" fmla="*/ 296641 h 5296383"/>
              <a:gd name="connsiteX10166" fmla="*/ 6587910 w 9310410"/>
              <a:gd name="connsiteY10166" fmla="*/ 298438 h 5296383"/>
              <a:gd name="connsiteX10167" fmla="*/ 6582516 w 9310410"/>
              <a:gd name="connsiteY10167" fmla="*/ 294843 h 5296383"/>
              <a:gd name="connsiteX10168" fmla="*/ 6569332 w 9310410"/>
              <a:gd name="connsiteY10168" fmla="*/ 293644 h 5296383"/>
              <a:gd name="connsiteX10169" fmla="*/ 6555549 w 9310410"/>
              <a:gd name="connsiteY10169" fmla="*/ 297240 h 5296383"/>
              <a:gd name="connsiteX10170" fmla="*/ 6544762 w 9310410"/>
              <a:gd name="connsiteY10170" fmla="*/ 301435 h 5296383"/>
              <a:gd name="connsiteX10171" fmla="*/ 6536372 w 9310410"/>
              <a:gd name="connsiteY10171" fmla="*/ 303832 h 5296383"/>
              <a:gd name="connsiteX10172" fmla="*/ 6524387 w 9310410"/>
              <a:gd name="connsiteY10172" fmla="*/ 302034 h 5296383"/>
              <a:gd name="connsiteX10173" fmla="*/ 6492026 w 9310410"/>
              <a:gd name="connsiteY10173" fmla="*/ 293644 h 5296383"/>
              <a:gd name="connsiteX10174" fmla="*/ 6481239 w 9310410"/>
              <a:gd name="connsiteY10174" fmla="*/ 297839 h 5296383"/>
              <a:gd name="connsiteX10175" fmla="*/ 6477643 w 9310410"/>
              <a:gd name="connsiteY10175" fmla="*/ 302034 h 5296383"/>
              <a:gd name="connsiteX10176" fmla="*/ 6481838 w 9310410"/>
              <a:gd name="connsiteY10176" fmla="*/ 309225 h 5296383"/>
              <a:gd name="connsiteX10177" fmla="*/ 6492026 w 9310410"/>
              <a:gd name="connsiteY10177" fmla="*/ 312222 h 5296383"/>
              <a:gd name="connsiteX10178" fmla="*/ 6520791 w 9310410"/>
              <a:gd name="connsiteY10178" fmla="*/ 317016 h 5296383"/>
              <a:gd name="connsiteX10179" fmla="*/ 6538170 w 9310410"/>
              <a:gd name="connsiteY10179" fmla="*/ 312821 h 5296383"/>
              <a:gd name="connsiteX10180" fmla="*/ 6548358 w 9310410"/>
              <a:gd name="connsiteY10180" fmla="*/ 314619 h 5296383"/>
              <a:gd name="connsiteX10181" fmla="*/ 6561542 w 9310410"/>
              <a:gd name="connsiteY10181" fmla="*/ 312222 h 5296383"/>
              <a:gd name="connsiteX10182" fmla="*/ 6574725 w 9310410"/>
              <a:gd name="connsiteY10182" fmla="*/ 315218 h 5296383"/>
              <a:gd name="connsiteX10183" fmla="*/ 6581318 w 9310410"/>
              <a:gd name="connsiteY10183" fmla="*/ 320012 h 5296383"/>
              <a:gd name="connsiteX10184" fmla="*/ 6585512 w 9310410"/>
              <a:gd name="connsiteY10184" fmla="*/ 324806 h 5296383"/>
              <a:gd name="connsiteX10185" fmla="*/ 6596300 w 9310410"/>
              <a:gd name="connsiteY10185" fmla="*/ 334994 h 5296383"/>
              <a:gd name="connsiteX10186" fmla="*/ 6595700 w 9310410"/>
              <a:gd name="connsiteY10186" fmla="*/ 339788 h 5296383"/>
              <a:gd name="connsiteX10187" fmla="*/ 6602892 w 9310410"/>
              <a:gd name="connsiteY10187" fmla="*/ 349976 h 5296383"/>
              <a:gd name="connsiteX10188" fmla="*/ 6629859 w 9310410"/>
              <a:gd name="connsiteY10188" fmla="*/ 352373 h 5296383"/>
              <a:gd name="connsiteX10189" fmla="*/ 6646638 w 9310410"/>
              <a:gd name="connsiteY10189" fmla="*/ 350575 h 5296383"/>
              <a:gd name="connsiteX10190" fmla="*/ 6653830 w 9310410"/>
              <a:gd name="connsiteY10190" fmla="*/ 343983 h 5296383"/>
              <a:gd name="connsiteX10191" fmla="*/ 6657425 w 9310410"/>
              <a:gd name="connsiteY10191" fmla="*/ 340987 h 5296383"/>
              <a:gd name="connsiteX10192" fmla="*/ 6661620 w 9310410"/>
              <a:gd name="connsiteY10192" fmla="*/ 337391 h 5296383"/>
              <a:gd name="connsiteX10193" fmla="*/ 6665216 w 9310410"/>
              <a:gd name="connsiteY10193" fmla="*/ 335593 h 5296383"/>
              <a:gd name="connsiteX10194" fmla="*/ 7365767 w 9310410"/>
              <a:gd name="connsiteY10194" fmla="*/ 601671 h 5296383"/>
              <a:gd name="connsiteX10195" fmla="*/ 7375955 w 9310410"/>
              <a:gd name="connsiteY10195" fmla="*/ 607065 h 5296383"/>
              <a:gd name="connsiteX10196" fmla="*/ 7384345 w 9310410"/>
              <a:gd name="connsiteY10196" fmla="*/ 607664 h 5296383"/>
              <a:gd name="connsiteX10197" fmla="*/ 7391536 w 9310410"/>
              <a:gd name="connsiteY10197" fmla="*/ 610061 h 5296383"/>
              <a:gd name="connsiteX10198" fmla="*/ 7396930 w 9310410"/>
              <a:gd name="connsiteY10198" fmla="*/ 608862 h 5296383"/>
              <a:gd name="connsiteX10199" fmla="*/ 7402323 w 9310410"/>
              <a:gd name="connsiteY10199" fmla="*/ 609462 h 5296383"/>
              <a:gd name="connsiteX10200" fmla="*/ 7408316 w 9310410"/>
              <a:gd name="connsiteY10200" fmla="*/ 609462 h 5296383"/>
              <a:gd name="connsiteX10201" fmla="*/ 7417904 w 9310410"/>
              <a:gd name="connsiteY10201" fmla="*/ 608862 h 5296383"/>
              <a:gd name="connsiteX10202" fmla="*/ 7422099 w 9310410"/>
              <a:gd name="connsiteY10202" fmla="*/ 608862 h 5296383"/>
              <a:gd name="connsiteX10203" fmla="*/ 7429290 w 9310410"/>
              <a:gd name="connsiteY10203" fmla="*/ 616653 h 5296383"/>
              <a:gd name="connsiteX10204" fmla="*/ 7438879 w 9310410"/>
              <a:gd name="connsiteY10204" fmla="*/ 616054 h 5296383"/>
              <a:gd name="connsiteX10205" fmla="*/ 7428091 w 9310410"/>
              <a:gd name="connsiteY10205" fmla="*/ 606465 h 5296383"/>
              <a:gd name="connsiteX10206" fmla="*/ 7428091 w 9310410"/>
              <a:gd name="connsiteY10206" fmla="*/ 602270 h 5296383"/>
              <a:gd name="connsiteX10207" fmla="*/ 7433485 w 9310410"/>
              <a:gd name="connsiteY10207" fmla="*/ 601671 h 5296383"/>
              <a:gd name="connsiteX10208" fmla="*/ 7425694 w 9310410"/>
              <a:gd name="connsiteY10208" fmla="*/ 596278 h 5296383"/>
              <a:gd name="connsiteX10209" fmla="*/ 7410712 w 9310410"/>
              <a:gd name="connsiteY10209" fmla="*/ 587289 h 5296383"/>
              <a:gd name="connsiteX10210" fmla="*/ 7414908 w 9310410"/>
              <a:gd name="connsiteY10210" fmla="*/ 588487 h 5296383"/>
              <a:gd name="connsiteX10211" fmla="*/ 7422099 w 9310410"/>
              <a:gd name="connsiteY10211" fmla="*/ 589686 h 5296383"/>
              <a:gd name="connsiteX10212" fmla="*/ 7414908 w 9310410"/>
              <a:gd name="connsiteY10212" fmla="*/ 581895 h 5296383"/>
              <a:gd name="connsiteX10213" fmla="*/ 7404720 w 9310410"/>
              <a:gd name="connsiteY10213" fmla="*/ 573505 h 5296383"/>
              <a:gd name="connsiteX10214" fmla="*/ 7398727 w 9310410"/>
              <a:gd name="connsiteY10214" fmla="*/ 569310 h 5296383"/>
              <a:gd name="connsiteX10215" fmla="*/ 7377153 w 9310410"/>
              <a:gd name="connsiteY10215" fmla="*/ 568711 h 5296383"/>
              <a:gd name="connsiteX10216" fmla="*/ 7372959 w 9310410"/>
              <a:gd name="connsiteY10216" fmla="*/ 559722 h 5296383"/>
              <a:gd name="connsiteX10217" fmla="*/ 7360374 w 9310410"/>
              <a:gd name="connsiteY10217" fmla="*/ 555527 h 5296383"/>
              <a:gd name="connsiteX10218" fmla="*/ 7348988 w 9310410"/>
              <a:gd name="connsiteY10218" fmla="*/ 550134 h 5296383"/>
              <a:gd name="connsiteX10219" fmla="*/ 7345392 w 9310410"/>
              <a:gd name="connsiteY10219" fmla="*/ 550733 h 5296383"/>
              <a:gd name="connsiteX10220" fmla="*/ 7337601 w 9310410"/>
              <a:gd name="connsiteY10220" fmla="*/ 545339 h 5296383"/>
              <a:gd name="connsiteX10221" fmla="*/ 7332208 w 9310410"/>
              <a:gd name="connsiteY10221" fmla="*/ 548935 h 5296383"/>
              <a:gd name="connsiteX10222" fmla="*/ 7326215 w 9310410"/>
              <a:gd name="connsiteY10222" fmla="*/ 549534 h 5296383"/>
              <a:gd name="connsiteX10223" fmla="*/ 7315428 w 9310410"/>
              <a:gd name="connsiteY10223" fmla="*/ 543541 h 5296383"/>
              <a:gd name="connsiteX10224" fmla="*/ 7302244 w 9310410"/>
              <a:gd name="connsiteY10224" fmla="*/ 538148 h 5296383"/>
              <a:gd name="connsiteX10225" fmla="*/ 7287262 w 9310410"/>
              <a:gd name="connsiteY10225" fmla="*/ 536350 h 5296383"/>
              <a:gd name="connsiteX10226" fmla="*/ 7276476 w 9310410"/>
              <a:gd name="connsiteY10226" fmla="*/ 530957 h 5296383"/>
              <a:gd name="connsiteX10227" fmla="*/ 7259097 w 9310410"/>
              <a:gd name="connsiteY10227" fmla="*/ 523166 h 5296383"/>
              <a:gd name="connsiteX10228" fmla="*/ 7256699 w 9310410"/>
              <a:gd name="connsiteY10228" fmla="*/ 520769 h 5296383"/>
              <a:gd name="connsiteX10229" fmla="*/ 7275876 w 9310410"/>
              <a:gd name="connsiteY10229" fmla="*/ 524365 h 5296383"/>
              <a:gd name="connsiteX10230" fmla="*/ 7278273 w 9310410"/>
              <a:gd name="connsiteY10230" fmla="*/ 521968 h 5296383"/>
              <a:gd name="connsiteX10231" fmla="*/ 7272280 w 9310410"/>
              <a:gd name="connsiteY10231" fmla="*/ 516574 h 5296383"/>
              <a:gd name="connsiteX10232" fmla="*/ 7266288 w 9310410"/>
              <a:gd name="connsiteY10232" fmla="*/ 513578 h 5296383"/>
              <a:gd name="connsiteX10233" fmla="*/ 7259097 w 9310410"/>
              <a:gd name="connsiteY10233" fmla="*/ 509383 h 5296383"/>
              <a:gd name="connsiteX10234" fmla="*/ 7272280 w 9310410"/>
              <a:gd name="connsiteY10234" fmla="*/ 506986 h 5296383"/>
              <a:gd name="connsiteX10235" fmla="*/ 7290258 w 9310410"/>
              <a:gd name="connsiteY10235" fmla="*/ 511181 h 5296383"/>
              <a:gd name="connsiteX10236" fmla="*/ 7303443 w 9310410"/>
              <a:gd name="connsiteY10236" fmla="*/ 506387 h 5296383"/>
              <a:gd name="connsiteX10237" fmla="*/ 7307638 w 9310410"/>
              <a:gd name="connsiteY10237" fmla="*/ 509383 h 5296383"/>
              <a:gd name="connsiteX10238" fmla="*/ 7320222 w 9310410"/>
              <a:gd name="connsiteY10238" fmla="*/ 514776 h 5296383"/>
              <a:gd name="connsiteX10239" fmla="*/ 7320821 w 9310410"/>
              <a:gd name="connsiteY10239" fmla="*/ 501592 h 5296383"/>
              <a:gd name="connsiteX10240" fmla="*/ 7325017 w 9310410"/>
              <a:gd name="connsiteY10240" fmla="*/ 499195 h 5296383"/>
              <a:gd name="connsiteX10241" fmla="*/ 7328013 w 9310410"/>
              <a:gd name="connsiteY10241" fmla="*/ 514177 h 5296383"/>
              <a:gd name="connsiteX10242" fmla="*/ 7336403 w 9310410"/>
              <a:gd name="connsiteY10242" fmla="*/ 521968 h 5296383"/>
              <a:gd name="connsiteX10243" fmla="*/ 7344792 w 9310410"/>
              <a:gd name="connsiteY10243" fmla="*/ 527361 h 5296383"/>
              <a:gd name="connsiteX10244" fmla="*/ 7351984 w 9310410"/>
              <a:gd name="connsiteY10244" fmla="*/ 529758 h 5296383"/>
              <a:gd name="connsiteX10245" fmla="*/ 7369962 w 9310410"/>
              <a:gd name="connsiteY10245" fmla="*/ 535751 h 5296383"/>
              <a:gd name="connsiteX10246" fmla="*/ 7374756 w 9310410"/>
              <a:gd name="connsiteY10246" fmla="*/ 535152 h 5296383"/>
              <a:gd name="connsiteX10247" fmla="*/ 7380150 w 9310410"/>
              <a:gd name="connsiteY10247" fmla="*/ 536350 h 5296383"/>
              <a:gd name="connsiteX10248" fmla="*/ 7378352 w 9310410"/>
              <a:gd name="connsiteY10248" fmla="*/ 530957 h 5296383"/>
              <a:gd name="connsiteX10249" fmla="*/ 7371760 w 9310410"/>
              <a:gd name="connsiteY10249" fmla="*/ 523765 h 5296383"/>
              <a:gd name="connsiteX10250" fmla="*/ 7361572 w 9310410"/>
              <a:gd name="connsiteY10250" fmla="*/ 513578 h 5296383"/>
              <a:gd name="connsiteX10251" fmla="*/ 7362171 w 9310410"/>
              <a:gd name="connsiteY10251" fmla="*/ 509383 h 5296383"/>
              <a:gd name="connsiteX10252" fmla="*/ 7374157 w 9310410"/>
              <a:gd name="connsiteY10252" fmla="*/ 513578 h 5296383"/>
              <a:gd name="connsiteX10253" fmla="*/ 7375356 w 9310410"/>
              <a:gd name="connsiteY10253" fmla="*/ 509982 h 5296383"/>
              <a:gd name="connsiteX10254" fmla="*/ 7372359 w 9310410"/>
              <a:gd name="connsiteY10254" fmla="*/ 502192 h 5296383"/>
              <a:gd name="connsiteX10255" fmla="*/ 7371160 w 9310410"/>
              <a:gd name="connsiteY10255" fmla="*/ 497997 h 5296383"/>
              <a:gd name="connsiteX10256" fmla="*/ 7366966 w 9310410"/>
              <a:gd name="connsiteY10256" fmla="*/ 489607 h 5296383"/>
              <a:gd name="connsiteX10257" fmla="*/ 7374157 w 9310410"/>
              <a:gd name="connsiteY10257" fmla="*/ 489607 h 5296383"/>
              <a:gd name="connsiteX10258" fmla="*/ 7370561 w 9310410"/>
              <a:gd name="connsiteY10258" fmla="*/ 478221 h 5296383"/>
              <a:gd name="connsiteX10259" fmla="*/ 7363969 w 9310410"/>
              <a:gd name="connsiteY10259" fmla="*/ 474625 h 5296383"/>
              <a:gd name="connsiteX10260" fmla="*/ 7350785 w 9310410"/>
              <a:gd name="connsiteY10260" fmla="*/ 472228 h 5296383"/>
              <a:gd name="connsiteX10261" fmla="*/ 7329810 w 9310410"/>
              <a:gd name="connsiteY10261" fmla="*/ 486011 h 5296383"/>
              <a:gd name="connsiteX10262" fmla="*/ 7324418 w 9310410"/>
              <a:gd name="connsiteY10262" fmla="*/ 471629 h 5296383"/>
              <a:gd name="connsiteX10263" fmla="*/ 7318425 w 9310410"/>
              <a:gd name="connsiteY10263" fmla="*/ 474026 h 5296383"/>
              <a:gd name="connsiteX10264" fmla="*/ 7314829 w 9310410"/>
              <a:gd name="connsiteY10264" fmla="*/ 477022 h 5296383"/>
              <a:gd name="connsiteX10265" fmla="*/ 7305839 w 9310410"/>
              <a:gd name="connsiteY10265" fmla="*/ 478221 h 5296383"/>
              <a:gd name="connsiteX10266" fmla="*/ 7300447 w 9310410"/>
              <a:gd name="connsiteY10266" fmla="*/ 478820 h 5296383"/>
              <a:gd name="connsiteX10267" fmla="*/ 7292057 w 9310410"/>
              <a:gd name="connsiteY10267" fmla="*/ 460842 h 5296383"/>
              <a:gd name="connsiteX10268" fmla="*/ 7274678 w 9310410"/>
              <a:gd name="connsiteY10268" fmla="*/ 459044 h 5296383"/>
              <a:gd name="connsiteX10269" fmla="*/ 7268685 w 9310410"/>
              <a:gd name="connsiteY10269" fmla="*/ 456047 h 5296383"/>
              <a:gd name="connsiteX10270" fmla="*/ 7264490 w 9310410"/>
              <a:gd name="connsiteY10270" fmla="*/ 451253 h 5296383"/>
              <a:gd name="connsiteX10271" fmla="*/ 7267487 w 9310410"/>
              <a:gd name="connsiteY10271" fmla="*/ 461441 h 5296383"/>
              <a:gd name="connsiteX10272" fmla="*/ 7254302 w 9310410"/>
              <a:gd name="connsiteY10272" fmla="*/ 461441 h 5296383"/>
              <a:gd name="connsiteX10273" fmla="*/ 7249508 w 9310410"/>
              <a:gd name="connsiteY10273" fmla="*/ 463838 h 5296383"/>
              <a:gd name="connsiteX10274" fmla="*/ 7242916 w 9310410"/>
              <a:gd name="connsiteY10274" fmla="*/ 462040 h 5296383"/>
              <a:gd name="connsiteX10275" fmla="*/ 7234526 w 9310410"/>
              <a:gd name="connsiteY10275" fmla="*/ 454849 h 5296383"/>
              <a:gd name="connsiteX10276" fmla="*/ 7206959 w 9310410"/>
              <a:gd name="connsiteY10276" fmla="*/ 444661 h 5296383"/>
              <a:gd name="connsiteX10277" fmla="*/ 7179992 w 9310410"/>
              <a:gd name="connsiteY10277" fmla="*/ 445860 h 5296383"/>
              <a:gd name="connsiteX10278" fmla="*/ 7163812 w 9310410"/>
              <a:gd name="connsiteY10278" fmla="*/ 448257 h 5296383"/>
              <a:gd name="connsiteX10279" fmla="*/ 7167407 w 9310410"/>
              <a:gd name="connsiteY10279" fmla="*/ 444062 h 5296383"/>
              <a:gd name="connsiteX10280" fmla="*/ 7177595 w 9310410"/>
              <a:gd name="connsiteY10280" fmla="*/ 439268 h 5296383"/>
              <a:gd name="connsiteX10281" fmla="*/ 7177595 w 9310410"/>
              <a:gd name="connsiteY10281" fmla="*/ 433874 h 5296383"/>
              <a:gd name="connsiteX10282" fmla="*/ 7170404 w 9310410"/>
              <a:gd name="connsiteY10282" fmla="*/ 434474 h 5296383"/>
              <a:gd name="connsiteX10283" fmla="*/ 7163213 w 9310410"/>
              <a:gd name="connsiteY10283" fmla="*/ 429679 h 5296383"/>
              <a:gd name="connsiteX10284" fmla="*/ 7165010 w 9310410"/>
              <a:gd name="connsiteY10284" fmla="*/ 427282 h 5296383"/>
              <a:gd name="connsiteX10285" fmla="*/ 7175198 w 9310410"/>
              <a:gd name="connsiteY10285" fmla="*/ 429679 h 5296383"/>
              <a:gd name="connsiteX10286" fmla="*/ 7184187 w 9310410"/>
              <a:gd name="connsiteY10286" fmla="*/ 427882 h 5296383"/>
              <a:gd name="connsiteX10287" fmla="*/ 7191378 w 9310410"/>
              <a:gd name="connsiteY10287" fmla="*/ 423687 h 5296383"/>
              <a:gd name="connsiteX10288" fmla="*/ 7194375 w 9310410"/>
              <a:gd name="connsiteY10288" fmla="*/ 419492 h 5296383"/>
              <a:gd name="connsiteX10289" fmla="*/ 7182389 w 9310410"/>
              <a:gd name="connsiteY10289" fmla="*/ 417095 h 5296383"/>
              <a:gd name="connsiteX10290" fmla="*/ 7156021 w 9310410"/>
              <a:gd name="connsiteY10290" fmla="*/ 422488 h 5296383"/>
              <a:gd name="connsiteX10291" fmla="*/ 7148830 w 9310410"/>
              <a:gd name="connsiteY10291" fmla="*/ 422488 h 5296383"/>
              <a:gd name="connsiteX10292" fmla="*/ 7133848 w 9310410"/>
              <a:gd name="connsiteY10292" fmla="*/ 418293 h 5296383"/>
              <a:gd name="connsiteX10293" fmla="*/ 7116469 w 9310410"/>
              <a:gd name="connsiteY10293" fmla="*/ 415297 h 5296383"/>
              <a:gd name="connsiteX10294" fmla="*/ 7118866 w 9310410"/>
              <a:gd name="connsiteY10294" fmla="*/ 412900 h 5296383"/>
              <a:gd name="connsiteX10295" fmla="*/ 7132050 w 9310410"/>
              <a:gd name="connsiteY10295" fmla="*/ 412900 h 5296383"/>
              <a:gd name="connsiteX10296" fmla="*/ 7150028 w 9310410"/>
              <a:gd name="connsiteY10296" fmla="*/ 411102 h 5296383"/>
              <a:gd name="connsiteX10297" fmla="*/ 7160216 w 9310410"/>
              <a:gd name="connsiteY10297" fmla="*/ 407506 h 5296383"/>
              <a:gd name="connsiteX10298" fmla="*/ 7158418 w 9310410"/>
              <a:gd name="connsiteY10298" fmla="*/ 400914 h 5296383"/>
              <a:gd name="connsiteX10299" fmla="*/ 7150028 w 9310410"/>
              <a:gd name="connsiteY10299" fmla="*/ 393723 h 5296383"/>
              <a:gd name="connsiteX10300" fmla="*/ 7138043 w 9310410"/>
              <a:gd name="connsiteY10300" fmla="*/ 389528 h 5296383"/>
              <a:gd name="connsiteX10301" fmla="*/ 7127855 w 9310410"/>
              <a:gd name="connsiteY10301" fmla="*/ 401514 h 5296383"/>
              <a:gd name="connsiteX10302" fmla="*/ 7123061 w 9310410"/>
              <a:gd name="connsiteY10302" fmla="*/ 402113 h 5296383"/>
              <a:gd name="connsiteX10303" fmla="*/ 7119465 w 9310410"/>
              <a:gd name="connsiteY10303" fmla="*/ 397918 h 5296383"/>
              <a:gd name="connsiteX10304" fmla="*/ 7108079 w 9310410"/>
              <a:gd name="connsiteY10304" fmla="*/ 408106 h 5296383"/>
              <a:gd name="connsiteX10305" fmla="*/ 7105083 w 9310410"/>
              <a:gd name="connsiteY10305" fmla="*/ 403911 h 5296383"/>
              <a:gd name="connsiteX10306" fmla="*/ 7118866 w 9310410"/>
              <a:gd name="connsiteY10306" fmla="*/ 390727 h 5296383"/>
              <a:gd name="connsiteX10307" fmla="*/ 7124260 w 9310410"/>
              <a:gd name="connsiteY10307" fmla="*/ 384734 h 5296383"/>
              <a:gd name="connsiteX10308" fmla="*/ 7109278 w 9310410"/>
              <a:gd name="connsiteY10308" fmla="*/ 382337 h 5296383"/>
              <a:gd name="connsiteX10309" fmla="*/ 7096094 w 9310410"/>
              <a:gd name="connsiteY10309" fmla="*/ 388330 h 5296383"/>
              <a:gd name="connsiteX10310" fmla="*/ 7085906 w 9310410"/>
              <a:gd name="connsiteY10310" fmla="*/ 398517 h 5296383"/>
              <a:gd name="connsiteX10311" fmla="*/ 7083509 w 9310410"/>
              <a:gd name="connsiteY10311" fmla="*/ 388330 h 5296383"/>
              <a:gd name="connsiteX10312" fmla="*/ 7076917 w 9310410"/>
              <a:gd name="connsiteY10312" fmla="*/ 384734 h 5296383"/>
              <a:gd name="connsiteX10313" fmla="*/ 7072123 w 9310410"/>
              <a:gd name="connsiteY10313" fmla="*/ 391326 h 5296383"/>
              <a:gd name="connsiteX10314" fmla="*/ 7063733 w 9310410"/>
              <a:gd name="connsiteY10314" fmla="*/ 399116 h 5296383"/>
              <a:gd name="connsiteX10315" fmla="*/ 7060737 w 9310410"/>
              <a:gd name="connsiteY10315" fmla="*/ 390127 h 5296383"/>
              <a:gd name="connsiteX10316" fmla="*/ 7067928 w 9310410"/>
              <a:gd name="connsiteY10316" fmla="*/ 381738 h 5296383"/>
              <a:gd name="connsiteX10317" fmla="*/ 7065531 w 9310410"/>
              <a:gd name="connsiteY10317" fmla="*/ 376344 h 5296383"/>
              <a:gd name="connsiteX10318" fmla="*/ 7057141 w 9310410"/>
              <a:gd name="connsiteY10318" fmla="*/ 375146 h 5296383"/>
              <a:gd name="connsiteX10319" fmla="*/ 7032571 w 9310410"/>
              <a:gd name="connsiteY10319" fmla="*/ 372748 h 5296383"/>
              <a:gd name="connsiteX10320" fmla="*/ 7027777 w 9310410"/>
              <a:gd name="connsiteY10320" fmla="*/ 378142 h 5296383"/>
              <a:gd name="connsiteX10321" fmla="*/ 7033170 w 9310410"/>
              <a:gd name="connsiteY10321" fmla="*/ 387131 h 5296383"/>
              <a:gd name="connsiteX10322" fmla="*/ 7021784 w 9310410"/>
              <a:gd name="connsiteY10322" fmla="*/ 390727 h 5296383"/>
              <a:gd name="connsiteX10323" fmla="*/ 7017589 w 9310410"/>
              <a:gd name="connsiteY10323" fmla="*/ 382337 h 5296383"/>
              <a:gd name="connsiteX10324" fmla="*/ 6997213 w 9310410"/>
              <a:gd name="connsiteY10324" fmla="*/ 376943 h 5296383"/>
              <a:gd name="connsiteX10325" fmla="*/ 7000210 w 9310410"/>
              <a:gd name="connsiteY10325" fmla="*/ 390727 h 5296383"/>
              <a:gd name="connsiteX10326" fmla="*/ 6994217 w 9310410"/>
              <a:gd name="connsiteY10326" fmla="*/ 388330 h 5296383"/>
              <a:gd name="connsiteX10327" fmla="*/ 6987026 w 9310410"/>
              <a:gd name="connsiteY10327" fmla="*/ 385932 h 5296383"/>
              <a:gd name="connsiteX10328" fmla="*/ 6985228 w 9310410"/>
              <a:gd name="connsiteY10328" fmla="*/ 380539 h 5296383"/>
              <a:gd name="connsiteX10329" fmla="*/ 6987625 w 9310410"/>
              <a:gd name="connsiteY10329" fmla="*/ 370351 h 5296383"/>
              <a:gd name="connsiteX10330" fmla="*/ 6976839 w 9310410"/>
              <a:gd name="connsiteY10330" fmla="*/ 361961 h 5296383"/>
              <a:gd name="connsiteX10331" fmla="*/ 6969647 w 9310410"/>
              <a:gd name="connsiteY10331" fmla="*/ 366156 h 5296383"/>
              <a:gd name="connsiteX10332" fmla="*/ 6961857 w 9310410"/>
              <a:gd name="connsiteY10332" fmla="*/ 371550 h 5296383"/>
              <a:gd name="connsiteX10333" fmla="*/ 6959460 w 9310410"/>
              <a:gd name="connsiteY10333" fmla="*/ 369153 h 5296383"/>
              <a:gd name="connsiteX10334" fmla="*/ 6971445 w 9310410"/>
              <a:gd name="connsiteY10334" fmla="*/ 361362 h 5296383"/>
              <a:gd name="connsiteX10335" fmla="*/ 6963654 w 9310410"/>
              <a:gd name="connsiteY10335" fmla="*/ 351774 h 5296383"/>
              <a:gd name="connsiteX10336" fmla="*/ 6943879 w 9310410"/>
              <a:gd name="connsiteY10336" fmla="*/ 354171 h 5296383"/>
              <a:gd name="connsiteX10337" fmla="*/ 6920507 w 9310410"/>
              <a:gd name="connsiteY10337" fmla="*/ 357767 h 5296383"/>
              <a:gd name="connsiteX10338" fmla="*/ 6902529 w 9310410"/>
              <a:gd name="connsiteY10338" fmla="*/ 361961 h 5296383"/>
              <a:gd name="connsiteX10339" fmla="*/ 6901929 w 9310410"/>
              <a:gd name="connsiteY10339" fmla="*/ 378142 h 5296383"/>
              <a:gd name="connsiteX10340" fmla="*/ 6910319 w 9310410"/>
              <a:gd name="connsiteY10340" fmla="*/ 385333 h 5296383"/>
              <a:gd name="connsiteX10341" fmla="*/ 6900131 w 9310410"/>
              <a:gd name="connsiteY10341" fmla="*/ 388929 h 5296383"/>
              <a:gd name="connsiteX10342" fmla="*/ 6892940 w 9310410"/>
              <a:gd name="connsiteY10342" fmla="*/ 378142 h 5296383"/>
              <a:gd name="connsiteX10343" fmla="*/ 6877958 w 9310410"/>
              <a:gd name="connsiteY10343" fmla="*/ 379940 h 5296383"/>
              <a:gd name="connsiteX10344" fmla="*/ 6871366 w 9310410"/>
              <a:gd name="connsiteY10344" fmla="*/ 384734 h 5296383"/>
              <a:gd name="connsiteX10345" fmla="*/ 6869568 w 9310410"/>
              <a:gd name="connsiteY10345" fmla="*/ 390127 h 5296383"/>
              <a:gd name="connsiteX10346" fmla="*/ 6868369 w 9310410"/>
              <a:gd name="connsiteY10346" fmla="*/ 397918 h 5296383"/>
              <a:gd name="connsiteX10347" fmla="*/ 6860579 w 9310410"/>
              <a:gd name="connsiteY10347" fmla="*/ 397918 h 5296383"/>
              <a:gd name="connsiteX10348" fmla="*/ 6859980 w 9310410"/>
              <a:gd name="connsiteY10348" fmla="*/ 393124 h 5296383"/>
              <a:gd name="connsiteX10349" fmla="*/ 6862377 w 9310410"/>
              <a:gd name="connsiteY10349" fmla="*/ 390727 h 5296383"/>
              <a:gd name="connsiteX10350" fmla="*/ 6860579 w 9310410"/>
              <a:gd name="connsiteY10350" fmla="*/ 385932 h 5296383"/>
              <a:gd name="connsiteX10351" fmla="*/ 6848594 w 9310410"/>
              <a:gd name="connsiteY10351" fmla="*/ 371550 h 5296383"/>
              <a:gd name="connsiteX10352" fmla="*/ 6831814 w 9310410"/>
              <a:gd name="connsiteY10352" fmla="*/ 358366 h 5296383"/>
              <a:gd name="connsiteX10353" fmla="*/ 6814435 w 9310410"/>
              <a:gd name="connsiteY10353" fmla="*/ 345182 h 5296383"/>
              <a:gd name="connsiteX10354" fmla="*/ 6791663 w 9310410"/>
              <a:gd name="connsiteY10354" fmla="*/ 348777 h 5296383"/>
              <a:gd name="connsiteX10355" fmla="*/ 6783872 w 9310410"/>
              <a:gd name="connsiteY10355" fmla="*/ 354770 h 5296383"/>
              <a:gd name="connsiteX10356" fmla="*/ 6766493 w 9310410"/>
              <a:gd name="connsiteY10356" fmla="*/ 366156 h 5296383"/>
              <a:gd name="connsiteX10357" fmla="*/ 6768291 w 9310410"/>
              <a:gd name="connsiteY10357" fmla="*/ 370351 h 5296383"/>
              <a:gd name="connsiteX10358" fmla="*/ 6780876 w 9310410"/>
              <a:gd name="connsiteY10358" fmla="*/ 369752 h 5296383"/>
              <a:gd name="connsiteX10359" fmla="*/ 6783273 w 9310410"/>
              <a:gd name="connsiteY10359" fmla="*/ 378741 h 5296383"/>
              <a:gd name="connsiteX10360" fmla="*/ 6773685 w 9310410"/>
              <a:gd name="connsiteY10360" fmla="*/ 382936 h 5296383"/>
              <a:gd name="connsiteX10361" fmla="*/ 6765894 w 9310410"/>
              <a:gd name="connsiteY10361" fmla="*/ 386532 h 5296383"/>
              <a:gd name="connsiteX10362" fmla="*/ 6774284 w 9310410"/>
              <a:gd name="connsiteY10362" fmla="*/ 394922 h 5296383"/>
              <a:gd name="connsiteX10363" fmla="*/ 6784471 w 9310410"/>
              <a:gd name="connsiteY10363" fmla="*/ 396120 h 5296383"/>
              <a:gd name="connsiteX10364" fmla="*/ 6801251 w 9310410"/>
              <a:gd name="connsiteY10364" fmla="*/ 399716 h 5296383"/>
              <a:gd name="connsiteX10365" fmla="*/ 6795857 w 9310410"/>
              <a:gd name="connsiteY10365" fmla="*/ 401514 h 5296383"/>
              <a:gd name="connsiteX10366" fmla="*/ 6785071 w 9310410"/>
              <a:gd name="connsiteY10366" fmla="*/ 403911 h 5296383"/>
              <a:gd name="connsiteX10367" fmla="*/ 6794060 w 9310410"/>
              <a:gd name="connsiteY10367" fmla="*/ 417095 h 5296383"/>
              <a:gd name="connsiteX10368" fmla="*/ 6809042 w 9310410"/>
              <a:gd name="connsiteY10368" fmla="*/ 418893 h 5296383"/>
              <a:gd name="connsiteX10369" fmla="*/ 6819229 w 9310410"/>
              <a:gd name="connsiteY10369" fmla="*/ 423087 h 5296383"/>
              <a:gd name="connsiteX10370" fmla="*/ 6823424 w 9310410"/>
              <a:gd name="connsiteY10370" fmla="*/ 429679 h 5296383"/>
              <a:gd name="connsiteX10371" fmla="*/ 6830616 w 9310410"/>
              <a:gd name="connsiteY10371" fmla="*/ 441665 h 5296383"/>
              <a:gd name="connsiteX10372" fmla="*/ 6823424 w 9310410"/>
              <a:gd name="connsiteY10372" fmla="*/ 440466 h 5296383"/>
              <a:gd name="connsiteX10373" fmla="*/ 6803648 w 9310410"/>
              <a:gd name="connsiteY10373" fmla="*/ 442863 h 5296383"/>
              <a:gd name="connsiteX10374" fmla="*/ 6809641 w 9310410"/>
              <a:gd name="connsiteY10374" fmla="*/ 436871 h 5296383"/>
              <a:gd name="connsiteX10375" fmla="*/ 6815035 w 9310410"/>
              <a:gd name="connsiteY10375" fmla="*/ 431477 h 5296383"/>
              <a:gd name="connsiteX10376" fmla="*/ 6804247 w 9310410"/>
              <a:gd name="connsiteY10376" fmla="*/ 426084 h 5296383"/>
              <a:gd name="connsiteX10377" fmla="*/ 6787468 w 9310410"/>
              <a:gd name="connsiteY10377" fmla="*/ 420091 h 5296383"/>
              <a:gd name="connsiteX10378" fmla="*/ 6761100 w 9310410"/>
              <a:gd name="connsiteY10378" fmla="*/ 394922 h 5296383"/>
              <a:gd name="connsiteX10379" fmla="*/ 6750313 w 9310410"/>
              <a:gd name="connsiteY10379" fmla="*/ 378142 h 5296383"/>
              <a:gd name="connsiteX10380" fmla="*/ 6757504 w 9310410"/>
              <a:gd name="connsiteY10380" fmla="*/ 357167 h 5296383"/>
              <a:gd name="connsiteX10381" fmla="*/ 6753908 w 9310410"/>
              <a:gd name="connsiteY10381" fmla="*/ 352972 h 5296383"/>
              <a:gd name="connsiteX10382" fmla="*/ 6745518 w 9310410"/>
              <a:gd name="connsiteY10382" fmla="*/ 354770 h 5296383"/>
              <a:gd name="connsiteX10383" fmla="*/ 6702371 w 9310410"/>
              <a:gd name="connsiteY10383" fmla="*/ 385932 h 5296383"/>
              <a:gd name="connsiteX10384" fmla="*/ 6699974 w 9310410"/>
              <a:gd name="connsiteY10384" fmla="*/ 404510 h 5296383"/>
              <a:gd name="connsiteX10385" fmla="*/ 6704169 w 9310410"/>
              <a:gd name="connsiteY10385" fmla="*/ 414698 h 5296383"/>
              <a:gd name="connsiteX10386" fmla="*/ 6709562 w 9310410"/>
              <a:gd name="connsiteY10386" fmla="*/ 424885 h 5296383"/>
              <a:gd name="connsiteX10387" fmla="*/ 6719151 w 9310410"/>
              <a:gd name="connsiteY10387" fmla="*/ 433275 h 5296383"/>
              <a:gd name="connsiteX10388" fmla="*/ 6726941 w 9310410"/>
              <a:gd name="connsiteY10388" fmla="*/ 442264 h 5296383"/>
              <a:gd name="connsiteX10389" fmla="*/ 6740125 w 9310410"/>
              <a:gd name="connsiteY10389" fmla="*/ 446459 h 5296383"/>
              <a:gd name="connsiteX10390" fmla="*/ 6746717 w 9310410"/>
              <a:gd name="connsiteY10390" fmla="*/ 445860 h 5296383"/>
              <a:gd name="connsiteX10391" fmla="*/ 6763497 w 9310410"/>
              <a:gd name="connsiteY10391" fmla="*/ 442863 h 5296383"/>
              <a:gd name="connsiteX10392" fmla="*/ 6774284 w 9310410"/>
              <a:gd name="connsiteY10392" fmla="*/ 442863 h 5296383"/>
              <a:gd name="connsiteX10393" fmla="*/ 6786269 w 9310410"/>
              <a:gd name="connsiteY10393" fmla="*/ 445261 h 5296383"/>
              <a:gd name="connsiteX10394" fmla="*/ 6789266 w 9310410"/>
              <a:gd name="connsiteY10394" fmla="*/ 451253 h 5296383"/>
              <a:gd name="connsiteX10395" fmla="*/ 6777280 w 9310410"/>
              <a:gd name="connsiteY10395" fmla="*/ 453650 h 5296383"/>
              <a:gd name="connsiteX10396" fmla="*/ 6752710 w 9310410"/>
              <a:gd name="connsiteY10396" fmla="*/ 453051 h 5296383"/>
              <a:gd name="connsiteX10397" fmla="*/ 6752111 w 9310410"/>
              <a:gd name="connsiteY10397" fmla="*/ 459044 h 5296383"/>
              <a:gd name="connsiteX10398" fmla="*/ 6762897 w 9310410"/>
              <a:gd name="connsiteY10398" fmla="*/ 469831 h 5296383"/>
              <a:gd name="connsiteX10399" fmla="*/ 6789266 w 9310410"/>
              <a:gd name="connsiteY10399" fmla="*/ 478221 h 5296383"/>
              <a:gd name="connsiteX10400" fmla="*/ 6795258 w 9310410"/>
              <a:gd name="connsiteY10400" fmla="*/ 477621 h 5296383"/>
              <a:gd name="connsiteX10401" fmla="*/ 6802449 w 9310410"/>
              <a:gd name="connsiteY10401" fmla="*/ 473426 h 5296383"/>
              <a:gd name="connsiteX10402" fmla="*/ 6804247 w 9310410"/>
              <a:gd name="connsiteY10402" fmla="*/ 466834 h 5296383"/>
              <a:gd name="connsiteX10403" fmla="*/ 6819229 w 9310410"/>
              <a:gd name="connsiteY10403" fmla="*/ 467434 h 5296383"/>
              <a:gd name="connsiteX10404" fmla="*/ 6844998 w 9310410"/>
              <a:gd name="connsiteY10404" fmla="*/ 471629 h 5296383"/>
              <a:gd name="connsiteX10405" fmla="*/ 6877359 w 9310410"/>
              <a:gd name="connsiteY10405" fmla="*/ 466834 h 5296383"/>
              <a:gd name="connsiteX10406" fmla="*/ 6888745 w 9310410"/>
              <a:gd name="connsiteY10406" fmla="*/ 464437 h 5296383"/>
              <a:gd name="connsiteX10407" fmla="*/ 6900730 w 9310410"/>
              <a:gd name="connsiteY10407" fmla="*/ 464437 h 5296383"/>
              <a:gd name="connsiteX10408" fmla="*/ 6902529 w 9310410"/>
              <a:gd name="connsiteY10408" fmla="*/ 459044 h 5296383"/>
              <a:gd name="connsiteX10409" fmla="*/ 6885149 w 9310410"/>
              <a:gd name="connsiteY10409" fmla="*/ 453650 h 5296383"/>
              <a:gd name="connsiteX10410" fmla="*/ 6885749 w 9310410"/>
              <a:gd name="connsiteY10410" fmla="*/ 450654 h 5296383"/>
              <a:gd name="connsiteX10411" fmla="*/ 6913315 w 9310410"/>
              <a:gd name="connsiteY10411" fmla="*/ 460842 h 5296383"/>
              <a:gd name="connsiteX10412" fmla="*/ 6931893 w 9310410"/>
              <a:gd name="connsiteY10412" fmla="*/ 460242 h 5296383"/>
              <a:gd name="connsiteX10413" fmla="*/ 6923503 w 9310410"/>
              <a:gd name="connsiteY10413" fmla="*/ 457845 h 5296383"/>
              <a:gd name="connsiteX10414" fmla="*/ 6906723 w 9310410"/>
              <a:gd name="connsiteY10414" fmla="*/ 452452 h 5296383"/>
              <a:gd name="connsiteX10415" fmla="*/ 6903727 w 9310410"/>
              <a:gd name="connsiteY10415" fmla="*/ 448257 h 5296383"/>
              <a:gd name="connsiteX10416" fmla="*/ 6913315 w 9310410"/>
              <a:gd name="connsiteY10416" fmla="*/ 450654 h 5296383"/>
              <a:gd name="connsiteX10417" fmla="*/ 6933091 w 9310410"/>
              <a:gd name="connsiteY10417" fmla="*/ 451853 h 5296383"/>
              <a:gd name="connsiteX10418" fmla="*/ 6943279 w 9310410"/>
              <a:gd name="connsiteY10418" fmla="*/ 450055 h 5296383"/>
              <a:gd name="connsiteX10419" fmla="*/ 6954066 w 9310410"/>
              <a:gd name="connsiteY10419" fmla="*/ 451853 h 5296383"/>
              <a:gd name="connsiteX10420" fmla="*/ 6956463 w 9310410"/>
              <a:gd name="connsiteY10420" fmla="*/ 441665 h 5296383"/>
              <a:gd name="connsiteX10421" fmla="*/ 6939683 w 9310410"/>
              <a:gd name="connsiteY10421" fmla="*/ 428481 h 5296383"/>
              <a:gd name="connsiteX10422" fmla="*/ 6942680 w 9310410"/>
              <a:gd name="connsiteY10422" fmla="*/ 426683 h 5296383"/>
              <a:gd name="connsiteX10423" fmla="*/ 6951669 w 9310410"/>
              <a:gd name="connsiteY10423" fmla="*/ 433275 h 5296383"/>
              <a:gd name="connsiteX10424" fmla="*/ 6964853 w 9310410"/>
              <a:gd name="connsiteY10424" fmla="*/ 433275 h 5296383"/>
              <a:gd name="connsiteX10425" fmla="*/ 6972643 w 9310410"/>
              <a:gd name="connsiteY10425" fmla="*/ 435073 h 5296383"/>
              <a:gd name="connsiteX10426" fmla="*/ 6988824 w 9310410"/>
              <a:gd name="connsiteY10426" fmla="*/ 448257 h 5296383"/>
              <a:gd name="connsiteX10427" fmla="*/ 7000810 w 9310410"/>
              <a:gd name="connsiteY10427" fmla="*/ 447658 h 5296383"/>
              <a:gd name="connsiteX10428" fmla="*/ 7019387 w 9310410"/>
              <a:gd name="connsiteY10428" fmla="*/ 444661 h 5296383"/>
              <a:gd name="connsiteX10429" fmla="*/ 7043358 w 9310410"/>
              <a:gd name="connsiteY10429" fmla="*/ 456047 h 5296383"/>
              <a:gd name="connsiteX10430" fmla="*/ 7039762 w 9310410"/>
              <a:gd name="connsiteY10430" fmla="*/ 466235 h 5296383"/>
              <a:gd name="connsiteX10431" fmla="*/ 7040362 w 9310410"/>
              <a:gd name="connsiteY10431" fmla="*/ 475824 h 5296383"/>
              <a:gd name="connsiteX10432" fmla="*/ 7049351 w 9310410"/>
              <a:gd name="connsiteY10432" fmla="*/ 478820 h 5296383"/>
              <a:gd name="connsiteX10433" fmla="*/ 7057141 w 9310410"/>
              <a:gd name="connsiteY10433" fmla="*/ 467434 h 5296383"/>
              <a:gd name="connsiteX10434" fmla="*/ 7066130 w 9310410"/>
              <a:gd name="connsiteY10434" fmla="*/ 459044 h 5296383"/>
              <a:gd name="connsiteX10435" fmla="*/ 7072123 w 9310410"/>
              <a:gd name="connsiteY10435" fmla="*/ 461441 h 5296383"/>
              <a:gd name="connsiteX10436" fmla="*/ 7074520 w 9310410"/>
              <a:gd name="connsiteY10436" fmla="*/ 466235 h 5296383"/>
              <a:gd name="connsiteX10437" fmla="*/ 7086505 w 9310410"/>
              <a:gd name="connsiteY10437" fmla="*/ 463838 h 5296383"/>
              <a:gd name="connsiteX10438" fmla="*/ 7093697 w 9310410"/>
              <a:gd name="connsiteY10438" fmla="*/ 470430 h 5296383"/>
              <a:gd name="connsiteX10439" fmla="*/ 7103285 w 9310410"/>
              <a:gd name="connsiteY10439" fmla="*/ 475824 h 5296383"/>
              <a:gd name="connsiteX10440" fmla="*/ 7138643 w 9310410"/>
              <a:gd name="connsiteY10440" fmla="*/ 500394 h 5296383"/>
              <a:gd name="connsiteX10441" fmla="*/ 7151227 w 9310410"/>
              <a:gd name="connsiteY10441" fmla="*/ 496798 h 5296383"/>
              <a:gd name="connsiteX10442" fmla="*/ 7156021 w 9310410"/>
              <a:gd name="connsiteY10442" fmla="*/ 491405 h 5296383"/>
              <a:gd name="connsiteX10443" fmla="*/ 7166808 w 9310410"/>
              <a:gd name="connsiteY10443" fmla="*/ 495600 h 5296383"/>
              <a:gd name="connsiteX10444" fmla="*/ 7161415 w 9310410"/>
              <a:gd name="connsiteY10444" fmla="*/ 497397 h 5296383"/>
              <a:gd name="connsiteX10445" fmla="*/ 7155422 w 9310410"/>
              <a:gd name="connsiteY10445" fmla="*/ 509383 h 5296383"/>
              <a:gd name="connsiteX10446" fmla="*/ 7159017 w 9310410"/>
              <a:gd name="connsiteY10446" fmla="*/ 520769 h 5296383"/>
              <a:gd name="connsiteX10447" fmla="*/ 7171603 w 9310410"/>
              <a:gd name="connsiteY10447" fmla="*/ 526163 h 5296383"/>
              <a:gd name="connsiteX10448" fmla="*/ 7189581 w 9310410"/>
              <a:gd name="connsiteY10448" fmla="*/ 524365 h 5296383"/>
              <a:gd name="connsiteX10449" fmla="*/ 7191977 w 9310410"/>
              <a:gd name="connsiteY10449" fmla="*/ 514776 h 5296383"/>
              <a:gd name="connsiteX10450" fmla="*/ 7201566 w 9310410"/>
              <a:gd name="connsiteY10450" fmla="*/ 517173 h 5296383"/>
              <a:gd name="connsiteX10451" fmla="*/ 7209956 w 9310410"/>
              <a:gd name="connsiteY10451" fmla="*/ 518372 h 5296383"/>
              <a:gd name="connsiteX10452" fmla="*/ 7220743 w 9310410"/>
              <a:gd name="connsiteY10452" fmla="*/ 517773 h 5296383"/>
              <a:gd name="connsiteX10453" fmla="*/ 7233927 w 9310410"/>
              <a:gd name="connsiteY10453" fmla="*/ 516574 h 5296383"/>
              <a:gd name="connsiteX10454" fmla="*/ 7236923 w 9310410"/>
              <a:gd name="connsiteY10454" fmla="*/ 520769 h 5296383"/>
              <a:gd name="connsiteX10455" fmla="*/ 7238721 w 9310410"/>
              <a:gd name="connsiteY10455" fmla="*/ 523765 h 5296383"/>
              <a:gd name="connsiteX10456" fmla="*/ 7244115 w 9310410"/>
              <a:gd name="connsiteY10456" fmla="*/ 526163 h 5296383"/>
              <a:gd name="connsiteX10457" fmla="*/ 7241717 w 9310410"/>
              <a:gd name="connsiteY10457" fmla="*/ 530357 h 5296383"/>
              <a:gd name="connsiteX10458" fmla="*/ 7228534 w 9310410"/>
              <a:gd name="connsiteY10458" fmla="*/ 534552 h 5296383"/>
              <a:gd name="connsiteX10459" fmla="*/ 7220144 w 9310410"/>
              <a:gd name="connsiteY10459" fmla="*/ 540545 h 5296383"/>
              <a:gd name="connsiteX10460" fmla="*/ 7212353 w 9310410"/>
              <a:gd name="connsiteY10460" fmla="*/ 539946 h 5296383"/>
              <a:gd name="connsiteX10461" fmla="*/ 7181790 w 9310410"/>
              <a:gd name="connsiteY10461" fmla="*/ 530357 h 5296383"/>
              <a:gd name="connsiteX10462" fmla="*/ 7163812 w 9310410"/>
              <a:gd name="connsiteY10462" fmla="*/ 538148 h 5296383"/>
              <a:gd name="connsiteX10463" fmla="*/ 7160815 w 9310410"/>
              <a:gd name="connsiteY10463" fmla="*/ 549534 h 5296383"/>
              <a:gd name="connsiteX10464" fmla="*/ 7178794 w 9310410"/>
              <a:gd name="connsiteY10464" fmla="*/ 564516 h 5296383"/>
              <a:gd name="connsiteX10465" fmla="*/ 7178794 w 9310410"/>
              <a:gd name="connsiteY10465" fmla="*/ 568711 h 5296383"/>
              <a:gd name="connsiteX10466" fmla="*/ 7173999 w 9310410"/>
              <a:gd name="connsiteY10466" fmla="*/ 571707 h 5296383"/>
              <a:gd name="connsiteX10467" fmla="*/ 7168606 w 9310410"/>
              <a:gd name="connsiteY10467" fmla="*/ 575902 h 5296383"/>
              <a:gd name="connsiteX10468" fmla="*/ 7163812 w 9310410"/>
              <a:gd name="connsiteY10468" fmla="*/ 578299 h 5296383"/>
              <a:gd name="connsiteX10469" fmla="*/ 7156621 w 9310410"/>
              <a:gd name="connsiteY10469" fmla="*/ 582494 h 5296383"/>
              <a:gd name="connsiteX10470" fmla="*/ 7149429 w 9310410"/>
              <a:gd name="connsiteY10470" fmla="*/ 582494 h 5296383"/>
              <a:gd name="connsiteX10471" fmla="*/ 7129054 w 9310410"/>
              <a:gd name="connsiteY10471" fmla="*/ 586689 h 5296383"/>
              <a:gd name="connsiteX10472" fmla="*/ 7126657 w 9310410"/>
              <a:gd name="connsiteY10472" fmla="*/ 595079 h 5296383"/>
              <a:gd name="connsiteX10473" fmla="*/ 7126657 w 9310410"/>
              <a:gd name="connsiteY10473" fmla="*/ 600473 h 5296383"/>
              <a:gd name="connsiteX10474" fmla="*/ 7132050 w 9310410"/>
              <a:gd name="connsiteY10474" fmla="*/ 613057 h 5296383"/>
              <a:gd name="connsiteX10475" fmla="*/ 7143436 w 9310410"/>
              <a:gd name="connsiteY10475" fmla="*/ 623245 h 5296383"/>
              <a:gd name="connsiteX10476" fmla="*/ 7152425 w 9310410"/>
              <a:gd name="connsiteY10476" fmla="*/ 626241 h 5296383"/>
              <a:gd name="connsiteX10477" fmla="*/ 7157819 w 9310410"/>
              <a:gd name="connsiteY10477" fmla="*/ 625043 h 5296383"/>
              <a:gd name="connsiteX10478" fmla="*/ 7168606 w 9310410"/>
              <a:gd name="connsiteY10478" fmla="*/ 626241 h 5296383"/>
              <a:gd name="connsiteX10479" fmla="*/ 7175198 w 9310410"/>
              <a:gd name="connsiteY10479" fmla="*/ 625043 h 5296383"/>
              <a:gd name="connsiteX10480" fmla="*/ 7180592 w 9310410"/>
              <a:gd name="connsiteY10480" fmla="*/ 620249 h 5296383"/>
              <a:gd name="connsiteX10481" fmla="*/ 7186585 w 9310410"/>
              <a:gd name="connsiteY10481" fmla="*/ 615454 h 5296383"/>
              <a:gd name="connsiteX10482" fmla="*/ 7188382 w 9310410"/>
              <a:gd name="connsiteY10482" fmla="*/ 612458 h 5296383"/>
              <a:gd name="connsiteX10483" fmla="*/ 7198570 w 9310410"/>
              <a:gd name="connsiteY10483" fmla="*/ 613057 h 5296383"/>
              <a:gd name="connsiteX10484" fmla="*/ 7203364 w 9310410"/>
              <a:gd name="connsiteY10484" fmla="*/ 605866 h 5296383"/>
              <a:gd name="connsiteX10485" fmla="*/ 7196772 w 9310410"/>
              <a:gd name="connsiteY10485" fmla="*/ 605866 h 5296383"/>
              <a:gd name="connsiteX10486" fmla="*/ 7192577 w 9310410"/>
              <a:gd name="connsiteY10486" fmla="*/ 598675 h 5296383"/>
              <a:gd name="connsiteX10487" fmla="*/ 7202166 w 9310410"/>
              <a:gd name="connsiteY10487" fmla="*/ 599274 h 5296383"/>
              <a:gd name="connsiteX10488" fmla="*/ 7209357 w 9310410"/>
              <a:gd name="connsiteY10488" fmla="*/ 598675 h 5296383"/>
              <a:gd name="connsiteX10489" fmla="*/ 7213552 w 9310410"/>
              <a:gd name="connsiteY10489" fmla="*/ 599873 h 5296383"/>
              <a:gd name="connsiteX10490" fmla="*/ 7218945 w 9310410"/>
              <a:gd name="connsiteY10490" fmla="*/ 608263 h 5296383"/>
              <a:gd name="connsiteX10491" fmla="*/ 7223140 w 9310410"/>
              <a:gd name="connsiteY10491" fmla="*/ 609462 h 5296383"/>
              <a:gd name="connsiteX10492" fmla="*/ 7226736 w 9310410"/>
              <a:gd name="connsiteY10492" fmla="*/ 605267 h 5296383"/>
              <a:gd name="connsiteX10493" fmla="*/ 7235725 w 9310410"/>
              <a:gd name="connsiteY10493" fmla="*/ 607065 h 5296383"/>
              <a:gd name="connsiteX10494" fmla="*/ 7242916 w 9310410"/>
              <a:gd name="connsiteY10494" fmla="*/ 607664 h 5296383"/>
              <a:gd name="connsiteX10495" fmla="*/ 7256100 w 9310410"/>
              <a:gd name="connsiteY10495" fmla="*/ 618451 h 5296383"/>
              <a:gd name="connsiteX10496" fmla="*/ 7262093 w 9310410"/>
              <a:gd name="connsiteY10496" fmla="*/ 620848 h 5296383"/>
              <a:gd name="connsiteX10497" fmla="*/ 7260295 w 9310410"/>
              <a:gd name="connsiteY10497" fmla="*/ 613057 h 5296383"/>
              <a:gd name="connsiteX10498" fmla="*/ 7267487 w 9310410"/>
              <a:gd name="connsiteY10498" fmla="*/ 617851 h 5296383"/>
              <a:gd name="connsiteX10499" fmla="*/ 7273479 w 9310410"/>
              <a:gd name="connsiteY10499" fmla="*/ 619050 h 5296383"/>
              <a:gd name="connsiteX10500" fmla="*/ 7278872 w 9310410"/>
              <a:gd name="connsiteY10500" fmla="*/ 615454 h 5296383"/>
              <a:gd name="connsiteX10501" fmla="*/ 7285465 w 9310410"/>
              <a:gd name="connsiteY10501" fmla="*/ 616054 h 5296383"/>
              <a:gd name="connsiteX10502" fmla="*/ 7289659 w 9310410"/>
              <a:gd name="connsiteY10502" fmla="*/ 624443 h 5296383"/>
              <a:gd name="connsiteX10503" fmla="*/ 7294454 w 9310410"/>
              <a:gd name="connsiteY10503" fmla="*/ 633433 h 5296383"/>
              <a:gd name="connsiteX10504" fmla="*/ 7310035 w 9310410"/>
              <a:gd name="connsiteY10504" fmla="*/ 636429 h 5296383"/>
              <a:gd name="connsiteX10505" fmla="*/ 7317226 w 9310410"/>
              <a:gd name="connsiteY10505" fmla="*/ 639425 h 5296383"/>
              <a:gd name="connsiteX10506" fmla="*/ 7325616 w 9310410"/>
              <a:gd name="connsiteY10506" fmla="*/ 643620 h 5296383"/>
              <a:gd name="connsiteX10507" fmla="*/ 7338800 w 9310410"/>
              <a:gd name="connsiteY10507" fmla="*/ 645418 h 5296383"/>
              <a:gd name="connsiteX10508" fmla="*/ 7347190 w 9310410"/>
              <a:gd name="connsiteY10508" fmla="*/ 640025 h 5296383"/>
              <a:gd name="connsiteX10509" fmla="*/ 7355579 w 9310410"/>
              <a:gd name="connsiteY10509" fmla="*/ 644220 h 5296383"/>
              <a:gd name="connsiteX10510" fmla="*/ 7366966 w 9310410"/>
              <a:gd name="connsiteY10510" fmla="*/ 650212 h 5296383"/>
              <a:gd name="connsiteX10511" fmla="*/ 7380749 w 9310410"/>
              <a:gd name="connsiteY10511" fmla="*/ 649014 h 5296383"/>
              <a:gd name="connsiteX10512" fmla="*/ 7405919 w 9310410"/>
              <a:gd name="connsiteY10512" fmla="*/ 646617 h 5296383"/>
              <a:gd name="connsiteX10513" fmla="*/ 7420900 w 9310410"/>
              <a:gd name="connsiteY10513" fmla="*/ 647216 h 5296383"/>
              <a:gd name="connsiteX10514" fmla="*/ 7435283 w 9310410"/>
              <a:gd name="connsiteY10514" fmla="*/ 649014 h 5296383"/>
              <a:gd name="connsiteX10515" fmla="*/ 7432287 w 9310410"/>
              <a:gd name="connsiteY10515" fmla="*/ 643620 h 5296383"/>
              <a:gd name="connsiteX10516" fmla="*/ 7429890 w 9310410"/>
              <a:gd name="connsiteY10516" fmla="*/ 638826 h 5296383"/>
              <a:gd name="connsiteX10517" fmla="*/ 7429290 w 9310410"/>
              <a:gd name="connsiteY10517" fmla="*/ 634631 h 5296383"/>
              <a:gd name="connsiteX10518" fmla="*/ 7406518 w 9310410"/>
              <a:gd name="connsiteY10518" fmla="*/ 626241 h 5296383"/>
              <a:gd name="connsiteX10519" fmla="*/ 7380150 w 9310410"/>
              <a:gd name="connsiteY10519" fmla="*/ 620848 h 5296383"/>
              <a:gd name="connsiteX10520" fmla="*/ 7365168 w 9310410"/>
              <a:gd name="connsiteY10520" fmla="*/ 616653 h 5296383"/>
              <a:gd name="connsiteX10521" fmla="*/ 7356778 w 9310410"/>
              <a:gd name="connsiteY10521" fmla="*/ 614855 h 5296383"/>
              <a:gd name="connsiteX10522" fmla="*/ 7339999 w 9310410"/>
              <a:gd name="connsiteY10522" fmla="*/ 609462 h 5296383"/>
              <a:gd name="connsiteX10523" fmla="*/ 7328013 w 9310410"/>
              <a:gd name="connsiteY10523" fmla="*/ 607664 h 5296383"/>
              <a:gd name="connsiteX10524" fmla="*/ 7329810 w 9310410"/>
              <a:gd name="connsiteY10524" fmla="*/ 603469 h 5296383"/>
              <a:gd name="connsiteX10525" fmla="*/ 7344193 w 9310410"/>
              <a:gd name="connsiteY10525" fmla="*/ 604068 h 5296383"/>
              <a:gd name="connsiteX10526" fmla="*/ 7357378 w 9310410"/>
              <a:gd name="connsiteY10526" fmla="*/ 607664 h 5296383"/>
              <a:gd name="connsiteX10527" fmla="*/ 7356778 w 9310410"/>
              <a:gd name="connsiteY10527" fmla="*/ 600473 h 5296383"/>
              <a:gd name="connsiteX10528" fmla="*/ 7365767 w 9310410"/>
              <a:gd name="connsiteY10528" fmla="*/ 601671 h 5296383"/>
              <a:gd name="connsiteX10529" fmla="*/ 4474271 w 9310410"/>
              <a:gd name="connsiteY10529" fmla="*/ 4490360 h 5296383"/>
              <a:gd name="connsiteX10530" fmla="*/ 4474870 w 9310410"/>
              <a:gd name="connsiteY10530" fmla="*/ 4480172 h 5296383"/>
              <a:gd name="connsiteX10531" fmla="*/ 4472473 w 9310410"/>
              <a:gd name="connsiteY10531" fmla="*/ 4468187 h 5296383"/>
              <a:gd name="connsiteX10532" fmla="*/ 4471873 w 9310410"/>
              <a:gd name="connsiteY10532" fmla="*/ 4460396 h 5296383"/>
              <a:gd name="connsiteX10533" fmla="*/ 4470675 w 9310410"/>
              <a:gd name="connsiteY10533" fmla="*/ 4449010 h 5296383"/>
              <a:gd name="connsiteX10534" fmla="*/ 4463484 w 9310410"/>
              <a:gd name="connsiteY10534" fmla="*/ 4446014 h 5296383"/>
              <a:gd name="connsiteX10535" fmla="*/ 4455094 w 9310410"/>
              <a:gd name="connsiteY10535" fmla="*/ 4449609 h 5296383"/>
              <a:gd name="connsiteX10536" fmla="*/ 4447902 w 9310410"/>
              <a:gd name="connsiteY10536" fmla="*/ 4450209 h 5296383"/>
              <a:gd name="connsiteX10537" fmla="*/ 4444307 w 9310410"/>
              <a:gd name="connsiteY10537" fmla="*/ 4452006 h 5296383"/>
              <a:gd name="connsiteX10538" fmla="*/ 4440112 w 9310410"/>
              <a:gd name="connsiteY10538" fmla="*/ 4452006 h 5296383"/>
              <a:gd name="connsiteX10539" fmla="*/ 4434718 w 9310410"/>
              <a:gd name="connsiteY10539" fmla="*/ 4456201 h 5296383"/>
              <a:gd name="connsiteX10540" fmla="*/ 4423332 w 9310410"/>
              <a:gd name="connsiteY10540" fmla="*/ 4458599 h 5296383"/>
              <a:gd name="connsiteX10541" fmla="*/ 4407152 w 9310410"/>
              <a:gd name="connsiteY10541" fmla="*/ 4450209 h 5296383"/>
              <a:gd name="connsiteX10542" fmla="*/ 4392170 w 9310410"/>
              <a:gd name="connsiteY10542" fmla="*/ 4443017 h 5296383"/>
              <a:gd name="connsiteX10543" fmla="*/ 4377787 w 9310410"/>
              <a:gd name="connsiteY10543" fmla="*/ 4438822 h 5296383"/>
              <a:gd name="connsiteX10544" fmla="*/ 4372394 w 9310410"/>
              <a:gd name="connsiteY10544" fmla="*/ 4442418 h 5296383"/>
              <a:gd name="connsiteX10545" fmla="*/ 4372394 w 9310410"/>
              <a:gd name="connsiteY10545" fmla="*/ 4449609 h 5296383"/>
              <a:gd name="connsiteX10546" fmla="*/ 4374791 w 9310410"/>
              <a:gd name="connsiteY10546" fmla="*/ 4459198 h 5296383"/>
              <a:gd name="connsiteX10547" fmla="*/ 4383181 w 9310410"/>
              <a:gd name="connsiteY10547" fmla="*/ 4472981 h 5296383"/>
              <a:gd name="connsiteX10548" fmla="*/ 4387975 w 9310410"/>
              <a:gd name="connsiteY10548" fmla="*/ 4481371 h 5296383"/>
              <a:gd name="connsiteX10549" fmla="*/ 4390372 w 9310410"/>
              <a:gd name="connsiteY10549" fmla="*/ 4488562 h 5296383"/>
              <a:gd name="connsiteX10550" fmla="*/ 4395765 w 9310410"/>
              <a:gd name="connsiteY10550" fmla="*/ 4492757 h 5296383"/>
              <a:gd name="connsiteX10551" fmla="*/ 4399960 w 9310410"/>
              <a:gd name="connsiteY10551" fmla="*/ 4497551 h 5296383"/>
              <a:gd name="connsiteX10552" fmla="*/ 4395765 w 9310410"/>
              <a:gd name="connsiteY10552" fmla="*/ 4498750 h 5296383"/>
              <a:gd name="connsiteX10553" fmla="*/ 4391571 w 9310410"/>
              <a:gd name="connsiteY10553" fmla="*/ 4500548 h 5296383"/>
              <a:gd name="connsiteX10554" fmla="*/ 4393369 w 9310410"/>
              <a:gd name="connsiteY10554" fmla="*/ 4507739 h 5296383"/>
              <a:gd name="connsiteX10555" fmla="*/ 4399361 w 9310410"/>
              <a:gd name="connsiteY10555" fmla="*/ 4517927 h 5296383"/>
              <a:gd name="connsiteX10556" fmla="*/ 4404155 w 9310410"/>
              <a:gd name="connsiteY10556" fmla="*/ 4521522 h 5296383"/>
              <a:gd name="connsiteX10557" fmla="*/ 4414343 w 9310410"/>
              <a:gd name="connsiteY10557" fmla="*/ 4528114 h 5296383"/>
              <a:gd name="connsiteX10558" fmla="*/ 4413744 w 9310410"/>
              <a:gd name="connsiteY10558" fmla="*/ 4530511 h 5296383"/>
              <a:gd name="connsiteX10559" fmla="*/ 4411946 w 9310410"/>
              <a:gd name="connsiteY10559" fmla="*/ 4534107 h 5296383"/>
              <a:gd name="connsiteX10560" fmla="*/ 4423332 w 9310410"/>
              <a:gd name="connsiteY10560" fmla="*/ 4535306 h 5296383"/>
              <a:gd name="connsiteX10561" fmla="*/ 4427527 w 9310410"/>
              <a:gd name="connsiteY10561" fmla="*/ 4535905 h 5296383"/>
              <a:gd name="connsiteX10562" fmla="*/ 4437115 w 9310410"/>
              <a:gd name="connsiteY10562" fmla="*/ 4535306 h 5296383"/>
              <a:gd name="connsiteX10563" fmla="*/ 4440112 w 9310410"/>
              <a:gd name="connsiteY10563" fmla="*/ 4529313 h 5296383"/>
              <a:gd name="connsiteX10564" fmla="*/ 4440112 w 9310410"/>
              <a:gd name="connsiteY10564" fmla="*/ 4537702 h 5296383"/>
              <a:gd name="connsiteX10565" fmla="*/ 4447902 w 9310410"/>
              <a:gd name="connsiteY10565" fmla="*/ 4535306 h 5296383"/>
              <a:gd name="connsiteX10566" fmla="*/ 4447303 w 9310410"/>
              <a:gd name="connsiteY10566" fmla="*/ 4523919 h 5296383"/>
              <a:gd name="connsiteX10567" fmla="*/ 4447902 w 9310410"/>
              <a:gd name="connsiteY10567" fmla="*/ 4514331 h 5296383"/>
              <a:gd name="connsiteX10568" fmla="*/ 4453895 w 9310410"/>
              <a:gd name="connsiteY10568" fmla="*/ 4516728 h 5296383"/>
              <a:gd name="connsiteX10569" fmla="*/ 4453296 w 9310410"/>
              <a:gd name="connsiteY10569" fmla="*/ 4507739 h 5296383"/>
              <a:gd name="connsiteX10570" fmla="*/ 4458689 w 9310410"/>
              <a:gd name="connsiteY10570" fmla="*/ 4517927 h 5296383"/>
              <a:gd name="connsiteX10571" fmla="*/ 4459289 w 9310410"/>
              <a:gd name="connsiteY10571" fmla="*/ 4523320 h 5296383"/>
              <a:gd name="connsiteX10572" fmla="*/ 4463484 w 9310410"/>
              <a:gd name="connsiteY10572" fmla="*/ 4525717 h 5296383"/>
              <a:gd name="connsiteX10573" fmla="*/ 4464083 w 9310410"/>
              <a:gd name="connsiteY10573" fmla="*/ 4514930 h 5296383"/>
              <a:gd name="connsiteX10574" fmla="*/ 4462285 w 9310410"/>
              <a:gd name="connsiteY10574" fmla="*/ 4509537 h 5296383"/>
              <a:gd name="connsiteX10575" fmla="*/ 4464083 w 9310410"/>
              <a:gd name="connsiteY10575" fmla="*/ 4501746 h 5296383"/>
              <a:gd name="connsiteX10576" fmla="*/ 4465881 w 9310410"/>
              <a:gd name="connsiteY10576" fmla="*/ 4492757 h 5296383"/>
              <a:gd name="connsiteX10577" fmla="*/ 4470076 w 9310410"/>
              <a:gd name="connsiteY10577" fmla="*/ 4490959 h 5296383"/>
              <a:gd name="connsiteX10578" fmla="*/ 4474271 w 9310410"/>
              <a:gd name="connsiteY10578" fmla="*/ 4490360 h 5296383"/>
              <a:gd name="connsiteX10579" fmla="*/ 4610306 w 9310410"/>
              <a:gd name="connsiteY10579" fmla="*/ 4037908 h 5296383"/>
              <a:gd name="connsiteX10580" fmla="*/ 4608508 w 9310410"/>
              <a:gd name="connsiteY10580" fmla="*/ 4033713 h 5296383"/>
              <a:gd name="connsiteX10581" fmla="*/ 4607909 w 9310410"/>
              <a:gd name="connsiteY10581" fmla="*/ 4015136 h 5296383"/>
              <a:gd name="connsiteX10582" fmla="*/ 4603714 w 9310410"/>
              <a:gd name="connsiteY10582" fmla="*/ 4002551 h 5296383"/>
              <a:gd name="connsiteX10583" fmla="*/ 4601317 w 9310410"/>
              <a:gd name="connsiteY10583" fmla="*/ 3985771 h 5296383"/>
              <a:gd name="connsiteX10584" fmla="*/ 4600118 w 9310410"/>
              <a:gd name="connsiteY10584" fmla="*/ 3973786 h 5296383"/>
              <a:gd name="connsiteX10585" fmla="*/ 4602515 w 9310410"/>
              <a:gd name="connsiteY10585" fmla="*/ 3949815 h 5296383"/>
              <a:gd name="connsiteX10586" fmla="*/ 4598320 w 9310410"/>
              <a:gd name="connsiteY10586" fmla="*/ 3949216 h 5296383"/>
              <a:gd name="connsiteX10587" fmla="*/ 4594125 w 9310410"/>
              <a:gd name="connsiteY10587" fmla="*/ 3945021 h 5296383"/>
              <a:gd name="connsiteX10588" fmla="*/ 4589331 w 9310410"/>
              <a:gd name="connsiteY10588" fmla="*/ 3930039 h 5296383"/>
              <a:gd name="connsiteX10589" fmla="*/ 4583338 w 9310410"/>
              <a:gd name="connsiteY10589" fmla="*/ 3916855 h 5296383"/>
              <a:gd name="connsiteX10590" fmla="*/ 4577945 w 9310410"/>
              <a:gd name="connsiteY10590" fmla="*/ 3907266 h 5296383"/>
              <a:gd name="connsiteX10591" fmla="*/ 4571353 w 9310410"/>
              <a:gd name="connsiteY10591" fmla="*/ 3898277 h 5296383"/>
              <a:gd name="connsiteX10592" fmla="*/ 4566559 w 9310410"/>
              <a:gd name="connsiteY10592" fmla="*/ 3888689 h 5296383"/>
              <a:gd name="connsiteX10593" fmla="*/ 4558169 w 9310410"/>
              <a:gd name="connsiteY10593" fmla="*/ 3884494 h 5296383"/>
              <a:gd name="connsiteX10594" fmla="*/ 4549779 w 9310410"/>
              <a:gd name="connsiteY10594" fmla="*/ 3881497 h 5296383"/>
              <a:gd name="connsiteX10595" fmla="*/ 4537793 w 9310410"/>
              <a:gd name="connsiteY10595" fmla="*/ 3871909 h 5296383"/>
              <a:gd name="connsiteX10596" fmla="*/ 4534797 w 9310410"/>
              <a:gd name="connsiteY10596" fmla="*/ 3862321 h 5296383"/>
              <a:gd name="connsiteX10597" fmla="*/ 4535996 w 9310410"/>
              <a:gd name="connsiteY10597" fmla="*/ 3839548 h 5296383"/>
              <a:gd name="connsiteX10598" fmla="*/ 4527606 w 9310410"/>
              <a:gd name="connsiteY10598" fmla="*/ 3833555 h 5296383"/>
              <a:gd name="connsiteX10599" fmla="*/ 4516819 w 9310410"/>
              <a:gd name="connsiteY10599" fmla="*/ 3820971 h 5296383"/>
              <a:gd name="connsiteX10600" fmla="*/ 4512025 w 9310410"/>
              <a:gd name="connsiteY10600" fmla="*/ 3825765 h 5296383"/>
              <a:gd name="connsiteX10601" fmla="*/ 4512624 w 9310410"/>
              <a:gd name="connsiteY10601" fmla="*/ 3837151 h 5296383"/>
              <a:gd name="connsiteX10602" fmla="*/ 4502436 w 9310410"/>
              <a:gd name="connsiteY10602" fmla="*/ 3820971 h 5296383"/>
              <a:gd name="connsiteX10603" fmla="*/ 4497043 w 9310410"/>
              <a:gd name="connsiteY10603" fmla="*/ 3807787 h 5296383"/>
              <a:gd name="connsiteX10604" fmla="*/ 4498242 w 9310410"/>
              <a:gd name="connsiteY10604" fmla="*/ 3802993 h 5296383"/>
              <a:gd name="connsiteX10605" fmla="*/ 4499440 w 9310410"/>
              <a:gd name="connsiteY10605" fmla="*/ 3797599 h 5296383"/>
              <a:gd name="connsiteX10606" fmla="*/ 4494047 w 9310410"/>
              <a:gd name="connsiteY10606" fmla="*/ 3791007 h 5296383"/>
              <a:gd name="connsiteX10607" fmla="*/ 4488653 w 9310410"/>
              <a:gd name="connsiteY10607" fmla="*/ 3782617 h 5296383"/>
              <a:gd name="connsiteX10608" fmla="*/ 4481462 w 9310410"/>
              <a:gd name="connsiteY10608" fmla="*/ 3775426 h 5296383"/>
              <a:gd name="connsiteX10609" fmla="*/ 4474271 w 9310410"/>
              <a:gd name="connsiteY10609" fmla="*/ 3770033 h 5296383"/>
              <a:gd name="connsiteX10610" fmla="*/ 4478466 w 9310410"/>
              <a:gd name="connsiteY10610" fmla="*/ 3767635 h 5296383"/>
              <a:gd name="connsiteX10611" fmla="*/ 4479065 w 9310410"/>
              <a:gd name="connsiteY10611" fmla="*/ 3763441 h 5296383"/>
              <a:gd name="connsiteX10612" fmla="*/ 4474870 w 9310410"/>
              <a:gd name="connsiteY10612" fmla="*/ 3758047 h 5296383"/>
              <a:gd name="connsiteX10613" fmla="*/ 4469476 w 9310410"/>
              <a:gd name="connsiteY10613" fmla="*/ 3753852 h 5296383"/>
              <a:gd name="connsiteX10614" fmla="*/ 4455094 w 9310410"/>
              <a:gd name="connsiteY10614" fmla="*/ 3740668 h 5296383"/>
              <a:gd name="connsiteX10615" fmla="*/ 4447902 w 9310410"/>
              <a:gd name="connsiteY10615" fmla="*/ 3737672 h 5296383"/>
              <a:gd name="connsiteX10616" fmla="*/ 4440711 w 9310410"/>
              <a:gd name="connsiteY10616" fmla="*/ 3734675 h 5296383"/>
              <a:gd name="connsiteX10617" fmla="*/ 4438314 w 9310410"/>
              <a:gd name="connsiteY10617" fmla="*/ 3728683 h 5296383"/>
              <a:gd name="connsiteX10618" fmla="*/ 4434119 w 9310410"/>
              <a:gd name="connsiteY10618" fmla="*/ 3725087 h 5296383"/>
              <a:gd name="connsiteX10619" fmla="*/ 4426329 w 9310410"/>
              <a:gd name="connsiteY10619" fmla="*/ 3723888 h 5296383"/>
              <a:gd name="connsiteX10620" fmla="*/ 4420935 w 9310410"/>
              <a:gd name="connsiteY10620" fmla="*/ 3721492 h 5296383"/>
              <a:gd name="connsiteX10621" fmla="*/ 4410148 w 9310410"/>
              <a:gd name="connsiteY10621" fmla="*/ 3712502 h 5296383"/>
              <a:gd name="connsiteX10622" fmla="*/ 4405953 w 9310410"/>
              <a:gd name="connsiteY10622" fmla="*/ 3702315 h 5296383"/>
              <a:gd name="connsiteX10623" fmla="*/ 4404755 w 9310410"/>
              <a:gd name="connsiteY10623" fmla="*/ 3696921 h 5296383"/>
              <a:gd name="connsiteX10624" fmla="*/ 4397564 w 9310410"/>
              <a:gd name="connsiteY10624" fmla="*/ 3689730 h 5296383"/>
              <a:gd name="connsiteX10625" fmla="*/ 4396964 w 9310410"/>
              <a:gd name="connsiteY10625" fmla="*/ 3677744 h 5296383"/>
              <a:gd name="connsiteX10626" fmla="*/ 4400560 w 9310410"/>
              <a:gd name="connsiteY10626" fmla="*/ 3669355 h 5296383"/>
              <a:gd name="connsiteX10627" fmla="*/ 4395166 w 9310410"/>
              <a:gd name="connsiteY10627" fmla="*/ 3659167 h 5296383"/>
              <a:gd name="connsiteX10628" fmla="*/ 4392170 w 9310410"/>
              <a:gd name="connsiteY10628" fmla="*/ 3645983 h 5296383"/>
              <a:gd name="connsiteX10629" fmla="*/ 4387975 w 9310410"/>
              <a:gd name="connsiteY10629" fmla="*/ 3640590 h 5296383"/>
              <a:gd name="connsiteX10630" fmla="*/ 4380784 w 9310410"/>
              <a:gd name="connsiteY10630" fmla="*/ 3632799 h 5296383"/>
              <a:gd name="connsiteX10631" fmla="*/ 4379585 w 9310410"/>
              <a:gd name="connsiteY10631" fmla="*/ 3625608 h 5296383"/>
              <a:gd name="connsiteX10632" fmla="*/ 4381982 w 9310410"/>
              <a:gd name="connsiteY10632" fmla="*/ 3618416 h 5296383"/>
              <a:gd name="connsiteX10633" fmla="*/ 4379585 w 9310410"/>
              <a:gd name="connsiteY10633" fmla="*/ 3610026 h 5296383"/>
              <a:gd name="connsiteX10634" fmla="*/ 4374791 w 9310410"/>
              <a:gd name="connsiteY10634" fmla="*/ 3594445 h 5296383"/>
              <a:gd name="connsiteX10635" fmla="*/ 4375989 w 9310410"/>
              <a:gd name="connsiteY10635" fmla="*/ 3589651 h 5296383"/>
              <a:gd name="connsiteX10636" fmla="*/ 4376589 w 9310410"/>
              <a:gd name="connsiteY10636" fmla="*/ 3584258 h 5296383"/>
              <a:gd name="connsiteX10637" fmla="*/ 4372394 w 9310410"/>
              <a:gd name="connsiteY10637" fmla="*/ 3577066 h 5296383"/>
              <a:gd name="connsiteX10638" fmla="*/ 4369997 w 9310410"/>
              <a:gd name="connsiteY10638" fmla="*/ 3571673 h 5296383"/>
              <a:gd name="connsiteX10639" fmla="*/ 4361607 w 9310410"/>
              <a:gd name="connsiteY10639" fmla="*/ 3566279 h 5296383"/>
              <a:gd name="connsiteX10640" fmla="*/ 4350820 w 9310410"/>
              <a:gd name="connsiteY10640" fmla="*/ 3557889 h 5296383"/>
              <a:gd name="connsiteX10641" fmla="*/ 4346625 w 9310410"/>
              <a:gd name="connsiteY10641" fmla="*/ 3555493 h 5296383"/>
              <a:gd name="connsiteX10642" fmla="*/ 4338235 w 9310410"/>
              <a:gd name="connsiteY10642" fmla="*/ 3557889 h 5296383"/>
              <a:gd name="connsiteX10643" fmla="*/ 4335838 w 9310410"/>
              <a:gd name="connsiteY10643" fmla="*/ 3560886 h 5296383"/>
              <a:gd name="connsiteX10644" fmla="*/ 4331643 w 9310410"/>
              <a:gd name="connsiteY10644" fmla="*/ 3565081 h 5296383"/>
              <a:gd name="connsiteX10645" fmla="*/ 4325651 w 9310410"/>
              <a:gd name="connsiteY10645" fmla="*/ 3554893 h 5296383"/>
              <a:gd name="connsiteX10646" fmla="*/ 4323253 w 9310410"/>
              <a:gd name="connsiteY10646" fmla="*/ 3545305 h 5296383"/>
              <a:gd name="connsiteX10647" fmla="*/ 4323853 w 9310410"/>
              <a:gd name="connsiteY10647" fmla="*/ 3535117 h 5296383"/>
              <a:gd name="connsiteX10648" fmla="*/ 4325051 w 9310410"/>
              <a:gd name="connsiteY10648" fmla="*/ 3529124 h 5296383"/>
              <a:gd name="connsiteX10649" fmla="*/ 4322055 w 9310410"/>
              <a:gd name="connsiteY10649" fmla="*/ 3517738 h 5296383"/>
              <a:gd name="connsiteX10650" fmla="*/ 4320856 w 9310410"/>
              <a:gd name="connsiteY10650" fmla="*/ 3511746 h 5296383"/>
              <a:gd name="connsiteX10651" fmla="*/ 4317261 w 9310410"/>
              <a:gd name="connsiteY10651" fmla="*/ 3508150 h 5296383"/>
              <a:gd name="connsiteX10652" fmla="*/ 4314863 w 9310410"/>
              <a:gd name="connsiteY10652" fmla="*/ 3502757 h 5296383"/>
              <a:gd name="connsiteX10653" fmla="*/ 4311268 w 9310410"/>
              <a:gd name="connsiteY10653" fmla="*/ 3498562 h 5296383"/>
              <a:gd name="connsiteX10654" fmla="*/ 4308871 w 9310410"/>
              <a:gd name="connsiteY10654" fmla="*/ 3493767 h 5296383"/>
              <a:gd name="connsiteX10655" fmla="*/ 4305874 w 9310410"/>
              <a:gd name="connsiteY10655" fmla="*/ 3485377 h 5296383"/>
              <a:gd name="connsiteX10656" fmla="*/ 4302878 w 9310410"/>
              <a:gd name="connsiteY10656" fmla="*/ 3479984 h 5296383"/>
              <a:gd name="connsiteX10657" fmla="*/ 4297485 w 9310410"/>
              <a:gd name="connsiteY10657" fmla="*/ 3474591 h 5296383"/>
              <a:gd name="connsiteX10658" fmla="*/ 4296885 w 9310410"/>
              <a:gd name="connsiteY10658" fmla="*/ 3466201 h 5296383"/>
              <a:gd name="connsiteX10659" fmla="*/ 4295687 w 9310410"/>
              <a:gd name="connsiteY10659" fmla="*/ 3458410 h 5296383"/>
              <a:gd name="connsiteX10660" fmla="*/ 4293290 w 9310410"/>
              <a:gd name="connsiteY10660" fmla="*/ 3451219 h 5296383"/>
              <a:gd name="connsiteX10661" fmla="*/ 4287896 w 9310410"/>
              <a:gd name="connsiteY10661" fmla="*/ 3450020 h 5296383"/>
              <a:gd name="connsiteX10662" fmla="*/ 4280705 w 9310410"/>
              <a:gd name="connsiteY10662" fmla="*/ 3450020 h 5296383"/>
              <a:gd name="connsiteX10663" fmla="*/ 4277709 w 9310410"/>
              <a:gd name="connsiteY10663" fmla="*/ 3460208 h 5296383"/>
              <a:gd name="connsiteX10664" fmla="*/ 4274712 w 9310410"/>
              <a:gd name="connsiteY10664" fmla="*/ 3471594 h 5296383"/>
              <a:gd name="connsiteX10665" fmla="*/ 4271716 w 9310410"/>
              <a:gd name="connsiteY10665" fmla="*/ 3480583 h 5296383"/>
              <a:gd name="connsiteX10666" fmla="*/ 4269918 w 9310410"/>
              <a:gd name="connsiteY10666" fmla="*/ 3486576 h 5296383"/>
              <a:gd name="connsiteX10667" fmla="*/ 4263925 w 9310410"/>
              <a:gd name="connsiteY10667" fmla="*/ 3497363 h 5296383"/>
              <a:gd name="connsiteX10668" fmla="*/ 4271117 w 9310410"/>
              <a:gd name="connsiteY10668" fmla="*/ 3506352 h 5296383"/>
              <a:gd name="connsiteX10669" fmla="*/ 4269319 w 9310410"/>
              <a:gd name="connsiteY10669" fmla="*/ 3510547 h 5296383"/>
              <a:gd name="connsiteX10670" fmla="*/ 4262127 w 9310410"/>
              <a:gd name="connsiteY10670" fmla="*/ 3517139 h 5296383"/>
              <a:gd name="connsiteX10671" fmla="*/ 4267521 w 9310410"/>
              <a:gd name="connsiteY10671" fmla="*/ 3530323 h 5296383"/>
              <a:gd name="connsiteX10672" fmla="*/ 4266322 w 9310410"/>
              <a:gd name="connsiteY10672" fmla="*/ 3535717 h 5296383"/>
              <a:gd name="connsiteX10673" fmla="*/ 4261528 w 9310410"/>
              <a:gd name="connsiteY10673" fmla="*/ 3536915 h 5296383"/>
              <a:gd name="connsiteX10674" fmla="*/ 4260929 w 9310410"/>
              <a:gd name="connsiteY10674" fmla="*/ 3550698 h 5296383"/>
              <a:gd name="connsiteX10675" fmla="*/ 4262727 w 9310410"/>
              <a:gd name="connsiteY10675" fmla="*/ 3563882 h 5296383"/>
              <a:gd name="connsiteX10676" fmla="*/ 4263326 w 9310410"/>
              <a:gd name="connsiteY10676" fmla="*/ 3581860 h 5296383"/>
              <a:gd name="connsiteX10677" fmla="*/ 4262127 w 9310410"/>
              <a:gd name="connsiteY10677" fmla="*/ 3595044 h 5296383"/>
              <a:gd name="connsiteX10678" fmla="*/ 4260330 w 9310410"/>
              <a:gd name="connsiteY10678" fmla="*/ 3609427 h 5296383"/>
              <a:gd name="connsiteX10679" fmla="*/ 4262727 w 9310410"/>
              <a:gd name="connsiteY10679" fmla="*/ 3620214 h 5296383"/>
              <a:gd name="connsiteX10680" fmla="*/ 4257333 w 9310410"/>
              <a:gd name="connsiteY10680" fmla="*/ 3632200 h 5296383"/>
              <a:gd name="connsiteX10681" fmla="*/ 4253138 w 9310410"/>
              <a:gd name="connsiteY10681" fmla="*/ 3640590 h 5296383"/>
              <a:gd name="connsiteX10682" fmla="*/ 4248943 w 9310410"/>
              <a:gd name="connsiteY10682" fmla="*/ 3655571 h 5296383"/>
              <a:gd name="connsiteX10683" fmla="*/ 4241752 w 9310410"/>
              <a:gd name="connsiteY10683" fmla="*/ 3671152 h 5296383"/>
              <a:gd name="connsiteX10684" fmla="*/ 4224972 w 9310410"/>
              <a:gd name="connsiteY10684" fmla="*/ 3672950 h 5296383"/>
              <a:gd name="connsiteX10685" fmla="*/ 4214785 w 9310410"/>
              <a:gd name="connsiteY10685" fmla="*/ 3669355 h 5296383"/>
              <a:gd name="connsiteX10686" fmla="*/ 4199803 w 9310410"/>
              <a:gd name="connsiteY10686" fmla="*/ 3652575 h 5296383"/>
              <a:gd name="connsiteX10687" fmla="*/ 4193211 w 9310410"/>
              <a:gd name="connsiteY10687" fmla="*/ 3644784 h 5296383"/>
              <a:gd name="connsiteX10688" fmla="*/ 4184821 w 9310410"/>
              <a:gd name="connsiteY10688" fmla="*/ 3641788 h 5296383"/>
              <a:gd name="connsiteX10689" fmla="*/ 4174633 w 9310410"/>
              <a:gd name="connsiteY10689" fmla="*/ 3637593 h 5296383"/>
              <a:gd name="connsiteX10690" fmla="*/ 4159052 w 9310410"/>
              <a:gd name="connsiteY10690" fmla="*/ 3630402 h 5296383"/>
              <a:gd name="connsiteX10691" fmla="*/ 4150663 w 9310410"/>
              <a:gd name="connsiteY10691" fmla="*/ 3623210 h 5296383"/>
              <a:gd name="connsiteX10692" fmla="*/ 4144070 w 9310410"/>
              <a:gd name="connsiteY10692" fmla="*/ 3620813 h 5296383"/>
              <a:gd name="connsiteX10693" fmla="*/ 4139276 w 9310410"/>
              <a:gd name="connsiteY10693" fmla="*/ 3618416 h 5296383"/>
              <a:gd name="connsiteX10694" fmla="*/ 4133283 w 9310410"/>
              <a:gd name="connsiteY10694" fmla="*/ 3617218 h 5296383"/>
              <a:gd name="connsiteX10695" fmla="*/ 4127291 w 9310410"/>
              <a:gd name="connsiteY10695" fmla="*/ 3617218 h 5296383"/>
              <a:gd name="connsiteX10696" fmla="*/ 4121897 w 9310410"/>
              <a:gd name="connsiteY10696" fmla="*/ 3615420 h 5296383"/>
              <a:gd name="connsiteX10697" fmla="*/ 4114706 w 9310410"/>
              <a:gd name="connsiteY10697" fmla="*/ 3609427 h 5296383"/>
              <a:gd name="connsiteX10698" fmla="*/ 4105117 w 9310410"/>
              <a:gd name="connsiteY10698" fmla="*/ 3600438 h 5296383"/>
              <a:gd name="connsiteX10699" fmla="*/ 4096128 w 9310410"/>
              <a:gd name="connsiteY10699" fmla="*/ 3596842 h 5296383"/>
              <a:gd name="connsiteX10700" fmla="*/ 4093731 w 9310410"/>
              <a:gd name="connsiteY10700" fmla="*/ 3592648 h 5296383"/>
              <a:gd name="connsiteX10701" fmla="*/ 4094331 w 9310410"/>
              <a:gd name="connsiteY10701" fmla="*/ 3584258 h 5296383"/>
              <a:gd name="connsiteX10702" fmla="*/ 4089536 w 9310410"/>
              <a:gd name="connsiteY10702" fmla="*/ 3578864 h 5296383"/>
              <a:gd name="connsiteX10703" fmla="*/ 4091934 w 9310410"/>
              <a:gd name="connsiteY10703" fmla="*/ 3568077 h 5296383"/>
              <a:gd name="connsiteX10704" fmla="*/ 4098526 w 9310410"/>
              <a:gd name="connsiteY10704" fmla="*/ 3556092 h 5296383"/>
              <a:gd name="connsiteX10705" fmla="*/ 4103320 w 9310410"/>
              <a:gd name="connsiteY10705" fmla="*/ 3545904 h 5296383"/>
              <a:gd name="connsiteX10706" fmla="*/ 4099724 w 9310410"/>
              <a:gd name="connsiteY10706" fmla="*/ 3543507 h 5296383"/>
              <a:gd name="connsiteX10707" fmla="*/ 4094331 w 9310410"/>
              <a:gd name="connsiteY10707" fmla="*/ 3538713 h 5296383"/>
              <a:gd name="connsiteX10708" fmla="*/ 4101522 w 9310410"/>
              <a:gd name="connsiteY10708" fmla="*/ 3528525 h 5296383"/>
              <a:gd name="connsiteX10709" fmla="*/ 4108713 w 9310410"/>
              <a:gd name="connsiteY10709" fmla="*/ 3525529 h 5296383"/>
              <a:gd name="connsiteX10710" fmla="*/ 4112309 w 9310410"/>
              <a:gd name="connsiteY10710" fmla="*/ 3526727 h 5296383"/>
              <a:gd name="connsiteX10711" fmla="*/ 4116504 w 9310410"/>
              <a:gd name="connsiteY10711" fmla="*/ 3525529 h 5296383"/>
              <a:gd name="connsiteX10712" fmla="*/ 4120699 w 9310410"/>
              <a:gd name="connsiteY10712" fmla="*/ 3519536 h 5296383"/>
              <a:gd name="connsiteX10713" fmla="*/ 4117103 w 9310410"/>
              <a:gd name="connsiteY10713" fmla="*/ 3509348 h 5296383"/>
              <a:gd name="connsiteX10714" fmla="*/ 4117702 w 9310410"/>
              <a:gd name="connsiteY10714" fmla="*/ 3502757 h 5296383"/>
              <a:gd name="connsiteX10715" fmla="*/ 4123695 w 9310410"/>
              <a:gd name="connsiteY10715" fmla="*/ 3497363 h 5296383"/>
              <a:gd name="connsiteX10716" fmla="*/ 4123695 w 9310410"/>
              <a:gd name="connsiteY10716" fmla="*/ 3493168 h 5296383"/>
              <a:gd name="connsiteX10717" fmla="*/ 4117702 w 9310410"/>
              <a:gd name="connsiteY10717" fmla="*/ 3488374 h 5296383"/>
              <a:gd name="connsiteX10718" fmla="*/ 4110511 w 9310410"/>
              <a:gd name="connsiteY10718" fmla="*/ 3487775 h 5296383"/>
              <a:gd name="connsiteX10719" fmla="*/ 4108114 w 9310410"/>
              <a:gd name="connsiteY10719" fmla="*/ 3494367 h 5296383"/>
              <a:gd name="connsiteX10720" fmla="*/ 4108713 w 9310410"/>
              <a:gd name="connsiteY10720" fmla="*/ 3501558 h 5296383"/>
              <a:gd name="connsiteX10721" fmla="*/ 4104518 w 9310410"/>
              <a:gd name="connsiteY10721" fmla="*/ 3503955 h 5296383"/>
              <a:gd name="connsiteX10722" fmla="*/ 4097926 w 9310410"/>
              <a:gd name="connsiteY10722" fmla="*/ 3501558 h 5296383"/>
              <a:gd name="connsiteX10723" fmla="*/ 4097327 w 9310410"/>
              <a:gd name="connsiteY10723" fmla="*/ 3496764 h 5296383"/>
              <a:gd name="connsiteX10724" fmla="*/ 4096728 w 9310410"/>
              <a:gd name="connsiteY10724" fmla="*/ 3491370 h 5296383"/>
              <a:gd name="connsiteX10725" fmla="*/ 4089536 w 9310410"/>
              <a:gd name="connsiteY10725" fmla="*/ 3497962 h 5296383"/>
              <a:gd name="connsiteX10726" fmla="*/ 4091934 w 9310410"/>
              <a:gd name="connsiteY10726" fmla="*/ 3493168 h 5296383"/>
              <a:gd name="connsiteX10727" fmla="*/ 4087139 w 9310410"/>
              <a:gd name="connsiteY10727" fmla="*/ 3492569 h 5296383"/>
              <a:gd name="connsiteX10728" fmla="*/ 4067963 w 9310410"/>
              <a:gd name="connsiteY10728" fmla="*/ 3491969 h 5296383"/>
              <a:gd name="connsiteX10729" fmla="*/ 4059573 w 9310410"/>
              <a:gd name="connsiteY10729" fmla="*/ 3491969 h 5296383"/>
              <a:gd name="connsiteX10730" fmla="*/ 4048786 w 9310410"/>
              <a:gd name="connsiteY10730" fmla="*/ 3490172 h 5296383"/>
              <a:gd name="connsiteX10731" fmla="*/ 4039197 w 9310410"/>
              <a:gd name="connsiteY10731" fmla="*/ 3484778 h 5296383"/>
              <a:gd name="connsiteX10732" fmla="*/ 4019421 w 9310410"/>
              <a:gd name="connsiteY10732" fmla="*/ 3473392 h 5296383"/>
              <a:gd name="connsiteX10733" fmla="*/ 4009833 w 9310410"/>
              <a:gd name="connsiteY10733" fmla="*/ 3467399 h 5296383"/>
              <a:gd name="connsiteX10734" fmla="*/ 3999645 w 9310410"/>
              <a:gd name="connsiteY10734" fmla="*/ 3462006 h 5296383"/>
              <a:gd name="connsiteX10735" fmla="*/ 3991255 w 9310410"/>
              <a:gd name="connsiteY10735" fmla="*/ 3462605 h 5296383"/>
              <a:gd name="connsiteX10736" fmla="*/ 3987660 w 9310410"/>
              <a:gd name="connsiteY10736" fmla="*/ 3463204 h 5296383"/>
              <a:gd name="connsiteX10737" fmla="*/ 3982266 w 9310410"/>
              <a:gd name="connsiteY10737" fmla="*/ 3466201 h 5296383"/>
              <a:gd name="connsiteX10738" fmla="*/ 3996649 w 9310410"/>
              <a:gd name="connsiteY10738" fmla="*/ 3469796 h 5296383"/>
              <a:gd name="connsiteX10739" fmla="*/ 4003241 w 9310410"/>
              <a:gd name="connsiteY10739" fmla="*/ 3478186 h 5296383"/>
              <a:gd name="connsiteX10740" fmla="*/ 4007436 w 9310410"/>
              <a:gd name="connsiteY10740" fmla="*/ 3491969 h 5296383"/>
              <a:gd name="connsiteX10741" fmla="*/ 4006237 w 9310410"/>
              <a:gd name="connsiteY10741" fmla="*/ 3496764 h 5296383"/>
              <a:gd name="connsiteX10742" fmla="*/ 4002642 w 9310410"/>
              <a:gd name="connsiteY10742" fmla="*/ 3500958 h 5296383"/>
              <a:gd name="connsiteX10743" fmla="*/ 3997848 w 9310410"/>
              <a:gd name="connsiteY10743" fmla="*/ 3500359 h 5296383"/>
              <a:gd name="connsiteX10744" fmla="*/ 3982866 w 9310410"/>
              <a:gd name="connsiteY10744" fmla="*/ 3494966 h 5296383"/>
              <a:gd name="connsiteX10745" fmla="*/ 3965487 w 9310410"/>
              <a:gd name="connsiteY10745" fmla="*/ 3492569 h 5296383"/>
              <a:gd name="connsiteX10746" fmla="*/ 3961292 w 9310410"/>
              <a:gd name="connsiteY10746" fmla="*/ 3493767 h 5296383"/>
              <a:gd name="connsiteX10747" fmla="*/ 3958295 w 9310410"/>
              <a:gd name="connsiteY10747" fmla="*/ 3494966 h 5296383"/>
              <a:gd name="connsiteX10748" fmla="*/ 3949906 w 9310410"/>
              <a:gd name="connsiteY10748" fmla="*/ 3502757 h 5296383"/>
              <a:gd name="connsiteX10749" fmla="*/ 3945711 w 9310410"/>
              <a:gd name="connsiteY10749" fmla="*/ 3504554 h 5296383"/>
              <a:gd name="connsiteX10750" fmla="*/ 3945112 w 9310410"/>
              <a:gd name="connsiteY10750" fmla="*/ 3499161 h 5296383"/>
              <a:gd name="connsiteX10751" fmla="*/ 3942714 w 9310410"/>
              <a:gd name="connsiteY10751" fmla="*/ 3508150 h 5296383"/>
              <a:gd name="connsiteX10752" fmla="*/ 3939718 w 9310410"/>
              <a:gd name="connsiteY10752" fmla="*/ 3511146 h 5296383"/>
              <a:gd name="connsiteX10753" fmla="*/ 3932527 w 9310410"/>
              <a:gd name="connsiteY10753" fmla="*/ 3518337 h 5296383"/>
              <a:gd name="connsiteX10754" fmla="*/ 3934924 w 9310410"/>
              <a:gd name="connsiteY10754" fmla="*/ 3529724 h 5296383"/>
              <a:gd name="connsiteX10755" fmla="*/ 3934924 w 9310410"/>
              <a:gd name="connsiteY10755" fmla="*/ 3534518 h 5296383"/>
              <a:gd name="connsiteX10756" fmla="*/ 3927133 w 9310410"/>
              <a:gd name="connsiteY10756" fmla="*/ 3538113 h 5296383"/>
              <a:gd name="connsiteX10757" fmla="*/ 3922938 w 9310410"/>
              <a:gd name="connsiteY10757" fmla="*/ 3548301 h 5296383"/>
              <a:gd name="connsiteX10758" fmla="*/ 3918743 w 9310410"/>
              <a:gd name="connsiteY10758" fmla="*/ 3557290 h 5296383"/>
              <a:gd name="connsiteX10759" fmla="*/ 3916946 w 9310410"/>
              <a:gd name="connsiteY10759" fmla="*/ 3572272 h 5296383"/>
              <a:gd name="connsiteX10760" fmla="*/ 3922339 w 9310410"/>
              <a:gd name="connsiteY10760" fmla="*/ 3577066 h 5296383"/>
              <a:gd name="connsiteX10761" fmla="*/ 3927733 w 9310410"/>
              <a:gd name="connsiteY10761" fmla="*/ 3581261 h 5296383"/>
              <a:gd name="connsiteX10762" fmla="*/ 3927133 w 9310410"/>
              <a:gd name="connsiteY10762" fmla="*/ 3585456 h 5296383"/>
              <a:gd name="connsiteX10763" fmla="*/ 3922938 w 9310410"/>
              <a:gd name="connsiteY10763" fmla="*/ 3591449 h 5296383"/>
              <a:gd name="connsiteX10764" fmla="*/ 3918743 w 9310410"/>
              <a:gd name="connsiteY10764" fmla="*/ 3590850 h 5296383"/>
              <a:gd name="connsiteX10765" fmla="*/ 3910353 w 9310410"/>
              <a:gd name="connsiteY10765" fmla="*/ 3590850 h 5296383"/>
              <a:gd name="connsiteX10766" fmla="*/ 3905559 w 9310410"/>
              <a:gd name="connsiteY10766" fmla="*/ 3592048 h 5296383"/>
              <a:gd name="connsiteX10767" fmla="*/ 3886982 w 9310410"/>
              <a:gd name="connsiteY10767" fmla="*/ 3587853 h 5296383"/>
              <a:gd name="connsiteX10768" fmla="*/ 3881588 w 9310410"/>
              <a:gd name="connsiteY10768" fmla="*/ 3595644 h 5296383"/>
              <a:gd name="connsiteX10769" fmla="*/ 3874997 w 9310410"/>
              <a:gd name="connsiteY10769" fmla="*/ 3602835 h 5296383"/>
              <a:gd name="connsiteX10770" fmla="*/ 3873199 w 9310410"/>
              <a:gd name="connsiteY10770" fmla="*/ 3589651 h 5296383"/>
              <a:gd name="connsiteX10771" fmla="*/ 3866007 w 9310410"/>
              <a:gd name="connsiteY10771" fmla="*/ 3574070 h 5296383"/>
              <a:gd name="connsiteX10772" fmla="*/ 3848029 w 9310410"/>
              <a:gd name="connsiteY10772" fmla="*/ 3557290 h 5296383"/>
              <a:gd name="connsiteX10773" fmla="*/ 3837841 w 9310410"/>
              <a:gd name="connsiteY10773" fmla="*/ 3553095 h 5296383"/>
              <a:gd name="connsiteX10774" fmla="*/ 3837242 w 9310410"/>
              <a:gd name="connsiteY10774" fmla="*/ 3557290 h 5296383"/>
              <a:gd name="connsiteX10775" fmla="*/ 3833646 w 9310410"/>
              <a:gd name="connsiteY10775" fmla="*/ 3561485 h 5296383"/>
              <a:gd name="connsiteX10776" fmla="*/ 3828253 w 9310410"/>
              <a:gd name="connsiteY10776" fmla="*/ 3560886 h 5296383"/>
              <a:gd name="connsiteX10777" fmla="*/ 3822260 w 9310410"/>
              <a:gd name="connsiteY10777" fmla="*/ 3559688 h 5296383"/>
              <a:gd name="connsiteX10778" fmla="*/ 3819863 w 9310410"/>
              <a:gd name="connsiteY10778" fmla="*/ 3566279 h 5296383"/>
              <a:gd name="connsiteX10779" fmla="*/ 3816867 w 9310410"/>
              <a:gd name="connsiteY10779" fmla="*/ 3562084 h 5296383"/>
              <a:gd name="connsiteX10780" fmla="*/ 3818065 w 9310410"/>
              <a:gd name="connsiteY10780" fmla="*/ 3557290 h 5296383"/>
              <a:gd name="connsiteX10781" fmla="*/ 3815069 w 9310410"/>
              <a:gd name="connsiteY10781" fmla="*/ 3554893 h 5296383"/>
              <a:gd name="connsiteX10782" fmla="*/ 3810874 w 9310410"/>
              <a:gd name="connsiteY10782" fmla="*/ 3562684 h 5296383"/>
              <a:gd name="connsiteX10783" fmla="*/ 3806679 w 9310410"/>
              <a:gd name="connsiteY10783" fmla="*/ 3569276 h 5296383"/>
              <a:gd name="connsiteX10784" fmla="*/ 3803084 w 9310410"/>
              <a:gd name="connsiteY10784" fmla="*/ 3574669 h 5296383"/>
              <a:gd name="connsiteX10785" fmla="*/ 3800686 w 9310410"/>
              <a:gd name="connsiteY10785" fmla="*/ 3572272 h 5296383"/>
              <a:gd name="connsiteX10786" fmla="*/ 3797091 w 9310410"/>
              <a:gd name="connsiteY10786" fmla="*/ 3572871 h 5296383"/>
              <a:gd name="connsiteX10787" fmla="*/ 3791697 w 9310410"/>
              <a:gd name="connsiteY10787" fmla="*/ 3578265 h 5296383"/>
              <a:gd name="connsiteX10788" fmla="*/ 3789300 w 9310410"/>
              <a:gd name="connsiteY10788" fmla="*/ 3589052 h 5296383"/>
              <a:gd name="connsiteX10789" fmla="*/ 3798290 w 9310410"/>
              <a:gd name="connsiteY10789" fmla="*/ 3593247 h 5296383"/>
              <a:gd name="connsiteX10790" fmla="*/ 3799488 w 9310410"/>
              <a:gd name="connsiteY10790" fmla="*/ 3597442 h 5296383"/>
              <a:gd name="connsiteX10791" fmla="*/ 3791098 w 9310410"/>
              <a:gd name="connsiteY10791" fmla="*/ 3598640 h 5296383"/>
              <a:gd name="connsiteX10792" fmla="*/ 3782708 w 9310410"/>
              <a:gd name="connsiteY10792" fmla="*/ 3601637 h 5296383"/>
              <a:gd name="connsiteX10793" fmla="*/ 3788701 w 9310410"/>
              <a:gd name="connsiteY10793" fmla="*/ 3605232 h 5296383"/>
              <a:gd name="connsiteX10794" fmla="*/ 3791098 w 9310410"/>
              <a:gd name="connsiteY10794" fmla="*/ 3609427 h 5296383"/>
              <a:gd name="connsiteX10795" fmla="*/ 3786903 w 9310410"/>
              <a:gd name="connsiteY10795" fmla="*/ 3611824 h 5296383"/>
              <a:gd name="connsiteX10796" fmla="*/ 3778513 w 9310410"/>
              <a:gd name="connsiteY10796" fmla="*/ 3612424 h 5296383"/>
              <a:gd name="connsiteX10797" fmla="*/ 3776715 w 9310410"/>
              <a:gd name="connsiteY10797" fmla="*/ 3623810 h 5296383"/>
              <a:gd name="connsiteX10798" fmla="*/ 3777315 w 9310410"/>
              <a:gd name="connsiteY10798" fmla="*/ 3628005 h 5296383"/>
              <a:gd name="connsiteX10799" fmla="*/ 3771921 w 9310410"/>
              <a:gd name="connsiteY10799" fmla="*/ 3633997 h 5296383"/>
              <a:gd name="connsiteX10800" fmla="*/ 3777914 w 9310410"/>
              <a:gd name="connsiteY10800" fmla="*/ 3638192 h 5296383"/>
              <a:gd name="connsiteX10801" fmla="*/ 3786304 w 9310410"/>
              <a:gd name="connsiteY10801" fmla="*/ 3639990 h 5296383"/>
              <a:gd name="connsiteX10802" fmla="*/ 3780910 w 9310410"/>
              <a:gd name="connsiteY10802" fmla="*/ 3642387 h 5296383"/>
              <a:gd name="connsiteX10803" fmla="*/ 3775517 w 9310410"/>
              <a:gd name="connsiteY10803" fmla="*/ 3644784 h 5296383"/>
              <a:gd name="connsiteX10804" fmla="*/ 3767726 w 9310410"/>
              <a:gd name="connsiteY10804" fmla="*/ 3644185 h 5296383"/>
              <a:gd name="connsiteX10805" fmla="*/ 3759337 w 9310410"/>
              <a:gd name="connsiteY10805" fmla="*/ 3641788 h 5296383"/>
              <a:gd name="connsiteX10806" fmla="*/ 3754542 w 9310410"/>
              <a:gd name="connsiteY10806" fmla="*/ 3637593 h 5296383"/>
              <a:gd name="connsiteX10807" fmla="*/ 3749149 w 9310410"/>
              <a:gd name="connsiteY10807" fmla="*/ 3632200 h 5296383"/>
              <a:gd name="connsiteX10808" fmla="*/ 3748549 w 9310410"/>
              <a:gd name="connsiteY10808" fmla="*/ 3638791 h 5296383"/>
              <a:gd name="connsiteX10809" fmla="*/ 3747950 w 9310410"/>
              <a:gd name="connsiteY10809" fmla="*/ 3641788 h 5296383"/>
              <a:gd name="connsiteX10810" fmla="*/ 3750947 w 9310410"/>
              <a:gd name="connsiteY10810" fmla="*/ 3649579 h 5296383"/>
              <a:gd name="connsiteX10811" fmla="*/ 3758737 w 9310410"/>
              <a:gd name="connsiteY10811" fmla="*/ 3659766 h 5296383"/>
              <a:gd name="connsiteX10812" fmla="*/ 3754542 w 9310410"/>
              <a:gd name="connsiteY10812" fmla="*/ 3662163 h 5296383"/>
              <a:gd name="connsiteX10813" fmla="*/ 3750348 w 9310410"/>
              <a:gd name="connsiteY10813" fmla="*/ 3664560 h 5296383"/>
              <a:gd name="connsiteX10814" fmla="*/ 3747351 w 9310410"/>
              <a:gd name="connsiteY10814" fmla="*/ 3666957 h 5296383"/>
              <a:gd name="connsiteX10815" fmla="*/ 3732369 w 9310410"/>
              <a:gd name="connsiteY10815" fmla="*/ 3647181 h 5296383"/>
              <a:gd name="connsiteX10816" fmla="*/ 3725777 w 9310410"/>
              <a:gd name="connsiteY10816" fmla="*/ 3643586 h 5296383"/>
              <a:gd name="connsiteX10817" fmla="*/ 3719784 w 9310410"/>
              <a:gd name="connsiteY10817" fmla="*/ 3653174 h 5296383"/>
              <a:gd name="connsiteX10818" fmla="*/ 3710196 w 9310410"/>
              <a:gd name="connsiteY10818" fmla="*/ 3663362 h 5296383"/>
              <a:gd name="connsiteX10819" fmla="*/ 3708998 w 9310410"/>
              <a:gd name="connsiteY10819" fmla="*/ 3676546 h 5296383"/>
              <a:gd name="connsiteX10820" fmla="*/ 3709597 w 9310410"/>
              <a:gd name="connsiteY10820" fmla="*/ 3685535 h 5296383"/>
              <a:gd name="connsiteX10821" fmla="*/ 3711994 w 9310410"/>
              <a:gd name="connsiteY10821" fmla="*/ 3689730 h 5296383"/>
              <a:gd name="connsiteX10822" fmla="*/ 3711994 w 9310410"/>
              <a:gd name="connsiteY10822" fmla="*/ 3696322 h 5296383"/>
              <a:gd name="connsiteX10823" fmla="*/ 3704203 w 9310410"/>
              <a:gd name="connsiteY10823" fmla="*/ 3702914 h 5296383"/>
              <a:gd name="connsiteX10824" fmla="*/ 3696413 w 9310410"/>
              <a:gd name="connsiteY10824" fmla="*/ 3715499 h 5296383"/>
              <a:gd name="connsiteX10825" fmla="*/ 3681431 w 9310410"/>
              <a:gd name="connsiteY10825" fmla="*/ 3744264 h 5296383"/>
              <a:gd name="connsiteX10826" fmla="*/ 3655662 w 9310410"/>
              <a:gd name="connsiteY10826" fmla="*/ 3758646 h 5296383"/>
              <a:gd name="connsiteX10827" fmla="*/ 3637684 w 9310410"/>
              <a:gd name="connsiteY10827" fmla="*/ 3761643 h 5296383"/>
              <a:gd name="connsiteX10828" fmla="*/ 3625099 w 9310410"/>
              <a:gd name="connsiteY10828" fmla="*/ 3768235 h 5296383"/>
              <a:gd name="connsiteX10829" fmla="*/ 3610716 w 9310410"/>
              <a:gd name="connsiteY10829" fmla="*/ 3776624 h 5296383"/>
              <a:gd name="connsiteX10830" fmla="*/ 3598731 w 9310410"/>
              <a:gd name="connsiteY10830" fmla="*/ 3782018 h 5296383"/>
              <a:gd name="connsiteX10831" fmla="*/ 3589143 w 9310410"/>
              <a:gd name="connsiteY10831" fmla="*/ 3787412 h 5296383"/>
              <a:gd name="connsiteX10832" fmla="*/ 3580753 w 9310410"/>
              <a:gd name="connsiteY10832" fmla="*/ 3787412 h 5296383"/>
              <a:gd name="connsiteX10833" fmla="*/ 3575360 w 9310410"/>
              <a:gd name="connsiteY10833" fmla="*/ 3785614 h 5296383"/>
              <a:gd name="connsiteX10834" fmla="*/ 3567569 w 9310410"/>
              <a:gd name="connsiteY10834" fmla="*/ 3782617 h 5296383"/>
              <a:gd name="connsiteX10835" fmla="*/ 3559778 w 9310410"/>
              <a:gd name="connsiteY10835" fmla="*/ 3784415 h 5296383"/>
              <a:gd name="connsiteX10836" fmla="*/ 3545396 w 9310410"/>
              <a:gd name="connsiteY10836" fmla="*/ 3794004 h 5296383"/>
              <a:gd name="connsiteX10837" fmla="*/ 3537006 w 9310410"/>
              <a:gd name="connsiteY10837" fmla="*/ 3801195 h 5296383"/>
              <a:gd name="connsiteX10838" fmla="*/ 3534009 w 9310410"/>
              <a:gd name="connsiteY10838" fmla="*/ 3808386 h 5296383"/>
              <a:gd name="connsiteX10839" fmla="*/ 3527418 w 9310410"/>
              <a:gd name="connsiteY10839" fmla="*/ 3815577 h 5296383"/>
              <a:gd name="connsiteX10840" fmla="*/ 3514234 w 9310410"/>
              <a:gd name="connsiteY10840" fmla="*/ 3822169 h 5296383"/>
              <a:gd name="connsiteX10841" fmla="*/ 3499851 w 9310410"/>
              <a:gd name="connsiteY10841" fmla="*/ 3835354 h 5296383"/>
              <a:gd name="connsiteX10842" fmla="*/ 3496854 w 9310410"/>
              <a:gd name="connsiteY10842" fmla="*/ 3852133 h 5296383"/>
              <a:gd name="connsiteX10843" fmla="*/ 3491461 w 9310410"/>
              <a:gd name="connsiteY10843" fmla="*/ 3844942 h 5296383"/>
              <a:gd name="connsiteX10844" fmla="*/ 3489064 w 9310410"/>
              <a:gd name="connsiteY10844" fmla="*/ 3831758 h 5296383"/>
              <a:gd name="connsiteX10845" fmla="*/ 3484869 w 9310410"/>
              <a:gd name="connsiteY10845" fmla="*/ 3825765 h 5296383"/>
              <a:gd name="connsiteX10846" fmla="*/ 3484270 w 9310410"/>
              <a:gd name="connsiteY10846" fmla="*/ 3843743 h 5296383"/>
              <a:gd name="connsiteX10847" fmla="*/ 3486068 w 9310410"/>
              <a:gd name="connsiteY10847" fmla="*/ 3856927 h 5296383"/>
              <a:gd name="connsiteX10848" fmla="*/ 3489064 w 9310410"/>
              <a:gd name="connsiteY10848" fmla="*/ 3873707 h 5296383"/>
              <a:gd name="connsiteX10849" fmla="*/ 3484869 w 9310410"/>
              <a:gd name="connsiteY10849" fmla="*/ 3895281 h 5296383"/>
              <a:gd name="connsiteX10850" fmla="*/ 3484270 w 9310410"/>
              <a:gd name="connsiteY10850" fmla="*/ 3919851 h 5296383"/>
              <a:gd name="connsiteX10851" fmla="*/ 3488465 w 9310410"/>
              <a:gd name="connsiteY10851" fmla="*/ 3933035 h 5296383"/>
              <a:gd name="connsiteX10852" fmla="*/ 3492660 w 9310410"/>
              <a:gd name="connsiteY10852" fmla="*/ 3940227 h 5296383"/>
              <a:gd name="connsiteX10853" fmla="*/ 3496255 w 9310410"/>
              <a:gd name="connsiteY10853" fmla="*/ 3946219 h 5296383"/>
              <a:gd name="connsiteX10854" fmla="*/ 3499252 w 9310410"/>
              <a:gd name="connsiteY10854" fmla="*/ 3951612 h 5296383"/>
              <a:gd name="connsiteX10855" fmla="*/ 3510039 w 9310410"/>
              <a:gd name="connsiteY10855" fmla="*/ 3963598 h 5296383"/>
              <a:gd name="connsiteX10856" fmla="*/ 3512436 w 9310410"/>
              <a:gd name="connsiteY10856" fmla="*/ 3976782 h 5296383"/>
              <a:gd name="connsiteX10857" fmla="*/ 3508241 w 9310410"/>
              <a:gd name="connsiteY10857" fmla="*/ 3971388 h 5296383"/>
              <a:gd name="connsiteX10858" fmla="*/ 3502847 w 9310410"/>
              <a:gd name="connsiteY10858" fmla="*/ 3968992 h 5296383"/>
              <a:gd name="connsiteX10859" fmla="*/ 3498653 w 9310410"/>
              <a:gd name="connsiteY10859" fmla="*/ 3965396 h 5296383"/>
              <a:gd name="connsiteX10860" fmla="*/ 3490263 w 9310410"/>
              <a:gd name="connsiteY10860" fmla="*/ 3952212 h 5296383"/>
              <a:gd name="connsiteX10861" fmla="*/ 3492660 w 9310410"/>
              <a:gd name="connsiteY10861" fmla="*/ 3960602 h 5296383"/>
              <a:gd name="connsiteX10862" fmla="*/ 3501049 w 9310410"/>
              <a:gd name="connsiteY10862" fmla="*/ 3976183 h 5296383"/>
              <a:gd name="connsiteX10863" fmla="*/ 3503447 w 9310410"/>
              <a:gd name="connsiteY10863" fmla="*/ 3986370 h 5296383"/>
              <a:gd name="connsiteX10864" fmla="*/ 3495057 w 9310410"/>
              <a:gd name="connsiteY10864" fmla="*/ 3977981 h 5296383"/>
              <a:gd name="connsiteX10865" fmla="*/ 3489663 w 9310410"/>
              <a:gd name="connsiteY10865" fmla="*/ 3974385 h 5296383"/>
              <a:gd name="connsiteX10866" fmla="*/ 3489663 w 9310410"/>
              <a:gd name="connsiteY10866" fmla="*/ 3979778 h 5296383"/>
              <a:gd name="connsiteX10867" fmla="*/ 3499252 w 9310410"/>
              <a:gd name="connsiteY10867" fmla="*/ 3993562 h 5296383"/>
              <a:gd name="connsiteX10868" fmla="*/ 3514833 w 9310410"/>
              <a:gd name="connsiteY10868" fmla="*/ 4013937 h 5296383"/>
              <a:gd name="connsiteX10869" fmla="*/ 3520226 w 9310410"/>
              <a:gd name="connsiteY10869" fmla="*/ 4033114 h 5296383"/>
              <a:gd name="connsiteX10870" fmla="*/ 3526219 w 9310410"/>
              <a:gd name="connsiteY10870" fmla="*/ 4049894 h 5296383"/>
              <a:gd name="connsiteX10871" fmla="*/ 3529215 w 9310410"/>
              <a:gd name="connsiteY10871" fmla="*/ 4063078 h 5296383"/>
              <a:gd name="connsiteX10872" fmla="*/ 3540002 w 9310410"/>
              <a:gd name="connsiteY10872" fmla="*/ 4077460 h 5296383"/>
              <a:gd name="connsiteX10873" fmla="*/ 3551988 w 9310410"/>
              <a:gd name="connsiteY10873" fmla="*/ 4104427 h 5296383"/>
              <a:gd name="connsiteX10874" fmla="*/ 3566370 w 9310410"/>
              <a:gd name="connsiteY10874" fmla="*/ 4141582 h 5296383"/>
              <a:gd name="connsiteX10875" fmla="*/ 3578356 w 9310410"/>
              <a:gd name="connsiteY10875" fmla="*/ 4163756 h 5296383"/>
              <a:gd name="connsiteX10876" fmla="*/ 3582551 w 9310410"/>
              <a:gd name="connsiteY10876" fmla="*/ 4182333 h 5296383"/>
              <a:gd name="connsiteX10877" fmla="*/ 3584948 w 9310410"/>
              <a:gd name="connsiteY10877" fmla="*/ 4190123 h 5296383"/>
              <a:gd name="connsiteX10878" fmla="*/ 3584349 w 9310410"/>
              <a:gd name="connsiteY10878" fmla="*/ 4192521 h 5296383"/>
              <a:gd name="connsiteX10879" fmla="*/ 3583749 w 9310410"/>
              <a:gd name="connsiteY10879" fmla="*/ 4199113 h 5296383"/>
              <a:gd name="connsiteX10880" fmla="*/ 3584349 w 9310410"/>
              <a:gd name="connsiteY10880" fmla="*/ 4220087 h 5296383"/>
              <a:gd name="connsiteX10881" fmla="*/ 3575959 w 9310410"/>
              <a:gd name="connsiteY10881" fmla="*/ 4225481 h 5296383"/>
              <a:gd name="connsiteX10882" fmla="*/ 3571764 w 9310410"/>
              <a:gd name="connsiteY10882" fmla="*/ 4226680 h 5296383"/>
              <a:gd name="connsiteX10883" fmla="*/ 3572363 w 9310410"/>
              <a:gd name="connsiteY10883" fmla="*/ 4241661 h 5296383"/>
              <a:gd name="connsiteX10884" fmla="*/ 3578356 w 9310410"/>
              <a:gd name="connsiteY10884" fmla="*/ 4251250 h 5296383"/>
              <a:gd name="connsiteX10885" fmla="*/ 3586746 w 9310410"/>
              <a:gd name="connsiteY10885" fmla="*/ 4253647 h 5296383"/>
              <a:gd name="connsiteX10886" fmla="*/ 3605323 w 9310410"/>
              <a:gd name="connsiteY10886" fmla="*/ 4264434 h 5296383"/>
              <a:gd name="connsiteX10887" fmla="*/ 3612515 w 9310410"/>
              <a:gd name="connsiteY10887" fmla="*/ 4268629 h 5296383"/>
              <a:gd name="connsiteX10888" fmla="*/ 3621504 w 9310410"/>
              <a:gd name="connsiteY10888" fmla="*/ 4271026 h 5296383"/>
              <a:gd name="connsiteX10889" fmla="*/ 3627496 w 9310410"/>
              <a:gd name="connsiteY10889" fmla="*/ 4270426 h 5296383"/>
              <a:gd name="connsiteX10890" fmla="*/ 3637684 w 9310410"/>
              <a:gd name="connsiteY10890" fmla="*/ 4272824 h 5296383"/>
              <a:gd name="connsiteX10891" fmla="*/ 3652666 w 9310410"/>
              <a:gd name="connsiteY10891" fmla="*/ 4273423 h 5296383"/>
              <a:gd name="connsiteX10892" fmla="*/ 3664651 w 9310410"/>
              <a:gd name="connsiteY10892" fmla="*/ 4269827 h 5296383"/>
              <a:gd name="connsiteX10893" fmla="*/ 3667048 w 9310410"/>
              <a:gd name="connsiteY10893" fmla="*/ 4266231 h 5296383"/>
              <a:gd name="connsiteX10894" fmla="*/ 3671243 w 9310410"/>
              <a:gd name="connsiteY10894" fmla="*/ 4259640 h 5296383"/>
              <a:gd name="connsiteX10895" fmla="*/ 3678435 w 9310410"/>
              <a:gd name="connsiteY10895" fmla="*/ 4251849 h 5296383"/>
              <a:gd name="connsiteX10896" fmla="*/ 3689222 w 9310410"/>
              <a:gd name="connsiteY10896" fmla="*/ 4249452 h 5296383"/>
              <a:gd name="connsiteX10897" fmla="*/ 3697012 w 9310410"/>
              <a:gd name="connsiteY10897" fmla="*/ 4242860 h 5296383"/>
              <a:gd name="connsiteX10898" fmla="*/ 3710795 w 9310410"/>
              <a:gd name="connsiteY10898" fmla="*/ 4232073 h 5296383"/>
              <a:gd name="connsiteX10899" fmla="*/ 3718586 w 9310410"/>
              <a:gd name="connsiteY10899" fmla="*/ 4229676 h 5296383"/>
              <a:gd name="connsiteX10900" fmla="*/ 3736564 w 9310410"/>
              <a:gd name="connsiteY10900" fmla="*/ 4229076 h 5296383"/>
              <a:gd name="connsiteX10901" fmla="*/ 3749748 w 9310410"/>
              <a:gd name="connsiteY10901" fmla="*/ 4228477 h 5296383"/>
              <a:gd name="connsiteX10902" fmla="*/ 3762932 w 9310410"/>
              <a:gd name="connsiteY10902" fmla="*/ 4227878 h 5296383"/>
              <a:gd name="connsiteX10903" fmla="*/ 3770124 w 9310410"/>
              <a:gd name="connsiteY10903" fmla="*/ 4230275 h 5296383"/>
              <a:gd name="connsiteX10904" fmla="*/ 3783907 w 9310410"/>
              <a:gd name="connsiteY10904" fmla="*/ 4223683 h 5296383"/>
              <a:gd name="connsiteX10905" fmla="*/ 3790499 w 9310410"/>
              <a:gd name="connsiteY10905" fmla="*/ 4229076 h 5296383"/>
              <a:gd name="connsiteX10906" fmla="*/ 3795892 w 9310410"/>
              <a:gd name="connsiteY10906" fmla="*/ 4229676 h 5296383"/>
              <a:gd name="connsiteX10907" fmla="*/ 3809675 w 9310410"/>
              <a:gd name="connsiteY10907" fmla="*/ 4216492 h 5296383"/>
              <a:gd name="connsiteX10908" fmla="*/ 3822260 w 9310410"/>
              <a:gd name="connsiteY10908" fmla="*/ 4191922 h 5296383"/>
              <a:gd name="connsiteX10909" fmla="*/ 3840838 w 9310410"/>
              <a:gd name="connsiteY10909" fmla="*/ 4181134 h 5296383"/>
              <a:gd name="connsiteX10910" fmla="*/ 3870202 w 9310410"/>
              <a:gd name="connsiteY10910" fmla="*/ 4169748 h 5296383"/>
              <a:gd name="connsiteX10911" fmla="*/ 3900166 w 9310410"/>
              <a:gd name="connsiteY10911" fmla="*/ 4167351 h 5296383"/>
              <a:gd name="connsiteX10912" fmla="*/ 3917545 w 9310410"/>
              <a:gd name="connsiteY10912" fmla="*/ 4161958 h 5296383"/>
              <a:gd name="connsiteX10913" fmla="*/ 3927733 w 9310410"/>
              <a:gd name="connsiteY10913" fmla="*/ 4156564 h 5296383"/>
              <a:gd name="connsiteX10914" fmla="*/ 3945711 w 9310410"/>
              <a:gd name="connsiteY10914" fmla="*/ 4144579 h 5296383"/>
              <a:gd name="connsiteX10915" fmla="*/ 3978072 w 9310410"/>
              <a:gd name="connsiteY10915" fmla="*/ 4139785 h 5296383"/>
              <a:gd name="connsiteX10916" fmla="*/ 3992454 w 9310410"/>
              <a:gd name="connsiteY10916" fmla="*/ 4137387 h 5296383"/>
              <a:gd name="connsiteX10917" fmla="*/ 4002642 w 9310410"/>
              <a:gd name="connsiteY10917" fmla="*/ 4137387 h 5296383"/>
              <a:gd name="connsiteX10918" fmla="*/ 4021219 w 9310410"/>
              <a:gd name="connsiteY10918" fmla="*/ 4154767 h 5296383"/>
              <a:gd name="connsiteX10919" fmla="*/ 4032605 w 9310410"/>
              <a:gd name="connsiteY10919" fmla="*/ 4159561 h 5296383"/>
              <a:gd name="connsiteX10920" fmla="*/ 4044591 w 9310410"/>
              <a:gd name="connsiteY10920" fmla="*/ 4159561 h 5296383"/>
              <a:gd name="connsiteX10921" fmla="*/ 4058974 w 9310410"/>
              <a:gd name="connsiteY10921" fmla="*/ 4160759 h 5296383"/>
              <a:gd name="connsiteX10922" fmla="*/ 4069161 w 9310410"/>
              <a:gd name="connsiteY10922" fmla="*/ 4164355 h 5296383"/>
              <a:gd name="connsiteX10923" fmla="*/ 4071558 w 9310410"/>
              <a:gd name="connsiteY10923" fmla="*/ 4171546 h 5296383"/>
              <a:gd name="connsiteX10924" fmla="*/ 4078150 w 9310410"/>
              <a:gd name="connsiteY10924" fmla="*/ 4174542 h 5296383"/>
              <a:gd name="connsiteX10925" fmla="*/ 4083544 w 9310410"/>
              <a:gd name="connsiteY10925" fmla="*/ 4181734 h 5296383"/>
              <a:gd name="connsiteX10926" fmla="*/ 4082945 w 9310410"/>
              <a:gd name="connsiteY10926" fmla="*/ 4188326 h 5296383"/>
              <a:gd name="connsiteX10927" fmla="*/ 4087739 w 9310410"/>
              <a:gd name="connsiteY10927" fmla="*/ 4194319 h 5296383"/>
              <a:gd name="connsiteX10928" fmla="*/ 4094331 w 9310410"/>
              <a:gd name="connsiteY10928" fmla="*/ 4196716 h 5296383"/>
              <a:gd name="connsiteX10929" fmla="*/ 4101522 w 9310410"/>
              <a:gd name="connsiteY10929" fmla="*/ 4206304 h 5296383"/>
              <a:gd name="connsiteX10930" fmla="*/ 4107515 w 9310410"/>
              <a:gd name="connsiteY10930" fmla="*/ 4213495 h 5296383"/>
              <a:gd name="connsiteX10931" fmla="*/ 4114706 w 9310410"/>
              <a:gd name="connsiteY10931" fmla="*/ 4228477 h 5296383"/>
              <a:gd name="connsiteX10932" fmla="*/ 4117103 w 9310410"/>
              <a:gd name="connsiteY10932" fmla="*/ 4240463 h 5296383"/>
              <a:gd name="connsiteX10933" fmla="*/ 4115305 w 9310410"/>
              <a:gd name="connsiteY10933" fmla="*/ 4243459 h 5296383"/>
              <a:gd name="connsiteX10934" fmla="*/ 4116504 w 9310410"/>
              <a:gd name="connsiteY10934" fmla="*/ 4247654 h 5296383"/>
              <a:gd name="connsiteX10935" fmla="*/ 4126092 w 9310410"/>
              <a:gd name="connsiteY10935" fmla="*/ 4256044 h 5296383"/>
              <a:gd name="connsiteX10936" fmla="*/ 4131486 w 9310410"/>
              <a:gd name="connsiteY10936" fmla="*/ 4248853 h 5296383"/>
              <a:gd name="connsiteX10937" fmla="*/ 4132085 w 9310410"/>
              <a:gd name="connsiteY10937" fmla="*/ 4237466 h 5296383"/>
              <a:gd name="connsiteX10938" fmla="*/ 4136280 w 9310410"/>
              <a:gd name="connsiteY10938" fmla="*/ 4234470 h 5296383"/>
              <a:gd name="connsiteX10939" fmla="*/ 4140475 w 9310410"/>
              <a:gd name="connsiteY10939" fmla="*/ 4230275 h 5296383"/>
              <a:gd name="connsiteX10940" fmla="*/ 4153059 w 9310410"/>
              <a:gd name="connsiteY10940" fmla="*/ 4217091 h 5296383"/>
              <a:gd name="connsiteX10941" fmla="*/ 4171637 w 9310410"/>
              <a:gd name="connsiteY10941" fmla="*/ 4196116 h 5296383"/>
              <a:gd name="connsiteX10942" fmla="*/ 4177030 w 9310410"/>
              <a:gd name="connsiteY10942" fmla="*/ 4185929 h 5296383"/>
              <a:gd name="connsiteX10943" fmla="*/ 4178229 w 9310410"/>
              <a:gd name="connsiteY10943" fmla="*/ 4176340 h 5296383"/>
              <a:gd name="connsiteX10944" fmla="*/ 4177030 w 9310410"/>
              <a:gd name="connsiteY10944" fmla="*/ 4163156 h 5296383"/>
              <a:gd name="connsiteX10945" fmla="*/ 4179428 w 9310410"/>
              <a:gd name="connsiteY10945" fmla="*/ 4165553 h 5296383"/>
              <a:gd name="connsiteX10946" fmla="*/ 4186019 w 9310410"/>
              <a:gd name="connsiteY10946" fmla="*/ 4184730 h 5296383"/>
              <a:gd name="connsiteX10947" fmla="*/ 4185420 w 9310410"/>
              <a:gd name="connsiteY10947" fmla="*/ 4192521 h 5296383"/>
              <a:gd name="connsiteX10948" fmla="*/ 4183623 w 9310410"/>
              <a:gd name="connsiteY10948" fmla="*/ 4200911 h 5296383"/>
              <a:gd name="connsiteX10949" fmla="*/ 4180027 w 9310410"/>
              <a:gd name="connsiteY10949" fmla="*/ 4209900 h 5296383"/>
              <a:gd name="connsiteX10950" fmla="*/ 4175832 w 9310410"/>
              <a:gd name="connsiteY10950" fmla="*/ 4222485 h 5296383"/>
              <a:gd name="connsiteX10951" fmla="*/ 4175233 w 9310410"/>
              <a:gd name="connsiteY10951" fmla="*/ 4240463 h 5296383"/>
              <a:gd name="connsiteX10952" fmla="*/ 4167442 w 9310410"/>
              <a:gd name="connsiteY10952" fmla="*/ 4251849 h 5296383"/>
              <a:gd name="connsiteX10953" fmla="*/ 4160251 w 9310410"/>
              <a:gd name="connsiteY10953" fmla="*/ 4252448 h 5296383"/>
              <a:gd name="connsiteX10954" fmla="*/ 4159052 w 9310410"/>
              <a:gd name="connsiteY10954" fmla="*/ 4259640 h 5296383"/>
              <a:gd name="connsiteX10955" fmla="*/ 4162648 w 9310410"/>
              <a:gd name="connsiteY10955" fmla="*/ 4262036 h 5296383"/>
              <a:gd name="connsiteX10956" fmla="*/ 4177630 w 9310410"/>
              <a:gd name="connsiteY10956" fmla="*/ 4257842 h 5296383"/>
              <a:gd name="connsiteX10957" fmla="*/ 4187218 w 9310410"/>
              <a:gd name="connsiteY10957" fmla="*/ 4245856 h 5296383"/>
              <a:gd name="connsiteX10958" fmla="*/ 4189615 w 9310410"/>
              <a:gd name="connsiteY10958" fmla="*/ 4228477 h 5296383"/>
              <a:gd name="connsiteX10959" fmla="*/ 4193810 w 9310410"/>
              <a:gd name="connsiteY10959" fmla="*/ 4232073 h 5296383"/>
              <a:gd name="connsiteX10960" fmla="*/ 4200402 w 9310410"/>
              <a:gd name="connsiteY10960" fmla="*/ 4238665 h 5296383"/>
              <a:gd name="connsiteX10961" fmla="*/ 4202800 w 9310410"/>
              <a:gd name="connsiteY10961" fmla="*/ 4244058 h 5296383"/>
              <a:gd name="connsiteX10962" fmla="*/ 4202200 w 9310410"/>
              <a:gd name="connsiteY10962" fmla="*/ 4253047 h 5296383"/>
              <a:gd name="connsiteX10963" fmla="*/ 4199204 w 9310410"/>
              <a:gd name="connsiteY10963" fmla="*/ 4263235 h 5296383"/>
              <a:gd name="connsiteX10964" fmla="*/ 4204597 w 9310410"/>
              <a:gd name="connsiteY10964" fmla="*/ 4272824 h 5296383"/>
              <a:gd name="connsiteX10965" fmla="*/ 4220778 w 9310410"/>
              <a:gd name="connsiteY10965" fmla="*/ 4263235 h 5296383"/>
              <a:gd name="connsiteX10966" fmla="*/ 4226770 w 9310410"/>
              <a:gd name="connsiteY10966" fmla="*/ 4262636 h 5296383"/>
              <a:gd name="connsiteX10967" fmla="*/ 4220178 w 9310410"/>
              <a:gd name="connsiteY10967" fmla="*/ 4273423 h 5296383"/>
              <a:gd name="connsiteX10968" fmla="*/ 4231565 w 9310410"/>
              <a:gd name="connsiteY10968" fmla="*/ 4283611 h 5296383"/>
              <a:gd name="connsiteX10969" fmla="*/ 4238756 w 9310410"/>
              <a:gd name="connsiteY10969" fmla="*/ 4302787 h 5296383"/>
              <a:gd name="connsiteX10970" fmla="*/ 4239355 w 9310410"/>
              <a:gd name="connsiteY10970" fmla="*/ 4324960 h 5296383"/>
              <a:gd name="connsiteX10971" fmla="*/ 4272315 w 9310410"/>
              <a:gd name="connsiteY10971" fmla="*/ 4360917 h 5296383"/>
              <a:gd name="connsiteX10972" fmla="*/ 4283102 w 9310410"/>
              <a:gd name="connsiteY10972" fmla="*/ 4362715 h 5296383"/>
              <a:gd name="connsiteX10973" fmla="*/ 4290293 w 9310410"/>
              <a:gd name="connsiteY10973" fmla="*/ 4362115 h 5296383"/>
              <a:gd name="connsiteX10974" fmla="*/ 4295687 w 9310410"/>
              <a:gd name="connsiteY10974" fmla="*/ 4363314 h 5296383"/>
              <a:gd name="connsiteX10975" fmla="*/ 4304077 w 9310410"/>
              <a:gd name="connsiteY10975" fmla="*/ 4365112 h 5296383"/>
              <a:gd name="connsiteX10976" fmla="*/ 4319058 w 9310410"/>
              <a:gd name="connsiteY10976" fmla="*/ 4369906 h 5296383"/>
              <a:gd name="connsiteX10977" fmla="*/ 4324452 w 9310410"/>
              <a:gd name="connsiteY10977" fmla="*/ 4372303 h 5296383"/>
              <a:gd name="connsiteX10978" fmla="*/ 4332842 w 9310410"/>
              <a:gd name="connsiteY10978" fmla="*/ 4375299 h 5296383"/>
              <a:gd name="connsiteX10979" fmla="*/ 4349622 w 9310410"/>
              <a:gd name="connsiteY10979" fmla="*/ 4370505 h 5296383"/>
              <a:gd name="connsiteX10980" fmla="*/ 4365802 w 9310410"/>
              <a:gd name="connsiteY10980" fmla="*/ 4360318 h 5296383"/>
              <a:gd name="connsiteX10981" fmla="*/ 4369997 w 9310410"/>
              <a:gd name="connsiteY10981" fmla="*/ 4354325 h 5296383"/>
              <a:gd name="connsiteX10982" fmla="*/ 4374791 w 9310410"/>
              <a:gd name="connsiteY10982" fmla="*/ 4345935 h 5296383"/>
              <a:gd name="connsiteX10983" fmla="*/ 4381383 w 9310410"/>
              <a:gd name="connsiteY10983" fmla="*/ 4353126 h 5296383"/>
              <a:gd name="connsiteX10984" fmla="*/ 4378986 w 9310410"/>
              <a:gd name="connsiteY10984" fmla="*/ 4363314 h 5296383"/>
              <a:gd name="connsiteX10985" fmla="*/ 4389174 w 9310410"/>
              <a:gd name="connsiteY10985" fmla="*/ 4357321 h 5296383"/>
              <a:gd name="connsiteX10986" fmla="*/ 4391571 w 9310410"/>
              <a:gd name="connsiteY10986" fmla="*/ 4364513 h 5296383"/>
              <a:gd name="connsiteX10987" fmla="*/ 4398163 w 9310410"/>
              <a:gd name="connsiteY10987" fmla="*/ 4372902 h 5296383"/>
              <a:gd name="connsiteX10988" fmla="*/ 4407152 w 9310410"/>
              <a:gd name="connsiteY10988" fmla="*/ 4380093 h 5296383"/>
              <a:gd name="connsiteX10989" fmla="*/ 4412545 w 9310410"/>
              <a:gd name="connsiteY10989" fmla="*/ 4385487 h 5296383"/>
              <a:gd name="connsiteX10990" fmla="*/ 4417340 w 9310410"/>
              <a:gd name="connsiteY10990" fmla="*/ 4389083 h 5296383"/>
              <a:gd name="connsiteX10991" fmla="*/ 4417939 w 9310410"/>
              <a:gd name="connsiteY10991" fmla="*/ 4377697 h 5296383"/>
              <a:gd name="connsiteX10992" fmla="*/ 4417939 w 9310410"/>
              <a:gd name="connsiteY10992" fmla="*/ 4368708 h 5296383"/>
              <a:gd name="connsiteX10993" fmla="*/ 4428126 w 9310410"/>
              <a:gd name="connsiteY10993" fmla="*/ 4369307 h 5296383"/>
              <a:gd name="connsiteX10994" fmla="*/ 4432921 w 9310410"/>
              <a:gd name="connsiteY10994" fmla="*/ 4367509 h 5296383"/>
              <a:gd name="connsiteX10995" fmla="*/ 4446105 w 9310410"/>
              <a:gd name="connsiteY10995" fmla="*/ 4360318 h 5296383"/>
              <a:gd name="connsiteX10996" fmla="*/ 4452097 w 9310410"/>
              <a:gd name="connsiteY10996" fmla="*/ 4351928 h 5296383"/>
              <a:gd name="connsiteX10997" fmla="*/ 4449101 w 9310410"/>
              <a:gd name="connsiteY10997" fmla="*/ 4351928 h 5296383"/>
              <a:gd name="connsiteX10998" fmla="*/ 4447303 w 9310410"/>
              <a:gd name="connsiteY10998" fmla="*/ 4348332 h 5296383"/>
              <a:gd name="connsiteX10999" fmla="*/ 4459888 w 9310410"/>
              <a:gd name="connsiteY10999" fmla="*/ 4344737 h 5296383"/>
              <a:gd name="connsiteX11000" fmla="*/ 4474271 w 9310410"/>
              <a:gd name="connsiteY11000" fmla="*/ 4342938 h 5296383"/>
              <a:gd name="connsiteX11001" fmla="*/ 4495245 w 9310410"/>
              <a:gd name="connsiteY11001" fmla="*/ 4344737 h 5296383"/>
              <a:gd name="connsiteX11002" fmla="*/ 4507830 w 9310410"/>
              <a:gd name="connsiteY11002" fmla="*/ 4339343 h 5296383"/>
              <a:gd name="connsiteX11003" fmla="*/ 4510227 w 9310410"/>
              <a:gd name="connsiteY11003" fmla="*/ 4330953 h 5296383"/>
              <a:gd name="connsiteX11004" fmla="*/ 4513822 w 9310410"/>
              <a:gd name="connsiteY11004" fmla="*/ 4326758 h 5296383"/>
              <a:gd name="connsiteX11005" fmla="*/ 4511426 w 9310410"/>
              <a:gd name="connsiteY11005" fmla="*/ 4321365 h 5296383"/>
              <a:gd name="connsiteX11006" fmla="*/ 4513822 w 9310410"/>
              <a:gd name="connsiteY11006" fmla="*/ 4300390 h 5296383"/>
              <a:gd name="connsiteX11007" fmla="*/ 4525209 w 9310410"/>
              <a:gd name="connsiteY11007" fmla="*/ 4262036 h 5296383"/>
              <a:gd name="connsiteX11008" fmla="*/ 4528205 w 9310410"/>
              <a:gd name="connsiteY11008" fmla="*/ 4250650 h 5296383"/>
              <a:gd name="connsiteX11009" fmla="*/ 4530602 w 9310410"/>
              <a:gd name="connsiteY11009" fmla="*/ 4245856 h 5296383"/>
              <a:gd name="connsiteX11010" fmla="*/ 4536595 w 9310410"/>
              <a:gd name="connsiteY11010" fmla="*/ 4225481 h 5296383"/>
              <a:gd name="connsiteX11011" fmla="*/ 4541988 w 9310410"/>
              <a:gd name="connsiteY11011" fmla="*/ 4208701 h 5296383"/>
              <a:gd name="connsiteX11012" fmla="*/ 4546183 w 9310410"/>
              <a:gd name="connsiteY11012" fmla="*/ 4203308 h 5296383"/>
              <a:gd name="connsiteX11013" fmla="*/ 4553974 w 9310410"/>
              <a:gd name="connsiteY11013" fmla="*/ 4192521 h 5296383"/>
              <a:gd name="connsiteX11014" fmla="*/ 4564761 w 9310410"/>
              <a:gd name="connsiteY11014" fmla="*/ 4181134 h 5296383"/>
              <a:gd name="connsiteX11015" fmla="*/ 4565360 w 9310410"/>
              <a:gd name="connsiteY11015" fmla="*/ 4175142 h 5296383"/>
              <a:gd name="connsiteX11016" fmla="*/ 4568357 w 9310410"/>
              <a:gd name="connsiteY11016" fmla="*/ 4170947 h 5296383"/>
              <a:gd name="connsiteX11017" fmla="*/ 4582140 w 9310410"/>
              <a:gd name="connsiteY11017" fmla="*/ 4154167 h 5296383"/>
              <a:gd name="connsiteX11018" fmla="*/ 4592328 w 9310410"/>
              <a:gd name="connsiteY11018" fmla="*/ 4122406 h 5296383"/>
              <a:gd name="connsiteX11019" fmla="*/ 4591728 w 9310410"/>
              <a:gd name="connsiteY11019" fmla="*/ 4108023 h 5296383"/>
              <a:gd name="connsiteX11020" fmla="*/ 4591728 w 9310410"/>
              <a:gd name="connsiteY11020" fmla="*/ 4097835 h 5296383"/>
              <a:gd name="connsiteX11021" fmla="*/ 4595923 w 9310410"/>
              <a:gd name="connsiteY11021" fmla="*/ 4081655 h 5296383"/>
              <a:gd name="connsiteX11022" fmla="*/ 4600717 w 9310410"/>
              <a:gd name="connsiteY11022" fmla="*/ 4067272 h 5296383"/>
              <a:gd name="connsiteX11023" fmla="*/ 4598919 w 9310410"/>
              <a:gd name="connsiteY11023" fmla="*/ 4061879 h 5296383"/>
              <a:gd name="connsiteX11024" fmla="*/ 4601317 w 9310410"/>
              <a:gd name="connsiteY11024" fmla="*/ 4051691 h 5296383"/>
              <a:gd name="connsiteX11025" fmla="*/ 4607909 w 9310410"/>
              <a:gd name="connsiteY11025" fmla="*/ 4042103 h 5296383"/>
              <a:gd name="connsiteX11026" fmla="*/ 4610306 w 9310410"/>
              <a:gd name="connsiteY11026" fmla="*/ 4037908 h 5296383"/>
              <a:gd name="connsiteX11027" fmla="*/ 4175233 w 9310410"/>
              <a:gd name="connsiteY11027" fmla="*/ 3336158 h 5296383"/>
              <a:gd name="connsiteX11028" fmla="*/ 4156056 w 9310410"/>
              <a:gd name="connsiteY11028" fmla="*/ 3342750 h 5296383"/>
              <a:gd name="connsiteX11029" fmla="*/ 4149464 w 9310410"/>
              <a:gd name="connsiteY11029" fmla="*/ 3355934 h 5296383"/>
              <a:gd name="connsiteX11030" fmla="*/ 4145269 w 9310410"/>
              <a:gd name="connsiteY11030" fmla="*/ 3363725 h 5296383"/>
              <a:gd name="connsiteX11031" fmla="*/ 4148865 w 9310410"/>
              <a:gd name="connsiteY11031" fmla="*/ 3367920 h 5296383"/>
              <a:gd name="connsiteX11032" fmla="*/ 4162648 w 9310410"/>
              <a:gd name="connsiteY11032" fmla="*/ 3366721 h 5296383"/>
              <a:gd name="connsiteX11033" fmla="*/ 4169839 w 9310410"/>
              <a:gd name="connsiteY11033" fmla="*/ 3363125 h 5296383"/>
              <a:gd name="connsiteX11034" fmla="*/ 4178229 w 9310410"/>
              <a:gd name="connsiteY11034" fmla="*/ 3358331 h 5296383"/>
              <a:gd name="connsiteX11035" fmla="*/ 4183023 w 9310410"/>
              <a:gd name="connsiteY11035" fmla="*/ 3344548 h 5296383"/>
              <a:gd name="connsiteX11036" fmla="*/ 4175233 w 9310410"/>
              <a:gd name="connsiteY11036" fmla="*/ 3336158 h 5296383"/>
              <a:gd name="connsiteX11037" fmla="*/ 4172236 w 9310410"/>
              <a:gd name="connsiteY11037" fmla="*/ 3367320 h 5296383"/>
              <a:gd name="connsiteX11038" fmla="*/ 4176431 w 9310410"/>
              <a:gd name="connsiteY11038" fmla="*/ 3370317 h 5296383"/>
              <a:gd name="connsiteX11039" fmla="*/ 4178828 w 9310410"/>
              <a:gd name="connsiteY11039" fmla="*/ 3365523 h 5296383"/>
              <a:gd name="connsiteX11040" fmla="*/ 4172236 w 9310410"/>
              <a:gd name="connsiteY11040" fmla="*/ 3367320 h 5296383"/>
              <a:gd name="connsiteX11041" fmla="*/ 3211001 w 9310410"/>
              <a:gd name="connsiteY11041" fmla="*/ 3283422 h 5296383"/>
              <a:gd name="connsiteX11042" fmla="*/ 3221788 w 9310410"/>
              <a:gd name="connsiteY11042" fmla="*/ 3285819 h 5296383"/>
              <a:gd name="connsiteX11043" fmla="*/ 3224784 w 9310410"/>
              <a:gd name="connsiteY11043" fmla="*/ 3260051 h 5296383"/>
              <a:gd name="connsiteX11044" fmla="*/ 3222987 w 9310410"/>
              <a:gd name="connsiteY11044" fmla="*/ 3242072 h 5296383"/>
              <a:gd name="connsiteX11045" fmla="*/ 3222387 w 9310410"/>
              <a:gd name="connsiteY11045" fmla="*/ 3231285 h 5296383"/>
              <a:gd name="connsiteX11046" fmla="*/ 3222387 w 9310410"/>
              <a:gd name="connsiteY11046" fmla="*/ 3216303 h 5296383"/>
              <a:gd name="connsiteX11047" fmla="*/ 3225383 w 9310410"/>
              <a:gd name="connsiteY11047" fmla="*/ 3205516 h 5296383"/>
              <a:gd name="connsiteX11048" fmla="*/ 3229578 w 9310410"/>
              <a:gd name="connsiteY11048" fmla="*/ 3200123 h 5296383"/>
              <a:gd name="connsiteX11049" fmla="*/ 3224185 w 9310410"/>
              <a:gd name="connsiteY11049" fmla="*/ 3195329 h 5296383"/>
              <a:gd name="connsiteX11050" fmla="*/ 3218792 w 9310410"/>
              <a:gd name="connsiteY11050" fmla="*/ 3188737 h 5296383"/>
              <a:gd name="connsiteX11051" fmla="*/ 3214597 w 9310410"/>
              <a:gd name="connsiteY11051" fmla="*/ 3180946 h 5296383"/>
              <a:gd name="connsiteX11052" fmla="*/ 3209802 w 9310410"/>
              <a:gd name="connsiteY11052" fmla="*/ 3174954 h 5296383"/>
              <a:gd name="connsiteX11053" fmla="*/ 3191225 w 9310410"/>
              <a:gd name="connsiteY11053" fmla="*/ 3171957 h 5296383"/>
              <a:gd name="connsiteX11054" fmla="*/ 3185831 w 9310410"/>
              <a:gd name="connsiteY11054" fmla="*/ 3174954 h 5296383"/>
              <a:gd name="connsiteX11055" fmla="*/ 3181637 w 9310410"/>
              <a:gd name="connsiteY11055" fmla="*/ 3178549 h 5296383"/>
              <a:gd name="connsiteX11056" fmla="*/ 3183434 w 9310410"/>
              <a:gd name="connsiteY11056" fmla="*/ 3167762 h 5296383"/>
              <a:gd name="connsiteX11057" fmla="*/ 3178041 w 9310410"/>
              <a:gd name="connsiteY11057" fmla="*/ 3160571 h 5296383"/>
              <a:gd name="connsiteX11058" fmla="*/ 3175644 w 9310410"/>
              <a:gd name="connsiteY11058" fmla="*/ 3153380 h 5296383"/>
              <a:gd name="connsiteX11059" fmla="*/ 3176243 w 9310410"/>
              <a:gd name="connsiteY11059" fmla="*/ 3147986 h 5296383"/>
              <a:gd name="connsiteX11060" fmla="*/ 3174445 w 9310410"/>
              <a:gd name="connsiteY11060" fmla="*/ 3137799 h 5296383"/>
              <a:gd name="connsiteX11061" fmla="*/ 3168452 w 9310410"/>
              <a:gd name="connsiteY11061" fmla="*/ 3131207 h 5296383"/>
              <a:gd name="connsiteX11062" fmla="*/ 3160662 w 9310410"/>
              <a:gd name="connsiteY11062" fmla="*/ 3127611 h 5296383"/>
              <a:gd name="connsiteX11063" fmla="*/ 3155268 w 9310410"/>
              <a:gd name="connsiteY11063" fmla="*/ 3125214 h 5296383"/>
              <a:gd name="connsiteX11064" fmla="*/ 3144481 w 9310410"/>
              <a:gd name="connsiteY11064" fmla="*/ 3119221 h 5296383"/>
              <a:gd name="connsiteX11065" fmla="*/ 3142085 w 9310410"/>
              <a:gd name="connsiteY11065" fmla="*/ 3115026 h 5296383"/>
              <a:gd name="connsiteX11066" fmla="*/ 3142085 w 9310410"/>
              <a:gd name="connsiteY11066" fmla="*/ 3107835 h 5296383"/>
              <a:gd name="connsiteX11067" fmla="*/ 3145081 w 9310410"/>
              <a:gd name="connsiteY11067" fmla="*/ 3103041 h 5296383"/>
              <a:gd name="connsiteX11068" fmla="*/ 3155268 w 9310410"/>
              <a:gd name="connsiteY11068" fmla="*/ 3097048 h 5296383"/>
              <a:gd name="connsiteX11069" fmla="*/ 3154669 w 9310410"/>
              <a:gd name="connsiteY11069" fmla="*/ 3080868 h 5296383"/>
              <a:gd name="connsiteX11070" fmla="*/ 3138489 w 9310410"/>
              <a:gd name="connsiteY11070" fmla="*/ 3081467 h 5296383"/>
              <a:gd name="connsiteX11071" fmla="*/ 3121110 w 9310410"/>
              <a:gd name="connsiteY11071" fmla="*/ 3086860 h 5296383"/>
              <a:gd name="connsiteX11072" fmla="*/ 3129500 w 9310410"/>
              <a:gd name="connsiteY11072" fmla="*/ 3080868 h 5296383"/>
              <a:gd name="connsiteX11073" fmla="*/ 3121709 w 9310410"/>
              <a:gd name="connsiteY11073" fmla="*/ 3070680 h 5296383"/>
              <a:gd name="connsiteX11074" fmla="*/ 3109724 w 9310410"/>
              <a:gd name="connsiteY11074" fmla="*/ 3053900 h 5296383"/>
              <a:gd name="connsiteX11075" fmla="*/ 3092944 w 9310410"/>
              <a:gd name="connsiteY11075" fmla="*/ 3038319 h 5296383"/>
              <a:gd name="connsiteX11076" fmla="*/ 3084554 w 9310410"/>
              <a:gd name="connsiteY11076" fmla="*/ 3029929 h 5296383"/>
              <a:gd name="connsiteX11077" fmla="*/ 3080359 w 9310410"/>
              <a:gd name="connsiteY11077" fmla="*/ 3016745 h 5296383"/>
              <a:gd name="connsiteX11078" fmla="*/ 3074366 w 9310410"/>
              <a:gd name="connsiteY11078" fmla="*/ 3022139 h 5296383"/>
              <a:gd name="connsiteX11079" fmla="*/ 3068973 w 9310410"/>
              <a:gd name="connsiteY11079" fmla="*/ 3023936 h 5296383"/>
              <a:gd name="connsiteX11080" fmla="*/ 3059385 w 9310410"/>
              <a:gd name="connsiteY11080" fmla="*/ 3007157 h 5296383"/>
              <a:gd name="connsiteX11081" fmla="*/ 3053991 w 9310410"/>
              <a:gd name="connsiteY11081" fmla="*/ 3001164 h 5296383"/>
              <a:gd name="connsiteX11082" fmla="*/ 3049197 w 9310410"/>
              <a:gd name="connsiteY11082" fmla="*/ 2998168 h 5296383"/>
              <a:gd name="connsiteX11083" fmla="*/ 3045002 w 9310410"/>
              <a:gd name="connsiteY11083" fmla="*/ 2991576 h 5296383"/>
              <a:gd name="connsiteX11084" fmla="*/ 3033017 w 9310410"/>
              <a:gd name="connsiteY11084" fmla="*/ 2979590 h 5296383"/>
              <a:gd name="connsiteX11085" fmla="*/ 3019233 w 9310410"/>
              <a:gd name="connsiteY11085" fmla="*/ 2962810 h 5296383"/>
              <a:gd name="connsiteX11086" fmla="*/ 3006049 w 9310410"/>
              <a:gd name="connsiteY11086" fmla="*/ 2953821 h 5296383"/>
              <a:gd name="connsiteX11087" fmla="*/ 3004251 w 9310410"/>
              <a:gd name="connsiteY11087" fmla="*/ 2943634 h 5296383"/>
              <a:gd name="connsiteX11088" fmla="*/ 3000057 w 9310410"/>
              <a:gd name="connsiteY11088" fmla="*/ 2939439 h 5296383"/>
              <a:gd name="connsiteX11089" fmla="*/ 2996461 w 9310410"/>
              <a:gd name="connsiteY11089" fmla="*/ 2932248 h 5296383"/>
              <a:gd name="connsiteX11090" fmla="*/ 2990468 w 9310410"/>
              <a:gd name="connsiteY11090" fmla="*/ 2921461 h 5296383"/>
              <a:gd name="connsiteX11091" fmla="*/ 2978483 w 9310410"/>
              <a:gd name="connsiteY11091" fmla="*/ 2915468 h 5296383"/>
              <a:gd name="connsiteX11092" fmla="*/ 2965299 w 9310410"/>
              <a:gd name="connsiteY11092" fmla="*/ 2913071 h 5296383"/>
              <a:gd name="connsiteX11093" fmla="*/ 2934736 w 9310410"/>
              <a:gd name="connsiteY11093" fmla="*/ 2902284 h 5296383"/>
              <a:gd name="connsiteX11094" fmla="*/ 2919754 w 9310410"/>
              <a:gd name="connsiteY11094" fmla="*/ 2901685 h 5296383"/>
              <a:gd name="connsiteX11095" fmla="*/ 2920353 w 9310410"/>
              <a:gd name="connsiteY11095" fmla="*/ 2913670 h 5296383"/>
              <a:gd name="connsiteX11096" fmla="*/ 2924548 w 9310410"/>
              <a:gd name="connsiteY11096" fmla="*/ 2925056 h 5296383"/>
              <a:gd name="connsiteX11097" fmla="*/ 2938931 w 9310410"/>
              <a:gd name="connsiteY11097" fmla="*/ 2945432 h 5296383"/>
              <a:gd name="connsiteX11098" fmla="*/ 2949717 w 9310410"/>
              <a:gd name="connsiteY11098" fmla="*/ 2959215 h 5296383"/>
              <a:gd name="connsiteX11099" fmla="*/ 2958107 w 9310410"/>
              <a:gd name="connsiteY11099" fmla="*/ 2966406 h 5296383"/>
              <a:gd name="connsiteX11100" fmla="*/ 2967696 w 9310410"/>
              <a:gd name="connsiteY11100" fmla="*/ 2973598 h 5296383"/>
              <a:gd name="connsiteX11101" fmla="*/ 2976086 w 9310410"/>
              <a:gd name="connsiteY11101" fmla="*/ 2986781 h 5296383"/>
              <a:gd name="connsiteX11102" fmla="*/ 2984475 w 9310410"/>
              <a:gd name="connsiteY11102" fmla="*/ 3012550 h 5296383"/>
              <a:gd name="connsiteX11103" fmla="*/ 2989869 w 9310410"/>
              <a:gd name="connsiteY11103" fmla="*/ 3016745 h 5296383"/>
              <a:gd name="connsiteX11104" fmla="*/ 2998259 w 9310410"/>
              <a:gd name="connsiteY11104" fmla="*/ 3020940 h 5296383"/>
              <a:gd name="connsiteX11105" fmla="*/ 3016237 w 9310410"/>
              <a:gd name="connsiteY11105" fmla="*/ 3040117 h 5296383"/>
              <a:gd name="connsiteX11106" fmla="*/ 3019233 w 9310410"/>
              <a:gd name="connsiteY11106" fmla="*/ 3058095 h 5296383"/>
              <a:gd name="connsiteX11107" fmla="*/ 3024028 w 9310410"/>
              <a:gd name="connsiteY11107" fmla="*/ 3076073 h 5296383"/>
              <a:gd name="connsiteX11108" fmla="*/ 3030619 w 9310410"/>
              <a:gd name="connsiteY11108" fmla="*/ 3084463 h 5296383"/>
              <a:gd name="connsiteX11109" fmla="*/ 3039009 w 9310410"/>
              <a:gd name="connsiteY11109" fmla="*/ 3088658 h 5296383"/>
              <a:gd name="connsiteX11110" fmla="*/ 3045601 w 9310410"/>
              <a:gd name="connsiteY11110" fmla="*/ 3097048 h 5296383"/>
              <a:gd name="connsiteX11111" fmla="*/ 3051594 w 9310410"/>
              <a:gd name="connsiteY11111" fmla="*/ 3107236 h 5296383"/>
              <a:gd name="connsiteX11112" fmla="*/ 3059385 w 9310410"/>
              <a:gd name="connsiteY11112" fmla="*/ 3124614 h 5296383"/>
              <a:gd name="connsiteX11113" fmla="*/ 3061782 w 9310410"/>
              <a:gd name="connsiteY11113" fmla="*/ 3141394 h 5296383"/>
              <a:gd name="connsiteX11114" fmla="*/ 3068374 w 9310410"/>
              <a:gd name="connsiteY11114" fmla="*/ 3151582 h 5296383"/>
              <a:gd name="connsiteX11115" fmla="*/ 3073168 w 9310410"/>
              <a:gd name="connsiteY11115" fmla="*/ 3164766 h 5296383"/>
              <a:gd name="connsiteX11116" fmla="*/ 3077363 w 9310410"/>
              <a:gd name="connsiteY11116" fmla="*/ 3179149 h 5296383"/>
              <a:gd name="connsiteX11117" fmla="*/ 3088749 w 9310410"/>
              <a:gd name="connsiteY11117" fmla="*/ 3192332 h 5296383"/>
              <a:gd name="connsiteX11118" fmla="*/ 3097738 w 9310410"/>
              <a:gd name="connsiteY11118" fmla="*/ 3207914 h 5296383"/>
              <a:gd name="connsiteX11119" fmla="*/ 3103731 w 9310410"/>
              <a:gd name="connsiteY11119" fmla="*/ 3212109 h 5296383"/>
              <a:gd name="connsiteX11120" fmla="*/ 3107926 w 9310410"/>
              <a:gd name="connsiteY11120" fmla="*/ 3216303 h 5296383"/>
              <a:gd name="connsiteX11121" fmla="*/ 3113919 w 9310410"/>
              <a:gd name="connsiteY11121" fmla="*/ 3228289 h 5296383"/>
              <a:gd name="connsiteX11122" fmla="*/ 3118114 w 9310410"/>
              <a:gd name="connsiteY11122" fmla="*/ 3237877 h 5296383"/>
              <a:gd name="connsiteX11123" fmla="*/ 3128900 w 9310410"/>
              <a:gd name="connsiteY11123" fmla="*/ 3246267 h 5296383"/>
              <a:gd name="connsiteX11124" fmla="*/ 3140886 w 9310410"/>
              <a:gd name="connsiteY11124" fmla="*/ 3255256 h 5296383"/>
              <a:gd name="connsiteX11125" fmla="*/ 3157666 w 9310410"/>
              <a:gd name="connsiteY11125" fmla="*/ 3267242 h 5296383"/>
              <a:gd name="connsiteX11126" fmla="*/ 3170850 w 9310410"/>
              <a:gd name="connsiteY11126" fmla="*/ 3280426 h 5296383"/>
              <a:gd name="connsiteX11127" fmla="*/ 3185232 w 9310410"/>
              <a:gd name="connsiteY11127" fmla="*/ 3292411 h 5296383"/>
              <a:gd name="connsiteX11128" fmla="*/ 3190626 w 9310410"/>
              <a:gd name="connsiteY11128" fmla="*/ 3285819 h 5296383"/>
              <a:gd name="connsiteX11129" fmla="*/ 3203810 w 9310410"/>
              <a:gd name="connsiteY11129" fmla="*/ 3284621 h 5296383"/>
              <a:gd name="connsiteX11130" fmla="*/ 3211001 w 9310410"/>
              <a:gd name="connsiteY11130" fmla="*/ 3283422 h 5296383"/>
              <a:gd name="connsiteX11131" fmla="*/ 3861213 w 9310410"/>
              <a:gd name="connsiteY11131" fmla="*/ 3020940 h 5296383"/>
              <a:gd name="connsiteX11132" fmla="*/ 3852823 w 9310410"/>
              <a:gd name="connsiteY11132" fmla="*/ 3057496 h 5296383"/>
              <a:gd name="connsiteX11133" fmla="*/ 3855221 w 9310410"/>
              <a:gd name="connsiteY11133" fmla="*/ 3075474 h 5296383"/>
              <a:gd name="connsiteX11134" fmla="*/ 3858816 w 9310410"/>
              <a:gd name="connsiteY11134" fmla="*/ 3100044 h 5296383"/>
              <a:gd name="connsiteX11135" fmla="*/ 3872599 w 9310410"/>
              <a:gd name="connsiteY11135" fmla="*/ 3118622 h 5296383"/>
              <a:gd name="connsiteX11136" fmla="*/ 3876794 w 9310410"/>
              <a:gd name="connsiteY11136" fmla="*/ 3115625 h 5296383"/>
              <a:gd name="connsiteX11137" fmla="*/ 3867805 w 9310410"/>
              <a:gd name="connsiteY11137" fmla="*/ 3101243 h 5296383"/>
              <a:gd name="connsiteX11138" fmla="*/ 3864809 w 9310410"/>
              <a:gd name="connsiteY11138" fmla="*/ 3090456 h 5296383"/>
              <a:gd name="connsiteX11139" fmla="*/ 3866607 w 9310410"/>
              <a:gd name="connsiteY11139" fmla="*/ 3073676 h 5296383"/>
              <a:gd name="connsiteX11140" fmla="*/ 3885783 w 9310410"/>
              <a:gd name="connsiteY11140" fmla="*/ 3081467 h 5296383"/>
              <a:gd name="connsiteX11141" fmla="*/ 3888181 w 9310410"/>
              <a:gd name="connsiteY11141" fmla="*/ 3076673 h 5296383"/>
              <a:gd name="connsiteX11142" fmla="*/ 3874397 w 9310410"/>
              <a:gd name="connsiteY11142" fmla="*/ 3066485 h 5296383"/>
              <a:gd name="connsiteX11143" fmla="*/ 3881588 w 9310410"/>
              <a:gd name="connsiteY11143" fmla="*/ 3057496 h 5296383"/>
              <a:gd name="connsiteX11144" fmla="*/ 3886982 w 9310410"/>
              <a:gd name="connsiteY11144" fmla="*/ 3047308 h 5296383"/>
              <a:gd name="connsiteX11145" fmla="*/ 3882188 w 9310410"/>
              <a:gd name="connsiteY11145" fmla="*/ 3044911 h 5296383"/>
              <a:gd name="connsiteX11146" fmla="*/ 3872000 w 9310410"/>
              <a:gd name="connsiteY11146" fmla="*/ 3046110 h 5296383"/>
              <a:gd name="connsiteX11147" fmla="*/ 3866607 w 9310410"/>
              <a:gd name="connsiteY11147" fmla="*/ 3053900 h 5296383"/>
              <a:gd name="connsiteX11148" fmla="*/ 3860015 w 9310410"/>
              <a:gd name="connsiteY11148" fmla="*/ 3056897 h 5296383"/>
              <a:gd name="connsiteX11149" fmla="*/ 3867206 w 9310410"/>
              <a:gd name="connsiteY11149" fmla="*/ 3044312 h 5296383"/>
              <a:gd name="connsiteX11150" fmla="*/ 3868404 w 9310410"/>
              <a:gd name="connsiteY11150" fmla="*/ 3032926 h 5296383"/>
              <a:gd name="connsiteX11151" fmla="*/ 3864809 w 9310410"/>
              <a:gd name="connsiteY11151" fmla="*/ 3022738 h 5296383"/>
              <a:gd name="connsiteX11152" fmla="*/ 3861213 w 9310410"/>
              <a:gd name="connsiteY11152" fmla="*/ 3020940 h 5296383"/>
              <a:gd name="connsiteX11153" fmla="*/ 3634088 w 9310410"/>
              <a:gd name="connsiteY11153" fmla="*/ 3056297 h 5296383"/>
              <a:gd name="connsiteX11154" fmla="*/ 3625099 w 9310410"/>
              <a:gd name="connsiteY11154" fmla="*/ 3071279 h 5296383"/>
              <a:gd name="connsiteX11155" fmla="*/ 3622702 w 9310410"/>
              <a:gd name="connsiteY11155" fmla="*/ 3079669 h 5296383"/>
              <a:gd name="connsiteX11156" fmla="*/ 3622702 w 9310410"/>
              <a:gd name="connsiteY11156" fmla="*/ 3083864 h 5296383"/>
              <a:gd name="connsiteX11157" fmla="*/ 3618507 w 9310410"/>
              <a:gd name="connsiteY11157" fmla="*/ 3091055 h 5296383"/>
              <a:gd name="connsiteX11158" fmla="*/ 3614911 w 9310410"/>
              <a:gd name="connsiteY11158" fmla="*/ 3096448 h 5296383"/>
              <a:gd name="connsiteX11159" fmla="*/ 3619106 w 9310410"/>
              <a:gd name="connsiteY11159" fmla="*/ 3104838 h 5296383"/>
              <a:gd name="connsiteX11160" fmla="*/ 3621504 w 9310410"/>
              <a:gd name="connsiteY11160" fmla="*/ 3113228 h 5296383"/>
              <a:gd name="connsiteX11161" fmla="*/ 3619706 w 9310410"/>
              <a:gd name="connsiteY11161" fmla="*/ 3118622 h 5296383"/>
              <a:gd name="connsiteX11162" fmla="*/ 3613713 w 9310410"/>
              <a:gd name="connsiteY11162" fmla="*/ 3122817 h 5296383"/>
              <a:gd name="connsiteX11163" fmla="*/ 3606522 w 9310410"/>
              <a:gd name="connsiteY11163" fmla="*/ 3139596 h 5296383"/>
              <a:gd name="connsiteX11164" fmla="*/ 3605922 w 9310410"/>
              <a:gd name="connsiteY11164" fmla="*/ 3155178 h 5296383"/>
              <a:gd name="connsiteX11165" fmla="*/ 3604724 w 9310410"/>
              <a:gd name="connsiteY11165" fmla="*/ 3162369 h 5296383"/>
              <a:gd name="connsiteX11166" fmla="*/ 3601128 w 9310410"/>
              <a:gd name="connsiteY11166" fmla="*/ 3168961 h 5296383"/>
              <a:gd name="connsiteX11167" fmla="*/ 3596933 w 9310410"/>
              <a:gd name="connsiteY11167" fmla="*/ 3180347 h 5296383"/>
              <a:gd name="connsiteX11168" fmla="*/ 3594536 w 9310410"/>
              <a:gd name="connsiteY11168" fmla="*/ 3189336 h 5296383"/>
              <a:gd name="connsiteX11169" fmla="*/ 3593937 w 9310410"/>
              <a:gd name="connsiteY11169" fmla="*/ 3197726 h 5296383"/>
              <a:gd name="connsiteX11170" fmla="*/ 3594536 w 9310410"/>
              <a:gd name="connsiteY11170" fmla="*/ 3206116 h 5296383"/>
              <a:gd name="connsiteX11171" fmla="*/ 3600529 w 9310410"/>
              <a:gd name="connsiteY11171" fmla="*/ 3207314 h 5296383"/>
              <a:gd name="connsiteX11172" fmla="*/ 3608320 w 9310410"/>
              <a:gd name="connsiteY11172" fmla="*/ 3207914 h 5296383"/>
              <a:gd name="connsiteX11173" fmla="*/ 3611915 w 9310410"/>
              <a:gd name="connsiteY11173" fmla="*/ 3227690 h 5296383"/>
              <a:gd name="connsiteX11174" fmla="*/ 3613114 w 9310410"/>
              <a:gd name="connsiteY11174" fmla="*/ 3237877 h 5296383"/>
              <a:gd name="connsiteX11175" fmla="*/ 3611915 w 9310410"/>
              <a:gd name="connsiteY11175" fmla="*/ 3254657 h 5296383"/>
              <a:gd name="connsiteX11176" fmla="*/ 3609518 w 9310410"/>
              <a:gd name="connsiteY11176" fmla="*/ 3268440 h 5296383"/>
              <a:gd name="connsiteX11177" fmla="*/ 3613713 w 9310410"/>
              <a:gd name="connsiteY11177" fmla="*/ 3282223 h 5296383"/>
              <a:gd name="connsiteX11178" fmla="*/ 3625698 w 9310410"/>
              <a:gd name="connsiteY11178" fmla="*/ 3281025 h 5296383"/>
              <a:gd name="connsiteX11179" fmla="*/ 3637684 w 9310410"/>
              <a:gd name="connsiteY11179" fmla="*/ 3278628 h 5296383"/>
              <a:gd name="connsiteX11180" fmla="*/ 3639482 w 9310410"/>
              <a:gd name="connsiteY11180" fmla="*/ 3271437 h 5296383"/>
              <a:gd name="connsiteX11181" fmla="*/ 3638882 w 9310410"/>
              <a:gd name="connsiteY11181" fmla="*/ 3253458 h 5296383"/>
              <a:gd name="connsiteX11182" fmla="*/ 3637085 w 9310410"/>
              <a:gd name="connsiteY11182" fmla="*/ 3236080 h 5296383"/>
              <a:gd name="connsiteX11183" fmla="*/ 3638283 w 9310410"/>
              <a:gd name="connsiteY11183" fmla="*/ 3219300 h 5296383"/>
              <a:gd name="connsiteX11184" fmla="*/ 3637684 w 9310410"/>
              <a:gd name="connsiteY11184" fmla="*/ 3205516 h 5296383"/>
              <a:gd name="connsiteX11185" fmla="*/ 3635886 w 9310410"/>
              <a:gd name="connsiteY11185" fmla="*/ 3186340 h 5296383"/>
              <a:gd name="connsiteX11186" fmla="*/ 3660457 w 9310410"/>
              <a:gd name="connsiteY11186" fmla="*/ 3183943 h 5296383"/>
              <a:gd name="connsiteX11187" fmla="*/ 3657460 w 9310410"/>
              <a:gd name="connsiteY11187" fmla="*/ 3206715 h 5296383"/>
              <a:gd name="connsiteX11188" fmla="*/ 3671842 w 9310410"/>
              <a:gd name="connsiteY11188" fmla="*/ 3228289 h 5296383"/>
              <a:gd name="connsiteX11189" fmla="*/ 3674240 w 9310410"/>
              <a:gd name="connsiteY11189" fmla="*/ 3236080 h 5296383"/>
              <a:gd name="connsiteX11190" fmla="*/ 3673041 w 9310410"/>
              <a:gd name="connsiteY11190" fmla="*/ 3243870 h 5296383"/>
              <a:gd name="connsiteX11191" fmla="*/ 3677835 w 9310410"/>
              <a:gd name="connsiteY11191" fmla="*/ 3252859 h 5296383"/>
              <a:gd name="connsiteX11192" fmla="*/ 3691019 w 9310410"/>
              <a:gd name="connsiteY11192" fmla="*/ 3257054 h 5296383"/>
              <a:gd name="connsiteX11193" fmla="*/ 3691019 w 9310410"/>
              <a:gd name="connsiteY11193" fmla="*/ 3249863 h 5296383"/>
              <a:gd name="connsiteX11194" fmla="*/ 3701806 w 9310410"/>
              <a:gd name="connsiteY11194" fmla="*/ 3234881 h 5296383"/>
              <a:gd name="connsiteX11195" fmla="*/ 3707200 w 9310410"/>
              <a:gd name="connsiteY11195" fmla="*/ 3228888 h 5296383"/>
              <a:gd name="connsiteX11196" fmla="*/ 3690420 w 9310410"/>
              <a:gd name="connsiteY11196" fmla="*/ 3209711 h 5296383"/>
              <a:gd name="connsiteX11197" fmla="*/ 3695813 w 9310410"/>
              <a:gd name="connsiteY11197" fmla="*/ 3195928 h 5296383"/>
              <a:gd name="connsiteX11198" fmla="*/ 3695214 w 9310410"/>
              <a:gd name="connsiteY11198" fmla="*/ 3190535 h 5296383"/>
              <a:gd name="connsiteX11199" fmla="*/ 3692218 w 9310410"/>
              <a:gd name="connsiteY11199" fmla="*/ 3183343 h 5296383"/>
              <a:gd name="connsiteX11200" fmla="*/ 3686824 w 9310410"/>
              <a:gd name="connsiteY11200" fmla="*/ 3179149 h 5296383"/>
              <a:gd name="connsiteX11201" fmla="*/ 3679034 w 9310410"/>
              <a:gd name="connsiteY11201" fmla="*/ 3173755 h 5296383"/>
              <a:gd name="connsiteX11202" fmla="*/ 3667648 w 9310410"/>
              <a:gd name="connsiteY11202" fmla="*/ 3165365 h 5296383"/>
              <a:gd name="connsiteX11203" fmla="*/ 3662254 w 9310410"/>
              <a:gd name="connsiteY11203" fmla="*/ 3155178 h 5296383"/>
              <a:gd name="connsiteX11204" fmla="*/ 3668846 w 9310410"/>
              <a:gd name="connsiteY11204" fmla="*/ 3157575 h 5296383"/>
              <a:gd name="connsiteX11205" fmla="*/ 3679034 w 9310410"/>
              <a:gd name="connsiteY11205" fmla="*/ 3153979 h 5296383"/>
              <a:gd name="connsiteX11206" fmla="*/ 3695813 w 9310410"/>
              <a:gd name="connsiteY11206" fmla="*/ 3143192 h 5296383"/>
              <a:gd name="connsiteX11207" fmla="*/ 3706600 w 9310410"/>
              <a:gd name="connsiteY11207" fmla="*/ 3127012 h 5296383"/>
              <a:gd name="connsiteX11208" fmla="*/ 3716788 w 9310410"/>
              <a:gd name="connsiteY11208" fmla="*/ 3121618 h 5296383"/>
              <a:gd name="connsiteX11209" fmla="*/ 3724579 w 9310410"/>
              <a:gd name="connsiteY11209" fmla="*/ 3122218 h 5296383"/>
              <a:gd name="connsiteX11210" fmla="*/ 3717388 w 9310410"/>
              <a:gd name="connsiteY11210" fmla="*/ 3111430 h 5296383"/>
              <a:gd name="connsiteX11211" fmla="*/ 3706600 w 9310410"/>
              <a:gd name="connsiteY11211" fmla="*/ 3113828 h 5296383"/>
              <a:gd name="connsiteX11212" fmla="*/ 3698810 w 9310410"/>
              <a:gd name="connsiteY11212" fmla="*/ 3116824 h 5296383"/>
              <a:gd name="connsiteX11213" fmla="*/ 3691618 w 9310410"/>
              <a:gd name="connsiteY11213" fmla="*/ 3120419 h 5296383"/>
              <a:gd name="connsiteX11214" fmla="*/ 3683229 w 9310410"/>
              <a:gd name="connsiteY11214" fmla="*/ 3124015 h 5296383"/>
              <a:gd name="connsiteX11215" fmla="*/ 3676037 w 9310410"/>
              <a:gd name="connsiteY11215" fmla="*/ 3124015 h 5296383"/>
              <a:gd name="connsiteX11216" fmla="*/ 3671842 w 9310410"/>
              <a:gd name="connsiteY11216" fmla="*/ 3128210 h 5296383"/>
              <a:gd name="connsiteX11217" fmla="*/ 3658658 w 9310410"/>
              <a:gd name="connsiteY11217" fmla="*/ 3141394 h 5296383"/>
              <a:gd name="connsiteX11218" fmla="*/ 3643677 w 9310410"/>
              <a:gd name="connsiteY11218" fmla="*/ 3136001 h 5296383"/>
              <a:gd name="connsiteX11219" fmla="*/ 3634687 w 9310410"/>
              <a:gd name="connsiteY11219" fmla="*/ 3122817 h 5296383"/>
              <a:gd name="connsiteX11220" fmla="*/ 3628096 w 9310410"/>
              <a:gd name="connsiteY11220" fmla="*/ 3101842 h 5296383"/>
              <a:gd name="connsiteX11221" fmla="*/ 3628695 w 9310410"/>
              <a:gd name="connsiteY11221" fmla="*/ 3094651 h 5296383"/>
              <a:gd name="connsiteX11222" fmla="*/ 3633489 w 9310410"/>
              <a:gd name="connsiteY11222" fmla="*/ 3078470 h 5296383"/>
              <a:gd name="connsiteX11223" fmla="*/ 3651467 w 9310410"/>
              <a:gd name="connsiteY11223" fmla="*/ 3070081 h 5296383"/>
              <a:gd name="connsiteX11224" fmla="*/ 3676637 w 9310410"/>
              <a:gd name="connsiteY11224" fmla="*/ 3067683 h 5296383"/>
              <a:gd name="connsiteX11225" fmla="*/ 3707200 w 9310410"/>
              <a:gd name="connsiteY11225" fmla="*/ 3069481 h 5296383"/>
              <a:gd name="connsiteX11226" fmla="*/ 3716788 w 9310410"/>
              <a:gd name="connsiteY11226" fmla="*/ 3073676 h 5296383"/>
              <a:gd name="connsiteX11227" fmla="*/ 3735366 w 9310410"/>
              <a:gd name="connsiteY11227" fmla="*/ 3077871 h 5296383"/>
              <a:gd name="connsiteX11228" fmla="*/ 3759337 w 9310410"/>
              <a:gd name="connsiteY11228" fmla="*/ 3065286 h 5296383"/>
              <a:gd name="connsiteX11229" fmla="*/ 3776116 w 9310410"/>
              <a:gd name="connsiteY11229" fmla="*/ 3050305 h 5296383"/>
              <a:gd name="connsiteX11230" fmla="*/ 3780311 w 9310410"/>
              <a:gd name="connsiteY11230" fmla="*/ 3042514 h 5296383"/>
              <a:gd name="connsiteX11231" fmla="*/ 3780910 w 9310410"/>
              <a:gd name="connsiteY11231" fmla="*/ 3035323 h 5296383"/>
              <a:gd name="connsiteX11232" fmla="*/ 3774918 w 9310410"/>
              <a:gd name="connsiteY11232" fmla="*/ 3031727 h 5296383"/>
              <a:gd name="connsiteX11233" fmla="*/ 3762932 w 9310410"/>
              <a:gd name="connsiteY11233" fmla="*/ 3044312 h 5296383"/>
              <a:gd name="connsiteX11234" fmla="*/ 3750348 w 9310410"/>
              <a:gd name="connsiteY11234" fmla="*/ 3055099 h 5296383"/>
              <a:gd name="connsiteX11235" fmla="*/ 3737163 w 9310410"/>
              <a:gd name="connsiteY11235" fmla="*/ 3059294 h 5296383"/>
              <a:gd name="connsiteX11236" fmla="*/ 3713792 w 9310410"/>
              <a:gd name="connsiteY11236" fmla="*/ 3060492 h 5296383"/>
              <a:gd name="connsiteX11237" fmla="*/ 3707200 w 9310410"/>
              <a:gd name="connsiteY11237" fmla="*/ 3058694 h 5296383"/>
              <a:gd name="connsiteX11238" fmla="*/ 3694615 w 9310410"/>
              <a:gd name="connsiteY11238" fmla="*/ 3054499 h 5296383"/>
              <a:gd name="connsiteX11239" fmla="*/ 3673041 w 9310410"/>
              <a:gd name="connsiteY11239" fmla="*/ 3048507 h 5296383"/>
              <a:gd name="connsiteX11240" fmla="*/ 3665850 w 9310410"/>
              <a:gd name="connsiteY11240" fmla="*/ 3047308 h 5296383"/>
              <a:gd name="connsiteX11241" fmla="*/ 3650269 w 9310410"/>
              <a:gd name="connsiteY11241" fmla="*/ 3052702 h 5296383"/>
              <a:gd name="connsiteX11242" fmla="*/ 3640680 w 9310410"/>
              <a:gd name="connsiteY11242" fmla="*/ 3058095 h 5296383"/>
              <a:gd name="connsiteX11243" fmla="*/ 3634088 w 9310410"/>
              <a:gd name="connsiteY11243" fmla="*/ 3056297 h 5296383"/>
              <a:gd name="connsiteX11244" fmla="*/ 3867805 w 9310410"/>
              <a:gd name="connsiteY11244" fmla="*/ 3205516 h 5296383"/>
              <a:gd name="connsiteX11245" fmla="*/ 3873199 w 9310410"/>
              <a:gd name="connsiteY11245" fmla="*/ 3200123 h 5296383"/>
              <a:gd name="connsiteX11246" fmla="*/ 3885184 w 9310410"/>
              <a:gd name="connsiteY11246" fmla="*/ 3202520 h 5296383"/>
              <a:gd name="connsiteX11247" fmla="*/ 3892375 w 9310410"/>
              <a:gd name="connsiteY11247" fmla="*/ 3200123 h 5296383"/>
              <a:gd name="connsiteX11248" fmla="*/ 3901364 w 9310410"/>
              <a:gd name="connsiteY11248" fmla="*/ 3200722 h 5296383"/>
              <a:gd name="connsiteX11249" fmla="*/ 3909754 w 9310410"/>
              <a:gd name="connsiteY11249" fmla="*/ 3198925 h 5296383"/>
              <a:gd name="connsiteX11250" fmla="*/ 3921141 w 9310410"/>
              <a:gd name="connsiteY11250" fmla="*/ 3201921 h 5296383"/>
              <a:gd name="connsiteX11251" fmla="*/ 3936123 w 9310410"/>
              <a:gd name="connsiteY11251" fmla="*/ 3210910 h 5296383"/>
              <a:gd name="connsiteX11252" fmla="*/ 3940917 w 9310410"/>
              <a:gd name="connsiteY11252" fmla="*/ 3203719 h 5296383"/>
              <a:gd name="connsiteX11253" fmla="*/ 3931328 w 9310410"/>
              <a:gd name="connsiteY11253" fmla="*/ 3189935 h 5296383"/>
              <a:gd name="connsiteX11254" fmla="*/ 3909155 w 9310410"/>
              <a:gd name="connsiteY11254" fmla="*/ 3185141 h 5296383"/>
              <a:gd name="connsiteX11255" fmla="*/ 3897170 w 9310410"/>
              <a:gd name="connsiteY11255" fmla="*/ 3184542 h 5296383"/>
              <a:gd name="connsiteX11256" fmla="*/ 3891776 w 9310410"/>
              <a:gd name="connsiteY11256" fmla="*/ 3183343 h 5296383"/>
              <a:gd name="connsiteX11257" fmla="*/ 3877393 w 9310410"/>
              <a:gd name="connsiteY11257" fmla="*/ 3184542 h 5296383"/>
              <a:gd name="connsiteX11258" fmla="*/ 3869004 w 9310410"/>
              <a:gd name="connsiteY11258" fmla="*/ 3190535 h 5296383"/>
              <a:gd name="connsiteX11259" fmla="*/ 3866607 w 9310410"/>
              <a:gd name="connsiteY11259" fmla="*/ 3198925 h 5296383"/>
              <a:gd name="connsiteX11260" fmla="*/ 3865408 w 9310410"/>
              <a:gd name="connsiteY11260" fmla="*/ 3204318 h 5296383"/>
              <a:gd name="connsiteX11261" fmla="*/ 3867805 w 9310410"/>
              <a:gd name="connsiteY11261" fmla="*/ 3205516 h 5296383"/>
              <a:gd name="connsiteX11262" fmla="*/ 3655063 w 9310410"/>
              <a:gd name="connsiteY11262" fmla="*/ 3415862 h 5296383"/>
              <a:gd name="connsiteX11263" fmla="*/ 3647272 w 9310410"/>
              <a:gd name="connsiteY11263" fmla="*/ 3411667 h 5296383"/>
              <a:gd name="connsiteX11264" fmla="*/ 3636486 w 9310410"/>
              <a:gd name="connsiteY11264" fmla="*/ 3406273 h 5296383"/>
              <a:gd name="connsiteX11265" fmla="*/ 3623301 w 9310410"/>
              <a:gd name="connsiteY11265" fmla="*/ 3406873 h 5296383"/>
              <a:gd name="connsiteX11266" fmla="*/ 3611316 w 9310410"/>
              <a:gd name="connsiteY11266" fmla="*/ 3411067 h 5296383"/>
              <a:gd name="connsiteX11267" fmla="*/ 3611316 w 9310410"/>
              <a:gd name="connsiteY11267" fmla="*/ 3417660 h 5296383"/>
              <a:gd name="connsiteX11268" fmla="*/ 3623301 w 9310410"/>
              <a:gd name="connsiteY11268" fmla="*/ 3418858 h 5296383"/>
              <a:gd name="connsiteX11269" fmla="*/ 3632890 w 9310410"/>
              <a:gd name="connsiteY11269" fmla="*/ 3423652 h 5296383"/>
              <a:gd name="connsiteX11270" fmla="*/ 3644875 w 9310410"/>
              <a:gd name="connsiteY11270" fmla="*/ 3432042 h 5296383"/>
              <a:gd name="connsiteX11271" fmla="*/ 3656861 w 9310410"/>
              <a:gd name="connsiteY11271" fmla="*/ 3431443 h 5296383"/>
              <a:gd name="connsiteX11272" fmla="*/ 3659258 w 9310410"/>
              <a:gd name="connsiteY11272" fmla="*/ 3421855 h 5296383"/>
              <a:gd name="connsiteX11273" fmla="*/ 3655063 w 9310410"/>
              <a:gd name="connsiteY11273" fmla="*/ 3415862 h 5296383"/>
              <a:gd name="connsiteX11274" fmla="*/ 3743156 w 9310410"/>
              <a:gd name="connsiteY11274" fmla="*/ 3436836 h 5296383"/>
              <a:gd name="connsiteX11275" fmla="*/ 3759936 w 9310410"/>
              <a:gd name="connsiteY11275" fmla="*/ 3432042 h 5296383"/>
              <a:gd name="connsiteX11276" fmla="*/ 3784506 w 9310410"/>
              <a:gd name="connsiteY11276" fmla="*/ 3413465 h 5296383"/>
              <a:gd name="connsiteX11277" fmla="*/ 3804282 w 9310410"/>
              <a:gd name="connsiteY11277" fmla="*/ 3397284 h 5296383"/>
              <a:gd name="connsiteX11278" fmla="*/ 3828253 w 9310410"/>
              <a:gd name="connsiteY11278" fmla="*/ 3384100 h 5296383"/>
              <a:gd name="connsiteX11279" fmla="*/ 3837841 w 9310410"/>
              <a:gd name="connsiteY11279" fmla="*/ 3376310 h 5296383"/>
              <a:gd name="connsiteX11280" fmla="*/ 3840239 w 9310410"/>
              <a:gd name="connsiteY11280" fmla="*/ 3370916 h 5296383"/>
              <a:gd name="connsiteX11281" fmla="*/ 3819863 w 9310410"/>
              <a:gd name="connsiteY11281" fmla="*/ 3375111 h 5296383"/>
              <a:gd name="connsiteX11282" fmla="*/ 3809675 w 9310410"/>
              <a:gd name="connsiteY11282" fmla="*/ 3374512 h 5296383"/>
              <a:gd name="connsiteX11283" fmla="*/ 3801286 w 9310410"/>
              <a:gd name="connsiteY11283" fmla="*/ 3376909 h 5296383"/>
              <a:gd name="connsiteX11284" fmla="*/ 3794095 w 9310410"/>
              <a:gd name="connsiteY11284" fmla="*/ 3379306 h 5296383"/>
              <a:gd name="connsiteX11285" fmla="*/ 3778513 w 9310410"/>
              <a:gd name="connsiteY11285" fmla="*/ 3390692 h 5296383"/>
              <a:gd name="connsiteX11286" fmla="*/ 3761734 w 9310410"/>
              <a:gd name="connsiteY11286" fmla="*/ 3400880 h 5296383"/>
              <a:gd name="connsiteX11287" fmla="*/ 3747950 w 9310410"/>
              <a:gd name="connsiteY11287" fmla="*/ 3413465 h 5296383"/>
              <a:gd name="connsiteX11288" fmla="*/ 3737763 w 9310410"/>
              <a:gd name="connsiteY11288" fmla="*/ 3425450 h 5296383"/>
              <a:gd name="connsiteX11289" fmla="*/ 3741958 w 9310410"/>
              <a:gd name="connsiteY11289" fmla="*/ 3427847 h 5296383"/>
              <a:gd name="connsiteX11290" fmla="*/ 3741358 w 9310410"/>
              <a:gd name="connsiteY11290" fmla="*/ 3433241 h 5296383"/>
              <a:gd name="connsiteX11291" fmla="*/ 3743156 w 9310410"/>
              <a:gd name="connsiteY11291" fmla="*/ 3436836 h 5296383"/>
              <a:gd name="connsiteX11292" fmla="*/ 3305087 w 9310410"/>
              <a:gd name="connsiteY11292" fmla="*/ 3076073 h 5296383"/>
              <a:gd name="connsiteX11293" fmla="*/ 3310480 w 9310410"/>
              <a:gd name="connsiteY11293" fmla="*/ 3086860 h 5296383"/>
              <a:gd name="connsiteX11294" fmla="*/ 3313477 w 9310410"/>
              <a:gd name="connsiteY11294" fmla="*/ 3098846 h 5296383"/>
              <a:gd name="connsiteX11295" fmla="*/ 3312278 w 9310410"/>
              <a:gd name="connsiteY11295" fmla="*/ 3106037 h 5296383"/>
              <a:gd name="connsiteX11296" fmla="*/ 3315275 w 9310410"/>
              <a:gd name="connsiteY11296" fmla="*/ 3113228 h 5296383"/>
              <a:gd name="connsiteX11297" fmla="*/ 3330856 w 9310410"/>
              <a:gd name="connsiteY11297" fmla="*/ 3125214 h 5296383"/>
              <a:gd name="connsiteX11298" fmla="*/ 3340444 w 9310410"/>
              <a:gd name="connsiteY11298" fmla="*/ 3141394 h 5296383"/>
              <a:gd name="connsiteX11299" fmla="*/ 3338047 w 9310410"/>
              <a:gd name="connsiteY11299" fmla="*/ 3149784 h 5296383"/>
              <a:gd name="connsiteX11300" fmla="*/ 3338646 w 9310410"/>
              <a:gd name="connsiteY11300" fmla="*/ 3155777 h 5296383"/>
              <a:gd name="connsiteX11301" fmla="*/ 3340444 w 9310410"/>
              <a:gd name="connsiteY11301" fmla="*/ 3161769 h 5296383"/>
              <a:gd name="connsiteX11302" fmla="*/ 3342841 w 9310410"/>
              <a:gd name="connsiteY11302" fmla="*/ 3165964 h 5296383"/>
              <a:gd name="connsiteX11303" fmla="*/ 3343440 w 9310410"/>
              <a:gd name="connsiteY11303" fmla="*/ 3173156 h 5296383"/>
              <a:gd name="connsiteX11304" fmla="*/ 3348834 w 9310410"/>
              <a:gd name="connsiteY11304" fmla="*/ 3193531 h 5296383"/>
              <a:gd name="connsiteX11305" fmla="*/ 3358422 w 9310410"/>
              <a:gd name="connsiteY11305" fmla="*/ 3196527 h 5296383"/>
              <a:gd name="connsiteX11306" fmla="*/ 3368610 w 9310410"/>
              <a:gd name="connsiteY11306" fmla="*/ 3197726 h 5296383"/>
              <a:gd name="connsiteX11307" fmla="*/ 3385390 w 9310410"/>
              <a:gd name="connsiteY11307" fmla="*/ 3196527 h 5296383"/>
              <a:gd name="connsiteX11308" fmla="*/ 3387787 w 9310410"/>
              <a:gd name="connsiteY11308" fmla="*/ 3190535 h 5296383"/>
              <a:gd name="connsiteX11309" fmla="*/ 3390783 w 9310410"/>
              <a:gd name="connsiteY11309" fmla="*/ 3182744 h 5296383"/>
              <a:gd name="connsiteX11310" fmla="*/ 3391982 w 9310410"/>
              <a:gd name="connsiteY11310" fmla="*/ 3202520 h 5296383"/>
              <a:gd name="connsiteX11311" fmla="*/ 3392581 w 9310410"/>
              <a:gd name="connsiteY11311" fmla="*/ 3219300 h 5296383"/>
              <a:gd name="connsiteX11312" fmla="*/ 3409960 w 9310410"/>
              <a:gd name="connsiteY11312" fmla="*/ 3210910 h 5296383"/>
              <a:gd name="connsiteX11313" fmla="*/ 3423144 w 9310410"/>
              <a:gd name="connsiteY11313" fmla="*/ 3206715 h 5296383"/>
              <a:gd name="connsiteX11314" fmla="*/ 3423743 w 9310410"/>
              <a:gd name="connsiteY11314" fmla="*/ 3204318 h 5296383"/>
              <a:gd name="connsiteX11315" fmla="*/ 3427339 w 9310410"/>
              <a:gd name="connsiteY11315" fmla="*/ 3199524 h 5296383"/>
              <a:gd name="connsiteX11316" fmla="*/ 3431534 w 9310410"/>
              <a:gd name="connsiteY11316" fmla="*/ 3198925 h 5296383"/>
              <a:gd name="connsiteX11317" fmla="*/ 3439923 w 9310410"/>
              <a:gd name="connsiteY11317" fmla="*/ 3198325 h 5296383"/>
              <a:gd name="connsiteX11318" fmla="*/ 3444718 w 9310410"/>
              <a:gd name="connsiteY11318" fmla="*/ 3201321 h 5296383"/>
              <a:gd name="connsiteX11319" fmla="*/ 3456104 w 9310410"/>
              <a:gd name="connsiteY11319" fmla="*/ 3205516 h 5296383"/>
              <a:gd name="connsiteX11320" fmla="*/ 3471086 w 9310410"/>
              <a:gd name="connsiteY11320" fmla="*/ 3204917 h 5296383"/>
              <a:gd name="connsiteX11321" fmla="*/ 3475880 w 9310410"/>
              <a:gd name="connsiteY11321" fmla="*/ 3207314 h 5296383"/>
              <a:gd name="connsiteX11322" fmla="*/ 3473483 w 9310410"/>
              <a:gd name="connsiteY11322" fmla="*/ 3223495 h 5296383"/>
              <a:gd name="connsiteX11323" fmla="*/ 3479476 w 9310410"/>
              <a:gd name="connsiteY11323" fmla="*/ 3228289 h 5296383"/>
              <a:gd name="connsiteX11324" fmla="*/ 3503447 w 9310410"/>
              <a:gd name="connsiteY11324" fmla="*/ 3216303 h 5296383"/>
              <a:gd name="connsiteX11325" fmla="*/ 3511836 w 9310410"/>
              <a:gd name="connsiteY11325" fmla="*/ 3206715 h 5296383"/>
              <a:gd name="connsiteX11326" fmla="*/ 3516631 w 9310410"/>
              <a:gd name="connsiteY11326" fmla="*/ 3194130 h 5296383"/>
              <a:gd name="connsiteX11327" fmla="*/ 3519028 w 9310410"/>
              <a:gd name="connsiteY11327" fmla="*/ 3190535 h 5296383"/>
              <a:gd name="connsiteX11328" fmla="*/ 3521425 w 9310410"/>
              <a:gd name="connsiteY11328" fmla="*/ 3181545 h 5296383"/>
              <a:gd name="connsiteX11329" fmla="*/ 3523822 w 9310410"/>
              <a:gd name="connsiteY11329" fmla="*/ 3177350 h 5296383"/>
              <a:gd name="connsiteX11330" fmla="*/ 3529215 w 9310410"/>
              <a:gd name="connsiteY11330" fmla="*/ 3167163 h 5296383"/>
              <a:gd name="connsiteX11331" fmla="*/ 3522624 w 9310410"/>
              <a:gd name="connsiteY11331" fmla="*/ 3165365 h 5296383"/>
              <a:gd name="connsiteX11332" fmla="*/ 3520226 w 9310410"/>
              <a:gd name="connsiteY11332" fmla="*/ 3161769 h 5296383"/>
              <a:gd name="connsiteX11333" fmla="*/ 3520825 w 9310410"/>
              <a:gd name="connsiteY11333" fmla="*/ 3153380 h 5296383"/>
              <a:gd name="connsiteX11334" fmla="*/ 3520825 w 9310410"/>
              <a:gd name="connsiteY11334" fmla="*/ 3147387 h 5296383"/>
              <a:gd name="connsiteX11335" fmla="*/ 3526219 w 9310410"/>
              <a:gd name="connsiteY11335" fmla="*/ 3135401 h 5296383"/>
              <a:gd name="connsiteX11336" fmla="*/ 3544197 w 9310410"/>
              <a:gd name="connsiteY11336" fmla="*/ 3116225 h 5296383"/>
              <a:gd name="connsiteX11337" fmla="*/ 3546594 w 9310410"/>
              <a:gd name="connsiteY11337" fmla="*/ 3107236 h 5296383"/>
              <a:gd name="connsiteX11338" fmla="*/ 3548392 w 9310410"/>
              <a:gd name="connsiteY11338" fmla="*/ 3096448 h 5296383"/>
              <a:gd name="connsiteX11339" fmla="*/ 3551988 w 9310410"/>
              <a:gd name="connsiteY11339" fmla="*/ 3069481 h 5296383"/>
              <a:gd name="connsiteX11340" fmla="*/ 3562175 w 9310410"/>
              <a:gd name="connsiteY11340" fmla="*/ 3061092 h 5296383"/>
              <a:gd name="connsiteX11341" fmla="*/ 3562775 w 9310410"/>
              <a:gd name="connsiteY11341" fmla="*/ 3055698 h 5296383"/>
              <a:gd name="connsiteX11342" fmla="*/ 3566970 w 9310410"/>
              <a:gd name="connsiteY11342" fmla="*/ 3055099 h 5296383"/>
              <a:gd name="connsiteX11343" fmla="*/ 3574760 w 9310410"/>
              <a:gd name="connsiteY11343" fmla="*/ 3062290 h 5296383"/>
              <a:gd name="connsiteX11344" fmla="*/ 3583749 w 9310410"/>
              <a:gd name="connsiteY11344" fmla="*/ 3063489 h 5296383"/>
              <a:gd name="connsiteX11345" fmla="*/ 3590341 w 9310410"/>
              <a:gd name="connsiteY11345" fmla="*/ 3063489 h 5296383"/>
              <a:gd name="connsiteX11346" fmla="*/ 3594536 w 9310410"/>
              <a:gd name="connsiteY11346" fmla="*/ 3059294 h 5296383"/>
              <a:gd name="connsiteX11347" fmla="*/ 3595136 w 9310410"/>
              <a:gd name="connsiteY11347" fmla="*/ 3054499 h 5296383"/>
              <a:gd name="connsiteX11348" fmla="*/ 3585547 w 9310410"/>
              <a:gd name="connsiteY11348" fmla="*/ 3046709 h 5296383"/>
              <a:gd name="connsiteX11349" fmla="*/ 3581352 w 9310410"/>
              <a:gd name="connsiteY11349" fmla="*/ 3040117 h 5296383"/>
              <a:gd name="connsiteX11350" fmla="*/ 3574760 w 9310410"/>
              <a:gd name="connsiteY11350" fmla="*/ 3036521 h 5296383"/>
              <a:gd name="connsiteX11351" fmla="*/ 3562775 w 9310410"/>
              <a:gd name="connsiteY11351" fmla="*/ 3026334 h 5296383"/>
              <a:gd name="connsiteX11352" fmla="*/ 3551389 w 9310410"/>
              <a:gd name="connsiteY11352" fmla="*/ 3017944 h 5296383"/>
              <a:gd name="connsiteX11353" fmla="*/ 3549591 w 9310410"/>
              <a:gd name="connsiteY11353" fmla="*/ 3011352 h 5296383"/>
              <a:gd name="connsiteX11354" fmla="*/ 3565172 w 9310410"/>
              <a:gd name="connsiteY11354" fmla="*/ 3013150 h 5296383"/>
              <a:gd name="connsiteX11355" fmla="*/ 3572962 w 9310410"/>
              <a:gd name="connsiteY11355" fmla="*/ 3008955 h 5296383"/>
              <a:gd name="connsiteX11356" fmla="*/ 3563374 w 9310410"/>
              <a:gd name="connsiteY11356" fmla="*/ 3001763 h 5296383"/>
              <a:gd name="connsiteX11357" fmla="*/ 3551988 w 9310410"/>
              <a:gd name="connsiteY11357" fmla="*/ 2998767 h 5296383"/>
              <a:gd name="connsiteX11358" fmla="*/ 3549591 w 9310410"/>
              <a:gd name="connsiteY11358" fmla="*/ 2993973 h 5296383"/>
              <a:gd name="connsiteX11359" fmla="*/ 3549591 w 9310410"/>
              <a:gd name="connsiteY11359" fmla="*/ 2987381 h 5296383"/>
              <a:gd name="connsiteX11360" fmla="*/ 3551988 w 9310410"/>
              <a:gd name="connsiteY11360" fmla="*/ 2983785 h 5296383"/>
              <a:gd name="connsiteX11361" fmla="*/ 3549591 w 9310410"/>
              <a:gd name="connsiteY11361" fmla="*/ 2978392 h 5296383"/>
              <a:gd name="connsiteX11362" fmla="*/ 3548392 w 9310410"/>
              <a:gd name="connsiteY11362" fmla="*/ 2970601 h 5296383"/>
              <a:gd name="connsiteX11363" fmla="*/ 3556183 w 9310410"/>
              <a:gd name="connsiteY11363" fmla="*/ 2968803 h 5296383"/>
              <a:gd name="connsiteX11364" fmla="*/ 3556183 w 9310410"/>
              <a:gd name="connsiteY11364" fmla="*/ 2960413 h 5296383"/>
              <a:gd name="connsiteX11365" fmla="*/ 3553785 w 9310410"/>
              <a:gd name="connsiteY11365" fmla="*/ 2953222 h 5296383"/>
              <a:gd name="connsiteX11366" fmla="*/ 3555584 w 9310410"/>
              <a:gd name="connsiteY11366" fmla="*/ 2946630 h 5296383"/>
              <a:gd name="connsiteX11367" fmla="*/ 3562175 w 9310410"/>
              <a:gd name="connsiteY11367" fmla="*/ 2947829 h 5296383"/>
              <a:gd name="connsiteX11368" fmla="*/ 3574161 w 9310410"/>
              <a:gd name="connsiteY11368" fmla="*/ 2948428 h 5296383"/>
              <a:gd name="connsiteX11369" fmla="*/ 3584349 w 9310410"/>
              <a:gd name="connsiteY11369" fmla="*/ 2943634 h 5296383"/>
              <a:gd name="connsiteX11370" fmla="*/ 3588544 w 9310410"/>
              <a:gd name="connsiteY11370" fmla="*/ 2939439 h 5296383"/>
              <a:gd name="connsiteX11371" fmla="*/ 3583150 w 9310410"/>
              <a:gd name="connsiteY11371" fmla="*/ 2935843 h 5296383"/>
              <a:gd name="connsiteX11372" fmla="*/ 3577157 w 9310410"/>
              <a:gd name="connsiteY11372" fmla="*/ 2934645 h 5296383"/>
              <a:gd name="connsiteX11373" fmla="*/ 3574760 w 9310410"/>
              <a:gd name="connsiteY11373" fmla="*/ 2927453 h 5296383"/>
              <a:gd name="connsiteX11374" fmla="*/ 3586746 w 9310410"/>
              <a:gd name="connsiteY11374" fmla="*/ 2926854 h 5296383"/>
              <a:gd name="connsiteX11375" fmla="*/ 3598731 w 9310410"/>
              <a:gd name="connsiteY11375" fmla="*/ 2925056 h 5296383"/>
              <a:gd name="connsiteX11376" fmla="*/ 3610716 w 9310410"/>
              <a:gd name="connsiteY11376" fmla="*/ 2914869 h 5296383"/>
              <a:gd name="connsiteX11377" fmla="*/ 3605323 w 9310410"/>
              <a:gd name="connsiteY11377" fmla="*/ 2909475 h 5296383"/>
              <a:gd name="connsiteX11378" fmla="*/ 3590341 w 9310410"/>
              <a:gd name="connsiteY11378" fmla="*/ 2904681 h 5296383"/>
              <a:gd name="connsiteX11379" fmla="*/ 3562775 w 9310410"/>
              <a:gd name="connsiteY11379" fmla="*/ 2895692 h 5296383"/>
              <a:gd name="connsiteX11380" fmla="*/ 3558580 w 9310410"/>
              <a:gd name="connsiteY11380" fmla="*/ 2890898 h 5296383"/>
              <a:gd name="connsiteX11381" fmla="*/ 3560378 w 9310410"/>
              <a:gd name="connsiteY11381" fmla="*/ 2884905 h 5296383"/>
              <a:gd name="connsiteX11382" fmla="*/ 3561576 w 9310410"/>
              <a:gd name="connsiteY11382" fmla="*/ 2880111 h 5296383"/>
              <a:gd name="connsiteX11383" fmla="*/ 3556183 w 9310410"/>
              <a:gd name="connsiteY11383" fmla="*/ 2869324 h 5296383"/>
              <a:gd name="connsiteX11384" fmla="*/ 3548991 w 9310410"/>
              <a:gd name="connsiteY11384" fmla="*/ 2862133 h 5296383"/>
              <a:gd name="connsiteX11385" fmla="*/ 3542399 w 9310410"/>
              <a:gd name="connsiteY11385" fmla="*/ 2865129 h 5296383"/>
              <a:gd name="connsiteX11386" fmla="*/ 3534609 w 9310410"/>
              <a:gd name="connsiteY11386" fmla="*/ 2865129 h 5296383"/>
              <a:gd name="connsiteX11387" fmla="*/ 3529215 w 9310410"/>
              <a:gd name="connsiteY11387" fmla="*/ 2864530 h 5296383"/>
              <a:gd name="connsiteX11388" fmla="*/ 3521425 w 9310410"/>
              <a:gd name="connsiteY11388" fmla="*/ 2876515 h 5296383"/>
              <a:gd name="connsiteX11389" fmla="*/ 3511237 w 9310410"/>
              <a:gd name="connsiteY11389" fmla="*/ 2896890 h 5296383"/>
              <a:gd name="connsiteX11390" fmla="*/ 3501049 w 9310410"/>
              <a:gd name="connsiteY11390" fmla="*/ 2908876 h 5296383"/>
              <a:gd name="connsiteX11391" fmla="*/ 3498653 w 9310410"/>
              <a:gd name="connsiteY11391" fmla="*/ 2915468 h 5296383"/>
              <a:gd name="connsiteX11392" fmla="*/ 3496255 w 9310410"/>
              <a:gd name="connsiteY11392" fmla="*/ 2922659 h 5296383"/>
              <a:gd name="connsiteX11393" fmla="*/ 3491461 w 9310410"/>
              <a:gd name="connsiteY11393" fmla="*/ 2923259 h 5296383"/>
              <a:gd name="connsiteX11394" fmla="*/ 3492060 w 9310410"/>
              <a:gd name="connsiteY11394" fmla="*/ 2921461 h 5296383"/>
              <a:gd name="connsiteX11395" fmla="*/ 3483671 w 9310410"/>
              <a:gd name="connsiteY11395" fmla="*/ 2922060 h 5296383"/>
              <a:gd name="connsiteX11396" fmla="*/ 3469288 w 9310410"/>
              <a:gd name="connsiteY11396" fmla="*/ 2931049 h 5296383"/>
              <a:gd name="connsiteX11397" fmla="*/ 3456104 w 9310410"/>
              <a:gd name="connsiteY11397" fmla="*/ 2940038 h 5296383"/>
              <a:gd name="connsiteX11398" fmla="*/ 3445916 w 9310410"/>
              <a:gd name="connsiteY11398" fmla="*/ 2955619 h 5296383"/>
              <a:gd name="connsiteX11399" fmla="*/ 3432732 w 9310410"/>
              <a:gd name="connsiteY11399" fmla="*/ 2970002 h 5296383"/>
              <a:gd name="connsiteX11400" fmla="*/ 3423144 w 9310410"/>
              <a:gd name="connsiteY11400" fmla="*/ 2986781 h 5296383"/>
              <a:gd name="connsiteX11401" fmla="*/ 3409960 w 9310410"/>
              <a:gd name="connsiteY11401" fmla="*/ 2992175 h 5296383"/>
              <a:gd name="connsiteX11402" fmla="*/ 3388985 w 9310410"/>
              <a:gd name="connsiteY11402" fmla="*/ 2998767 h 5296383"/>
              <a:gd name="connsiteX11403" fmla="*/ 3382393 w 9310410"/>
              <a:gd name="connsiteY11403" fmla="*/ 3008955 h 5296383"/>
              <a:gd name="connsiteX11404" fmla="*/ 3376401 w 9310410"/>
              <a:gd name="connsiteY11404" fmla="*/ 3013150 h 5296383"/>
              <a:gd name="connsiteX11405" fmla="*/ 3372206 w 9310410"/>
              <a:gd name="connsiteY11405" fmla="*/ 3020940 h 5296383"/>
              <a:gd name="connsiteX11406" fmla="*/ 3368011 w 9310410"/>
              <a:gd name="connsiteY11406" fmla="*/ 3028731 h 5296383"/>
              <a:gd name="connsiteX11407" fmla="*/ 3368610 w 9310410"/>
              <a:gd name="connsiteY11407" fmla="*/ 3035922 h 5296383"/>
              <a:gd name="connsiteX11408" fmla="*/ 3364415 w 9310410"/>
              <a:gd name="connsiteY11408" fmla="*/ 3038319 h 5296383"/>
              <a:gd name="connsiteX11409" fmla="*/ 3356625 w 9310410"/>
              <a:gd name="connsiteY11409" fmla="*/ 3032926 h 5296383"/>
              <a:gd name="connsiteX11410" fmla="*/ 3348235 w 9310410"/>
              <a:gd name="connsiteY11410" fmla="*/ 3028731 h 5296383"/>
              <a:gd name="connsiteX11411" fmla="*/ 3341043 w 9310410"/>
              <a:gd name="connsiteY11411" fmla="*/ 3028731 h 5296383"/>
              <a:gd name="connsiteX11412" fmla="*/ 3332054 w 9310410"/>
              <a:gd name="connsiteY11412" fmla="*/ 3025734 h 5296383"/>
              <a:gd name="connsiteX11413" fmla="*/ 3327859 w 9310410"/>
              <a:gd name="connsiteY11413" fmla="*/ 3017344 h 5296383"/>
              <a:gd name="connsiteX11414" fmla="*/ 3315874 w 9310410"/>
              <a:gd name="connsiteY11414" fmla="*/ 3029929 h 5296383"/>
              <a:gd name="connsiteX11415" fmla="*/ 3311679 w 9310410"/>
              <a:gd name="connsiteY11415" fmla="*/ 3035323 h 5296383"/>
              <a:gd name="connsiteX11416" fmla="*/ 3307484 w 9310410"/>
              <a:gd name="connsiteY11416" fmla="*/ 3046110 h 5296383"/>
              <a:gd name="connsiteX11417" fmla="*/ 3305087 w 9310410"/>
              <a:gd name="connsiteY11417" fmla="*/ 3064687 h 5296383"/>
              <a:gd name="connsiteX11418" fmla="*/ 3305087 w 9310410"/>
              <a:gd name="connsiteY11418" fmla="*/ 3076073 h 5296383"/>
              <a:gd name="connsiteX11419" fmla="*/ 3952902 w 9310410"/>
              <a:gd name="connsiteY11419" fmla="*/ 3131207 h 5296383"/>
              <a:gd name="connsiteX11420" fmla="*/ 3952902 w 9310410"/>
              <a:gd name="connsiteY11420" fmla="*/ 3139596 h 5296383"/>
              <a:gd name="connsiteX11421" fmla="*/ 3959494 w 9310410"/>
              <a:gd name="connsiteY11421" fmla="*/ 3136600 h 5296383"/>
              <a:gd name="connsiteX11422" fmla="*/ 3966086 w 9310410"/>
              <a:gd name="connsiteY11422" fmla="*/ 3133604 h 5296383"/>
              <a:gd name="connsiteX11423" fmla="*/ 3977472 w 9310410"/>
              <a:gd name="connsiteY11423" fmla="*/ 3136600 h 5296383"/>
              <a:gd name="connsiteX11424" fmla="*/ 3978671 w 9310410"/>
              <a:gd name="connsiteY11424" fmla="*/ 3140795 h 5296383"/>
              <a:gd name="connsiteX11425" fmla="*/ 3987061 w 9310410"/>
              <a:gd name="connsiteY11425" fmla="*/ 3159372 h 5296383"/>
              <a:gd name="connsiteX11426" fmla="*/ 3999046 w 9310410"/>
              <a:gd name="connsiteY11426" fmla="*/ 3159972 h 5296383"/>
              <a:gd name="connsiteX11427" fmla="*/ 4013429 w 9310410"/>
              <a:gd name="connsiteY11427" fmla="*/ 3159972 h 5296383"/>
              <a:gd name="connsiteX11428" fmla="*/ 4022418 w 9310410"/>
              <a:gd name="connsiteY11428" fmla="*/ 3159372 h 5296383"/>
              <a:gd name="connsiteX11429" fmla="*/ 4029609 w 9310410"/>
              <a:gd name="connsiteY11429" fmla="*/ 3155178 h 5296383"/>
              <a:gd name="connsiteX11430" fmla="*/ 4035602 w 9310410"/>
              <a:gd name="connsiteY11430" fmla="*/ 3157575 h 5296383"/>
              <a:gd name="connsiteX11431" fmla="*/ 4035003 w 9310410"/>
              <a:gd name="connsiteY11431" fmla="*/ 3162968 h 5296383"/>
              <a:gd name="connsiteX11432" fmla="*/ 4032605 w 9310410"/>
              <a:gd name="connsiteY11432" fmla="*/ 3168361 h 5296383"/>
              <a:gd name="connsiteX11433" fmla="*/ 4027811 w 9310410"/>
              <a:gd name="connsiteY11433" fmla="*/ 3173755 h 5296383"/>
              <a:gd name="connsiteX11434" fmla="*/ 4023616 w 9310410"/>
              <a:gd name="connsiteY11434" fmla="*/ 3174354 h 5296383"/>
              <a:gd name="connsiteX11435" fmla="*/ 4006237 w 9310410"/>
              <a:gd name="connsiteY11435" fmla="*/ 3169560 h 5296383"/>
              <a:gd name="connsiteX11436" fmla="*/ 3990656 w 9310410"/>
              <a:gd name="connsiteY11436" fmla="*/ 3171957 h 5296383"/>
              <a:gd name="connsiteX11437" fmla="*/ 3976873 w 9310410"/>
              <a:gd name="connsiteY11437" fmla="*/ 3177350 h 5296383"/>
              <a:gd name="connsiteX11438" fmla="*/ 3982866 w 9310410"/>
              <a:gd name="connsiteY11438" fmla="*/ 3181545 h 5296383"/>
              <a:gd name="connsiteX11439" fmla="*/ 3994851 w 9310410"/>
              <a:gd name="connsiteY11439" fmla="*/ 3188138 h 5296383"/>
              <a:gd name="connsiteX11440" fmla="*/ 4002043 w 9310410"/>
              <a:gd name="connsiteY11440" fmla="*/ 3192332 h 5296383"/>
              <a:gd name="connsiteX11441" fmla="*/ 4003840 w 9310410"/>
              <a:gd name="connsiteY11441" fmla="*/ 3201321 h 5296383"/>
              <a:gd name="connsiteX11442" fmla="*/ 4004440 w 9310410"/>
              <a:gd name="connsiteY11442" fmla="*/ 3213906 h 5296383"/>
              <a:gd name="connsiteX11443" fmla="*/ 4008635 w 9310410"/>
              <a:gd name="connsiteY11443" fmla="*/ 3227091 h 5296383"/>
              <a:gd name="connsiteX11444" fmla="*/ 4020620 w 9310410"/>
              <a:gd name="connsiteY11444" fmla="*/ 3210311 h 5296383"/>
              <a:gd name="connsiteX11445" fmla="*/ 4020620 w 9310410"/>
              <a:gd name="connsiteY11445" fmla="*/ 3203719 h 5296383"/>
              <a:gd name="connsiteX11446" fmla="*/ 4027811 w 9310410"/>
              <a:gd name="connsiteY11446" fmla="*/ 3196527 h 5296383"/>
              <a:gd name="connsiteX11447" fmla="*/ 4030208 w 9310410"/>
              <a:gd name="connsiteY11447" fmla="*/ 3186340 h 5296383"/>
              <a:gd name="connsiteX11448" fmla="*/ 4032605 w 9310410"/>
              <a:gd name="connsiteY11448" fmla="*/ 3190535 h 5296383"/>
              <a:gd name="connsiteX11449" fmla="*/ 4033205 w 9310410"/>
              <a:gd name="connsiteY11449" fmla="*/ 3205516 h 5296383"/>
              <a:gd name="connsiteX11450" fmla="*/ 4037999 w 9310410"/>
              <a:gd name="connsiteY11450" fmla="*/ 3212708 h 5296383"/>
              <a:gd name="connsiteX11451" fmla="*/ 4042194 w 9310410"/>
              <a:gd name="connsiteY11451" fmla="*/ 3216903 h 5296383"/>
              <a:gd name="connsiteX11452" fmla="*/ 4048786 w 9310410"/>
              <a:gd name="connsiteY11452" fmla="*/ 3219300 h 5296383"/>
              <a:gd name="connsiteX11453" fmla="*/ 4054179 w 9310410"/>
              <a:gd name="connsiteY11453" fmla="*/ 3218701 h 5296383"/>
              <a:gd name="connsiteX11454" fmla="*/ 4057775 w 9310410"/>
              <a:gd name="connsiteY11454" fmla="*/ 3221098 h 5296383"/>
              <a:gd name="connsiteX11455" fmla="*/ 4060172 w 9310410"/>
              <a:gd name="connsiteY11455" fmla="*/ 3223495 h 5296383"/>
              <a:gd name="connsiteX11456" fmla="*/ 4067363 w 9310410"/>
              <a:gd name="connsiteY11456" fmla="*/ 3231285 h 5296383"/>
              <a:gd name="connsiteX11457" fmla="*/ 4081147 w 9310410"/>
              <a:gd name="connsiteY11457" fmla="*/ 3233682 h 5296383"/>
              <a:gd name="connsiteX11458" fmla="*/ 4112908 w 9310410"/>
              <a:gd name="connsiteY11458" fmla="*/ 3242072 h 5296383"/>
              <a:gd name="connsiteX11459" fmla="*/ 4139876 w 9310410"/>
              <a:gd name="connsiteY11459" fmla="*/ 3260051 h 5296383"/>
              <a:gd name="connsiteX11460" fmla="*/ 4148865 w 9310410"/>
              <a:gd name="connsiteY11460" fmla="*/ 3266043 h 5296383"/>
              <a:gd name="connsiteX11461" fmla="*/ 4157254 w 9310410"/>
              <a:gd name="connsiteY11461" fmla="*/ 3273234 h 5296383"/>
              <a:gd name="connsiteX11462" fmla="*/ 4165644 w 9310410"/>
              <a:gd name="connsiteY11462" fmla="*/ 3272635 h 5296383"/>
              <a:gd name="connsiteX11463" fmla="*/ 4171038 w 9310410"/>
              <a:gd name="connsiteY11463" fmla="*/ 3275032 h 5296383"/>
              <a:gd name="connsiteX11464" fmla="*/ 4164446 w 9310410"/>
              <a:gd name="connsiteY11464" fmla="*/ 3281025 h 5296383"/>
              <a:gd name="connsiteX11465" fmla="*/ 4171637 w 9310410"/>
              <a:gd name="connsiteY11465" fmla="*/ 3301400 h 5296383"/>
              <a:gd name="connsiteX11466" fmla="*/ 4175233 w 9310410"/>
              <a:gd name="connsiteY11466" fmla="*/ 3312187 h 5296383"/>
              <a:gd name="connsiteX11467" fmla="*/ 4172836 w 9310410"/>
              <a:gd name="connsiteY11467" fmla="*/ 3319978 h 5296383"/>
              <a:gd name="connsiteX11468" fmla="*/ 4184821 w 9310410"/>
              <a:gd name="connsiteY11468" fmla="*/ 3325371 h 5296383"/>
              <a:gd name="connsiteX11469" fmla="*/ 4187818 w 9310410"/>
              <a:gd name="connsiteY11469" fmla="*/ 3328967 h 5296383"/>
              <a:gd name="connsiteX11470" fmla="*/ 4184821 w 9310410"/>
              <a:gd name="connsiteY11470" fmla="*/ 3335559 h 5296383"/>
              <a:gd name="connsiteX11471" fmla="*/ 4184222 w 9310410"/>
              <a:gd name="connsiteY11471" fmla="*/ 3351140 h 5296383"/>
              <a:gd name="connsiteX11472" fmla="*/ 4184821 w 9310410"/>
              <a:gd name="connsiteY11472" fmla="*/ 3363125 h 5296383"/>
              <a:gd name="connsiteX11473" fmla="*/ 4195009 w 9310410"/>
              <a:gd name="connsiteY11473" fmla="*/ 3357732 h 5296383"/>
              <a:gd name="connsiteX11474" fmla="*/ 4208193 w 9310410"/>
              <a:gd name="connsiteY11474" fmla="*/ 3357133 h 5296383"/>
              <a:gd name="connsiteX11475" fmla="*/ 4215384 w 9310410"/>
              <a:gd name="connsiteY11475" fmla="*/ 3354736 h 5296383"/>
              <a:gd name="connsiteX11476" fmla="*/ 4218980 w 9310410"/>
              <a:gd name="connsiteY11476" fmla="*/ 3356534 h 5296383"/>
              <a:gd name="connsiteX11477" fmla="*/ 4230965 w 9310410"/>
              <a:gd name="connsiteY11477" fmla="*/ 3372714 h 5296383"/>
              <a:gd name="connsiteX11478" fmla="*/ 4242951 w 9310410"/>
              <a:gd name="connsiteY11478" fmla="*/ 3385898 h 5296383"/>
              <a:gd name="connsiteX11479" fmla="*/ 4250142 w 9310410"/>
              <a:gd name="connsiteY11479" fmla="*/ 3390692 h 5296383"/>
              <a:gd name="connsiteX11480" fmla="*/ 4250142 w 9310410"/>
              <a:gd name="connsiteY11480" fmla="*/ 3389494 h 5296383"/>
              <a:gd name="connsiteX11481" fmla="*/ 4261528 w 9310410"/>
              <a:gd name="connsiteY11481" fmla="*/ 3390093 h 5296383"/>
              <a:gd name="connsiteX11482" fmla="*/ 4280106 w 9310410"/>
              <a:gd name="connsiteY11482" fmla="*/ 3390692 h 5296383"/>
              <a:gd name="connsiteX11483" fmla="*/ 4284900 w 9310410"/>
              <a:gd name="connsiteY11483" fmla="*/ 3392490 h 5296383"/>
              <a:gd name="connsiteX11484" fmla="*/ 4296885 w 9310410"/>
              <a:gd name="connsiteY11484" fmla="*/ 3394887 h 5296383"/>
              <a:gd name="connsiteX11485" fmla="*/ 4313665 w 9310410"/>
              <a:gd name="connsiteY11485" fmla="*/ 3390692 h 5296383"/>
              <a:gd name="connsiteX11486" fmla="*/ 4317261 w 9310410"/>
              <a:gd name="connsiteY11486" fmla="*/ 3378707 h 5296383"/>
              <a:gd name="connsiteX11487" fmla="*/ 4307073 w 9310410"/>
              <a:gd name="connsiteY11487" fmla="*/ 3371515 h 5296383"/>
              <a:gd name="connsiteX11488" fmla="*/ 4298683 w 9310410"/>
              <a:gd name="connsiteY11488" fmla="*/ 3366721 h 5296383"/>
              <a:gd name="connsiteX11489" fmla="*/ 4286098 w 9310410"/>
              <a:gd name="connsiteY11489" fmla="*/ 3366122 h 5296383"/>
              <a:gd name="connsiteX11490" fmla="*/ 4301080 w 9310410"/>
              <a:gd name="connsiteY11490" fmla="*/ 3363125 h 5296383"/>
              <a:gd name="connsiteX11491" fmla="*/ 4317860 w 9310410"/>
              <a:gd name="connsiteY11491" fmla="*/ 3360729 h 5296383"/>
              <a:gd name="connsiteX11492" fmla="*/ 4319658 w 9310410"/>
              <a:gd name="connsiteY11492" fmla="*/ 3356534 h 5296383"/>
              <a:gd name="connsiteX11493" fmla="*/ 4323253 w 9310410"/>
              <a:gd name="connsiteY11493" fmla="*/ 3353537 h 5296383"/>
              <a:gd name="connsiteX11494" fmla="*/ 4331643 w 9310410"/>
              <a:gd name="connsiteY11494" fmla="*/ 3347544 h 5296383"/>
              <a:gd name="connsiteX11495" fmla="*/ 4321456 w 9310410"/>
              <a:gd name="connsiteY11495" fmla="*/ 3331364 h 5296383"/>
              <a:gd name="connsiteX11496" fmla="*/ 4334040 w 9310410"/>
              <a:gd name="connsiteY11496" fmla="*/ 3338555 h 5296383"/>
              <a:gd name="connsiteX11497" fmla="*/ 4342430 w 9310410"/>
              <a:gd name="connsiteY11497" fmla="*/ 3336758 h 5296383"/>
              <a:gd name="connsiteX11498" fmla="*/ 4341831 w 9310410"/>
              <a:gd name="connsiteY11498" fmla="*/ 3330765 h 5296383"/>
              <a:gd name="connsiteX11499" fmla="*/ 4347224 w 9310410"/>
              <a:gd name="connsiteY11499" fmla="*/ 3332563 h 5296383"/>
              <a:gd name="connsiteX11500" fmla="*/ 4359809 w 9310410"/>
              <a:gd name="connsiteY11500" fmla="*/ 3339754 h 5296383"/>
              <a:gd name="connsiteX11501" fmla="*/ 4373593 w 9310410"/>
              <a:gd name="connsiteY11501" fmla="*/ 3348144 h 5296383"/>
              <a:gd name="connsiteX11502" fmla="*/ 4389174 w 9310410"/>
              <a:gd name="connsiteY11502" fmla="*/ 3354136 h 5296383"/>
              <a:gd name="connsiteX11503" fmla="*/ 4410747 w 9310410"/>
              <a:gd name="connsiteY11503" fmla="*/ 3376310 h 5296383"/>
              <a:gd name="connsiteX11504" fmla="*/ 4413744 w 9310410"/>
              <a:gd name="connsiteY11504" fmla="*/ 3382302 h 5296383"/>
              <a:gd name="connsiteX11505" fmla="*/ 4420935 w 9310410"/>
              <a:gd name="connsiteY11505" fmla="*/ 3387696 h 5296383"/>
              <a:gd name="connsiteX11506" fmla="*/ 4426329 w 9310410"/>
              <a:gd name="connsiteY11506" fmla="*/ 3392490 h 5296383"/>
              <a:gd name="connsiteX11507" fmla="*/ 4427527 w 9310410"/>
              <a:gd name="connsiteY11507" fmla="*/ 3401479 h 5296383"/>
              <a:gd name="connsiteX11508" fmla="*/ 4432921 w 9310410"/>
              <a:gd name="connsiteY11508" fmla="*/ 3403876 h 5296383"/>
              <a:gd name="connsiteX11509" fmla="*/ 4441310 w 9310410"/>
              <a:gd name="connsiteY11509" fmla="*/ 3417060 h 5296383"/>
              <a:gd name="connsiteX11510" fmla="*/ 4447303 w 9310410"/>
              <a:gd name="connsiteY11510" fmla="*/ 3422454 h 5296383"/>
              <a:gd name="connsiteX11511" fmla="*/ 4453296 w 9310410"/>
              <a:gd name="connsiteY11511" fmla="*/ 3422454 h 5296383"/>
              <a:gd name="connsiteX11512" fmla="*/ 4465281 w 9310410"/>
              <a:gd name="connsiteY11512" fmla="*/ 3425450 h 5296383"/>
              <a:gd name="connsiteX11513" fmla="*/ 4476068 w 9310410"/>
              <a:gd name="connsiteY11513" fmla="*/ 3426649 h 5296383"/>
              <a:gd name="connsiteX11514" fmla="*/ 4492249 w 9310410"/>
              <a:gd name="connsiteY11514" fmla="*/ 3427847 h 5296383"/>
              <a:gd name="connsiteX11515" fmla="*/ 4497642 w 9310410"/>
              <a:gd name="connsiteY11515" fmla="*/ 3430244 h 5296383"/>
              <a:gd name="connsiteX11516" fmla="*/ 4501837 w 9310410"/>
              <a:gd name="connsiteY11516" fmla="*/ 3432042 h 5296383"/>
              <a:gd name="connsiteX11517" fmla="*/ 4511426 w 9310410"/>
              <a:gd name="connsiteY11517" fmla="*/ 3436237 h 5296383"/>
              <a:gd name="connsiteX11518" fmla="*/ 4513223 w 9310410"/>
              <a:gd name="connsiteY11518" fmla="*/ 3440432 h 5296383"/>
              <a:gd name="connsiteX11519" fmla="*/ 4522812 w 9310410"/>
              <a:gd name="connsiteY11519" fmla="*/ 3444027 h 5296383"/>
              <a:gd name="connsiteX11520" fmla="*/ 4524010 w 9310410"/>
              <a:gd name="connsiteY11520" fmla="*/ 3434439 h 5296383"/>
              <a:gd name="connsiteX11521" fmla="*/ 4526407 w 9310410"/>
              <a:gd name="connsiteY11521" fmla="*/ 3430244 h 5296383"/>
              <a:gd name="connsiteX11522" fmla="*/ 4535996 w 9310410"/>
              <a:gd name="connsiteY11522" fmla="*/ 3430844 h 5296383"/>
              <a:gd name="connsiteX11523" fmla="*/ 4534198 w 9310410"/>
              <a:gd name="connsiteY11523" fmla="*/ 3427248 h 5296383"/>
              <a:gd name="connsiteX11524" fmla="*/ 4514422 w 9310410"/>
              <a:gd name="connsiteY11524" fmla="*/ 3420656 h 5296383"/>
              <a:gd name="connsiteX11525" fmla="*/ 4510826 w 9310410"/>
              <a:gd name="connsiteY11525" fmla="*/ 3409869 h 5296383"/>
              <a:gd name="connsiteX11526" fmla="*/ 4515620 w 9310410"/>
              <a:gd name="connsiteY11526" fmla="*/ 3405674 h 5296383"/>
              <a:gd name="connsiteX11527" fmla="*/ 4499440 w 9310410"/>
              <a:gd name="connsiteY11527" fmla="*/ 3403277 h 5296383"/>
              <a:gd name="connsiteX11528" fmla="*/ 4492848 w 9310410"/>
              <a:gd name="connsiteY11528" fmla="*/ 3390093 h 5296383"/>
              <a:gd name="connsiteX11529" fmla="*/ 4488653 w 9310410"/>
              <a:gd name="connsiteY11529" fmla="*/ 3383501 h 5296383"/>
              <a:gd name="connsiteX11530" fmla="*/ 4479664 w 9310410"/>
              <a:gd name="connsiteY11530" fmla="*/ 3386497 h 5296383"/>
              <a:gd name="connsiteX11531" fmla="*/ 4469476 w 9310410"/>
              <a:gd name="connsiteY11531" fmla="*/ 3380504 h 5296383"/>
              <a:gd name="connsiteX11532" fmla="*/ 4464083 w 9310410"/>
              <a:gd name="connsiteY11532" fmla="*/ 3369718 h 5296383"/>
              <a:gd name="connsiteX11533" fmla="*/ 4458689 w 9310410"/>
              <a:gd name="connsiteY11533" fmla="*/ 3361927 h 5296383"/>
              <a:gd name="connsiteX11534" fmla="*/ 4453296 w 9310410"/>
              <a:gd name="connsiteY11534" fmla="*/ 3352938 h 5296383"/>
              <a:gd name="connsiteX11535" fmla="*/ 4434119 w 9310410"/>
              <a:gd name="connsiteY11535" fmla="*/ 3333162 h 5296383"/>
              <a:gd name="connsiteX11536" fmla="*/ 4422134 w 9310410"/>
              <a:gd name="connsiteY11536" fmla="*/ 3314584 h 5296383"/>
              <a:gd name="connsiteX11537" fmla="*/ 4430524 w 9310410"/>
              <a:gd name="connsiteY11537" fmla="*/ 3311588 h 5296383"/>
              <a:gd name="connsiteX11538" fmla="*/ 4446704 w 9310410"/>
              <a:gd name="connsiteY11538" fmla="*/ 3307393 h 5296383"/>
              <a:gd name="connsiteX11539" fmla="*/ 4444307 w 9310410"/>
              <a:gd name="connsiteY11539" fmla="*/ 3288816 h 5296383"/>
              <a:gd name="connsiteX11540" fmla="*/ 4432921 w 9310410"/>
              <a:gd name="connsiteY11540" fmla="*/ 3280426 h 5296383"/>
              <a:gd name="connsiteX11541" fmla="*/ 4419137 w 9310410"/>
              <a:gd name="connsiteY11541" fmla="*/ 3279827 h 5296383"/>
              <a:gd name="connsiteX11542" fmla="*/ 4403556 w 9310410"/>
              <a:gd name="connsiteY11542" fmla="*/ 3270837 h 5296383"/>
              <a:gd name="connsiteX11543" fmla="*/ 4391571 w 9310410"/>
              <a:gd name="connsiteY11543" fmla="*/ 3266043 h 5296383"/>
              <a:gd name="connsiteX11544" fmla="*/ 4384979 w 9310410"/>
              <a:gd name="connsiteY11544" fmla="*/ 3255856 h 5296383"/>
              <a:gd name="connsiteX11545" fmla="*/ 4381383 w 9310410"/>
              <a:gd name="connsiteY11545" fmla="*/ 3243870 h 5296383"/>
              <a:gd name="connsiteX11546" fmla="*/ 4369398 w 9310410"/>
              <a:gd name="connsiteY11546" fmla="*/ 3231285 h 5296383"/>
              <a:gd name="connsiteX11547" fmla="*/ 4359210 w 9310410"/>
              <a:gd name="connsiteY11547" fmla="*/ 3219300 h 5296383"/>
              <a:gd name="connsiteX11548" fmla="*/ 4343629 w 9310410"/>
              <a:gd name="connsiteY11548" fmla="*/ 3206116 h 5296383"/>
              <a:gd name="connsiteX11549" fmla="*/ 4330445 w 9310410"/>
              <a:gd name="connsiteY11549" fmla="*/ 3203719 h 5296383"/>
              <a:gd name="connsiteX11550" fmla="*/ 4312467 w 9310410"/>
              <a:gd name="connsiteY11550" fmla="*/ 3198325 h 5296383"/>
              <a:gd name="connsiteX11551" fmla="*/ 4285499 w 9310410"/>
              <a:gd name="connsiteY11551" fmla="*/ 3189935 h 5296383"/>
              <a:gd name="connsiteX11552" fmla="*/ 4275312 w 9310410"/>
              <a:gd name="connsiteY11552" fmla="*/ 3183343 h 5296383"/>
              <a:gd name="connsiteX11553" fmla="*/ 4260330 w 9310410"/>
              <a:gd name="connsiteY11553" fmla="*/ 3176751 h 5296383"/>
              <a:gd name="connsiteX11554" fmla="*/ 4245348 w 9310410"/>
              <a:gd name="connsiteY11554" fmla="*/ 3171957 h 5296383"/>
              <a:gd name="connsiteX11555" fmla="*/ 4236958 w 9310410"/>
              <a:gd name="connsiteY11555" fmla="*/ 3168961 h 5296383"/>
              <a:gd name="connsiteX11556" fmla="*/ 4229767 w 9310410"/>
              <a:gd name="connsiteY11556" fmla="*/ 3164766 h 5296383"/>
              <a:gd name="connsiteX11557" fmla="*/ 4217781 w 9310410"/>
              <a:gd name="connsiteY11557" fmla="*/ 3162968 h 5296383"/>
              <a:gd name="connsiteX11558" fmla="*/ 4182424 w 9310410"/>
              <a:gd name="connsiteY11558" fmla="*/ 3149784 h 5296383"/>
              <a:gd name="connsiteX11559" fmla="*/ 4162648 w 9310410"/>
              <a:gd name="connsiteY11559" fmla="*/ 3138997 h 5296383"/>
              <a:gd name="connsiteX11560" fmla="*/ 4155457 w 9310410"/>
              <a:gd name="connsiteY11560" fmla="*/ 3138398 h 5296383"/>
              <a:gd name="connsiteX11561" fmla="*/ 4142872 w 9310410"/>
              <a:gd name="connsiteY11561" fmla="*/ 3138997 h 5296383"/>
              <a:gd name="connsiteX11562" fmla="*/ 4132684 w 9310410"/>
              <a:gd name="connsiteY11562" fmla="*/ 3150983 h 5296383"/>
              <a:gd name="connsiteX11563" fmla="*/ 4125493 w 9310410"/>
              <a:gd name="connsiteY11563" fmla="*/ 3159972 h 5296383"/>
              <a:gd name="connsiteX11564" fmla="*/ 4115305 w 9310410"/>
              <a:gd name="connsiteY11564" fmla="*/ 3162369 h 5296383"/>
              <a:gd name="connsiteX11565" fmla="*/ 4108114 w 9310410"/>
              <a:gd name="connsiteY11565" fmla="*/ 3163567 h 5296383"/>
              <a:gd name="connsiteX11566" fmla="*/ 4094930 w 9310410"/>
              <a:gd name="connsiteY11566" fmla="*/ 3176751 h 5296383"/>
              <a:gd name="connsiteX11567" fmla="*/ 4084143 w 9310410"/>
              <a:gd name="connsiteY11567" fmla="*/ 3192932 h 5296383"/>
              <a:gd name="connsiteX11568" fmla="*/ 4064367 w 9310410"/>
              <a:gd name="connsiteY11568" fmla="*/ 3195928 h 5296383"/>
              <a:gd name="connsiteX11569" fmla="*/ 4060172 w 9310410"/>
              <a:gd name="connsiteY11569" fmla="*/ 3187538 h 5296383"/>
              <a:gd name="connsiteX11570" fmla="*/ 4058974 w 9310410"/>
              <a:gd name="connsiteY11570" fmla="*/ 3182744 h 5296383"/>
              <a:gd name="connsiteX11571" fmla="*/ 4057176 w 9310410"/>
              <a:gd name="connsiteY11571" fmla="*/ 3172556 h 5296383"/>
              <a:gd name="connsiteX11572" fmla="*/ 4052381 w 9310410"/>
              <a:gd name="connsiteY11572" fmla="*/ 3170159 h 5296383"/>
              <a:gd name="connsiteX11573" fmla="*/ 4048786 w 9310410"/>
              <a:gd name="connsiteY11573" fmla="*/ 3176751 h 5296383"/>
              <a:gd name="connsiteX11574" fmla="*/ 4044591 w 9310410"/>
              <a:gd name="connsiteY11574" fmla="*/ 3159972 h 5296383"/>
              <a:gd name="connsiteX11575" fmla="*/ 4042194 w 9310410"/>
              <a:gd name="connsiteY11575" fmla="*/ 3138997 h 5296383"/>
              <a:gd name="connsiteX11576" fmla="*/ 4037400 w 9310410"/>
              <a:gd name="connsiteY11576" fmla="*/ 3116824 h 5296383"/>
              <a:gd name="connsiteX11577" fmla="*/ 4021219 w 9310410"/>
              <a:gd name="connsiteY11577" fmla="*/ 3109033 h 5296383"/>
              <a:gd name="connsiteX11578" fmla="*/ 3998447 w 9310410"/>
              <a:gd name="connsiteY11578" fmla="*/ 3101842 h 5296383"/>
              <a:gd name="connsiteX11579" fmla="*/ 3981068 w 9310410"/>
              <a:gd name="connsiteY11579" fmla="*/ 3104838 h 5296383"/>
              <a:gd name="connsiteX11580" fmla="*/ 3964888 w 9310410"/>
              <a:gd name="connsiteY11580" fmla="*/ 3111430 h 5296383"/>
              <a:gd name="connsiteX11581" fmla="*/ 3956498 w 9310410"/>
              <a:gd name="connsiteY11581" fmla="*/ 3124614 h 5296383"/>
              <a:gd name="connsiteX11582" fmla="*/ 3952902 w 9310410"/>
              <a:gd name="connsiteY11582" fmla="*/ 3131207 h 5296383"/>
              <a:gd name="connsiteX11583" fmla="*/ 1105152 w 9310410"/>
              <a:gd name="connsiteY11583" fmla="*/ 903106 h 5296383"/>
              <a:gd name="connsiteX11584" fmla="*/ 1096763 w 9310410"/>
              <a:gd name="connsiteY11584" fmla="*/ 902507 h 5296383"/>
              <a:gd name="connsiteX11585" fmla="*/ 1099160 w 9310410"/>
              <a:gd name="connsiteY11585" fmla="*/ 908499 h 5296383"/>
              <a:gd name="connsiteX11586" fmla="*/ 1105152 w 9310410"/>
              <a:gd name="connsiteY11586" fmla="*/ 903106 h 5296383"/>
              <a:gd name="connsiteX11587" fmla="*/ 1121333 w 9310410"/>
              <a:gd name="connsiteY11587" fmla="*/ 877936 h 5296383"/>
              <a:gd name="connsiteX11588" fmla="*/ 1124329 w 9310410"/>
              <a:gd name="connsiteY11588" fmla="*/ 875539 h 5296383"/>
              <a:gd name="connsiteX11589" fmla="*/ 1121932 w 9310410"/>
              <a:gd name="connsiteY11589" fmla="*/ 873142 h 5296383"/>
              <a:gd name="connsiteX11590" fmla="*/ 1121333 w 9310410"/>
              <a:gd name="connsiteY11590" fmla="*/ 877936 h 5296383"/>
              <a:gd name="connsiteX11591" fmla="*/ 1077586 w 9310410"/>
              <a:gd name="connsiteY11591" fmla="*/ 1020564 h 5296383"/>
              <a:gd name="connsiteX11592" fmla="*/ 1084178 w 9310410"/>
              <a:gd name="connsiteY11592" fmla="*/ 1021163 h 5296383"/>
              <a:gd name="connsiteX11593" fmla="*/ 1078784 w 9310410"/>
              <a:gd name="connsiteY11593" fmla="*/ 1013972 h 5296383"/>
              <a:gd name="connsiteX11594" fmla="*/ 1077586 w 9310410"/>
              <a:gd name="connsiteY11594" fmla="*/ 1020564 h 5296383"/>
              <a:gd name="connsiteX11595" fmla="*/ 1162083 w 9310410"/>
              <a:gd name="connsiteY11595" fmla="*/ 761078 h 5296383"/>
              <a:gd name="connsiteX11596" fmla="*/ 1163881 w 9310410"/>
              <a:gd name="connsiteY11596" fmla="*/ 758082 h 5296383"/>
              <a:gd name="connsiteX11597" fmla="*/ 1161484 w 9310410"/>
              <a:gd name="connsiteY11597" fmla="*/ 756284 h 5296383"/>
              <a:gd name="connsiteX11598" fmla="*/ 1162083 w 9310410"/>
              <a:gd name="connsiteY11598" fmla="*/ 761078 h 5296383"/>
              <a:gd name="connsiteX11599" fmla="*/ 1201635 w 9310410"/>
              <a:gd name="connsiteY11599" fmla="*/ 735309 h 5296383"/>
              <a:gd name="connsiteX11600" fmla="*/ 1208827 w 9310410"/>
              <a:gd name="connsiteY11600" fmla="*/ 728717 h 5296383"/>
              <a:gd name="connsiteX11601" fmla="*/ 1205830 w 9310410"/>
              <a:gd name="connsiteY11601" fmla="*/ 725721 h 5296383"/>
              <a:gd name="connsiteX11602" fmla="*/ 1197440 w 9310410"/>
              <a:gd name="connsiteY11602" fmla="*/ 728118 h 5296383"/>
              <a:gd name="connsiteX11603" fmla="*/ 1192047 w 9310410"/>
              <a:gd name="connsiteY11603" fmla="*/ 728118 h 5296383"/>
              <a:gd name="connsiteX11604" fmla="*/ 1184256 w 9310410"/>
              <a:gd name="connsiteY11604" fmla="*/ 736508 h 5296383"/>
              <a:gd name="connsiteX11605" fmla="*/ 1183058 w 9310410"/>
              <a:gd name="connsiteY11605" fmla="*/ 743100 h 5296383"/>
              <a:gd name="connsiteX11606" fmla="*/ 1193845 w 9310410"/>
              <a:gd name="connsiteY11606" fmla="*/ 740103 h 5296383"/>
              <a:gd name="connsiteX11607" fmla="*/ 1201635 w 9310410"/>
              <a:gd name="connsiteY11607" fmla="*/ 735309 h 5296383"/>
              <a:gd name="connsiteX11608" fmla="*/ 1180062 w 9310410"/>
              <a:gd name="connsiteY11608" fmla="*/ 768269 h 5296383"/>
              <a:gd name="connsiteX11609" fmla="*/ 1184256 w 9310410"/>
              <a:gd name="connsiteY11609" fmla="*/ 763475 h 5296383"/>
              <a:gd name="connsiteX11610" fmla="*/ 1187852 w 9310410"/>
              <a:gd name="connsiteY11610" fmla="*/ 755085 h 5296383"/>
              <a:gd name="connsiteX11611" fmla="*/ 1187852 w 9310410"/>
              <a:gd name="connsiteY11611" fmla="*/ 747295 h 5296383"/>
              <a:gd name="connsiteX11612" fmla="*/ 1182459 w 9310410"/>
              <a:gd name="connsiteY11612" fmla="*/ 749692 h 5296383"/>
              <a:gd name="connsiteX11613" fmla="*/ 1180062 w 9310410"/>
              <a:gd name="connsiteY11613" fmla="*/ 753887 h 5296383"/>
              <a:gd name="connsiteX11614" fmla="*/ 1178264 w 9310410"/>
              <a:gd name="connsiteY11614" fmla="*/ 764074 h 5296383"/>
              <a:gd name="connsiteX11615" fmla="*/ 1180062 w 9310410"/>
              <a:gd name="connsiteY11615" fmla="*/ 768269 h 5296383"/>
              <a:gd name="connsiteX11616" fmla="*/ 1157289 w 9310410"/>
              <a:gd name="connsiteY11616" fmla="*/ 792839 h 5296383"/>
              <a:gd name="connsiteX11617" fmla="*/ 1161484 w 9310410"/>
              <a:gd name="connsiteY11617" fmla="*/ 792240 h 5296383"/>
              <a:gd name="connsiteX11618" fmla="*/ 1160885 w 9310410"/>
              <a:gd name="connsiteY11618" fmla="*/ 786847 h 5296383"/>
              <a:gd name="connsiteX11619" fmla="*/ 1155491 w 9310410"/>
              <a:gd name="connsiteY11619" fmla="*/ 783850 h 5296383"/>
              <a:gd name="connsiteX11620" fmla="*/ 1150098 w 9310410"/>
              <a:gd name="connsiteY11620" fmla="*/ 786247 h 5296383"/>
              <a:gd name="connsiteX11621" fmla="*/ 1148300 w 9310410"/>
              <a:gd name="connsiteY11621" fmla="*/ 790442 h 5296383"/>
              <a:gd name="connsiteX11622" fmla="*/ 1157289 w 9310410"/>
              <a:gd name="connsiteY11622" fmla="*/ 792839 h 5296383"/>
              <a:gd name="connsiteX11623" fmla="*/ 1132120 w 9310410"/>
              <a:gd name="connsiteY11623" fmla="*/ 815612 h 5296383"/>
              <a:gd name="connsiteX11624" fmla="*/ 1136914 w 9310410"/>
              <a:gd name="connsiteY11624" fmla="*/ 808421 h 5296383"/>
              <a:gd name="connsiteX11625" fmla="*/ 1132120 w 9310410"/>
              <a:gd name="connsiteY11625" fmla="*/ 806023 h 5296383"/>
              <a:gd name="connsiteX11626" fmla="*/ 1129723 w 9310410"/>
              <a:gd name="connsiteY11626" fmla="*/ 812016 h 5296383"/>
              <a:gd name="connsiteX11627" fmla="*/ 1132120 w 9310410"/>
              <a:gd name="connsiteY11627" fmla="*/ 815612 h 5296383"/>
              <a:gd name="connsiteX11628" fmla="*/ 1144704 w 9310410"/>
              <a:gd name="connsiteY11628" fmla="*/ 810218 h 5296383"/>
              <a:gd name="connsiteX11629" fmla="*/ 1148300 w 9310410"/>
              <a:gd name="connsiteY11629" fmla="*/ 807821 h 5296383"/>
              <a:gd name="connsiteX11630" fmla="*/ 1141109 w 9310410"/>
              <a:gd name="connsiteY11630" fmla="*/ 806623 h 5296383"/>
              <a:gd name="connsiteX11631" fmla="*/ 1144704 w 9310410"/>
              <a:gd name="connsiteY11631" fmla="*/ 810218 h 5296383"/>
              <a:gd name="connsiteX11632" fmla="*/ 1289129 w 9310410"/>
              <a:gd name="connsiteY11632" fmla="*/ 719129 h 5296383"/>
              <a:gd name="connsiteX11633" fmla="*/ 1297519 w 9310410"/>
              <a:gd name="connsiteY11633" fmla="*/ 723923 h 5296383"/>
              <a:gd name="connsiteX11634" fmla="*/ 1293324 w 9310410"/>
              <a:gd name="connsiteY11634" fmla="*/ 716732 h 5296383"/>
              <a:gd name="connsiteX11635" fmla="*/ 1289129 w 9310410"/>
              <a:gd name="connsiteY11635" fmla="*/ 719129 h 5296383"/>
              <a:gd name="connsiteX11636" fmla="*/ 1121932 w 9310410"/>
              <a:gd name="connsiteY11636" fmla="*/ 907900 h 5296383"/>
              <a:gd name="connsiteX11637" fmla="*/ 1114741 w 9310410"/>
              <a:gd name="connsiteY11637" fmla="*/ 904304 h 5296383"/>
              <a:gd name="connsiteX11638" fmla="*/ 1108748 w 9310410"/>
              <a:gd name="connsiteY11638" fmla="*/ 908499 h 5296383"/>
              <a:gd name="connsiteX11639" fmla="*/ 1100957 w 9310410"/>
              <a:gd name="connsiteY11639" fmla="*/ 910896 h 5296383"/>
              <a:gd name="connsiteX11640" fmla="*/ 1088972 w 9310410"/>
              <a:gd name="connsiteY11640" fmla="*/ 916290 h 5296383"/>
              <a:gd name="connsiteX11641" fmla="*/ 1078784 w 9310410"/>
              <a:gd name="connsiteY11641" fmla="*/ 918687 h 5296383"/>
              <a:gd name="connsiteX11642" fmla="*/ 1085976 w 9310410"/>
              <a:gd name="connsiteY11642" fmla="*/ 922283 h 5296383"/>
              <a:gd name="connsiteX11643" fmla="*/ 1083578 w 9310410"/>
              <a:gd name="connsiteY11643" fmla="*/ 932470 h 5296383"/>
              <a:gd name="connsiteX11644" fmla="*/ 1073391 w 9310410"/>
              <a:gd name="connsiteY11644" fmla="*/ 944456 h 5296383"/>
              <a:gd name="connsiteX11645" fmla="*/ 1057810 w 9310410"/>
              <a:gd name="connsiteY11645" fmla="*/ 948651 h 5296383"/>
              <a:gd name="connsiteX11646" fmla="*/ 1051817 w 9310410"/>
              <a:gd name="connsiteY11646" fmla="*/ 949250 h 5296383"/>
              <a:gd name="connsiteX11647" fmla="*/ 1044626 w 9310410"/>
              <a:gd name="connsiteY11647" fmla="*/ 951647 h 5296383"/>
              <a:gd name="connsiteX11648" fmla="*/ 1041030 w 9310410"/>
              <a:gd name="connsiteY11648" fmla="*/ 954044 h 5296383"/>
              <a:gd name="connsiteX11649" fmla="*/ 1036236 w 9310410"/>
              <a:gd name="connsiteY11649" fmla="*/ 957640 h 5296383"/>
              <a:gd name="connsiteX11650" fmla="*/ 1049420 w 9310410"/>
              <a:gd name="connsiteY11650" fmla="*/ 963633 h 5296383"/>
              <a:gd name="connsiteX11651" fmla="*/ 1052416 w 9310410"/>
              <a:gd name="connsiteY11651" fmla="*/ 967827 h 5296383"/>
              <a:gd name="connsiteX11652" fmla="*/ 1056611 w 9310410"/>
              <a:gd name="connsiteY11652" fmla="*/ 975618 h 5296383"/>
              <a:gd name="connsiteX11653" fmla="*/ 1076387 w 9310410"/>
              <a:gd name="connsiteY11653" fmla="*/ 975019 h 5296383"/>
              <a:gd name="connsiteX11654" fmla="*/ 1086575 w 9310410"/>
              <a:gd name="connsiteY11654" fmla="*/ 975019 h 5296383"/>
              <a:gd name="connsiteX11655" fmla="*/ 1078185 w 9310410"/>
              <a:gd name="connsiteY11655" fmla="*/ 982210 h 5296383"/>
              <a:gd name="connsiteX11656" fmla="*/ 1067997 w 9310410"/>
              <a:gd name="connsiteY11656" fmla="*/ 986405 h 5296383"/>
              <a:gd name="connsiteX11657" fmla="*/ 1059607 w 9310410"/>
              <a:gd name="connsiteY11657" fmla="*/ 990001 h 5296383"/>
              <a:gd name="connsiteX11658" fmla="*/ 1047622 w 9310410"/>
              <a:gd name="connsiteY11658" fmla="*/ 984008 h 5296383"/>
              <a:gd name="connsiteX11659" fmla="*/ 1039232 w 9310410"/>
              <a:gd name="connsiteY11659" fmla="*/ 984607 h 5296383"/>
              <a:gd name="connsiteX11660" fmla="*/ 1036835 w 9310410"/>
              <a:gd name="connsiteY11660" fmla="*/ 988802 h 5296383"/>
              <a:gd name="connsiteX11661" fmla="*/ 1028445 w 9310410"/>
              <a:gd name="connsiteY11661" fmla="*/ 991798 h 5296383"/>
              <a:gd name="connsiteX11662" fmla="*/ 1019456 w 9310410"/>
              <a:gd name="connsiteY11662" fmla="*/ 999589 h 5296383"/>
              <a:gd name="connsiteX11663" fmla="*/ 1008669 w 9310410"/>
              <a:gd name="connsiteY11663" fmla="*/ 1003185 h 5296383"/>
              <a:gd name="connsiteX11664" fmla="*/ 995485 w 9310410"/>
              <a:gd name="connsiteY11664" fmla="*/ 1010376 h 5296383"/>
              <a:gd name="connsiteX11665" fmla="*/ 980503 w 9310410"/>
              <a:gd name="connsiteY11665" fmla="*/ 1013372 h 5296383"/>
              <a:gd name="connsiteX11666" fmla="*/ 981103 w 9310410"/>
              <a:gd name="connsiteY11666" fmla="*/ 1018766 h 5296383"/>
              <a:gd name="connsiteX11667" fmla="*/ 986496 w 9310410"/>
              <a:gd name="connsiteY11667" fmla="*/ 1021163 h 5296383"/>
              <a:gd name="connsiteX11668" fmla="*/ 991290 w 9310410"/>
              <a:gd name="connsiteY11668" fmla="*/ 1021762 h 5296383"/>
              <a:gd name="connsiteX11669" fmla="*/ 1000879 w 9310410"/>
              <a:gd name="connsiteY11669" fmla="*/ 1017567 h 5296383"/>
              <a:gd name="connsiteX11670" fmla="*/ 1009268 w 9310410"/>
              <a:gd name="connsiteY11670" fmla="*/ 1015170 h 5296383"/>
              <a:gd name="connsiteX11671" fmla="*/ 1020655 w 9310410"/>
              <a:gd name="connsiteY11671" fmla="*/ 1016968 h 5296383"/>
              <a:gd name="connsiteX11672" fmla="*/ 1028445 w 9310410"/>
              <a:gd name="connsiteY11672" fmla="*/ 1024159 h 5296383"/>
              <a:gd name="connsiteX11673" fmla="*/ 1035037 w 9310410"/>
              <a:gd name="connsiteY11673" fmla="*/ 1019365 h 5296383"/>
              <a:gd name="connsiteX11674" fmla="*/ 1043427 w 9310410"/>
              <a:gd name="connsiteY11674" fmla="*/ 1015170 h 5296383"/>
              <a:gd name="connsiteX11675" fmla="*/ 1053615 w 9310410"/>
              <a:gd name="connsiteY11675" fmla="*/ 1014571 h 5296383"/>
              <a:gd name="connsiteX11676" fmla="*/ 1062005 w 9310410"/>
              <a:gd name="connsiteY11676" fmla="*/ 1016369 h 5296383"/>
              <a:gd name="connsiteX11677" fmla="*/ 1066199 w 9310410"/>
              <a:gd name="connsiteY11677" fmla="*/ 1016968 h 5296383"/>
              <a:gd name="connsiteX11678" fmla="*/ 1073990 w 9310410"/>
              <a:gd name="connsiteY11678" fmla="*/ 1014571 h 5296383"/>
              <a:gd name="connsiteX11679" fmla="*/ 1082380 w 9310410"/>
              <a:gd name="connsiteY11679" fmla="*/ 1013372 h 5296383"/>
              <a:gd name="connsiteX11680" fmla="*/ 1087174 w 9310410"/>
              <a:gd name="connsiteY11680" fmla="*/ 1012773 h 5296383"/>
              <a:gd name="connsiteX11681" fmla="*/ 1099759 w 9310410"/>
              <a:gd name="connsiteY11681" fmla="*/ 1015769 h 5296383"/>
              <a:gd name="connsiteX11682" fmla="*/ 1114741 w 9310410"/>
              <a:gd name="connsiteY11682" fmla="*/ 1019964 h 5296383"/>
              <a:gd name="connsiteX11683" fmla="*/ 1133318 w 9310410"/>
              <a:gd name="connsiteY11683" fmla="*/ 1022361 h 5296383"/>
              <a:gd name="connsiteX11684" fmla="*/ 1146502 w 9310410"/>
              <a:gd name="connsiteY11684" fmla="*/ 1016369 h 5296383"/>
              <a:gd name="connsiteX11685" fmla="*/ 1148899 w 9310410"/>
              <a:gd name="connsiteY11685" fmla="*/ 1008578 h 5296383"/>
              <a:gd name="connsiteX11686" fmla="*/ 1144704 w 9310410"/>
              <a:gd name="connsiteY11686" fmla="*/ 1002585 h 5296383"/>
              <a:gd name="connsiteX11687" fmla="*/ 1147701 w 9310410"/>
              <a:gd name="connsiteY11687" fmla="*/ 995394 h 5296383"/>
              <a:gd name="connsiteX11688" fmla="*/ 1160885 w 9310410"/>
              <a:gd name="connsiteY11688" fmla="*/ 991798 h 5296383"/>
              <a:gd name="connsiteX11689" fmla="*/ 1178264 w 9310410"/>
              <a:gd name="connsiteY11689" fmla="*/ 979214 h 5296383"/>
              <a:gd name="connsiteX11690" fmla="*/ 1188451 w 9310410"/>
              <a:gd name="connsiteY11690" fmla="*/ 973221 h 5296383"/>
              <a:gd name="connsiteX11691" fmla="*/ 1199238 w 9310410"/>
              <a:gd name="connsiteY11691" fmla="*/ 961835 h 5296383"/>
              <a:gd name="connsiteX11692" fmla="*/ 1199838 w 9310410"/>
              <a:gd name="connsiteY11692" fmla="*/ 946853 h 5296383"/>
              <a:gd name="connsiteX11693" fmla="*/ 1186654 w 9310410"/>
              <a:gd name="connsiteY11693" fmla="*/ 942059 h 5296383"/>
              <a:gd name="connsiteX11694" fmla="*/ 1179462 w 9310410"/>
              <a:gd name="connsiteY11694" fmla="*/ 943856 h 5296383"/>
              <a:gd name="connsiteX11695" fmla="*/ 1187852 w 9310410"/>
              <a:gd name="connsiteY11695" fmla="*/ 933070 h 5296383"/>
              <a:gd name="connsiteX11696" fmla="*/ 1190249 w 9310410"/>
              <a:gd name="connsiteY11696" fmla="*/ 918088 h 5296383"/>
              <a:gd name="connsiteX11697" fmla="*/ 1185455 w 9310410"/>
              <a:gd name="connsiteY11697" fmla="*/ 912694 h 5296383"/>
              <a:gd name="connsiteX11698" fmla="*/ 1192646 w 9310410"/>
              <a:gd name="connsiteY11698" fmla="*/ 915091 h 5296383"/>
              <a:gd name="connsiteX11699" fmla="*/ 1197440 w 9310410"/>
              <a:gd name="connsiteY11699" fmla="*/ 912095 h 5296383"/>
              <a:gd name="connsiteX11700" fmla="*/ 1202834 w 9310410"/>
              <a:gd name="connsiteY11700" fmla="*/ 900709 h 5296383"/>
              <a:gd name="connsiteX11701" fmla="*/ 1205830 w 9310410"/>
              <a:gd name="connsiteY11701" fmla="*/ 891720 h 5296383"/>
              <a:gd name="connsiteX11702" fmla="*/ 1200437 w 9310410"/>
              <a:gd name="connsiteY11702" fmla="*/ 879734 h 5296383"/>
              <a:gd name="connsiteX11703" fmla="*/ 1199838 w 9310410"/>
              <a:gd name="connsiteY11703" fmla="*/ 872543 h 5296383"/>
              <a:gd name="connsiteX11704" fmla="*/ 1209426 w 9310410"/>
              <a:gd name="connsiteY11704" fmla="*/ 856363 h 5296383"/>
              <a:gd name="connsiteX11705" fmla="*/ 1216018 w 9310410"/>
              <a:gd name="connsiteY11705" fmla="*/ 841980 h 5296383"/>
              <a:gd name="connsiteX11706" fmla="*/ 1210625 w 9310410"/>
              <a:gd name="connsiteY11706" fmla="*/ 826998 h 5296383"/>
              <a:gd name="connsiteX11707" fmla="*/ 1195043 w 9310410"/>
              <a:gd name="connsiteY11707" fmla="*/ 821605 h 5296383"/>
              <a:gd name="connsiteX11708" fmla="*/ 1200437 w 9310410"/>
              <a:gd name="connsiteY11708" fmla="*/ 816810 h 5296383"/>
              <a:gd name="connsiteX11709" fmla="*/ 1215419 w 9310410"/>
              <a:gd name="connsiteY11709" fmla="*/ 817410 h 5296383"/>
              <a:gd name="connsiteX11710" fmla="*/ 1225007 w 9310410"/>
              <a:gd name="connsiteY11710" fmla="*/ 812016 h 5296383"/>
              <a:gd name="connsiteX11711" fmla="*/ 1232198 w 9310410"/>
              <a:gd name="connsiteY11711" fmla="*/ 804226 h 5296383"/>
              <a:gd name="connsiteX11712" fmla="*/ 1242985 w 9310410"/>
              <a:gd name="connsiteY11712" fmla="*/ 798233 h 5296383"/>
              <a:gd name="connsiteX11713" fmla="*/ 1265158 w 9310410"/>
              <a:gd name="connsiteY11713" fmla="*/ 783251 h 5296383"/>
              <a:gd name="connsiteX11714" fmla="*/ 1269353 w 9310410"/>
              <a:gd name="connsiteY11714" fmla="*/ 770666 h 5296383"/>
              <a:gd name="connsiteX11715" fmla="*/ 1259166 w 9310410"/>
              <a:gd name="connsiteY11715" fmla="*/ 768269 h 5296383"/>
              <a:gd name="connsiteX11716" fmla="*/ 1244184 w 9310410"/>
              <a:gd name="connsiteY11716" fmla="*/ 762876 h 5296383"/>
              <a:gd name="connsiteX11717" fmla="*/ 1245382 w 9310410"/>
              <a:gd name="connsiteY11717" fmla="*/ 752688 h 5296383"/>
              <a:gd name="connsiteX11718" fmla="*/ 1263960 w 9310410"/>
              <a:gd name="connsiteY11718" fmla="*/ 749092 h 5296383"/>
              <a:gd name="connsiteX11719" fmla="*/ 1277144 w 9310410"/>
              <a:gd name="connsiteY11719" fmla="*/ 740703 h 5296383"/>
              <a:gd name="connsiteX11720" fmla="*/ 1267556 w 9310410"/>
              <a:gd name="connsiteY11720" fmla="*/ 732313 h 5296383"/>
              <a:gd name="connsiteX11721" fmla="*/ 1250776 w 9310410"/>
              <a:gd name="connsiteY11721" fmla="*/ 727519 h 5296383"/>
              <a:gd name="connsiteX11722" fmla="*/ 1235195 w 9310410"/>
              <a:gd name="connsiteY11722" fmla="*/ 727519 h 5296383"/>
              <a:gd name="connsiteX11723" fmla="*/ 1222011 w 9310410"/>
              <a:gd name="connsiteY11723" fmla="*/ 736508 h 5296383"/>
              <a:gd name="connsiteX11724" fmla="*/ 1202235 w 9310410"/>
              <a:gd name="connsiteY11724" fmla="*/ 753887 h 5296383"/>
              <a:gd name="connsiteX11725" fmla="*/ 1195043 w 9310410"/>
              <a:gd name="connsiteY11725" fmla="*/ 758082 h 5296383"/>
              <a:gd name="connsiteX11726" fmla="*/ 1190848 w 9310410"/>
              <a:gd name="connsiteY11726" fmla="*/ 763475 h 5296383"/>
              <a:gd name="connsiteX11727" fmla="*/ 1191448 w 9310410"/>
              <a:gd name="connsiteY11727" fmla="*/ 767071 h 5296383"/>
              <a:gd name="connsiteX11728" fmla="*/ 1186054 w 9310410"/>
              <a:gd name="connsiteY11728" fmla="*/ 773063 h 5296383"/>
              <a:gd name="connsiteX11729" fmla="*/ 1184256 w 9310410"/>
              <a:gd name="connsiteY11729" fmla="*/ 779056 h 5296383"/>
              <a:gd name="connsiteX11730" fmla="*/ 1178863 w 9310410"/>
              <a:gd name="connsiteY11730" fmla="*/ 774861 h 5296383"/>
              <a:gd name="connsiteX11731" fmla="*/ 1174668 w 9310410"/>
              <a:gd name="connsiteY11731" fmla="*/ 779655 h 5296383"/>
              <a:gd name="connsiteX11732" fmla="*/ 1168076 w 9310410"/>
              <a:gd name="connsiteY11732" fmla="*/ 784450 h 5296383"/>
              <a:gd name="connsiteX11733" fmla="*/ 1160285 w 9310410"/>
              <a:gd name="connsiteY11733" fmla="*/ 785049 h 5296383"/>
              <a:gd name="connsiteX11734" fmla="*/ 1168675 w 9310410"/>
              <a:gd name="connsiteY11734" fmla="*/ 790442 h 5296383"/>
              <a:gd name="connsiteX11735" fmla="*/ 1174069 w 9310410"/>
              <a:gd name="connsiteY11735" fmla="*/ 792839 h 5296383"/>
              <a:gd name="connsiteX11736" fmla="*/ 1161484 w 9310410"/>
              <a:gd name="connsiteY11736" fmla="*/ 801829 h 5296383"/>
              <a:gd name="connsiteX11737" fmla="*/ 1143506 w 9310410"/>
              <a:gd name="connsiteY11737" fmla="*/ 819807 h 5296383"/>
              <a:gd name="connsiteX11738" fmla="*/ 1140509 w 9310410"/>
              <a:gd name="connsiteY11738" fmla="*/ 825200 h 5296383"/>
              <a:gd name="connsiteX11739" fmla="*/ 1151296 w 9310410"/>
              <a:gd name="connsiteY11739" fmla="*/ 817410 h 5296383"/>
              <a:gd name="connsiteX11740" fmla="*/ 1160885 w 9310410"/>
              <a:gd name="connsiteY11740" fmla="*/ 807222 h 5296383"/>
              <a:gd name="connsiteX11741" fmla="*/ 1165080 w 9310410"/>
              <a:gd name="connsiteY11741" fmla="*/ 808421 h 5296383"/>
              <a:gd name="connsiteX11742" fmla="*/ 1158488 w 9310410"/>
              <a:gd name="connsiteY11742" fmla="*/ 812616 h 5296383"/>
              <a:gd name="connsiteX11743" fmla="*/ 1163881 w 9310410"/>
              <a:gd name="connsiteY11743" fmla="*/ 816211 h 5296383"/>
              <a:gd name="connsiteX11744" fmla="*/ 1169275 w 9310410"/>
              <a:gd name="connsiteY11744" fmla="*/ 816810 h 5296383"/>
              <a:gd name="connsiteX11745" fmla="*/ 1157289 w 9310410"/>
              <a:gd name="connsiteY11745" fmla="*/ 827597 h 5296383"/>
              <a:gd name="connsiteX11746" fmla="*/ 1142307 w 9310410"/>
              <a:gd name="connsiteY11746" fmla="*/ 840781 h 5296383"/>
              <a:gd name="connsiteX11747" fmla="*/ 1128524 w 9310410"/>
              <a:gd name="connsiteY11747" fmla="*/ 850370 h 5296383"/>
              <a:gd name="connsiteX11748" fmla="*/ 1132120 w 9310410"/>
              <a:gd name="connsiteY11748" fmla="*/ 852767 h 5296383"/>
              <a:gd name="connsiteX11749" fmla="*/ 1137513 w 9310410"/>
              <a:gd name="connsiteY11749" fmla="*/ 852767 h 5296383"/>
              <a:gd name="connsiteX11750" fmla="*/ 1158488 w 9310410"/>
              <a:gd name="connsiteY11750" fmla="*/ 856363 h 5296383"/>
              <a:gd name="connsiteX11751" fmla="*/ 1162083 w 9310410"/>
              <a:gd name="connsiteY11751" fmla="*/ 859359 h 5296383"/>
              <a:gd name="connsiteX11752" fmla="*/ 1147701 w 9310410"/>
              <a:gd name="connsiteY11752" fmla="*/ 870745 h 5296383"/>
              <a:gd name="connsiteX11753" fmla="*/ 1148300 w 9310410"/>
              <a:gd name="connsiteY11753" fmla="*/ 882131 h 5296383"/>
              <a:gd name="connsiteX11754" fmla="*/ 1150098 w 9310410"/>
              <a:gd name="connsiteY11754" fmla="*/ 886326 h 5296383"/>
              <a:gd name="connsiteX11755" fmla="*/ 1141708 w 9310410"/>
              <a:gd name="connsiteY11755" fmla="*/ 891120 h 5296383"/>
              <a:gd name="connsiteX11756" fmla="*/ 1139311 w 9310410"/>
              <a:gd name="connsiteY11756" fmla="*/ 898312 h 5296383"/>
              <a:gd name="connsiteX11757" fmla="*/ 1130921 w 9310410"/>
              <a:gd name="connsiteY11757" fmla="*/ 911496 h 5296383"/>
              <a:gd name="connsiteX11758" fmla="*/ 1121932 w 9310410"/>
              <a:gd name="connsiteY11758" fmla="*/ 907900 h 5296383"/>
              <a:gd name="connsiteX11759" fmla="*/ 4510826 w 9310410"/>
              <a:gd name="connsiteY11759" fmla="*/ 3255856 h 5296383"/>
              <a:gd name="connsiteX11760" fmla="*/ 4497642 w 9310410"/>
              <a:gd name="connsiteY11760" fmla="*/ 3268440 h 5296383"/>
              <a:gd name="connsiteX11761" fmla="*/ 4468877 w 9310410"/>
              <a:gd name="connsiteY11761" fmla="*/ 3264245 h 5296383"/>
              <a:gd name="connsiteX11762" fmla="*/ 4461086 w 9310410"/>
              <a:gd name="connsiteY11762" fmla="*/ 3269040 h 5296383"/>
              <a:gd name="connsiteX11763" fmla="*/ 4469476 w 9310410"/>
              <a:gd name="connsiteY11763" fmla="*/ 3278628 h 5296383"/>
              <a:gd name="connsiteX11764" fmla="*/ 4476667 w 9310410"/>
              <a:gd name="connsiteY11764" fmla="*/ 3285220 h 5296383"/>
              <a:gd name="connsiteX11765" fmla="*/ 4489252 w 9310410"/>
              <a:gd name="connsiteY11765" fmla="*/ 3288816 h 5296383"/>
              <a:gd name="connsiteX11766" fmla="*/ 4499440 w 9310410"/>
              <a:gd name="connsiteY11766" fmla="*/ 3291213 h 5296383"/>
              <a:gd name="connsiteX11767" fmla="*/ 4512624 w 9310410"/>
              <a:gd name="connsiteY11767" fmla="*/ 3291812 h 5296383"/>
              <a:gd name="connsiteX11768" fmla="*/ 4522812 w 9310410"/>
              <a:gd name="connsiteY11768" fmla="*/ 3292411 h 5296383"/>
              <a:gd name="connsiteX11769" fmla="*/ 4538992 w 9310410"/>
              <a:gd name="connsiteY11769" fmla="*/ 3289415 h 5296383"/>
              <a:gd name="connsiteX11770" fmla="*/ 4556970 w 9310410"/>
              <a:gd name="connsiteY11770" fmla="*/ 3282223 h 5296383"/>
              <a:gd name="connsiteX11771" fmla="*/ 4561165 w 9310410"/>
              <a:gd name="connsiteY11771" fmla="*/ 3276830 h 5296383"/>
              <a:gd name="connsiteX11772" fmla="*/ 4563562 w 9310410"/>
              <a:gd name="connsiteY11772" fmla="*/ 3273234 h 5296383"/>
              <a:gd name="connsiteX11773" fmla="*/ 4576147 w 9310410"/>
              <a:gd name="connsiteY11773" fmla="*/ 3269639 h 5296383"/>
              <a:gd name="connsiteX11774" fmla="*/ 4573750 w 9310410"/>
              <a:gd name="connsiteY11774" fmla="*/ 3264845 h 5296383"/>
              <a:gd name="connsiteX11775" fmla="*/ 4573151 w 9310410"/>
              <a:gd name="connsiteY11775" fmla="*/ 3252859 h 5296383"/>
              <a:gd name="connsiteX11776" fmla="*/ 4580342 w 9310410"/>
              <a:gd name="connsiteY11776" fmla="*/ 3237877 h 5296383"/>
              <a:gd name="connsiteX11777" fmla="*/ 4576746 w 9310410"/>
              <a:gd name="connsiteY11777" fmla="*/ 3224094 h 5296383"/>
              <a:gd name="connsiteX11778" fmla="*/ 4570754 w 9310410"/>
              <a:gd name="connsiteY11778" fmla="*/ 3227690 h 5296383"/>
              <a:gd name="connsiteX11779" fmla="*/ 4565360 w 9310410"/>
              <a:gd name="connsiteY11779" fmla="*/ 3230087 h 5296383"/>
              <a:gd name="connsiteX11780" fmla="*/ 4558169 w 9310410"/>
              <a:gd name="connsiteY11780" fmla="*/ 3238476 h 5296383"/>
              <a:gd name="connsiteX11781" fmla="*/ 4553375 w 9310410"/>
              <a:gd name="connsiteY11781" fmla="*/ 3252260 h 5296383"/>
              <a:gd name="connsiteX11782" fmla="*/ 4547981 w 9310410"/>
              <a:gd name="connsiteY11782" fmla="*/ 3260051 h 5296383"/>
              <a:gd name="connsiteX11783" fmla="*/ 4539591 w 9310410"/>
              <a:gd name="connsiteY11783" fmla="*/ 3265444 h 5296383"/>
              <a:gd name="connsiteX11784" fmla="*/ 4532400 w 9310410"/>
              <a:gd name="connsiteY11784" fmla="*/ 3269639 h 5296383"/>
              <a:gd name="connsiteX11785" fmla="*/ 4528205 w 9310410"/>
              <a:gd name="connsiteY11785" fmla="*/ 3269639 h 5296383"/>
              <a:gd name="connsiteX11786" fmla="*/ 4521613 w 9310410"/>
              <a:gd name="connsiteY11786" fmla="*/ 3270238 h 5296383"/>
              <a:gd name="connsiteX11787" fmla="*/ 4513223 w 9310410"/>
              <a:gd name="connsiteY11787" fmla="*/ 3263047 h 5296383"/>
              <a:gd name="connsiteX11788" fmla="*/ 4510826 w 9310410"/>
              <a:gd name="connsiteY11788" fmla="*/ 3255856 h 5296383"/>
              <a:gd name="connsiteX11789" fmla="*/ 4591129 w 9310410"/>
              <a:gd name="connsiteY11789" fmla="*/ 3227690 h 5296383"/>
              <a:gd name="connsiteX11790" fmla="*/ 4595324 w 9310410"/>
              <a:gd name="connsiteY11790" fmla="*/ 3243271 h 5296383"/>
              <a:gd name="connsiteX11791" fmla="*/ 4602515 w 9310410"/>
              <a:gd name="connsiteY11791" fmla="*/ 3243271 h 5296383"/>
              <a:gd name="connsiteX11792" fmla="*/ 4606710 w 9310410"/>
              <a:gd name="connsiteY11792" fmla="*/ 3233682 h 5296383"/>
              <a:gd name="connsiteX11793" fmla="*/ 4604912 w 9310410"/>
              <a:gd name="connsiteY11793" fmla="*/ 3221697 h 5296383"/>
              <a:gd name="connsiteX11794" fmla="*/ 4595923 w 9310410"/>
              <a:gd name="connsiteY11794" fmla="*/ 3214506 h 5296383"/>
              <a:gd name="connsiteX11795" fmla="*/ 4586335 w 9310410"/>
              <a:gd name="connsiteY11795" fmla="*/ 3206116 h 5296383"/>
              <a:gd name="connsiteX11796" fmla="*/ 4573750 w 9310410"/>
              <a:gd name="connsiteY11796" fmla="*/ 3194730 h 5296383"/>
              <a:gd name="connsiteX11797" fmla="*/ 4558169 w 9310410"/>
              <a:gd name="connsiteY11797" fmla="*/ 3185141 h 5296383"/>
              <a:gd name="connsiteX11798" fmla="*/ 4550378 w 9310410"/>
              <a:gd name="connsiteY11798" fmla="*/ 3180946 h 5296383"/>
              <a:gd name="connsiteX11799" fmla="*/ 4546183 w 9310410"/>
              <a:gd name="connsiteY11799" fmla="*/ 3183343 h 5296383"/>
              <a:gd name="connsiteX11800" fmla="*/ 4568956 w 9310410"/>
              <a:gd name="connsiteY11800" fmla="*/ 3201921 h 5296383"/>
              <a:gd name="connsiteX11801" fmla="*/ 4591129 w 9310410"/>
              <a:gd name="connsiteY11801" fmla="*/ 3227690 h 5296383"/>
              <a:gd name="connsiteX11802" fmla="*/ 1174668 w 9310410"/>
              <a:gd name="connsiteY11802" fmla="*/ 303233 h 5296383"/>
              <a:gd name="connsiteX11803" fmla="*/ 1198040 w 9310410"/>
              <a:gd name="connsiteY11803" fmla="*/ 302633 h 5296383"/>
              <a:gd name="connsiteX11804" fmla="*/ 1202235 w 9310410"/>
              <a:gd name="connsiteY11804" fmla="*/ 303233 h 5296383"/>
              <a:gd name="connsiteX11805" fmla="*/ 1210025 w 9310410"/>
              <a:gd name="connsiteY11805" fmla="*/ 302633 h 5296383"/>
              <a:gd name="connsiteX11806" fmla="*/ 1217217 w 9310410"/>
              <a:gd name="connsiteY11806" fmla="*/ 303233 h 5296383"/>
              <a:gd name="connsiteX11807" fmla="*/ 1234596 w 9310410"/>
              <a:gd name="connsiteY11807" fmla="*/ 302034 h 5296383"/>
              <a:gd name="connsiteX11808" fmla="*/ 1266956 w 9310410"/>
              <a:gd name="connsiteY11808" fmla="*/ 297839 h 5296383"/>
              <a:gd name="connsiteX11809" fmla="*/ 1277144 w 9310410"/>
              <a:gd name="connsiteY11809" fmla="*/ 292446 h 5296383"/>
              <a:gd name="connsiteX11810" fmla="*/ 1284335 w 9310410"/>
              <a:gd name="connsiteY11810" fmla="*/ 293045 h 5296383"/>
              <a:gd name="connsiteX11811" fmla="*/ 1309505 w 9310410"/>
              <a:gd name="connsiteY11811" fmla="*/ 291247 h 5296383"/>
              <a:gd name="connsiteX11812" fmla="*/ 1332876 w 9310410"/>
              <a:gd name="connsiteY11812" fmla="*/ 288850 h 5296383"/>
              <a:gd name="connsiteX11813" fmla="*/ 1349057 w 9310410"/>
              <a:gd name="connsiteY11813" fmla="*/ 287652 h 5296383"/>
              <a:gd name="connsiteX11814" fmla="*/ 1350855 w 9310410"/>
              <a:gd name="connsiteY11814" fmla="*/ 280460 h 5296383"/>
              <a:gd name="connsiteX11815" fmla="*/ 1331079 w 9310410"/>
              <a:gd name="connsiteY11815" fmla="*/ 269074 h 5296383"/>
              <a:gd name="connsiteX11816" fmla="*/ 1320891 w 9310410"/>
              <a:gd name="connsiteY11816" fmla="*/ 264879 h 5296383"/>
              <a:gd name="connsiteX11817" fmla="*/ 1311302 w 9310410"/>
              <a:gd name="connsiteY11817" fmla="*/ 261283 h 5296383"/>
              <a:gd name="connsiteX11818" fmla="*/ 1290927 w 9310410"/>
              <a:gd name="connsiteY11818" fmla="*/ 257688 h 5296383"/>
              <a:gd name="connsiteX11819" fmla="*/ 1277743 w 9310410"/>
              <a:gd name="connsiteY11819" fmla="*/ 257089 h 5296383"/>
              <a:gd name="connsiteX11820" fmla="*/ 1269353 w 9310410"/>
              <a:gd name="connsiteY11820" fmla="*/ 253493 h 5296383"/>
              <a:gd name="connsiteX11821" fmla="*/ 1275346 w 9310410"/>
              <a:gd name="connsiteY11821" fmla="*/ 250497 h 5296383"/>
              <a:gd name="connsiteX11822" fmla="*/ 1295122 w 9310410"/>
              <a:gd name="connsiteY11822" fmla="*/ 254691 h 5296383"/>
              <a:gd name="connsiteX11823" fmla="*/ 1292126 w 9310410"/>
              <a:gd name="connsiteY11823" fmla="*/ 250497 h 5296383"/>
              <a:gd name="connsiteX11824" fmla="*/ 1276545 w 9310410"/>
              <a:gd name="connsiteY11824" fmla="*/ 243904 h 5296383"/>
              <a:gd name="connsiteX11825" fmla="*/ 1283736 w 9310410"/>
              <a:gd name="connsiteY11825" fmla="*/ 238511 h 5296383"/>
              <a:gd name="connsiteX11826" fmla="*/ 1294523 w 9310410"/>
              <a:gd name="connsiteY11826" fmla="*/ 233717 h 5296383"/>
              <a:gd name="connsiteX11827" fmla="*/ 1306508 w 9310410"/>
              <a:gd name="connsiteY11827" fmla="*/ 233717 h 5296383"/>
              <a:gd name="connsiteX11828" fmla="*/ 1316097 w 9310410"/>
              <a:gd name="connsiteY11828" fmla="*/ 237912 h 5296383"/>
              <a:gd name="connsiteX11829" fmla="*/ 1338869 w 9310410"/>
              <a:gd name="connsiteY11829" fmla="*/ 239110 h 5296383"/>
              <a:gd name="connsiteX11830" fmla="*/ 1346660 w 9310410"/>
              <a:gd name="connsiteY11830" fmla="*/ 233118 h 5296383"/>
              <a:gd name="connsiteX11831" fmla="*/ 1338270 w 9310410"/>
              <a:gd name="connsiteY11831" fmla="*/ 227724 h 5296383"/>
              <a:gd name="connsiteX11832" fmla="*/ 1334075 w 9310410"/>
              <a:gd name="connsiteY11832" fmla="*/ 215139 h 5296383"/>
              <a:gd name="connsiteX11833" fmla="*/ 1336472 w 9310410"/>
              <a:gd name="connsiteY11833" fmla="*/ 209147 h 5296383"/>
              <a:gd name="connsiteX11834" fmla="*/ 1338869 w 9310410"/>
              <a:gd name="connsiteY11834" fmla="*/ 221132 h 5296383"/>
              <a:gd name="connsiteX11835" fmla="*/ 1346060 w 9310410"/>
              <a:gd name="connsiteY11835" fmla="*/ 225327 h 5296383"/>
              <a:gd name="connsiteX11836" fmla="*/ 1352652 w 9310410"/>
              <a:gd name="connsiteY11836" fmla="*/ 234915 h 5296383"/>
              <a:gd name="connsiteX11837" fmla="*/ 1356847 w 9310410"/>
              <a:gd name="connsiteY11837" fmla="*/ 237912 h 5296383"/>
              <a:gd name="connsiteX11838" fmla="*/ 1356248 w 9310410"/>
              <a:gd name="connsiteY11838" fmla="*/ 245103 h 5296383"/>
              <a:gd name="connsiteX11839" fmla="*/ 1350855 w 9310410"/>
              <a:gd name="connsiteY11839" fmla="*/ 260085 h 5296383"/>
              <a:gd name="connsiteX11840" fmla="*/ 1356248 w 9310410"/>
              <a:gd name="connsiteY11840" fmla="*/ 272070 h 5296383"/>
              <a:gd name="connsiteX11841" fmla="*/ 1369432 w 9310410"/>
              <a:gd name="connsiteY11841" fmla="*/ 276865 h 5296383"/>
              <a:gd name="connsiteX11842" fmla="*/ 1377822 w 9310410"/>
              <a:gd name="connsiteY11842" fmla="*/ 273868 h 5296383"/>
              <a:gd name="connsiteX11843" fmla="*/ 1397598 w 9310410"/>
              <a:gd name="connsiteY11843" fmla="*/ 263081 h 5296383"/>
              <a:gd name="connsiteX11844" fmla="*/ 1403591 w 9310410"/>
              <a:gd name="connsiteY11844" fmla="*/ 251096 h 5296383"/>
              <a:gd name="connsiteX11845" fmla="*/ 1406587 w 9310410"/>
              <a:gd name="connsiteY11845" fmla="*/ 247500 h 5296383"/>
              <a:gd name="connsiteX11846" fmla="*/ 1408385 w 9310410"/>
              <a:gd name="connsiteY11846" fmla="*/ 241507 h 5296383"/>
              <a:gd name="connsiteX11847" fmla="*/ 1410782 w 9310410"/>
              <a:gd name="connsiteY11847" fmla="*/ 237312 h 5296383"/>
              <a:gd name="connsiteX11848" fmla="*/ 1408984 w 9310410"/>
              <a:gd name="connsiteY11848" fmla="*/ 225327 h 5296383"/>
              <a:gd name="connsiteX11849" fmla="*/ 1389807 w 9310410"/>
              <a:gd name="connsiteY11849" fmla="*/ 213342 h 5296383"/>
              <a:gd name="connsiteX11850" fmla="*/ 1378421 w 9310410"/>
              <a:gd name="connsiteY11850" fmla="*/ 215139 h 5296383"/>
              <a:gd name="connsiteX11851" fmla="*/ 1397598 w 9310410"/>
              <a:gd name="connsiteY11851" fmla="*/ 209746 h 5296383"/>
              <a:gd name="connsiteX11852" fmla="*/ 1401793 w 9310410"/>
              <a:gd name="connsiteY11852" fmla="*/ 207349 h 5296383"/>
              <a:gd name="connsiteX11853" fmla="*/ 1396999 w 9310410"/>
              <a:gd name="connsiteY11853" fmla="*/ 201356 h 5296383"/>
              <a:gd name="connsiteX11854" fmla="*/ 1383815 w 9310410"/>
              <a:gd name="connsiteY11854" fmla="*/ 197161 h 5296383"/>
              <a:gd name="connsiteX11855" fmla="*/ 1386811 w 9310410"/>
              <a:gd name="connsiteY11855" fmla="*/ 194764 h 5296383"/>
              <a:gd name="connsiteX11856" fmla="*/ 1399995 w 9310410"/>
              <a:gd name="connsiteY11856" fmla="*/ 195363 h 5296383"/>
              <a:gd name="connsiteX11857" fmla="*/ 1411381 w 9310410"/>
              <a:gd name="connsiteY11857" fmla="*/ 192966 h 5296383"/>
              <a:gd name="connsiteX11858" fmla="*/ 1396999 w 9310410"/>
              <a:gd name="connsiteY11858" fmla="*/ 186973 h 5296383"/>
              <a:gd name="connsiteX11859" fmla="*/ 1386212 w 9310410"/>
              <a:gd name="connsiteY11859" fmla="*/ 182779 h 5296383"/>
              <a:gd name="connsiteX11860" fmla="*/ 1401194 w 9310410"/>
              <a:gd name="connsiteY11860" fmla="*/ 177385 h 5296383"/>
              <a:gd name="connsiteX11861" fmla="*/ 1409583 w 9310410"/>
              <a:gd name="connsiteY11861" fmla="*/ 181580 h 5296383"/>
              <a:gd name="connsiteX11862" fmla="*/ 1420970 w 9310410"/>
              <a:gd name="connsiteY11862" fmla="*/ 184576 h 5296383"/>
              <a:gd name="connsiteX11863" fmla="*/ 1431157 w 9310410"/>
              <a:gd name="connsiteY11863" fmla="*/ 184576 h 5296383"/>
              <a:gd name="connsiteX11864" fmla="*/ 1435951 w 9310410"/>
              <a:gd name="connsiteY11864" fmla="*/ 178584 h 5296383"/>
              <a:gd name="connsiteX11865" fmla="*/ 1440146 w 9310410"/>
              <a:gd name="connsiteY11865" fmla="*/ 177984 h 5296383"/>
              <a:gd name="connsiteX11866" fmla="*/ 1450334 w 9310410"/>
              <a:gd name="connsiteY11866" fmla="*/ 182179 h 5296383"/>
              <a:gd name="connsiteX11867" fmla="*/ 1465316 w 9310410"/>
              <a:gd name="connsiteY11867" fmla="*/ 186973 h 5296383"/>
              <a:gd name="connsiteX11868" fmla="*/ 1470709 w 9310410"/>
              <a:gd name="connsiteY11868" fmla="*/ 194165 h 5296383"/>
              <a:gd name="connsiteX11869" fmla="*/ 1462320 w 9310410"/>
              <a:gd name="connsiteY11869" fmla="*/ 189970 h 5296383"/>
              <a:gd name="connsiteX11870" fmla="*/ 1458125 w 9310410"/>
              <a:gd name="connsiteY11870" fmla="*/ 194165 h 5296383"/>
              <a:gd name="connsiteX11871" fmla="*/ 1477301 w 9310410"/>
              <a:gd name="connsiteY11871" fmla="*/ 200757 h 5296383"/>
              <a:gd name="connsiteX11872" fmla="*/ 1490485 w 9310410"/>
              <a:gd name="connsiteY11872" fmla="*/ 203753 h 5296383"/>
              <a:gd name="connsiteX11873" fmla="*/ 1501872 w 9310410"/>
              <a:gd name="connsiteY11873" fmla="*/ 201356 h 5296383"/>
              <a:gd name="connsiteX11874" fmla="*/ 1510861 w 9310410"/>
              <a:gd name="connsiteY11874" fmla="*/ 195363 h 5296383"/>
              <a:gd name="connsiteX11875" fmla="*/ 1507265 w 9310410"/>
              <a:gd name="connsiteY11875" fmla="*/ 189970 h 5296383"/>
              <a:gd name="connsiteX11876" fmla="*/ 1498276 w 9310410"/>
              <a:gd name="connsiteY11876" fmla="*/ 192367 h 5296383"/>
              <a:gd name="connsiteX11877" fmla="*/ 1492883 w 9310410"/>
              <a:gd name="connsiteY11877" fmla="*/ 191168 h 5296383"/>
              <a:gd name="connsiteX11878" fmla="*/ 1497077 w 9310410"/>
              <a:gd name="connsiteY11878" fmla="*/ 180981 h 5296383"/>
              <a:gd name="connsiteX11879" fmla="*/ 1502471 w 9310410"/>
              <a:gd name="connsiteY11879" fmla="*/ 180981 h 5296383"/>
              <a:gd name="connsiteX11880" fmla="*/ 1516254 w 9310410"/>
              <a:gd name="connsiteY11880" fmla="*/ 174988 h 5296383"/>
              <a:gd name="connsiteX11881" fmla="*/ 1528240 w 9310410"/>
              <a:gd name="connsiteY11881" fmla="*/ 174389 h 5296383"/>
              <a:gd name="connsiteX11882" fmla="*/ 1541424 w 9310410"/>
              <a:gd name="connsiteY11882" fmla="*/ 182779 h 5296383"/>
              <a:gd name="connsiteX11883" fmla="*/ 1549814 w 9310410"/>
              <a:gd name="connsiteY11883" fmla="*/ 188771 h 5296383"/>
              <a:gd name="connsiteX11884" fmla="*/ 1551611 w 9310410"/>
              <a:gd name="connsiteY11884" fmla="*/ 181580 h 5296383"/>
              <a:gd name="connsiteX11885" fmla="*/ 1547416 w 9310410"/>
              <a:gd name="connsiteY11885" fmla="*/ 171392 h 5296383"/>
              <a:gd name="connsiteX11886" fmla="*/ 1546218 w 9310410"/>
              <a:gd name="connsiteY11886" fmla="*/ 164201 h 5296383"/>
              <a:gd name="connsiteX11887" fmla="*/ 1551611 w 9310410"/>
              <a:gd name="connsiteY11887" fmla="*/ 160006 h 5296383"/>
              <a:gd name="connsiteX11888" fmla="*/ 1560600 w 9310410"/>
              <a:gd name="connsiteY11888" fmla="*/ 156411 h 5296383"/>
              <a:gd name="connsiteX11889" fmla="*/ 1560600 w 9310410"/>
              <a:gd name="connsiteY11889" fmla="*/ 146223 h 5296383"/>
              <a:gd name="connsiteX11890" fmla="*/ 1562998 w 9310410"/>
              <a:gd name="connsiteY11890" fmla="*/ 148021 h 5296383"/>
              <a:gd name="connsiteX11891" fmla="*/ 1568391 w 9310410"/>
              <a:gd name="connsiteY11891" fmla="*/ 158808 h 5296383"/>
              <a:gd name="connsiteX11892" fmla="*/ 1580976 w 9310410"/>
              <a:gd name="connsiteY11892" fmla="*/ 165999 h 5296383"/>
              <a:gd name="connsiteX11893" fmla="*/ 1589965 w 9310410"/>
              <a:gd name="connsiteY11893" fmla="*/ 161804 h 5296383"/>
              <a:gd name="connsiteX11894" fmla="*/ 1595358 w 9310410"/>
              <a:gd name="connsiteY11894" fmla="*/ 156411 h 5296383"/>
              <a:gd name="connsiteX11895" fmla="*/ 1600752 w 9310410"/>
              <a:gd name="connsiteY11895" fmla="*/ 151017 h 5296383"/>
              <a:gd name="connsiteX11896" fmla="*/ 1589366 w 9310410"/>
              <a:gd name="connsiteY11896" fmla="*/ 144425 h 5296383"/>
              <a:gd name="connsiteX11897" fmla="*/ 1580376 w 9310410"/>
              <a:gd name="connsiteY11897" fmla="*/ 137234 h 5296383"/>
              <a:gd name="connsiteX11898" fmla="*/ 1587568 w 9310410"/>
              <a:gd name="connsiteY11898" fmla="*/ 139631 h 5296383"/>
              <a:gd name="connsiteX11899" fmla="*/ 1601950 w 9310410"/>
              <a:gd name="connsiteY11899" fmla="*/ 142028 h 5296383"/>
              <a:gd name="connsiteX11900" fmla="*/ 1600153 w 9310410"/>
              <a:gd name="connsiteY11900" fmla="*/ 136035 h 5296383"/>
              <a:gd name="connsiteX11901" fmla="*/ 1589965 w 9310410"/>
              <a:gd name="connsiteY11901" fmla="*/ 130642 h 5296383"/>
              <a:gd name="connsiteX11902" fmla="*/ 1590564 w 9310410"/>
              <a:gd name="connsiteY11902" fmla="*/ 125248 h 5296383"/>
              <a:gd name="connsiteX11903" fmla="*/ 1594160 w 9310410"/>
              <a:gd name="connsiteY11903" fmla="*/ 122851 h 5296383"/>
              <a:gd name="connsiteX11904" fmla="*/ 1602550 w 9310410"/>
              <a:gd name="connsiteY11904" fmla="*/ 118656 h 5296383"/>
              <a:gd name="connsiteX11905" fmla="*/ 1606745 w 9310410"/>
              <a:gd name="connsiteY11905" fmla="*/ 121653 h 5296383"/>
              <a:gd name="connsiteX11906" fmla="*/ 1615134 w 9310410"/>
              <a:gd name="connsiteY11906" fmla="*/ 122252 h 5296383"/>
              <a:gd name="connsiteX11907" fmla="*/ 1621127 w 9310410"/>
              <a:gd name="connsiteY11907" fmla="*/ 119855 h 5296383"/>
              <a:gd name="connsiteX11908" fmla="*/ 1627120 w 9310410"/>
              <a:gd name="connsiteY11908" fmla="*/ 119256 h 5296383"/>
              <a:gd name="connsiteX11909" fmla="*/ 1640304 w 9310410"/>
              <a:gd name="connsiteY11909" fmla="*/ 120454 h 5296383"/>
              <a:gd name="connsiteX11910" fmla="*/ 1650492 w 9310410"/>
              <a:gd name="connsiteY11910" fmla="*/ 127645 h 5296383"/>
              <a:gd name="connsiteX11911" fmla="*/ 1665473 w 9310410"/>
              <a:gd name="connsiteY11911" fmla="*/ 127645 h 5296383"/>
              <a:gd name="connsiteX11912" fmla="*/ 1667870 w 9310410"/>
              <a:gd name="connsiteY11912" fmla="*/ 120454 h 5296383"/>
              <a:gd name="connsiteX11913" fmla="*/ 1658282 w 9310410"/>
              <a:gd name="connsiteY11913" fmla="*/ 114461 h 5296383"/>
              <a:gd name="connsiteX11914" fmla="*/ 1661878 w 9310410"/>
              <a:gd name="connsiteY11914" fmla="*/ 107869 h 5296383"/>
              <a:gd name="connsiteX11915" fmla="*/ 1670867 w 9310410"/>
              <a:gd name="connsiteY11915" fmla="*/ 111465 h 5296383"/>
              <a:gd name="connsiteX11916" fmla="*/ 1676860 w 9310410"/>
              <a:gd name="connsiteY11916" fmla="*/ 110266 h 5296383"/>
              <a:gd name="connsiteX11917" fmla="*/ 1671466 w 9310410"/>
              <a:gd name="connsiteY11917" fmla="*/ 99479 h 5296383"/>
              <a:gd name="connsiteX11918" fmla="*/ 1670867 w 9310410"/>
              <a:gd name="connsiteY11918" fmla="*/ 90490 h 5296383"/>
              <a:gd name="connsiteX11919" fmla="*/ 1678658 w 9310410"/>
              <a:gd name="connsiteY11919" fmla="*/ 92887 h 5296383"/>
              <a:gd name="connsiteX11920" fmla="*/ 1685249 w 9310410"/>
              <a:gd name="connsiteY11920" fmla="*/ 97082 h 5296383"/>
              <a:gd name="connsiteX11921" fmla="*/ 1699033 w 9310410"/>
              <a:gd name="connsiteY11921" fmla="*/ 94685 h 5296383"/>
              <a:gd name="connsiteX11922" fmla="*/ 1715213 w 9310410"/>
              <a:gd name="connsiteY11922" fmla="*/ 86295 h 5296383"/>
              <a:gd name="connsiteX11923" fmla="*/ 1731993 w 9310410"/>
              <a:gd name="connsiteY11923" fmla="*/ 76108 h 5296383"/>
              <a:gd name="connsiteX11924" fmla="*/ 1734989 w 9310410"/>
              <a:gd name="connsiteY11924" fmla="*/ 73711 h 5296383"/>
              <a:gd name="connsiteX11925" fmla="*/ 1757162 w 9310410"/>
              <a:gd name="connsiteY11925" fmla="*/ 67119 h 5296383"/>
              <a:gd name="connsiteX11926" fmla="*/ 1781733 w 9310410"/>
              <a:gd name="connsiteY11926" fmla="*/ 66519 h 5296383"/>
              <a:gd name="connsiteX11927" fmla="*/ 1790722 w 9310410"/>
              <a:gd name="connsiteY11927" fmla="*/ 64122 h 5296383"/>
              <a:gd name="connsiteX11928" fmla="*/ 1778736 w 9310410"/>
              <a:gd name="connsiteY11928" fmla="*/ 54534 h 5296383"/>
              <a:gd name="connsiteX11929" fmla="*/ 1754765 w 9310410"/>
              <a:gd name="connsiteY11929" fmla="*/ 54534 h 5296383"/>
              <a:gd name="connsiteX11930" fmla="*/ 1754765 w 9310410"/>
              <a:gd name="connsiteY11930" fmla="*/ 51538 h 5296383"/>
              <a:gd name="connsiteX11931" fmla="*/ 1769148 w 9310410"/>
              <a:gd name="connsiteY11931" fmla="*/ 44346 h 5296383"/>
              <a:gd name="connsiteX11932" fmla="*/ 1782931 w 9310410"/>
              <a:gd name="connsiteY11932" fmla="*/ 49740 h 5296383"/>
              <a:gd name="connsiteX11933" fmla="*/ 1796115 w 9310410"/>
              <a:gd name="connsiteY11933" fmla="*/ 55133 h 5296383"/>
              <a:gd name="connsiteX11934" fmla="*/ 1822483 w 9310410"/>
              <a:gd name="connsiteY11934" fmla="*/ 58130 h 5296383"/>
              <a:gd name="connsiteX11935" fmla="*/ 1818288 w 9310410"/>
              <a:gd name="connsiteY11935" fmla="*/ 46743 h 5296383"/>
              <a:gd name="connsiteX11936" fmla="*/ 1796115 w 9310410"/>
              <a:gd name="connsiteY11936" fmla="*/ 41350 h 5296383"/>
              <a:gd name="connsiteX11937" fmla="*/ 1801509 w 9310410"/>
              <a:gd name="connsiteY11937" fmla="*/ 37754 h 5296383"/>
              <a:gd name="connsiteX11938" fmla="*/ 1821285 w 9310410"/>
              <a:gd name="connsiteY11938" fmla="*/ 40151 h 5296383"/>
              <a:gd name="connsiteX11939" fmla="*/ 1832071 w 9310410"/>
              <a:gd name="connsiteY11939" fmla="*/ 44346 h 5296383"/>
              <a:gd name="connsiteX11940" fmla="*/ 1844057 w 9310410"/>
              <a:gd name="connsiteY11940" fmla="*/ 49140 h 5296383"/>
              <a:gd name="connsiteX11941" fmla="*/ 1868627 w 9310410"/>
              <a:gd name="connsiteY11941" fmla="*/ 49740 h 5296383"/>
              <a:gd name="connsiteX11942" fmla="*/ 1893198 w 9310410"/>
              <a:gd name="connsiteY11942" fmla="*/ 47343 h 5296383"/>
              <a:gd name="connsiteX11943" fmla="*/ 1911176 w 9310410"/>
              <a:gd name="connsiteY11943" fmla="*/ 47942 h 5296383"/>
              <a:gd name="connsiteX11944" fmla="*/ 1926757 w 9310410"/>
              <a:gd name="connsiteY11944" fmla="*/ 45545 h 5296383"/>
              <a:gd name="connsiteX11945" fmla="*/ 1920764 w 9310410"/>
              <a:gd name="connsiteY11945" fmla="*/ 35357 h 5296383"/>
              <a:gd name="connsiteX11946" fmla="*/ 1907580 w 9310410"/>
              <a:gd name="connsiteY11946" fmla="*/ 26967 h 5296383"/>
              <a:gd name="connsiteX11947" fmla="*/ 1899190 w 9310410"/>
              <a:gd name="connsiteY11947" fmla="*/ 20375 h 5296383"/>
              <a:gd name="connsiteX11948" fmla="*/ 1880613 w 9310410"/>
              <a:gd name="connsiteY11948" fmla="*/ 2996 h 5296383"/>
              <a:gd name="connsiteX11949" fmla="*/ 1628318 w 9310410"/>
              <a:gd name="connsiteY11949" fmla="*/ 2996 h 5296383"/>
              <a:gd name="connsiteX11950" fmla="*/ 1594759 w 9310410"/>
              <a:gd name="connsiteY11950" fmla="*/ 20375 h 5296383"/>
              <a:gd name="connsiteX11951" fmla="*/ 1454529 w 9310410"/>
              <a:gd name="connsiteY11951" fmla="*/ 101277 h 5296383"/>
              <a:gd name="connsiteX11952" fmla="*/ 1309505 w 9310410"/>
              <a:gd name="connsiteY11952" fmla="*/ 192966 h 5296383"/>
              <a:gd name="connsiteX11953" fmla="*/ 1162683 w 9310410"/>
              <a:gd name="connsiteY11953" fmla="*/ 296641 h 5296383"/>
              <a:gd name="connsiteX11954" fmla="*/ 1174668 w 9310410"/>
              <a:gd name="connsiteY11954" fmla="*/ 303233 h 5296383"/>
              <a:gd name="connsiteX11955" fmla="*/ 1299916 w 9310410"/>
              <a:gd name="connsiteY11955" fmla="*/ 713136 h 5296383"/>
              <a:gd name="connsiteX11956" fmla="*/ 1298718 w 9310410"/>
              <a:gd name="connsiteY11956" fmla="*/ 710140 h 5296383"/>
              <a:gd name="connsiteX11957" fmla="*/ 1299916 w 9310410"/>
              <a:gd name="connsiteY11957" fmla="*/ 713136 h 5296383"/>
              <a:gd name="connsiteX11958" fmla="*/ 1284934 w 9310410"/>
              <a:gd name="connsiteY11958" fmla="*/ 725122 h 5296383"/>
              <a:gd name="connsiteX11959" fmla="*/ 1286133 w 9310410"/>
              <a:gd name="connsiteY11959" fmla="*/ 725122 h 5296383"/>
              <a:gd name="connsiteX11960" fmla="*/ 1286732 w 9310410"/>
              <a:gd name="connsiteY11960" fmla="*/ 724522 h 5296383"/>
              <a:gd name="connsiteX11961" fmla="*/ 1286732 w 9310410"/>
              <a:gd name="connsiteY11961" fmla="*/ 721526 h 5296383"/>
              <a:gd name="connsiteX11962" fmla="*/ 1285534 w 9310410"/>
              <a:gd name="connsiteY11962" fmla="*/ 720327 h 5296383"/>
              <a:gd name="connsiteX11963" fmla="*/ 1284934 w 9310410"/>
              <a:gd name="connsiteY11963" fmla="*/ 720327 h 5296383"/>
              <a:gd name="connsiteX11964" fmla="*/ 1284335 w 9310410"/>
              <a:gd name="connsiteY11964" fmla="*/ 720927 h 5296383"/>
              <a:gd name="connsiteX11965" fmla="*/ 1283736 w 9310410"/>
              <a:gd name="connsiteY11965" fmla="*/ 721526 h 5296383"/>
              <a:gd name="connsiteX11966" fmla="*/ 1283736 w 9310410"/>
              <a:gd name="connsiteY11966" fmla="*/ 723923 h 5296383"/>
              <a:gd name="connsiteX11967" fmla="*/ 1284934 w 9310410"/>
              <a:gd name="connsiteY11967" fmla="*/ 725122 h 5296383"/>
              <a:gd name="connsiteX11968" fmla="*/ 1173469 w 9310410"/>
              <a:gd name="connsiteY11968" fmla="*/ 745497 h 5296383"/>
              <a:gd name="connsiteX11969" fmla="*/ 1173469 w 9310410"/>
              <a:gd name="connsiteY11969" fmla="*/ 747295 h 5296383"/>
              <a:gd name="connsiteX11970" fmla="*/ 1174069 w 9310410"/>
              <a:gd name="connsiteY11970" fmla="*/ 747295 h 5296383"/>
              <a:gd name="connsiteX11971" fmla="*/ 1174668 w 9310410"/>
              <a:gd name="connsiteY11971" fmla="*/ 747295 h 5296383"/>
              <a:gd name="connsiteX11972" fmla="*/ 1174069 w 9310410"/>
              <a:gd name="connsiteY11972" fmla="*/ 744298 h 5296383"/>
              <a:gd name="connsiteX11973" fmla="*/ 1173469 w 9310410"/>
              <a:gd name="connsiteY11973" fmla="*/ 743699 h 5296383"/>
              <a:gd name="connsiteX11974" fmla="*/ 1173469 w 9310410"/>
              <a:gd name="connsiteY11974" fmla="*/ 745497 h 5296383"/>
              <a:gd name="connsiteX11975" fmla="*/ 1171072 w 9310410"/>
              <a:gd name="connsiteY11975" fmla="*/ 753287 h 5296383"/>
              <a:gd name="connsiteX11976" fmla="*/ 1171072 w 9310410"/>
              <a:gd name="connsiteY11976" fmla="*/ 753287 h 5296383"/>
              <a:gd name="connsiteX11977" fmla="*/ 1171072 w 9310410"/>
              <a:gd name="connsiteY11977" fmla="*/ 753287 h 5296383"/>
              <a:gd name="connsiteX11978" fmla="*/ 1171072 w 9310410"/>
              <a:gd name="connsiteY11978" fmla="*/ 753287 h 5296383"/>
              <a:gd name="connsiteX11979" fmla="*/ 1171672 w 9310410"/>
              <a:gd name="connsiteY11979" fmla="*/ 753287 h 5296383"/>
              <a:gd name="connsiteX11980" fmla="*/ 1170473 w 9310410"/>
              <a:gd name="connsiteY11980" fmla="*/ 750890 h 5296383"/>
              <a:gd name="connsiteX11981" fmla="*/ 1170473 w 9310410"/>
              <a:gd name="connsiteY11981" fmla="*/ 750890 h 5296383"/>
              <a:gd name="connsiteX11982" fmla="*/ 1170473 w 9310410"/>
              <a:gd name="connsiteY11982" fmla="*/ 750890 h 5296383"/>
              <a:gd name="connsiteX11983" fmla="*/ 1171072 w 9310410"/>
              <a:gd name="connsiteY11983" fmla="*/ 753287 h 5296383"/>
              <a:gd name="connsiteX11984" fmla="*/ 1151296 w 9310410"/>
              <a:gd name="connsiteY11984" fmla="*/ 766471 h 5296383"/>
              <a:gd name="connsiteX11985" fmla="*/ 1151296 w 9310410"/>
              <a:gd name="connsiteY11985" fmla="*/ 766471 h 5296383"/>
              <a:gd name="connsiteX11986" fmla="*/ 1151296 w 9310410"/>
              <a:gd name="connsiteY11986" fmla="*/ 766471 h 5296383"/>
              <a:gd name="connsiteX11987" fmla="*/ 1151896 w 9310410"/>
              <a:gd name="connsiteY11987" fmla="*/ 762276 h 5296383"/>
              <a:gd name="connsiteX11988" fmla="*/ 1151296 w 9310410"/>
              <a:gd name="connsiteY11988" fmla="*/ 762876 h 5296383"/>
              <a:gd name="connsiteX11989" fmla="*/ 1151296 w 9310410"/>
              <a:gd name="connsiteY11989" fmla="*/ 766471 h 5296383"/>
              <a:gd name="connsiteX11990" fmla="*/ 1172271 w 9310410"/>
              <a:gd name="connsiteY11990" fmla="*/ 771865 h 5296383"/>
              <a:gd name="connsiteX11991" fmla="*/ 1172271 w 9310410"/>
              <a:gd name="connsiteY11991" fmla="*/ 771865 h 5296383"/>
              <a:gd name="connsiteX11992" fmla="*/ 1172271 w 9310410"/>
              <a:gd name="connsiteY11992" fmla="*/ 771865 h 5296383"/>
              <a:gd name="connsiteX11993" fmla="*/ 1171672 w 9310410"/>
              <a:gd name="connsiteY11993" fmla="*/ 769468 h 5296383"/>
              <a:gd name="connsiteX11994" fmla="*/ 1171672 w 9310410"/>
              <a:gd name="connsiteY11994" fmla="*/ 769468 h 5296383"/>
              <a:gd name="connsiteX11995" fmla="*/ 1171672 w 9310410"/>
              <a:gd name="connsiteY11995" fmla="*/ 769468 h 5296383"/>
              <a:gd name="connsiteX11996" fmla="*/ 1172271 w 9310410"/>
              <a:gd name="connsiteY11996" fmla="*/ 771865 h 5296383"/>
              <a:gd name="connsiteX11997" fmla="*/ 1162083 w 9310410"/>
              <a:gd name="connsiteY11997" fmla="*/ 778457 h 5296383"/>
              <a:gd name="connsiteX11998" fmla="*/ 1163282 w 9310410"/>
              <a:gd name="connsiteY11998" fmla="*/ 777858 h 5296383"/>
              <a:gd name="connsiteX11999" fmla="*/ 1163282 w 9310410"/>
              <a:gd name="connsiteY11999" fmla="*/ 777258 h 5296383"/>
              <a:gd name="connsiteX12000" fmla="*/ 1162083 w 9310410"/>
              <a:gd name="connsiteY12000" fmla="*/ 776659 h 5296383"/>
              <a:gd name="connsiteX12001" fmla="*/ 1158488 w 9310410"/>
              <a:gd name="connsiteY12001" fmla="*/ 777258 h 5296383"/>
              <a:gd name="connsiteX12002" fmla="*/ 1160285 w 9310410"/>
              <a:gd name="connsiteY12002" fmla="*/ 777858 h 5296383"/>
              <a:gd name="connsiteX12003" fmla="*/ 1162083 w 9310410"/>
              <a:gd name="connsiteY12003" fmla="*/ 778457 h 5296383"/>
              <a:gd name="connsiteX12004" fmla="*/ 1151296 w 9310410"/>
              <a:gd name="connsiteY12004" fmla="*/ 779056 h 5296383"/>
              <a:gd name="connsiteX12005" fmla="*/ 1152495 w 9310410"/>
              <a:gd name="connsiteY12005" fmla="*/ 779056 h 5296383"/>
              <a:gd name="connsiteX12006" fmla="*/ 1151296 w 9310410"/>
              <a:gd name="connsiteY12006" fmla="*/ 777858 h 5296383"/>
              <a:gd name="connsiteX12007" fmla="*/ 1150098 w 9310410"/>
              <a:gd name="connsiteY12007" fmla="*/ 777858 h 5296383"/>
              <a:gd name="connsiteX12008" fmla="*/ 1149499 w 9310410"/>
              <a:gd name="connsiteY12008" fmla="*/ 777858 h 5296383"/>
              <a:gd name="connsiteX12009" fmla="*/ 1149499 w 9310410"/>
              <a:gd name="connsiteY12009" fmla="*/ 778457 h 5296383"/>
              <a:gd name="connsiteX12010" fmla="*/ 1151296 w 9310410"/>
              <a:gd name="connsiteY12010" fmla="*/ 779056 h 5296383"/>
              <a:gd name="connsiteX12011" fmla="*/ 1151296 w 9310410"/>
              <a:gd name="connsiteY12011" fmla="*/ 804226 h 5296383"/>
              <a:gd name="connsiteX12012" fmla="*/ 1151296 w 9310410"/>
              <a:gd name="connsiteY12012" fmla="*/ 804226 h 5296383"/>
              <a:gd name="connsiteX12013" fmla="*/ 1151896 w 9310410"/>
              <a:gd name="connsiteY12013" fmla="*/ 806623 h 5296383"/>
              <a:gd name="connsiteX12014" fmla="*/ 1151896 w 9310410"/>
              <a:gd name="connsiteY12014" fmla="*/ 806623 h 5296383"/>
              <a:gd name="connsiteX12015" fmla="*/ 1151896 w 9310410"/>
              <a:gd name="connsiteY12015" fmla="*/ 806623 h 5296383"/>
              <a:gd name="connsiteX12016" fmla="*/ 1152495 w 9310410"/>
              <a:gd name="connsiteY12016" fmla="*/ 806023 h 5296383"/>
              <a:gd name="connsiteX12017" fmla="*/ 1152495 w 9310410"/>
              <a:gd name="connsiteY12017" fmla="*/ 805424 h 5296383"/>
              <a:gd name="connsiteX12018" fmla="*/ 1151296 w 9310410"/>
              <a:gd name="connsiteY12018" fmla="*/ 804226 h 5296383"/>
              <a:gd name="connsiteX12019" fmla="*/ 1151296 w 9310410"/>
              <a:gd name="connsiteY12019" fmla="*/ 804226 h 5296383"/>
              <a:gd name="connsiteX12020" fmla="*/ 1471309 w 9310410"/>
              <a:gd name="connsiteY12020" fmla="*/ 729316 h 5296383"/>
              <a:gd name="connsiteX12021" fmla="*/ 1469511 w 9310410"/>
              <a:gd name="connsiteY12021" fmla="*/ 730515 h 5296383"/>
              <a:gd name="connsiteX12022" fmla="*/ 1468312 w 9310410"/>
              <a:gd name="connsiteY12022" fmla="*/ 735309 h 5296383"/>
              <a:gd name="connsiteX12023" fmla="*/ 1472507 w 9310410"/>
              <a:gd name="connsiteY12023" fmla="*/ 731114 h 5296383"/>
              <a:gd name="connsiteX12024" fmla="*/ 1472507 w 9310410"/>
              <a:gd name="connsiteY12024" fmla="*/ 728717 h 5296383"/>
              <a:gd name="connsiteX12025" fmla="*/ 1471309 w 9310410"/>
              <a:gd name="connsiteY12025" fmla="*/ 729316 h 5296383"/>
              <a:gd name="connsiteX12026" fmla="*/ 1479099 w 9310410"/>
              <a:gd name="connsiteY12026" fmla="*/ 728717 h 5296383"/>
              <a:gd name="connsiteX12027" fmla="*/ 1477901 w 9310410"/>
              <a:gd name="connsiteY12027" fmla="*/ 729316 h 5296383"/>
              <a:gd name="connsiteX12028" fmla="*/ 1476702 w 9310410"/>
              <a:gd name="connsiteY12028" fmla="*/ 733511 h 5296383"/>
              <a:gd name="connsiteX12029" fmla="*/ 1476702 w 9310410"/>
              <a:gd name="connsiteY12029" fmla="*/ 734710 h 5296383"/>
              <a:gd name="connsiteX12030" fmla="*/ 1477301 w 9310410"/>
              <a:gd name="connsiteY12030" fmla="*/ 733511 h 5296383"/>
              <a:gd name="connsiteX12031" fmla="*/ 1478500 w 9310410"/>
              <a:gd name="connsiteY12031" fmla="*/ 731714 h 5296383"/>
              <a:gd name="connsiteX12032" fmla="*/ 1479699 w 9310410"/>
              <a:gd name="connsiteY12032" fmla="*/ 729916 h 5296383"/>
              <a:gd name="connsiteX12033" fmla="*/ 1479699 w 9310410"/>
              <a:gd name="connsiteY12033" fmla="*/ 728717 h 5296383"/>
              <a:gd name="connsiteX12034" fmla="*/ 1479099 w 9310410"/>
              <a:gd name="connsiteY12034" fmla="*/ 728717 h 5296383"/>
              <a:gd name="connsiteX12035" fmla="*/ 1459922 w 9310410"/>
              <a:gd name="connsiteY12035" fmla="*/ 749092 h 5296383"/>
              <a:gd name="connsiteX12036" fmla="*/ 1460522 w 9310410"/>
              <a:gd name="connsiteY12036" fmla="*/ 746695 h 5296383"/>
              <a:gd name="connsiteX12037" fmla="*/ 1459922 w 9310410"/>
              <a:gd name="connsiteY12037" fmla="*/ 746096 h 5296383"/>
              <a:gd name="connsiteX12038" fmla="*/ 1458125 w 9310410"/>
              <a:gd name="connsiteY12038" fmla="*/ 750890 h 5296383"/>
              <a:gd name="connsiteX12039" fmla="*/ 1458125 w 9310410"/>
              <a:gd name="connsiteY12039" fmla="*/ 750890 h 5296383"/>
              <a:gd name="connsiteX12040" fmla="*/ 1458125 w 9310410"/>
              <a:gd name="connsiteY12040" fmla="*/ 750890 h 5296383"/>
              <a:gd name="connsiteX12041" fmla="*/ 1459922 w 9310410"/>
              <a:gd name="connsiteY12041" fmla="*/ 749092 h 5296383"/>
              <a:gd name="connsiteX12042" fmla="*/ 1480298 w 9310410"/>
              <a:gd name="connsiteY12042" fmla="*/ 725721 h 5296383"/>
              <a:gd name="connsiteX12043" fmla="*/ 1480298 w 9310410"/>
              <a:gd name="connsiteY12043" fmla="*/ 725721 h 5296383"/>
              <a:gd name="connsiteX12044" fmla="*/ 1480298 w 9310410"/>
              <a:gd name="connsiteY12044" fmla="*/ 725721 h 5296383"/>
              <a:gd name="connsiteX12045" fmla="*/ 1480298 w 9310410"/>
              <a:gd name="connsiteY12045" fmla="*/ 725721 h 5296383"/>
              <a:gd name="connsiteX12046" fmla="*/ 1481496 w 9310410"/>
              <a:gd name="connsiteY12046" fmla="*/ 725721 h 5296383"/>
              <a:gd name="connsiteX12047" fmla="*/ 1479699 w 9310410"/>
              <a:gd name="connsiteY12047" fmla="*/ 722724 h 5296383"/>
              <a:gd name="connsiteX12048" fmla="*/ 1479699 w 9310410"/>
              <a:gd name="connsiteY12048" fmla="*/ 722724 h 5296383"/>
              <a:gd name="connsiteX12049" fmla="*/ 1479699 w 9310410"/>
              <a:gd name="connsiteY12049" fmla="*/ 722724 h 5296383"/>
              <a:gd name="connsiteX12050" fmla="*/ 1479699 w 9310410"/>
              <a:gd name="connsiteY12050" fmla="*/ 725122 h 5296383"/>
              <a:gd name="connsiteX12051" fmla="*/ 1480298 w 9310410"/>
              <a:gd name="connsiteY12051" fmla="*/ 725721 h 5296383"/>
              <a:gd name="connsiteX12052" fmla="*/ 1509662 w 9310410"/>
              <a:gd name="connsiteY12052" fmla="*/ 681974 h 5296383"/>
              <a:gd name="connsiteX12053" fmla="*/ 1509662 w 9310410"/>
              <a:gd name="connsiteY12053" fmla="*/ 683172 h 5296383"/>
              <a:gd name="connsiteX12054" fmla="*/ 1509662 w 9310410"/>
              <a:gd name="connsiteY12054" fmla="*/ 684371 h 5296383"/>
              <a:gd name="connsiteX12055" fmla="*/ 1509662 w 9310410"/>
              <a:gd name="connsiteY12055" fmla="*/ 684970 h 5296383"/>
              <a:gd name="connsiteX12056" fmla="*/ 1510262 w 9310410"/>
              <a:gd name="connsiteY12056" fmla="*/ 684970 h 5296383"/>
              <a:gd name="connsiteX12057" fmla="*/ 1510861 w 9310410"/>
              <a:gd name="connsiteY12057" fmla="*/ 684371 h 5296383"/>
              <a:gd name="connsiteX12058" fmla="*/ 1511460 w 9310410"/>
              <a:gd name="connsiteY12058" fmla="*/ 683772 h 5296383"/>
              <a:gd name="connsiteX12059" fmla="*/ 1509662 w 9310410"/>
              <a:gd name="connsiteY12059" fmla="*/ 681974 h 5296383"/>
              <a:gd name="connsiteX12060" fmla="*/ 1509662 w 9310410"/>
              <a:gd name="connsiteY12060" fmla="*/ 681974 h 5296383"/>
              <a:gd name="connsiteX12061" fmla="*/ 1391605 w 9310410"/>
              <a:gd name="connsiteY12061" fmla="*/ 907301 h 5296383"/>
              <a:gd name="connsiteX12062" fmla="*/ 1391006 w 9310410"/>
              <a:gd name="connsiteY12062" fmla="*/ 909099 h 5296383"/>
              <a:gd name="connsiteX12063" fmla="*/ 1391605 w 9310410"/>
              <a:gd name="connsiteY12063" fmla="*/ 910896 h 5296383"/>
              <a:gd name="connsiteX12064" fmla="*/ 1392204 w 9310410"/>
              <a:gd name="connsiteY12064" fmla="*/ 909099 h 5296383"/>
              <a:gd name="connsiteX12065" fmla="*/ 1391605 w 9310410"/>
              <a:gd name="connsiteY12065" fmla="*/ 907301 h 5296383"/>
              <a:gd name="connsiteX12066" fmla="*/ 1388010 w 9310410"/>
              <a:gd name="connsiteY12066" fmla="*/ 914492 h 5296383"/>
              <a:gd name="connsiteX12067" fmla="*/ 1388010 w 9310410"/>
              <a:gd name="connsiteY12067" fmla="*/ 914492 h 5296383"/>
              <a:gd name="connsiteX12068" fmla="*/ 1387410 w 9310410"/>
              <a:gd name="connsiteY12068" fmla="*/ 914492 h 5296383"/>
              <a:gd name="connsiteX12069" fmla="*/ 1386811 w 9310410"/>
              <a:gd name="connsiteY12069" fmla="*/ 915091 h 5296383"/>
              <a:gd name="connsiteX12070" fmla="*/ 1387410 w 9310410"/>
              <a:gd name="connsiteY12070" fmla="*/ 915691 h 5296383"/>
              <a:gd name="connsiteX12071" fmla="*/ 1388010 w 9310410"/>
              <a:gd name="connsiteY12071" fmla="*/ 915691 h 5296383"/>
              <a:gd name="connsiteX12072" fmla="*/ 1388010 w 9310410"/>
              <a:gd name="connsiteY12072" fmla="*/ 915691 h 5296383"/>
              <a:gd name="connsiteX12073" fmla="*/ 1388010 w 9310410"/>
              <a:gd name="connsiteY12073" fmla="*/ 915691 h 5296383"/>
              <a:gd name="connsiteX12074" fmla="*/ 1388609 w 9310410"/>
              <a:gd name="connsiteY12074" fmla="*/ 915691 h 5296383"/>
              <a:gd name="connsiteX12075" fmla="*/ 1389208 w 9310410"/>
              <a:gd name="connsiteY12075" fmla="*/ 915091 h 5296383"/>
              <a:gd name="connsiteX12076" fmla="*/ 1388609 w 9310410"/>
              <a:gd name="connsiteY12076" fmla="*/ 914492 h 5296383"/>
              <a:gd name="connsiteX12077" fmla="*/ 1388010 w 9310410"/>
              <a:gd name="connsiteY12077" fmla="*/ 914492 h 5296383"/>
              <a:gd name="connsiteX12078" fmla="*/ 1388010 w 9310410"/>
              <a:gd name="connsiteY12078" fmla="*/ 914492 h 5296383"/>
              <a:gd name="connsiteX12079" fmla="*/ 1392804 w 9310410"/>
              <a:gd name="connsiteY12079" fmla="*/ 915691 h 5296383"/>
              <a:gd name="connsiteX12080" fmla="*/ 1392204 w 9310410"/>
              <a:gd name="connsiteY12080" fmla="*/ 914492 h 5296383"/>
              <a:gd name="connsiteX12081" fmla="*/ 1391605 w 9310410"/>
              <a:gd name="connsiteY12081" fmla="*/ 915691 h 5296383"/>
              <a:gd name="connsiteX12082" fmla="*/ 1392204 w 9310410"/>
              <a:gd name="connsiteY12082" fmla="*/ 916889 h 5296383"/>
              <a:gd name="connsiteX12083" fmla="*/ 1392804 w 9310410"/>
              <a:gd name="connsiteY12083" fmla="*/ 915691 h 5296383"/>
              <a:gd name="connsiteX12084" fmla="*/ 1030243 w 9310410"/>
              <a:gd name="connsiteY12084" fmla="*/ 1047531 h 5296383"/>
              <a:gd name="connsiteX12085" fmla="*/ 1029044 w 9310410"/>
              <a:gd name="connsiteY12085" fmla="*/ 1048130 h 5296383"/>
              <a:gd name="connsiteX12086" fmla="*/ 1028445 w 9310410"/>
              <a:gd name="connsiteY12086" fmla="*/ 1049329 h 5296383"/>
              <a:gd name="connsiteX12087" fmla="*/ 1029044 w 9310410"/>
              <a:gd name="connsiteY12087" fmla="*/ 1050527 h 5296383"/>
              <a:gd name="connsiteX12088" fmla="*/ 1030243 w 9310410"/>
              <a:gd name="connsiteY12088" fmla="*/ 1051127 h 5296383"/>
              <a:gd name="connsiteX12089" fmla="*/ 1031442 w 9310410"/>
              <a:gd name="connsiteY12089" fmla="*/ 1050527 h 5296383"/>
              <a:gd name="connsiteX12090" fmla="*/ 1032041 w 9310410"/>
              <a:gd name="connsiteY12090" fmla="*/ 1049329 h 5296383"/>
              <a:gd name="connsiteX12091" fmla="*/ 1031442 w 9310410"/>
              <a:gd name="connsiteY12091" fmla="*/ 1048130 h 5296383"/>
              <a:gd name="connsiteX12092" fmla="*/ 1030243 w 9310410"/>
              <a:gd name="connsiteY12092" fmla="*/ 1047531 h 5296383"/>
              <a:gd name="connsiteX12093" fmla="*/ 1036236 w 9310410"/>
              <a:gd name="connsiteY12093" fmla="*/ 1048130 h 5296383"/>
              <a:gd name="connsiteX12094" fmla="*/ 1035636 w 9310410"/>
              <a:gd name="connsiteY12094" fmla="*/ 1046932 h 5296383"/>
              <a:gd name="connsiteX12095" fmla="*/ 1035037 w 9310410"/>
              <a:gd name="connsiteY12095" fmla="*/ 1048130 h 5296383"/>
              <a:gd name="connsiteX12096" fmla="*/ 1035636 w 9310410"/>
              <a:gd name="connsiteY12096" fmla="*/ 1049329 h 5296383"/>
              <a:gd name="connsiteX12097" fmla="*/ 1036236 w 9310410"/>
              <a:gd name="connsiteY12097" fmla="*/ 1048130 h 5296383"/>
              <a:gd name="connsiteX12098" fmla="*/ 1033239 w 9310410"/>
              <a:gd name="connsiteY12098" fmla="*/ 1052924 h 5296383"/>
              <a:gd name="connsiteX12099" fmla="*/ 1034438 w 9310410"/>
              <a:gd name="connsiteY12099" fmla="*/ 1052325 h 5296383"/>
              <a:gd name="connsiteX12100" fmla="*/ 1035037 w 9310410"/>
              <a:gd name="connsiteY12100" fmla="*/ 1051127 h 5296383"/>
              <a:gd name="connsiteX12101" fmla="*/ 1034438 w 9310410"/>
              <a:gd name="connsiteY12101" fmla="*/ 1049928 h 5296383"/>
              <a:gd name="connsiteX12102" fmla="*/ 1033239 w 9310410"/>
              <a:gd name="connsiteY12102" fmla="*/ 1049329 h 5296383"/>
              <a:gd name="connsiteX12103" fmla="*/ 1031442 w 9310410"/>
              <a:gd name="connsiteY12103" fmla="*/ 1051127 h 5296383"/>
              <a:gd name="connsiteX12104" fmla="*/ 1033239 w 9310410"/>
              <a:gd name="connsiteY12104" fmla="*/ 1052924 h 5296383"/>
              <a:gd name="connsiteX12105" fmla="*/ 1013463 w 9310410"/>
              <a:gd name="connsiteY12105" fmla="*/ 1073300 h 5296383"/>
              <a:gd name="connsiteX12106" fmla="*/ 1013463 w 9310410"/>
              <a:gd name="connsiteY12106" fmla="*/ 1073300 h 5296383"/>
              <a:gd name="connsiteX12107" fmla="*/ 1013463 w 9310410"/>
              <a:gd name="connsiteY12107" fmla="*/ 1073300 h 5296383"/>
              <a:gd name="connsiteX12108" fmla="*/ 1013463 w 9310410"/>
              <a:gd name="connsiteY12108" fmla="*/ 1073300 h 5296383"/>
              <a:gd name="connsiteX12109" fmla="*/ 1012265 w 9310410"/>
              <a:gd name="connsiteY12109" fmla="*/ 1075098 h 5296383"/>
              <a:gd name="connsiteX12110" fmla="*/ 1012864 w 9310410"/>
              <a:gd name="connsiteY12110" fmla="*/ 1076296 h 5296383"/>
              <a:gd name="connsiteX12111" fmla="*/ 1013463 w 9310410"/>
              <a:gd name="connsiteY12111" fmla="*/ 1076296 h 5296383"/>
              <a:gd name="connsiteX12112" fmla="*/ 1013463 w 9310410"/>
              <a:gd name="connsiteY12112" fmla="*/ 1076296 h 5296383"/>
              <a:gd name="connsiteX12113" fmla="*/ 1013463 w 9310410"/>
              <a:gd name="connsiteY12113" fmla="*/ 1076296 h 5296383"/>
              <a:gd name="connsiteX12114" fmla="*/ 1014063 w 9310410"/>
              <a:gd name="connsiteY12114" fmla="*/ 1076296 h 5296383"/>
              <a:gd name="connsiteX12115" fmla="*/ 1014662 w 9310410"/>
              <a:gd name="connsiteY12115" fmla="*/ 1075098 h 5296383"/>
              <a:gd name="connsiteX12116" fmla="*/ 1013463 w 9310410"/>
              <a:gd name="connsiteY12116" fmla="*/ 1073300 h 5296383"/>
              <a:gd name="connsiteX12117" fmla="*/ 1013463 w 9310410"/>
              <a:gd name="connsiteY12117" fmla="*/ 1073300 h 5296383"/>
              <a:gd name="connsiteX12118" fmla="*/ 957132 w 9310410"/>
              <a:gd name="connsiteY12118" fmla="*/ 1111054 h 5296383"/>
              <a:gd name="connsiteX12119" fmla="*/ 955933 w 9310410"/>
              <a:gd name="connsiteY12119" fmla="*/ 1109256 h 5296383"/>
              <a:gd name="connsiteX12120" fmla="*/ 954734 w 9310410"/>
              <a:gd name="connsiteY12120" fmla="*/ 1111054 h 5296383"/>
              <a:gd name="connsiteX12121" fmla="*/ 955933 w 9310410"/>
              <a:gd name="connsiteY12121" fmla="*/ 1112852 h 5296383"/>
              <a:gd name="connsiteX12122" fmla="*/ 957132 w 9310410"/>
              <a:gd name="connsiteY12122" fmla="*/ 1111054 h 5296383"/>
              <a:gd name="connsiteX12123" fmla="*/ 971514 w 9310410"/>
              <a:gd name="connsiteY12123" fmla="*/ 1121242 h 5296383"/>
              <a:gd name="connsiteX12124" fmla="*/ 970316 w 9310410"/>
              <a:gd name="connsiteY12124" fmla="*/ 1120642 h 5296383"/>
              <a:gd name="connsiteX12125" fmla="*/ 968518 w 9310410"/>
              <a:gd name="connsiteY12125" fmla="*/ 1121841 h 5296383"/>
              <a:gd name="connsiteX12126" fmla="*/ 970316 w 9310410"/>
              <a:gd name="connsiteY12126" fmla="*/ 1123039 h 5296383"/>
              <a:gd name="connsiteX12127" fmla="*/ 971514 w 9310410"/>
              <a:gd name="connsiteY12127" fmla="*/ 1122440 h 5296383"/>
              <a:gd name="connsiteX12128" fmla="*/ 972113 w 9310410"/>
              <a:gd name="connsiteY12128" fmla="*/ 1121841 h 5296383"/>
              <a:gd name="connsiteX12129" fmla="*/ 971514 w 9310410"/>
              <a:gd name="connsiteY12129" fmla="*/ 1121242 h 5296383"/>
              <a:gd name="connsiteX12130" fmla="*/ 972113 w 9310410"/>
              <a:gd name="connsiteY12130" fmla="*/ 1172180 h 5296383"/>
              <a:gd name="connsiteX12131" fmla="*/ 972113 w 9310410"/>
              <a:gd name="connsiteY12131" fmla="*/ 1172180 h 5296383"/>
              <a:gd name="connsiteX12132" fmla="*/ 972113 w 9310410"/>
              <a:gd name="connsiteY12132" fmla="*/ 1172180 h 5296383"/>
              <a:gd name="connsiteX12133" fmla="*/ 973312 w 9310410"/>
              <a:gd name="connsiteY12133" fmla="*/ 1170382 h 5296383"/>
              <a:gd name="connsiteX12134" fmla="*/ 972113 w 9310410"/>
              <a:gd name="connsiteY12134" fmla="*/ 1168584 h 5296383"/>
              <a:gd name="connsiteX12135" fmla="*/ 972113 w 9310410"/>
              <a:gd name="connsiteY12135" fmla="*/ 1168584 h 5296383"/>
              <a:gd name="connsiteX12136" fmla="*/ 972113 w 9310410"/>
              <a:gd name="connsiteY12136" fmla="*/ 1168584 h 5296383"/>
              <a:gd name="connsiteX12137" fmla="*/ 970915 w 9310410"/>
              <a:gd name="connsiteY12137" fmla="*/ 1170382 h 5296383"/>
              <a:gd name="connsiteX12138" fmla="*/ 972113 w 9310410"/>
              <a:gd name="connsiteY12138" fmla="*/ 1172180 h 5296383"/>
              <a:gd name="connsiteX12139" fmla="*/ 969716 w 9310410"/>
              <a:gd name="connsiteY12139" fmla="*/ 1178173 h 5296383"/>
              <a:gd name="connsiteX12140" fmla="*/ 969716 w 9310410"/>
              <a:gd name="connsiteY12140" fmla="*/ 1178173 h 5296383"/>
              <a:gd name="connsiteX12141" fmla="*/ 969716 w 9310410"/>
              <a:gd name="connsiteY12141" fmla="*/ 1178173 h 5296383"/>
              <a:gd name="connsiteX12142" fmla="*/ 969117 w 9310410"/>
              <a:gd name="connsiteY12142" fmla="*/ 1180570 h 5296383"/>
              <a:gd name="connsiteX12143" fmla="*/ 969716 w 9310410"/>
              <a:gd name="connsiteY12143" fmla="*/ 1182967 h 5296383"/>
              <a:gd name="connsiteX12144" fmla="*/ 969716 w 9310410"/>
              <a:gd name="connsiteY12144" fmla="*/ 1182967 h 5296383"/>
              <a:gd name="connsiteX12145" fmla="*/ 969716 w 9310410"/>
              <a:gd name="connsiteY12145" fmla="*/ 1182967 h 5296383"/>
              <a:gd name="connsiteX12146" fmla="*/ 969716 w 9310410"/>
              <a:gd name="connsiteY12146" fmla="*/ 1182967 h 5296383"/>
              <a:gd name="connsiteX12147" fmla="*/ 970316 w 9310410"/>
              <a:gd name="connsiteY12147" fmla="*/ 1181768 h 5296383"/>
              <a:gd name="connsiteX12148" fmla="*/ 970316 w 9310410"/>
              <a:gd name="connsiteY12148" fmla="*/ 1181169 h 5296383"/>
              <a:gd name="connsiteX12149" fmla="*/ 970316 w 9310410"/>
              <a:gd name="connsiteY12149" fmla="*/ 1180570 h 5296383"/>
              <a:gd name="connsiteX12150" fmla="*/ 969716 w 9310410"/>
              <a:gd name="connsiteY12150" fmla="*/ 1178173 h 5296383"/>
              <a:gd name="connsiteX12151" fmla="*/ 969716 w 9310410"/>
              <a:gd name="connsiteY12151" fmla="*/ 1178173 h 5296383"/>
              <a:gd name="connsiteX12152" fmla="*/ 1003875 w 9310410"/>
              <a:gd name="connsiteY12152" fmla="*/ 855763 h 5296383"/>
              <a:gd name="connsiteX12153" fmla="*/ 1003875 w 9310410"/>
              <a:gd name="connsiteY12153" fmla="*/ 855763 h 5296383"/>
              <a:gd name="connsiteX12154" fmla="*/ 1003875 w 9310410"/>
              <a:gd name="connsiteY12154" fmla="*/ 855763 h 5296383"/>
              <a:gd name="connsiteX12155" fmla="*/ 1003875 w 9310410"/>
              <a:gd name="connsiteY12155" fmla="*/ 855763 h 5296383"/>
              <a:gd name="connsiteX12156" fmla="*/ 1003875 w 9310410"/>
              <a:gd name="connsiteY12156" fmla="*/ 855763 h 5296383"/>
              <a:gd name="connsiteX12157" fmla="*/ 1004474 w 9310410"/>
              <a:gd name="connsiteY12157" fmla="*/ 854565 h 5296383"/>
              <a:gd name="connsiteX12158" fmla="*/ 1004474 w 9310410"/>
              <a:gd name="connsiteY12158" fmla="*/ 853366 h 5296383"/>
              <a:gd name="connsiteX12159" fmla="*/ 1004474 w 9310410"/>
              <a:gd name="connsiteY12159" fmla="*/ 853366 h 5296383"/>
              <a:gd name="connsiteX12160" fmla="*/ 1004474 w 9310410"/>
              <a:gd name="connsiteY12160" fmla="*/ 853366 h 5296383"/>
              <a:gd name="connsiteX12161" fmla="*/ 1004474 w 9310410"/>
              <a:gd name="connsiteY12161" fmla="*/ 853366 h 5296383"/>
              <a:gd name="connsiteX12162" fmla="*/ 1004474 w 9310410"/>
              <a:gd name="connsiteY12162" fmla="*/ 853366 h 5296383"/>
              <a:gd name="connsiteX12163" fmla="*/ 1004474 w 9310410"/>
              <a:gd name="connsiteY12163" fmla="*/ 854565 h 5296383"/>
              <a:gd name="connsiteX12164" fmla="*/ 1003875 w 9310410"/>
              <a:gd name="connsiteY12164" fmla="*/ 855763 h 5296383"/>
              <a:gd name="connsiteX12165" fmla="*/ 991290 w 9310410"/>
              <a:gd name="connsiteY12165" fmla="*/ 861157 h 5296383"/>
              <a:gd name="connsiteX12166" fmla="*/ 991290 w 9310410"/>
              <a:gd name="connsiteY12166" fmla="*/ 861157 h 5296383"/>
              <a:gd name="connsiteX12167" fmla="*/ 991290 w 9310410"/>
              <a:gd name="connsiteY12167" fmla="*/ 861157 h 5296383"/>
              <a:gd name="connsiteX12168" fmla="*/ 991290 w 9310410"/>
              <a:gd name="connsiteY12168" fmla="*/ 861157 h 5296383"/>
              <a:gd name="connsiteX12169" fmla="*/ 991890 w 9310410"/>
              <a:gd name="connsiteY12169" fmla="*/ 860557 h 5296383"/>
              <a:gd name="connsiteX12170" fmla="*/ 991890 w 9310410"/>
              <a:gd name="connsiteY12170" fmla="*/ 859958 h 5296383"/>
              <a:gd name="connsiteX12171" fmla="*/ 991890 w 9310410"/>
              <a:gd name="connsiteY12171" fmla="*/ 859958 h 5296383"/>
              <a:gd name="connsiteX12172" fmla="*/ 991890 w 9310410"/>
              <a:gd name="connsiteY12172" fmla="*/ 859958 h 5296383"/>
              <a:gd name="connsiteX12173" fmla="*/ 991890 w 9310410"/>
              <a:gd name="connsiteY12173" fmla="*/ 859958 h 5296383"/>
              <a:gd name="connsiteX12174" fmla="*/ 991290 w 9310410"/>
              <a:gd name="connsiteY12174" fmla="*/ 859958 h 5296383"/>
              <a:gd name="connsiteX12175" fmla="*/ 991290 w 9310410"/>
              <a:gd name="connsiteY12175" fmla="*/ 860557 h 5296383"/>
              <a:gd name="connsiteX12176" fmla="*/ 991290 w 9310410"/>
              <a:gd name="connsiteY12176" fmla="*/ 861157 h 5296383"/>
              <a:gd name="connsiteX12177" fmla="*/ 991290 w 9310410"/>
              <a:gd name="connsiteY12177" fmla="*/ 861157 h 5296383"/>
              <a:gd name="connsiteX12178" fmla="*/ 992489 w 9310410"/>
              <a:gd name="connsiteY12178" fmla="*/ 867749 h 5296383"/>
              <a:gd name="connsiteX12179" fmla="*/ 992489 w 9310410"/>
              <a:gd name="connsiteY12179" fmla="*/ 867749 h 5296383"/>
              <a:gd name="connsiteX12180" fmla="*/ 992489 w 9310410"/>
              <a:gd name="connsiteY12180" fmla="*/ 867749 h 5296383"/>
              <a:gd name="connsiteX12181" fmla="*/ 992489 w 9310410"/>
              <a:gd name="connsiteY12181" fmla="*/ 867749 h 5296383"/>
              <a:gd name="connsiteX12182" fmla="*/ 994287 w 9310410"/>
              <a:gd name="connsiteY12182" fmla="*/ 867149 h 5296383"/>
              <a:gd name="connsiteX12183" fmla="*/ 993088 w 9310410"/>
              <a:gd name="connsiteY12183" fmla="*/ 866550 h 5296383"/>
              <a:gd name="connsiteX12184" fmla="*/ 992489 w 9310410"/>
              <a:gd name="connsiteY12184" fmla="*/ 866550 h 5296383"/>
              <a:gd name="connsiteX12185" fmla="*/ 992489 w 9310410"/>
              <a:gd name="connsiteY12185" fmla="*/ 866550 h 5296383"/>
              <a:gd name="connsiteX12186" fmla="*/ 992489 w 9310410"/>
              <a:gd name="connsiteY12186" fmla="*/ 866550 h 5296383"/>
              <a:gd name="connsiteX12187" fmla="*/ 990691 w 9310410"/>
              <a:gd name="connsiteY12187" fmla="*/ 867149 h 5296383"/>
              <a:gd name="connsiteX12188" fmla="*/ 992489 w 9310410"/>
              <a:gd name="connsiteY12188" fmla="*/ 867749 h 5296383"/>
              <a:gd name="connsiteX12189" fmla="*/ 993088 w 9310410"/>
              <a:gd name="connsiteY12189" fmla="*/ 875539 h 5296383"/>
              <a:gd name="connsiteX12190" fmla="*/ 993088 w 9310410"/>
              <a:gd name="connsiteY12190" fmla="*/ 875539 h 5296383"/>
              <a:gd name="connsiteX12191" fmla="*/ 993088 w 9310410"/>
              <a:gd name="connsiteY12191" fmla="*/ 875539 h 5296383"/>
              <a:gd name="connsiteX12192" fmla="*/ 992489 w 9310410"/>
              <a:gd name="connsiteY12192" fmla="*/ 875539 h 5296383"/>
              <a:gd name="connsiteX12193" fmla="*/ 992489 w 9310410"/>
              <a:gd name="connsiteY12193" fmla="*/ 876139 h 5296383"/>
              <a:gd name="connsiteX12194" fmla="*/ 992489 w 9310410"/>
              <a:gd name="connsiteY12194" fmla="*/ 876738 h 5296383"/>
              <a:gd name="connsiteX12195" fmla="*/ 993088 w 9310410"/>
              <a:gd name="connsiteY12195" fmla="*/ 876738 h 5296383"/>
              <a:gd name="connsiteX12196" fmla="*/ 993088 w 9310410"/>
              <a:gd name="connsiteY12196" fmla="*/ 876738 h 5296383"/>
              <a:gd name="connsiteX12197" fmla="*/ 993088 w 9310410"/>
              <a:gd name="connsiteY12197" fmla="*/ 876738 h 5296383"/>
              <a:gd name="connsiteX12198" fmla="*/ 993687 w 9310410"/>
              <a:gd name="connsiteY12198" fmla="*/ 876139 h 5296383"/>
              <a:gd name="connsiteX12199" fmla="*/ 993088 w 9310410"/>
              <a:gd name="connsiteY12199" fmla="*/ 875539 h 5296383"/>
              <a:gd name="connsiteX12200" fmla="*/ 991290 w 9310410"/>
              <a:gd name="connsiteY12200" fmla="*/ 884528 h 5296383"/>
              <a:gd name="connsiteX12201" fmla="*/ 991290 w 9310410"/>
              <a:gd name="connsiteY12201" fmla="*/ 884528 h 5296383"/>
              <a:gd name="connsiteX12202" fmla="*/ 991290 w 9310410"/>
              <a:gd name="connsiteY12202" fmla="*/ 884528 h 5296383"/>
              <a:gd name="connsiteX12203" fmla="*/ 991890 w 9310410"/>
              <a:gd name="connsiteY12203" fmla="*/ 883929 h 5296383"/>
              <a:gd name="connsiteX12204" fmla="*/ 991290 w 9310410"/>
              <a:gd name="connsiteY12204" fmla="*/ 883330 h 5296383"/>
              <a:gd name="connsiteX12205" fmla="*/ 991290 w 9310410"/>
              <a:gd name="connsiteY12205" fmla="*/ 883330 h 5296383"/>
              <a:gd name="connsiteX12206" fmla="*/ 991290 w 9310410"/>
              <a:gd name="connsiteY12206" fmla="*/ 883330 h 5296383"/>
              <a:gd name="connsiteX12207" fmla="*/ 990691 w 9310410"/>
              <a:gd name="connsiteY12207" fmla="*/ 883330 h 5296383"/>
              <a:gd name="connsiteX12208" fmla="*/ 990691 w 9310410"/>
              <a:gd name="connsiteY12208" fmla="*/ 883929 h 5296383"/>
              <a:gd name="connsiteX12209" fmla="*/ 990691 w 9310410"/>
              <a:gd name="connsiteY12209" fmla="*/ 884528 h 5296383"/>
              <a:gd name="connsiteX12210" fmla="*/ 991290 w 9310410"/>
              <a:gd name="connsiteY12210" fmla="*/ 884528 h 5296383"/>
              <a:gd name="connsiteX12211" fmla="*/ 999680 w 9310410"/>
              <a:gd name="connsiteY12211" fmla="*/ 859359 h 5296383"/>
              <a:gd name="connsiteX12212" fmla="*/ 999680 w 9310410"/>
              <a:gd name="connsiteY12212" fmla="*/ 859359 h 5296383"/>
              <a:gd name="connsiteX12213" fmla="*/ 999680 w 9310410"/>
              <a:gd name="connsiteY12213" fmla="*/ 859359 h 5296383"/>
              <a:gd name="connsiteX12214" fmla="*/ 999680 w 9310410"/>
              <a:gd name="connsiteY12214" fmla="*/ 859359 h 5296383"/>
              <a:gd name="connsiteX12215" fmla="*/ 1000279 w 9310410"/>
              <a:gd name="connsiteY12215" fmla="*/ 858160 h 5296383"/>
              <a:gd name="connsiteX12216" fmla="*/ 1000279 w 9310410"/>
              <a:gd name="connsiteY12216" fmla="*/ 857561 h 5296383"/>
              <a:gd name="connsiteX12217" fmla="*/ 999680 w 9310410"/>
              <a:gd name="connsiteY12217" fmla="*/ 856962 h 5296383"/>
              <a:gd name="connsiteX12218" fmla="*/ 999680 w 9310410"/>
              <a:gd name="connsiteY12218" fmla="*/ 856962 h 5296383"/>
              <a:gd name="connsiteX12219" fmla="*/ 999680 w 9310410"/>
              <a:gd name="connsiteY12219" fmla="*/ 856962 h 5296383"/>
              <a:gd name="connsiteX12220" fmla="*/ 999081 w 9310410"/>
              <a:gd name="connsiteY12220" fmla="*/ 857561 h 5296383"/>
              <a:gd name="connsiteX12221" fmla="*/ 999081 w 9310410"/>
              <a:gd name="connsiteY12221" fmla="*/ 858160 h 5296383"/>
              <a:gd name="connsiteX12222" fmla="*/ 999680 w 9310410"/>
              <a:gd name="connsiteY12222" fmla="*/ 859359 h 5296383"/>
              <a:gd name="connsiteX12223" fmla="*/ 999680 w 9310410"/>
              <a:gd name="connsiteY12223" fmla="*/ 859359 h 5296383"/>
              <a:gd name="connsiteX12224" fmla="*/ 664087 w 9310410"/>
              <a:gd name="connsiteY12224" fmla="*/ 4848726 h 5296383"/>
              <a:gd name="connsiteX12225" fmla="*/ 664087 w 9310410"/>
              <a:gd name="connsiteY12225" fmla="*/ 4848726 h 5296383"/>
              <a:gd name="connsiteX12226" fmla="*/ 664087 w 9310410"/>
              <a:gd name="connsiteY12226" fmla="*/ 4848726 h 5296383"/>
              <a:gd name="connsiteX12227" fmla="*/ 664087 w 9310410"/>
              <a:gd name="connsiteY12227" fmla="*/ 4848726 h 5296383"/>
              <a:gd name="connsiteX12228" fmla="*/ 663487 w 9310410"/>
              <a:gd name="connsiteY12228" fmla="*/ 4850524 h 5296383"/>
              <a:gd name="connsiteX12229" fmla="*/ 663487 w 9310410"/>
              <a:gd name="connsiteY12229" fmla="*/ 4851722 h 5296383"/>
              <a:gd name="connsiteX12230" fmla="*/ 664087 w 9310410"/>
              <a:gd name="connsiteY12230" fmla="*/ 4852321 h 5296383"/>
              <a:gd name="connsiteX12231" fmla="*/ 664087 w 9310410"/>
              <a:gd name="connsiteY12231" fmla="*/ 4852321 h 5296383"/>
              <a:gd name="connsiteX12232" fmla="*/ 664087 w 9310410"/>
              <a:gd name="connsiteY12232" fmla="*/ 4852321 h 5296383"/>
              <a:gd name="connsiteX12233" fmla="*/ 664686 w 9310410"/>
              <a:gd name="connsiteY12233" fmla="*/ 4851722 h 5296383"/>
              <a:gd name="connsiteX12234" fmla="*/ 664686 w 9310410"/>
              <a:gd name="connsiteY12234" fmla="*/ 4850524 h 5296383"/>
              <a:gd name="connsiteX12235" fmla="*/ 664087 w 9310410"/>
              <a:gd name="connsiteY12235" fmla="*/ 4848726 h 5296383"/>
              <a:gd name="connsiteX12236" fmla="*/ 664087 w 9310410"/>
              <a:gd name="connsiteY12236" fmla="*/ 4848726 h 5296383"/>
              <a:gd name="connsiteX12237" fmla="*/ 1254371 w 9310410"/>
              <a:gd name="connsiteY12237" fmla="*/ 5293986 h 5296383"/>
              <a:gd name="connsiteX12238" fmla="*/ 1254371 w 9310410"/>
              <a:gd name="connsiteY12238" fmla="*/ 5293986 h 5296383"/>
              <a:gd name="connsiteX12239" fmla="*/ 1254371 w 9310410"/>
              <a:gd name="connsiteY12239" fmla="*/ 5293986 h 5296383"/>
              <a:gd name="connsiteX12240" fmla="*/ 1252574 w 9310410"/>
              <a:gd name="connsiteY12240" fmla="*/ 5295185 h 5296383"/>
              <a:gd name="connsiteX12241" fmla="*/ 1254371 w 9310410"/>
              <a:gd name="connsiteY12241" fmla="*/ 5296384 h 5296383"/>
              <a:gd name="connsiteX12242" fmla="*/ 1254371 w 9310410"/>
              <a:gd name="connsiteY12242" fmla="*/ 5296384 h 5296383"/>
              <a:gd name="connsiteX12243" fmla="*/ 1254371 w 9310410"/>
              <a:gd name="connsiteY12243" fmla="*/ 5296384 h 5296383"/>
              <a:gd name="connsiteX12244" fmla="*/ 1255570 w 9310410"/>
              <a:gd name="connsiteY12244" fmla="*/ 5295784 h 5296383"/>
              <a:gd name="connsiteX12245" fmla="*/ 1256169 w 9310410"/>
              <a:gd name="connsiteY12245" fmla="*/ 5294586 h 5296383"/>
              <a:gd name="connsiteX12246" fmla="*/ 1255570 w 9310410"/>
              <a:gd name="connsiteY12246" fmla="*/ 5293387 h 5296383"/>
              <a:gd name="connsiteX12247" fmla="*/ 1254371 w 9310410"/>
              <a:gd name="connsiteY12247" fmla="*/ 5293986 h 5296383"/>
              <a:gd name="connsiteX12248" fmla="*/ 1391006 w 9310410"/>
              <a:gd name="connsiteY12248" fmla="*/ 3923447 h 5296383"/>
              <a:gd name="connsiteX12249" fmla="*/ 1391006 w 9310410"/>
              <a:gd name="connsiteY12249" fmla="*/ 3923447 h 5296383"/>
              <a:gd name="connsiteX12250" fmla="*/ 1391006 w 9310410"/>
              <a:gd name="connsiteY12250" fmla="*/ 3923447 h 5296383"/>
              <a:gd name="connsiteX12251" fmla="*/ 1390407 w 9310410"/>
              <a:gd name="connsiteY12251" fmla="*/ 3924046 h 5296383"/>
              <a:gd name="connsiteX12252" fmla="*/ 1394002 w 9310410"/>
              <a:gd name="connsiteY12252" fmla="*/ 3927642 h 5296383"/>
              <a:gd name="connsiteX12253" fmla="*/ 1394002 w 9310410"/>
              <a:gd name="connsiteY12253" fmla="*/ 3927642 h 5296383"/>
              <a:gd name="connsiteX12254" fmla="*/ 1394002 w 9310410"/>
              <a:gd name="connsiteY12254" fmla="*/ 3927642 h 5296383"/>
              <a:gd name="connsiteX12255" fmla="*/ 1392804 w 9310410"/>
              <a:gd name="connsiteY12255" fmla="*/ 3924645 h 5296383"/>
              <a:gd name="connsiteX12256" fmla="*/ 1392204 w 9310410"/>
              <a:gd name="connsiteY12256" fmla="*/ 3924046 h 5296383"/>
              <a:gd name="connsiteX12257" fmla="*/ 1391006 w 9310410"/>
              <a:gd name="connsiteY12257" fmla="*/ 3923447 h 5296383"/>
              <a:gd name="connsiteX12258" fmla="*/ 1419172 w 9310410"/>
              <a:gd name="connsiteY12258" fmla="*/ 3968392 h 5296383"/>
              <a:gd name="connsiteX12259" fmla="*/ 1419172 w 9310410"/>
              <a:gd name="connsiteY12259" fmla="*/ 3963598 h 5296383"/>
              <a:gd name="connsiteX12260" fmla="*/ 1418573 w 9310410"/>
              <a:gd name="connsiteY12260" fmla="*/ 3962999 h 5296383"/>
              <a:gd name="connsiteX12261" fmla="*/ 1417973 w 9310410"/>
              <a:gd name="connsiteY12261" fmla="*/ 3962999 h 5296383"/>
              <a:gd name="connsiteX12262" fmla="*/ 1417374 w 9310410"/>
              <a:gd name="connsiteY12262" fmla="*/ 3963598 h 5296383"/>
              <a:gd name="connsiteX12263" fmla="*/ 1416775 w 9310410"/>
              <a:gd name="connsiteY12263" fmla="*/ 3965995 h 5296383"/>
              <a:gd name="connsiteX12264" fmla="*/ 1417973 w 9310410"/>
              <a:gd name="connsiteY12264" fmla="*/ 3967793 h 5296383"/>
              <a:gd name="connsiteX12265" fmla="*/ 1419172 w 9310410"/>
              <a:gd name="connsiteY12265" fmla="*/ 3968392 h 5296383"/>
              <a:gd name="connsiteX12266" fmla="*/ 1419172 w 9310410"/>
              <a:gd name="connsiteY12266" fmla="*/ 3968392 h 5296383"/>
              <a:gd name="connsiteX12267" fmla="*/ 1419172 w 9310410"/>
              <a:gd name="connsiteY12267" fmla="*/ 3968392 h 5296383"/>
              <a:gd name="connsiteX12268" fmla="*/ 1420370 w 9310410"/>
              <a:gd name="connsiteY12268" fmla="*/ 3974385 h 5296383"/>
              <a:gd name="connsiteX12269" fmla="*/ 1420370 w 9310410"/>
              <a:gd name="connsiteY12269" fmla="*/ 3974385 h 5296383"/>
              <a:gd name="connsiteX12270" fmla="*/ 1420370 w 9310410"/>
              <a:gd name="connsiteY12270" fmla="*/ 3974385 h 5296383"/>
              <a:gd name="connsiteX12271" fmla="*/ 1419771 w 9310410"/>
              <a:gd name="connsiteY12271" fmla="*/ 3971988 h 5296383"/>
              <a:gd name="connsiteX12272" fmla="*/ 1419771 w 9310410"/>
              <a:gd name="connsiteY12272" fmla="*/ 3971988 h 5296383"/>
              <a:gd name="connsiteX12273" fmla="*/ 1419771 w 9310410"/>
              <a:gd name="connsiteY12273" fmla="*/ 3971988 h 5296383"/>
              <a:gd name="connsiteX12274" fmla="*/ 1420370 w 9310410"/>
              <a:gd name="connsiteY12274" fmla="*/ 3974385 h 5296383"/>
              <a:gd name="connsiteX12275" fmla="*/ 1454529 w 9310410"/>
              <a:gd name="connsiteY12275" fmla="*/ 3787412 h 5296383"/>
              <a:gd name="connsiteX12276" fmla="*/ 1454529 w 9310410"/>
              <a:gd name="connsiteY12276" fmla="*/ 3787412 h 5296383"/>
              <a:gd name="connsiteX12277" fmla="*/ 1454529 w 9310410"/>
              <a:gd name="connsiteY12277" fmla="*/ 3787412 h 5296383"/>
              <a:gd name="connsiteX12278" fmla="*/ 1453330 w 9310410"/>
              <a:gd name="connsiteY12278" fmla="*/ 3788011 h 5296383"/>
              <a:gd name="connsiteX12279" fmla="*/ 1453330 w 9310410"/>
              <a:gd name="connsiteY12279" fmla="*/ 3789209 h 5296383"/>
              <a:gd name="connsiteX12280" fmla="*/ 1454529 w 9310410"/>
              <a:gd name="connsiteY12280" fmla="*/ 3791606 h 5296383"/>
              <a:gd name="connsiteX12281" fmla="*/ 1454529 w 9310410"/>
              <a:gd name="connsiteY12281" fmla="*/ 3791606 h 5296383"/>
              <a:gd name="connsiteX12282" fmla="*/ 1454529 w 9310410"/>
              <a:gd name="connsiteY12282" fmla="*/ 3791606 h 5296383"/>
              <a:gd name="connsiteX12283" fmla="*/ 1454529 w 9310410"/>
              <a:gd name="connsiteY12283" fmla="*/ 3787412 h 5296383"/>
              <a:gd name="connsiteX12284" fmla="*/ 1475504 w 9310410"/>
              <a:gd name="connsiteY12284" fmla="*/ 3749657 h 5296383"/>
              <a:gd name="connsiteX12285" fmla="*/ 1474904 w 9310410"/>
              <a:gd name="connsiteY12285" fmla="*/ 3750856 h 5296383"/>
              <a:gd name="connsiteX12286" fmla="*/ 1475504 w 9310410"/>
              <a:gd name="connsiteY12286" fmla="*/ 3750856 h 5296383"/>
              <a:gd name="connsiteX12287" fmla="*/ 1476103 w 9310410"/>
              <a:gd name="connsiteY12287" fmla="*/ 3750856 h 5296383"/>
              <a:gd name="connsiteX12288" fmla="*/ 1476702 w 9310410"/>
              <a:gd name="connsiteY12288" fmla="*/ 3749657 h 5296383"/>
              <a:gd name="connsiteX12289" fmla="*/ 1476702 w 9310410"/>
              <a:gd name="connsiteY12289" fmla="*/ 3748459 h 5296383"/>
              <a:gd name="connsiteX12290" fmla="*/ 1475504 w 9310410"/>
              <a:gd name="connsiteY12290" fmla="*/ 3749657 h 5296383"/>
              <a:gd name="connsiteX12291" fmla="*/ 1462919 w 9310410"/>
              <a:gd name="connsiteY12291" fmla="*/ 3780220 h 5296383"/>
              <a:gd name="connsiteX12292" fmla="*/ 1462919 w 9310410"/>
              <a:gd name="connsiteY12292" fmla="*/ 3780220 h 5296383"/>
              <a:gd name="connsiteX12293" fmla="*/ 1462919 w 9310410"/>
              <a:gd name="connsiteY12293" fmla="*/ 3780220 h 5296383"/>
              <a:gd name="connsiteX12294" fmla="*/ 1462919 w 9310410"/>
              <a:gd name="connsiteY12294" fmla="*/ 3780220 h 5296383"/>
              <a:gd name="connsiteX12295" fmla="*/ 1461720 w 9310410"/>
              <a:gd name="connsiteY12295" fmla="*/ 3780220 h 5296383"/>
              <a:gd name="connsiteX12296" fmla="*/ 1461720 w 9310410"/>
              <a:gd name="connsiteY12296" fmla="*/ 3781419 h 5296383"/>
              <a:gd name="connsiteX12297" fmla="*/ 1461720 w 9310410"/>
              <a:gd name="connsiteY12297" fmla="*/ 3782617 h 5296383"/>
              <a:gd name="connsiteX12298" fmla="*/ 1462320 w 9310410"/>
              <a:gd name="connsiteY12298" fmla="*/ 3783217 h 5296383"/>
              <a:gd name="connsiteX12299" fmla="*/ 1462320 w 9310410"/>
              <a:gd name="connsiteY12299" fmla="*/ 3783217 h 5296383"/>
              <a:gd name="connsiteX12300" fmla="*/ 1462320 w 9310410"/>
              <a:gd name="connsiteY12300" fmla="*/ 3783217 h 5296383"/>
              <a:gd name="connsiteX12301" fmla="*/ 1462919 w 9310410"/>
              <a:gd name="connsiteY12301" fmla="*/ 3783217 h 5296383"/>
              <a:gd name="connsiteX12302" fmla="*/ 1463518 w 9310410"/>
              <a:gd name="connsiteY12302" fmla="*/ 3782018 h 5296383"/>
              <a:gd name="connsiteX12303" fmla="*/ 1462919 w 9310410"/>
              <a:gd name="connsiteY12303" fmla="*/ 3780220 h 5296383"/>
              <a:gd name="connsiteX12304" fmla="*/ 2170661 w 9310410"/>
              <a:gd name="connsiteY12304" fmla="*/ 698154 h 5296383"/>
              <a:gd name="connsiteX12305" fmla="*/ 2170661 w 9310410"/>
              <a:gd name="connsiteY12305" fmla="*/ 698154 h 5296383"/>
              <a:gd name="connsiteX12306" fmla="*/ 2171261 w 9310410"/>
              <a:gd name="connsiteY12306" fmla="*/ 699952 h 5296383"/>
              <a:gd name="connsiteX12307" fmla="*/ 2172459 w 9310410"/>
              <a:gd name="connsiteY12307" fmla="*/ 700551 h 5296383"/>
              <a:gd name="connsiteX12308" fmla="*/ 2170661 w 9310410"/>
              <a:gd name="connsiteY12308" fmla="*/ 698154 h 5296383"/>
              <a:gd name="connsiteX12309" fmla="*/ 2170661 w 9310410"/>
              <a:gd name="connsiteY12309" fmla="*/ 698154 h 5296383"/>
              <a:gd name="connsiteX12310" fmla="*/ 2179650 w 9310410"/>
              <a:gd name="connsiteY12310" fmla="*/ 693959 h 5296383"/>
              <a:gd name="connsiteX12311" fmla="*/ 2179650 w 9310410"/>
              <a:gd name="connsiteY12311" fmla="*/ 693959 h 5296383"/>
              <a:gd name="connsiteX12312" fmla="*/ 2179650 w 9310410"/>
              <a:gd name="connsiteY12312" fmla="*/ 693959 h 5296383"/>
              <a:gd name="connsiteX12313" fmla="*/ 2179650 w 9310410"/>
              <a:gd name="connsiteY12313" fmla="*/ 696356 h 5296383"/>
              <a:gd name="connsiteX12314" fmla="*/ 2179650 w 9310410"/>
              <a:gd name="connsiteY12314" fmla="*/ 696356 h 5296383"/>
              <a:gd name="connsiteX12315" fmla="*/ 2180250 w 9310410"/>
              <a:gd name="connsiteY12315" fmla="*/ 696356 h 5296383"/>
              <a:gd name="connsiteX12316" fmla="*/ 2180849 w 9310410"/>
              <a:gd name="connsiteY12316" fmla="*/ 695757 h 5296383"/>
              <a:gd name="connsiteX12317" fmla="*/ 2180849 w 9310410"/>
              <a:gd name="connsiteY12317" fmla="*/ 695158 h 5296383"/>
              <a:gd name="connsiteX12318" fmla="*/ 2179650 w 9310410"/>
              <a:gd name="connsiteY12318" fmla="*/ 693959 h 5296383"/>
              <a:gd name="connsiteX12319" fmla="*/ 1741581 w 9310410"/>
              <a:gd name="connsiteY12319" fmla="*/ 768868 h 5296383"/>
              <a:gd name="connsiteX12320" fmla="*/ 1740982 w 9310410"/>
              <a:gd name="connsiteY12320" fmla="*/ 768868 h 5296383"/>
              <a:gd name="connsiteX12321" fmla="*/ 1740383 w 9310410"/>
              <a:gd name="connsiteY12321" fmla="*/ 769468 h 5296383"/>
              <a:gd name="connsiteX12322" fmla="*/ 1742180 w 9310410"/>
              <a:gd name="connsiteY12322" fmla="*/ 771266 h 5296383"/>
              <a:gd name="connsiteX12323" fmla="*/ 1742180 w 9310410"/>
              <a:gd name="connsiteY12323" fmla="*/ 771266 h 5296383"/>
              <a:gd name="connsiteX12324" fmla="*/ 1742180 w 9310410"/>
              <a:gd name="connsiteY12324" fmla="*/ 771266 h 5296383"/>
              <a:gd name="connsiteX12325" fmla="*/ 1741581 w 9310410"/>
              <a:gd name="connsiteY12325" fmla="*/ 768868 h 5296383"/>
              <a:gd name="connsiteX12326" fmla="*/ 1741581 w 9310410"/>
              <a:gd name="connsiteY12326" fmla="*/ 768868 h 5296383"/>
              <a:gd name="connsiteX12327" fmla="*/ 1739783 w 9310410"/>
              <a:gd name="connsiteY12327" fmla="*/ 780255 h 5296383"/>
              <a:gd name="connsiteX12328" fmla="*/ 1739783 w 9310410"/>
              <a:gd name="connsiteY12328" fmla="*/ 780255 h 5296383"/>
              <a:gd name="connsiteX12329" fmla="*/ 1739783 w 9310410"/>
              <a:gd name="connsiteY12329" fmla="*/ 780255 h 5296383"/>
              <a:gd name="connsiteX12330" fmla="*/ 1739783 w 9310410"/>
              <a:gd name="connsiteY12330" fmla="*/ 780255 h 5296383"/>
              <a:gd name="connsiteX12331" fmla="*/ 1739184 w 9310410"/>
              <a:gd name="connsiteY12331" fmla="*/ 781453 h 5296383"/>
              <a:gd name="connsiteX12332" fmla="*/ 1739783 w 9310410"/>
              <a:gd name="connsiteY12332" fmla="*/ 788045 h 5296383"/>
              <a:gd name="connsiteX12333" fmla="*/ 1739783 w 9310410"/>
              <a:gd name="connsiteY12333" fmla="*/ 788045 h 5296383"/>
              <a:gd name="connsiteX12334" fmla="*/ 1739783 w 9310410"/>
              <a:gd name="connsiteY12334" fmla="*/ 788045 h 5296383"/>
              <a:gd name="connsiteX12335" fmla="*/ 1739783 w 9310410"/>
              <a:gd name="connsiteY12335" fmla="*/ 780255 h 5296383"/>
              <a:gd name="connsiteX12336" fmla="*/ 6466856 w 9310410"/>
              <a:gd name="connsiteY12336" fmla="*/ 620249 h 5296383"/>
              <a:gd name="connsiteX12337" fmla="*/ 6466856 w 9310410"/>
              <a:gd name="connsiteY12337" fmla="*/ 620249 h 5296383"/>
              <a:gd name="connsiteX12338" fmla="*/ 6465658 w 9310410"/>
              <a:gd name="connsiteY12338" fmla="*/ 622646 h 5296383"/>
              <a:gd name="connsiteX12339" fmla="*/ 6466856 w 9310410"/>
              <a:gd name="connsiteY12339" fmla="*/ 623245 h 5296383"/>
              <a:gd name="connsiteX12340" fmla="*/ 6466856 w 9310410"/>
              <a:gd name="connsiteY12340" fmla="*/ 623245 h 5296383"/>
              <a:gd name="connsiteX12341" fmla="*/ 6466856 w 9310410"/>
              <a:gd name="connsiteY12341" fmla="*/ 623245 h 5296383"/>
              <a:gd name="connsiteX12342" fmla="*/ 6467456 w 9310410"/>
              <a:gd name="connsiteY12342" fmla="*/ 623245 h 5296383"/>
              <a:gd name="connsiteX12343" fmla="*/ 6466856 w 9310410"/>
              <a:gd name="connsiteY12343" fmla="*/ 620249 h 5296383"/>
              <a:gd name="connsiteX12344" fmla="*/ 6466856 w 9310410"/>
              <a:gd name="connsiteY12344" fmla="*/ 620249 h 5296383"/>
              <a:gd name="connsiteX12345" fmla="*/ 6458467 w 9310410"/>
              <a:gd name="connsiteY12345" fmla="*/ 614855 h 5296383"/>
              <a:gd name="connsiteX12346" fmla="*/ 6457867 w 9310410"/>
              <a:gd name="connsiteY12346" fmla="*/ 617252 h 5296383"/>
              <a:gd name="connsiteX12347" fmla="*/ 6457867 w 9310410"/>
              <a:gd name="connsiteY12347" fmla="*/ 617252 h 5296383"/>
              <a:gd name="connsiteX12348" fmla="*/ 6457867 w 9310410"/>
              <a:gd name="connsiteY12348" fmla="*/ 617252 h 5296383"/>
              <a:gd name="connsiteX12349" fmla="*/ 6459066 w 9310410"/>
              <a:gd name="connsiteY12349" fmla="*/ 617252 h 5296383"/>
              <a:gd name="connsiteX12350" fmla="*/ 6459665 w 9310410"/>
              <a:gd name="connsiteY12350" fmla="*/ 616054 h 5296383"/>
              <a:gd name="connsiteX12351" fmla="*/ 6458467 w 9310410"/>
              <a:gd name="connsiteY12351" fmla="*/ 614855 h 5296383"/>
              <a:gd name="connsiteX12352" fmla="*/ 6458467 w 9310410"/>
              <a:gd name="connsiteY12352" fmla="*/ 614855 h 5296383"/>
              <a:gd name="connsiteX12353" fmla="*/ 6458467 w 9310410"/>
              <a:gd name="connsiteY12353" fmla="*/ 614855 h 5296383"/>
              <a:gd name="connsiteX12354" fmla="*/ 6417117 w 9310410"/>
              <a:gd name="connsiteY12354" fmla="*/ 615454 h 5296383"/>
              <a:gd name="connsiteX12355" fmla="*/ 6417117 w 9310410"/>
              <a:gd name="connsiteY12355" fmla="*/ 615454 h 5296383"/>
              <a:gd name="connsiteX12356" fmla="*/ 6417117 w 9310410"/>
              <a:gd name="connsiteY12356" fmla="*/ 615454 h 5296383"/>
              <a:gd name="connsiteX12357" fmla="*/ 6415918 w 9310410"/>
              <a:gd name="connsiteY12357" fmla="*/ 615454 h 5296383"/>
              <a:gd name="connsiteX12358" fmla="*/ 6416518 w 9310410"/>
              <a:gd name="connsiteY12358" fmla="*/ 617851 h 5296383"/>
              <a:gd name="connsiteX12359" fmla="*/ 6417117 w 9310410"/>
              <a:gd name="connsiteY12359" fmla="*/ 617851 h 5296383"/>
              <a:gd name="connsiteX12360" fmla="*/ 6417716 w 9310410"/>
              <a:gd name="connsiteY12360" fmla="*/ 617851 h 5296383"/>
              <a:gd name="connsiteX12361" fmla="*/ 6418315 w 9310410"/>
              <a:gd name="connsiteY12361" fmla="*/ 617252 h 5296383"/>
              <a:gd name="connsiteX12362" fmla="*/ 6417117 w 9310410"/>
              <a:gd name="connsiteY12362" fmla="*/ 615454 h 5296383"/>
              <a:gd name="connsiteX12363" fmla="*/ 5880767 w 9310410"/>
              <a:gd name="connsiteY12363" fmla="*/ 646017 h 5296383"/>
              <a:gd name="connsiteX12364" fmla="*/ 5883763 w 9310410"/>
              <a:gd name="connsiteY12364" fmla="*/ 646017 h 5296383"/>
              <a:gd name="connsiteX12365" fmla="*/ 5884362 w 9310410"/>
              <a:gd name="connsiteY12365" fmla="*/ 645418 h 5296383"/>
              <a:gd name="connsiteX12366" fmla="*/ 5883163 w 9310410"/>
              <a:gd name="connsiteY12366" fmla="*/ 644220 h 5296383"/>
              <a:gd name="connsiteX12367" fmla="*/ 5880767 w 9310410"/>
              <a:gd name="connsiteY12367" fmla="*/ 643620 h 5296383"/>
              <a:gd name="connsiteX12368" fmla="*/ 5879568 w 9310410"/>
              <a:gd name="connsiteY12368" fmla="*/ 643620 h 5296383"/>
              <a:gd name="connsiteX12369" fmla="*/ 5878369 w 9310410"/>
              <a:gd name="connsiteY12369" fmla="*/ 644220 h 5296383"/>
              <a:gd name="connsiteX12370" fmla="*/ 5880767 w 9310410"/>
              <a:gd name="connsiteY12370" fmla="*/ 646017 h 5296383"/>
              <a:gd name="connsiteX12371" fmla="*/ 5835821 w 9310410"/>
              <a:gd name="connsiteY12371" fmla="*/ 653209 h 5296383"/>
              <a:gd name="connsiteX12372" fmla="*/ 5837019 w 9310410"/>
              <a:gd name="connsiteY12372" fmla="*/ 652609 h 5296383"/>
              <a:gd name="connsiteX12373" fmla="*/ 5837619 w 9310410"/>
              <a:gd name="connsiteY12373" fmla="*/ 652010 h 5296383"/>
              <a:gd name="connsiteX12374" fmla="*/ 5837619 w 9310410"/>
              <a:gd name="connsiteY12374" fmla="*/ 650812 h 5296383"/>
              <a:gd name="connsiteX12375" fmla="*/ 5837619 w 9310410"/>
              <a:gd name="connsiteY12375" fmla="*/ 650812 h 5296383"/>
              <a:gd name="connsiteX12376" fmla="*/ 5837619 w 9310410"/>
              <a:gd name="connsiteY12376" fmla="*/ 650812 h 5296383"/>
              <a:gd name="connsiteX12377" fmla="*/ 5837019 w 9310410"/>
              <a:gd name="connsiteY12377" fmla="*/ 650812 h 5296383"/>
              <a:gd name="connsiteX12378" fmla="*/ 5835821 w 9310410"/>
              <a:gd name="connsiteY12378" fmla="*/ 653209 h 5296383"/>
              <a:gd name="connsiteX12379" fmla="*/ 5835821 w 9310410"/>
              <a:gd name="connsiteY12379" fmla="*/ 653209 h 5296383"/>
              <a:gd name="connsiteX12380" fmla="*/ 5835821 w 9310410"/>
              <a:gd name="connsiteY12380" fmla="*/ 653209 h 5296383"/>
              <a:gd name="connsiteX12381" fmla="*/ 5744132 w 9310410"/>
              <a:gd name="connsiteY12381" fmla="*/ 647216 h 5296383"/>
              <a:gd name="connsiteX12382" fmla="*/ 5745330 w 9310410"/>
              <a:gd name="connsiteY12382" fmla="*/ 646017 h 5296383"/>
              <a:gd name="connsiteX12383" fmla="*/ 5744132 w 9310410"/>
              <a:gd name="connsiteY12383" fmla="*/ 644819 h 5296383"/>
              <a:gd name="connsiteX12384" fmla="*/ 5742934 w 9310410"/>
              <a:gd name="connsiteY12384" fmla="*/ 646017 h 5296383"/>
              <a:gd name="connsiteX12385" fmla="*/ 5744132 w 9310410"/>
              <a:gd name="connsiteY12385" fmla="*/ 647216 h 5296383"/>
              <a:gd name="connsiteX12386" fmla="*/ 5695591 w 9310410"/>
              <a:gd name="connsiteY12386" fmla="*/ 646617 h 5296383"/>
              <a:gd name="connsiteX12387" fmla="*/ 5695591 w 9310410"/>
              <a:gd name="connsiteY12387" fmla="*/ 646617 h 5296383"/>
              <a:gd name="connsiteX12388" fmla="*/ 5695591 w 9310410"/>
              <a:gd name="connsiteY12388" fmla="*/ 646617 h 5296383"/>
              <a:gd name="connsiteX12389" fmla="*/ 5696190 w 9310410"/>
              <a:gd name="connsiteY12389" fmla="*/ 646017 h 5296383"/>
              <a:gd name="connsiteX12390" fmla="*/ 5695591 w 9310410"/>
              <a:gd name="connsiteY12390" fmla="*/ 643620 h 5296383"/>
              <a:gd name="connsiteX12391" fmla="*/ 5695591 w 9310410"/>
              <a:gd name="connsiteY12391" fmla="*/ 643620 h 5296383"/>
              <a:gd name="connsiteX12392" fmla="*/ 5695591 w 9310410"/>
              <a:gd name="connsiteY12392" fmla="*/ 643620 h 5296383"/>
              <a:gd name="connsiteX12393" fmla="*/ 5694992 w 9310410"/>
              <a:gd name="connsiteY12393" fmla="*/ 644220 h 5296383"/>
              <a:gd name="connsiteX12394" fmla="*/ 5694392 w 9310410"/>
              <a:gd name="connsiteY12394" fmla="*/ 645418 h 5296383"/>
              <a:gd name="connsiteX12395" fmla="*/ 5695591 w 9310410"/>
              <a:gd name="connsiteY12395" fmla="*/ 646617 h 5296383"/>
              <a:gd name="connsiteX12396" fmla="*/ 5658436 w 9310410"/>
              <a:gd name="connsiteY12396" fmla="*/ 652609 h 5296383"/>
              <a:gd name="connsiteX12397" fmla="*/ 5659634 w 9310410"/>
              <a:gd name="connsiteY12397" fmla="*/ 652609 h 5296383"/>
              <a:gd name="connsiteX12398" fmla="*/ 5657837 w 9310410"/>
              <a:gd name="connsiteY12398" fmla="*/ 650812 h 5296383"/>
              <a:gd name="connsiteX12399" fmla="*/ 5657237 w 9310410"/>
              <a:gd name="connsiteY12399" fmla="*/ 651411 h 5296383"/>
              <a:gd name="connsiteX12400" fmla="*/ 5658436 w 9310410"/>
              <a:gd name="connsiteY12400" fmla="*/ 652609 h 5296383"/>
              <a:gd name="connsiteX12401" fmla="*/ 7826010 w 9310410"/>
              <a:gd name="connsiteY12401" fmla="*/ 326005 h 5296383"/>
              <a:gd name="connsiteX12402" fmla="*/ 7826010 w 9310410"/>
              <a:gd name="connsiteY12402" fmla="*/ 326005 h 5296383"/>
              <a:gd name="connsiteX12403" fmla="*/ 7824811 w 9310410"/>
              <a:gd name="connsiteY12403" fmla="*/ 327204 h 5296383"/>
              <a:gd name="connsiteX12404" fmla="*/ 7826010 w 9310410"/>
              <a:gd name="connsiteY12404" fmla="*/ 328402 h 5296383"/>
              <a:gd name="connsiteX12405" fmla="*/ 7826010 w 9310410"/>
              <a:gd name="connsiteY12405" fmla="*/ 328402 h 5296383"/>
              <a:gd name="connsiteX12406" fmla="*/ 7826010 w 9310410"/>
              <a:gd name="connsiteY12406" fmla="*/ 328402 h 5296383"/>
              <a:gd name="connsiteX12407" fmla="*/ 7827208 w 9310410"/>
              <a:gd name="connsiteY12407" fmla="*/ 327204 h 5296383"/>
              <a:gd name="connsiteX12408" fmla="*/ 7826010 w 9310410"/>
              <a:gd name="connsiteY12408" fmla="*/ 326005 h 5296383"/>
              <a:gd name="connsiteX12409" fmla="*/ 7826010 w 9310410"/>
              <a:gd name="connsiteY12409" fmla="*/ 326005 h 5296383"/>
              <a:gd name="connsiteX12410" fmla="*/ 7829605 w 9310410"/>
              <a:gd name="connsiteY12410" fmla="*/ 378142 h 5296383"/>
              <a:gd name="connsiteX12411" fmla="*/ 7829605 w 9310410"/>
              <a:gd name="connsiteY12411" fmla="*/ 378142 h 5296383"/>
              <a:gd name="connsiteX12412" fmla="*/ 7829605 w 9310410"/>
              <a:gd name="connsiteY12412" fmla="*/ 378142 h 5296383"/>
              <a:gd name="connsiteX12413" fmla="*/ 7828407 w 9310410"/>
              <a:gd name="connsiteY12413" fmla="*/ 379340 h 5296383"/>
              <a:gd name="connsiteX12414" fmla="*/ 7829006 w 9310410"/>
              <a:gd name="connsiteY12414" fmla="*/ 380539 h 5296383"/>
              <a:gd name="connsiteX12415" fmla="*/ 7829605 w 9310410"/>
              <a:gd name="connsiteY12415" fmla="*/ 380539 h 5296383"/>
              <a:gd name="connsiteX12416" fmla="*/ 7829605 w 9310410"/>
              <a:gd name="connsiteY12416" fmla="*/ 380539 h 5296383"/>
              <a:gd name="connsiteX12417" fmla="*/ 7829605 w 9310410"/>
              <a:gd name="connsiteY12417" fmla="*/ 380539 h 5296383"/>
              <a:gd name="connsiteX12418" fmla="*/ 7830204 w 9310410"/>
              <a:gd name="connsiteY12418" fmla="*/ 379940 h 5296383"/>
              <a:gd name="connsiteX12419" fmla="*/ 7830804 w 9310410"/>
              <a:gd name="connsiteY12419" fmla="*/ 379340 h 5296383"/>
              <a:gd name="connsiteX12420" fmla="*/ 7830204 w 9310410"/>
              <a:gd name="connsiteY12420" fmla="*/ 378741 h 5296383"/>
              <a:gd name="connsiteX12421" fmla="*/ 7829605 w 9310410"/>
              <a:gd name="connsiteY12421" fmla="*/ 378142 h 5296383"/>
              <a:gd name="connsiteX12422" fmla="*/ 7829605 w 9310410"/>
              <a:gd name="connsiteY12422" fmla="*/ 378142 h 5296383"/>
              <a:gd name="connsiteX12423" fmla="*/ 7449665 w 9310410"/>
              <a:gd name="connsiteY12423" fmla="*/ 378142 h 5296383"/>
              <a:gd name="connsiteX12424" fmla="*/ 7449665 w 9310410"/>
              <a:gd name="connsiteY12424" fmla="*/ 378142 h 5296383"/>
              <a:gd name="connsiteX12425" fmla="*/ 7449665 w 9310410"/>
              <a:gd name="connsiteY12425" fmla="*/ 378142 h 5296383"/>
              <a:gd name="connsiteX12426" fmla="*/ 7450864 w 9310410"/>
              <a:gd name="connsiteY12426" fmla="*/ 376943 h 5296383"/>
              <a:gd name="connsiteX12427" fmla="*/ 7449665 w 9310410"/>
              <a:gd name="connsiteY12427" fmla="*/ 375745 h 5296383"/>
              <a:gd name="connsiteX12428" fmla="*/ 7449665 w 9310410"/>
              <a:gd name="connsiteY12428" fmla="*/ 375745 h 5296383"/>
              <a:gd name="connsiteX12429" fmla="*/ 7449665 w 9310410"/>
              <a:gd name="connsiteY12429" fmla="*/ 375745 h 5296383"/>
              <a:gd name="connsiteX12430" fmla="*/ 7449066 w 9310410"/>
              <a:gd name="connsiteY12430" fmla="*/ 375745 h 5296383"/>
              <a:gd name="connsiteX12431" fmla="*/ 7448467 w 9310410"/>
              <a:gd name="connsiteY12431" fmla="*/ 376943 h 5296383"/>
              <a:gd name="connsiteX12432" fmla="*/ 7449665 w 9310410"/>
              <a:gd name="connsiteY12432" fmla="*/ 378142 h 5296383"/>
              <a:gd name="connsiteX12433" fmla="*/ 7449665 w 9310410"/>
              <a:gd name="connsiteY12433" fmla="*/ 378142 h 5296383"/>
              <a:gd name="connsiteX12434" fmla="*/ 7343594 w 9310410"/>
              <a:gd name="connsiteY12434" fmla="*/ 309225 h 5296383"/>
              <a:gd name="connsiteX12435" fmla="*/ 7343594 w 9310410"/>
              <a:gd name="connsiteY12435" fmla="*/ 309225 h 5296383"/>
              <a:gd name="connsiteX12436" fmla="*/ 7343594 w 9310410"/>
              <a:gd name="connsiteY12436" fmla="*/ 309225 h 5296383"/>
              <a:gd name="connsiteX12437" fmla="*/ 7345392 w 9310410"/>
              <a:gd name="connsiteY12437" fmla="*/ 309225 h 5296383"/>
              <a:gd name="connsiteX12438" fmla="*/ 7345392 w 9310410"/>
              <a:gd name="connsiteY12438" fmla="*/ 308027 h 5296383"/>
              <a:gd name="connsiteX12439" fmla="*/ 7344193 w 9310410"/>
              <a:gd name="connsiteY12439" fmla="*/ 307428 h 5296383"/>
              <a:gd name="connsiteX12440" fmla="*/ 7339999 w 9310410"/>
              <a:gd name="connsiteY12440" fmla="*/ 308027 h 5296383"/>
              <a:gd name="connsiteX12441" fmla="*/ 7341197 w 9310410"/>
              <a:gd name="connsiteY12441" fmla="*/ 309225 h 5296383"/>
              <a:gd name="connsiteX12442" fmla="*/ 7343594 w 9310410"/>
              <a:gd name="connsiteY12442" fmla="*/ 309225 h 5296383"/>
              <a:gd name="connsiteX12443" fmla="*/ 7401124 w 9310410"/>
              <a:gd name="connsiteY12443" fmla="*/ 314020 h 5296383"/>
              <a:gd name="connsiteX12444" fmla="*/ 7401124 w 9310410"/>
              <a:gd name="connsiteY12444" fmla="*/ 314020 h 5296383"/>
              <a:gd name="connsiteX12445" fmla="*/ 7402323 w 9310410"/>
              <a:gd name="connsiteY12445" fmla="*/ 312821 h 5296383"/>
              <a:gd name="connsiteX12446" fmla="*/ 7401124 w 9310410"/>
              <a:gd name="connsiteY12446" fmla="*/ 311622 h 5296383"/>
              <a:gd name="connsiteX12447" fmla="*/ 7401124 w 9310410"/>
              <a:gd name="connsiteY12447" fmla="*/ 311622 h 5296383"/>
              <a:gd name="connsiteX12448" fmla="*/ 7401124 w 9310410"/>
              <a:gd name="connsiteY12448" fmla="*/ 311622 h 5296383"/>
              <a:gd name="connsiteX12449" fmla="*/ 7399926 w 9310410"/>
              <a:gd name="connsiteY12449" fmla="*/ 312821 h 5296383"/>
              <a:gd name="connsiteX12450" fmla="*/ 7401124 w 9310410"/>
              <a:gd name="connsiteY12450" fmla="*/ 314020 h 5296383"/>
              <a:gd name="connsiteX12451" fmla="*/ 7401124 w 9310410"/>
              <a:gd name="connsiteY12451" fmla="*/ 314020 h 5296383"/>
              <a:gd name="connsiteX12452" fmla="*/ 7338800 w 9310410"/>
              <a:gd name="connsiteY12452" fmla="*/ 296041 h 5296383"/>
              <a:gd name="connsiteX12453" fmla="*/ 7338800 w 9310410"/>
              <a:gd name="connsiteY12453" fmla="*/ 296041 h 5296383"/>
              <a:gd name="connsiteX12454" fmla="*/ 7339999 w 9310410"/>
              <a:gd name="connsiteY12454" fmla="*/ 294843 h 5296383"/>
              <a:gd name="connsiteX12455" fmla="*/ 7338800 w 9310410"/>
              <a:gd name="connsiteY12455" fmla="*/ 293644 h 5296383"/>
              <a:gd name="connsiteX12456" fmla="*/ 7338800 w 9310410"/>
              <a:gd name="connsiteY12456" fmla="*/ 293644 h 5296383"/>
              <a:gd name="connsiteX12457" fmla="*/ 7338800 w 9310410"/>
              <a:gd name="connsiteY12457" fmla="*/ 293644 h 5296383"/>
              <a:gd name="connsiteX12458" fmla="*/ 7337601 w 9310410"/>
              <a:gd name="connsiteY12458" fmla="*/ 294843 h 5296383"/>
              <a:gd name="connsiteX12459" fmla="*/ 7338800 w 9310410"/>
              <a:gd name="connsiteY12459" fmla="*/ 296041 h 5296383"/>
              <a:gd name="connsiteX12460" fmla="*/ 7338800 w 9310410"/>
              <a:gd name="connsiteY12460" fmla="*/ 296041 h 5296383"/>
              <a:gd name="connsiteX12461" fmla="*/ 7260894 w 9310410"/>
              <a:gd name="connsiteY12461" fmla="*/ 278662 h 5296383"/>
              <a:gd name="connsiteX12462" fmla="*/ 7260894 w 9310410"/>
              <a:gd name="connsiteY12462" fmla="*/ 278662 h 5296383"/>
              <a:gd name="connsiteX12463" fmla="*/ 7261494 w 9310410"/>
              <a:gd name="connsiteY12463" fmla="*/ 278063 h 5296383"/>
              <a:gd name="connsiteX12464" fmla="*/ 7262093 w 9310410"/>
              <a:gd name="connsiteY12464" fmla="*/ 277464 h 5296383"/>
              <a:gd name="connsiteX12465" fmla="*/ 7261494 w 9310410"/>
              <a:gd name="connsiteY12465" fmla="*/ 276865 h 5296383"/>
              <a:gd name="connsiteX12466" fmla="*/ 7260894 w 9310410"/>
              <a:gd name="connsiteY12466" fmla="*/ 276265 h 5296383"/>
              <a:gd name="connsiteX12467" fmla="*/ 7260894 w 9310410"/>
              <a:gd name="connsiteY12467" fmla="*/ 276265 h 5296383"/>
              <a:gd name="connsiteX12468" fmla="*/ 7260894 w 9310410"/>
              <a:gd name="connsiteY12468" fmla="*/ 276265 h 5296383"/>
              <a:gd name="connsiteX12469" fmla="*/ 7259696 w 9310410"/>
              <a:gd name="connsiteY12469" fmla="*/ 277464 h 5296383"/>
              <a:gd name="connsiteX12470" fmla="*/ 7260894 w 9310410"/>
              <a:gd name="connsiteY12470" fmla="*/ 278662 h 5296383"/>
              <a:gd name="connsiteX12471" fmla="*/ 7260894 w 9310410"/>
              <a:gd name="connsiteY12471" fmla="*/ 278662 h 5296383"/>
              <a:gd name="connsiteX12472" fmla="*/ 7221342 w 9310410"/>
              <a:gd name="connsiteY12472" fmla="*/ 256489 h 5296383"/>
              <a:gd name="connsiteX12473" fmla="*/ 7221342 w 9310410"/>
              <a:gd name="connsiteY12473" fmla="*/ 256489 h 5296383"/>
              <a:gd name="connsiteX12474" fmla="*/ 7221342 w 9310410"/>
              <a:gd name="connsiteY12474" fmla="*/ 256489 h 5296383"/>
              <a:gd name="connsiteX12475" fmla="*/ 7221342 w 9310410"/>
              <a:gd name="connsiteY12475" fmla="*/ 256489 h 5296383"/>
              <a:gd name="connsiteX12476" fmla="*/ 7222541 w 9310410"/>
              <a:gd name="connsiteY12476" fmla="*/ 255291 h 5296383"/>
              <a:gd name="connsiteX12477" fmla="*/ 7221941 w 9310410"/>
              <a:gd name="connsiteY12477" fmla="*/ 254092 h 5296383"/>
              <a:gd name="connsiteX12478" fmla="*/ 7221342 w 9310410"/>
              <a:gd name="connsiteY12478" fmla="*/ 254092 h 5296383"/>
              <a:gd name="connsiteX12479" fmla="*/ 7221342 w 9310410"/>
              <a:gd name="connsiteY12479" fmla="*/ 254092 h 5296383"/>
              <a:gd name="connsiteX12480" fmla="*/ 7221342 w 9310410"/>
              <a:gd name="connsiteY12480" fmla="*/ 254092 h 5296383"/>
              <a:gd name="connsiteX12481" fmla="*/ 7220743 w 9310410"/>
              <a:gd name="connsiteY12481" fmla="*/ 254092 h 5296383"/>
              <a:gd name="connsiteX12482" fmla="*/ 7220144 w 9310410"/>
              <a:gd name="connsiteY12482" fmla="*/ 255291 h 5296383"/>
              <a:gd name="connsiteX12483" fmla="*/ 7221342 w 9310410"/>
              <a:gd name="connsiteY12483" fmla="*/ 256489 h 5296383"/>
              <a:gd name="connsiteX12484" fmla="*/ 7221342 w 9310410"/>
              <a:gd name="connsiteY12484" fmla="*/ 256489 h 5296383"/>
              <a:gd name="connsiteX12485" fmla="*/ 7268086 w 9310410"/>
              <a:gd name="connsiteY12485" fmla="*/ 275067 h 5296383"/>
              <a:gd name="connsiteX12486" fmla="*/ 7268086 w 9310410"/>
              <a:gd name="connsiteY12486" fmla="*/ 275067 h 5296383"/>
              <a:gd name="connsiteX12487" fmla="*/ 7269284 w 9310410"/>
              <a:gd name="connsiteY12487" fmla="*/ 272670 h 5296383"/>
              <a:gd name="connsiteX12488" fmla="*/ 7268685 w 9310410"/>
              <a:gd name="connsiteY12488" fmla="*/ 270872 h 5296383"/>
              <a:gd name="connsiteX12489" fmla="*/ 7268086 w 9310410"/>
              <a:gd name="connsiteY12489" fmla="*/ 270872 h 5296383"/>
              <a:gd name="connsiteX12490" fmla="*/ 7268086 w 9310410"/>
              <a:gd name="connsiteY12490" fmla="*/ 275067 h 5296383"/>
              <a:gd name="connsiteX12491" fmla="*/ 7268086 w 9310410"/>
              <a:gd name="connsiteY12491" fmla="*/ 275067 h 5296383"/>
              <a:gd name="connsiteX12492" fmla="*/ 7289659 w 9310410"/>
              <a:gd name="connsiteY12492" fmla="*/ 298438 h 5296383"/>
              <a:gd name="connsiteX12493" fmla="*/ 7289659 w 9310410"/>
              <a:gd name="connsiteY12493" fmla="*/ 298438 h 5296383"/>
              <a:gd name="connsiteX12494" fmla="*/ 7290258 w 9310410"/>
              <a:gd name="connsiteY12494" fmla="*/ 298438 h 5296383"/>
              <a:gd name="connsiteX12495" fmla="*/ 7290258 w 9310410"/>
              <a:gd name="connsiteY12495" fmla="*/ 297839 h 5296383"/>
              <a:gd name="connsiteX12496" fmla="*/ 7289659 w 9310410"/>
              <a:gd name="connsiteY12496" fmla="*/ 296641 h 5296383"/>
              <a:gd name="connsiteX12497" fmla="*/ 7288461 w 9310410"/>
              <a:gd name="connsiteY12497" fmla="*/ 295442 h 5296383"/>
              <a:gd name="connsiteX12498" fmla="*/ 7287861 w 9310410"/>
              <a:gd name="connsiteY12498" fmla="*/ 295442 h 5296383"/>
              <a:gd name="connsiteX12499" fmla="*/ 7287262 w 9310410"/>
              <a:gd name="connsiteY12499" fmla="*/ 296041 h 5296383"/>
              <a:gd name="connsiteX12500" fmla="*/ 7287861 w 9310410"/>
              <a:gd name="connsiteY12500" fmla="*/ 297240 h 5296383"/>
              <a:gd name="connsiteX12501" fmla="*/ 7289659 w 9310410"/>
              <a:gd name="connsiteY12501" fmla="*/ 298438 h 5296383"/>
              <a:gd name="connsiteX12502" fmla="*/ 7289659 w 9310410"/>
              <a:gd name="connsiteY12502" fmla="*/ 298438 h 5296383"/>
              <a:gd name="connsiteX12503" fmla="*/ 8913092 w 9310410"/>
              <a:gd name="connsiteY12503" fmla="*/ 3037121 h 5296383"/>
              <a:gd name="connsiteX12504" fmla="*/ 8913092 w 9310410"/>
              <a:gd name="connsiteY12504" fmla="*/ 3037121 h 5296383"/>
              <a:gd name="connsiteX12505" fmla="*/ 8913092 w 9310410"/>
              <a:gd name="connsiteY12505" fmla="*/ 3037121 h 5296383"/>
              <a:gd name="connsiteX12506" fmla="*/ 8911893 w 9310410"/>
              <a:gd name="connsiteY12506" fmla="*/ 3038319 h 5296383"/>
              <a:gd name="connsiteX12507" fmla="*/ 8913092 w 9310410"/>
              <a:gd name="connsiteY12507" fmla="*/ 3039518 h 5296383"/>
              <a:gd name="connsiteX12508" fmla="*/ 8913092 w 9310410"/>
              <a:gd name="connsiteY12508" fmla="*/ 3039518 h 5296383"/>
              <a:gd name="connsiteX12509" fmla="*/ 8913092 w 9310410"/>
              <a:gd name="connsiteY12509" fmla="*/ 3039518 h 5296383"/>
              <a:gd name="connsiteX12510" fmla="*/ 8914291 w 9310410"/>
              <a:gd name="connsiteY12510" fmla="*/ 3038319 h 5296383"/>
              <a:gd name="connsiteX12511" fmla="*/ 8913092 w 9310410"/>
              <a:gd name="connsiteY12511" fmla="*/ 3037121 h 5296383"/>
              <a:gd name="connsiteX12512" fmla="*/ 8945453 w 9310410"/>
              <a:gd name="connsiteY12512" fmla="*/ 3076073 h 5296383"/>
              <a:gd name="connsiteX12513" fmla="*/ 8945453 w 9310410"/>
              <a:gd name="connsiteY12513" fmla="*/ 3076073 h 5296383"/>
              <a:gd name="connsiteX12514" fmla="*/ 8945453 w 9310410"/>
              <a:gd name="connsiteY12514" fmla="*/ 3076073 h 5296383"/>
              <a:gd name="connsiteX12515" fmla="*/ 8946052 w 9310410"/>
              <a:gd name="connsiteY12515" fmla="*/ 3075474 h 5296383"/>
              <a:gd name="connsiteX12516" fmla="*/ 8946652 w 9310410"/>
              <a:gd name="connsiteY12516" fmla="*/ 3074875 h 5296383"/>
              <a:gd name="connsiteX12517" fmla="*/ 8946052 w 9310410"/>
              <a:gd name="connsiteY12517" fmla="*/ 3074276 h 5296383"/>
              <a:gd name="connsiteX12518" fmla="*/ 8945453 w 9310410"/>
              <a:gd name="connsiteY12518" fmla="*/ 3073676 h 5296383"/>
              <a:gd name="connsiteX12519" fmla="*/ 8945453 w 9310410"/>
              <a:gd name="connsiteY12519" fmla="*/ 3073676 h 5296383"/>
              <a:gd name="connsiteX12520" fmla="*/ 8945453 w 9310410"/>
              <a:gd name="connsiteY12520" fmla="*/ 3073676 h 5296383"/>
              <a:gd name="connsiteX12521" fmla="*/ 8944254 w 9310410"/>
              <a:gd name="connsiteY12521" fmla="*/ 3074875 h 5296383"/>
              <a:gd name="connsiteX12522" fmla="*/ 8945453 w 9310410"/>
              <a:gd name="connsiteY12522" fmla="*/ 3076073 h 5296383"/>
              <a:gd name="connsiteX12523" fmla="*/ 8955641 w 9310410"/>
              <a:gd name="connsiteY12523" fmla="*/ 3076673 h 5296383"/>
              <a:gd name="connsiteX12524" fmla="*/ 8955641 w 9310410"/>
              <a:gd name="connsiteY12524" fmla="*/ 3076673 h 5296383"/>
              <a:gd name="connsiteX12525" fmla="*/ 8955641 w 9310410"/>
              <a:gd name="connsiteY12525" fmla="*/ 3076673 h 5296383"/>
              <a:gd name="connsiteX12526" fmla="*/ 8956240 w 9310410"/>
              <a:gd name="connsiteY12526" fmla="*/ 3076073 h 5296383"/>
              <a:gd name="connsiteX12527" fmla="*/ 8956839 w 9310410"/>
              <a:gd name="connsiteY12527" fmla="*/ 3075474 h 5296383"/>
              <a:gd name="connsiteX12528" fmla="*/ 8956240 w 9310410"/>
              <a:gd name="connsiteY12528" fmla="*/ 3074875 h 5296383"/>
              <a:gd name="connsiteX12529" fmla="*/ 8955641 w 9310410"/>
              <a:gd name="connsiteY12529" fmla="*/ 3074276 h 5296383"/>
              <a:gd name="connsiteX12530" fmla="*/ 8955641 w 9310410"/>
              <a:gd name="connsiteY12530" fmla="*/ 3074276 h 5296383"/>
              <a:gd name="connsiteX12531" fmla="*/ 8955641 w 9310410"/>
              <a:gd name="connsiteY12531" fmla="*/ 3074276 h 5296383"/>
              <a:gd name="connsiteX12532" fmla="*/ 8954442 w 9310410"/>
              <a:gd name="connsiteY12532" fmla="*/ 3075474 h 5296383"/>
              <a:gd name="connsiteX12533" fmla="*/ 8955641 w 9310410"/>
              <a:gd name="connsiteY12533" fmla="*/ 3076673 h 5296383"/>
              <a:gd name="connsiteX12534" fmla="*/ 8914890 w 9310410"/>
              <a:gd name="connsiteY12534" fmla="*/ 3060492 h 5296383"/>
              <a:gd name="connsiteX12535" fmla="*/ 8914890 w 9310410"/>
              <a:gd name="connsiteY12535" fmla="*/ 3060492 h 5296383"/>
              <a:gd name="connsiteX12536" fmla="*/ 8914890 w 9310410"/>
              <a:gd name="connsiteY12536" fmla="*/ 3060492 h 5296383"/>
              <a:gd name="connsiteX12537" fmla="*/ 8916089 w 9310410"/>
              <a:gd name="connsiteY12537" fmla="*/ 3059294 h 5296383"/>
              <a:gd name="connsiteX12538" fmla="*/ 8914890 w 9310410"/>
              <a:gd name="connsiteY12538" fmla="*/ 3058095 h 5296383"/>
              <a:gd name="connsiteX12539" fmla="*/ 8914890 w 9310410"/>
              <a:gd name="connsiteY12539" fmla="*/ 3058095 h 5296383"/>
              <a:gd name="connsiteX12540" fmla="*/ 8914890 w 9310410"/>
              <a:gd name="connsiteY12540" fmla="*/ 3058095 h 5296383"/>
              <a:gd name="connsiteX12541" fmla="*/ 8913691 w 9310410"/>
              <a:gd name="connsiteY12541" fmla="*/ 3059294 h 5296383"/>
              <a:gd name="connsiteX12542" fmla="*/ 8914890 w 9310410"/>
              <a:gd name="connsiteY12542" fmla="*/ 3060492 h 5296383"/>
              <a:gd name="connsiteX12543" fmla="*/ 8898110 w 9310410"/>
              <a:gd name="connsiteY12543" fmla="*/ 3080868 h 5296383"/>
              <a:gd name="connsiteX12544" fmla="*/ 8898110 w 9310410"/>
              <a:gd name="connsiteY12544" fmla="*/ 3080868 h 5296383"/>
              <a:gd name="connsiteX12545" fmla="*/ 8896911 w 9310410"/>
              <a:gd name="connsiteY12545" fmla="*/ 3082066 h 5296383"/>
              <a:gd name="connsiteX12546" fmla="*/ 8898110 w 9310410"/>
              <a:gd name="connsiteY12546" fmla="*/ 3083265 h 5296383"/>
              <a:gd name="connsiteX12547" fmla="*/ 8898110 w 9310410"/>
              <a:gd name="connsiteY12547" fmla="*/ 3083265 h 5296383"/>
              <a:gd name="connsiteX12548" fmla="*/ 8898110 w 9310410"/>
              <a:gd name="connsiteY12548" fmla="*/ 3083265 h 5296383"/>
              <a:gd name="connsiteX12549" fmla="*/ 8899309 w 9310410"/>
              <a:gd name="connsiteY12549" fmla="*/ 3082066 h 5296383"/>
              <a:gd name="connsiteX12550" fmla="*/ 8898110 w 9310410"/>
              <a:gd name="connsiteY12550" fmla="*/ 3080868 h 5296383"/>
              <a:gd name="connsiteX12551" fmla="*/ 8898110 w 9310410"/>
              <a:gd name="connsiteY12551" fmla="*/ 3080868 h 5296383"/>
              <a:gd name="connsiteX12552" fmla="*/ 8891519 w 9310410"/>
              <a:gd name="connsiteY12552" fmla="*/ 3097647 h 5296383"/>
              <a:gd name="connsiteX12553" fmla="*/ 8891519 w 9310410"/>
              <a:gd name="connsiteY12553" fmla="*/ 3097647 h 5296383"/>
              <a:gd name="connsiteX12554" fmla="*/ 8890320 w 9310410"/>
              <a:gd name="connsiteY12554" fmla="*/ 3098846 h 5296383"/>
              <a:gd name="connsiteX12555" fmla="*/ 8891519 w 9310410"/>
              <a:gd name="connsiteY12555" fmla="*/ 3100044 h 5296383"/>
              <a:gd name="connsiteX12556" fmla="*/ 8891519 w 9310410"/>
              <a:gd name="connsiteY12556" fmla="*/ 3100044 h 5296383"/>
              <a:gd name="connsiteX12557" fmla="*/ 8891519 w 9310410"/>
              <a:gd name="connsiteY12557" fmla="*/ 3100044 h 5296383"/>
              <a:gd name="connsiteX12558" fmla="*/ 8892717 w 9310410"/>
              <a:gd name="connsiteY12558" fmla="*/ 3098846 h 5296383"/>
              <a:gd name="connsiteX12559" fmla="*/ 8891519 w 9310410"/>
              <a:gd name="connsiteY12559" fmla="*/ 3097647 h 5296383"/>
              <a:gd name="connsiteX12560" fmla="*/ 8891519 w 9310410"/>
              <a:gd name="connsiteY12560" fmla="*/ 3097647 h 5296383"/>
              <a:gd name="connsiteX12561" fmla="*/ 8897511 w 9310410"/>
              <a:gd name="connsiteY12561" fmla="*/ 3068882 h 5296383"/>
              <a:gd name="connsiteX12562" fmla="*/ 8897511 w 9310410"/>
              <a:gd name="connsiteY12562" fmla="*/ 3068882 h 5296383"/>
              <a:gd name="connsiteX12563" fmla="*/ 8898710 w 9310410"/>
              <a:gd name="connsiteY12563" fmla="*/ 3067683 h 5296383"/>
              <a:gd name="connsiteX12564" fmla="*/ 8897511 w 9310410"/>
              <a:gd name="connsiteY12564" fmla="*/ 3066485 h 5296383"/>
              <a:gd name="connsiteX12565" fmla="*/ 8897511 w 9310410"/>
              <a:gd name="connsiteY12565" fmla="*/ 3066485 h 5296383"/>
              <a:gd name="connsiteX12566" fmla="*/ 8897511 w 9310410"/>
              <a:gd name="connsiteY12566" fmla="*/ 3066485 h 5296383"/>
              <a:gd name="connsiteX12567" fmla="*/ 8896312 w 9310410"/>
              <a:gd name="connsiteY12567" fmla="*/ 3067683 h 5296383"/>
              <a:gd name="connsiteX12568" fmla="*/ 8897511 w 9310410"/>
              <a:gd name="connsiteY12568" fmla="*/ 3068882 h 5296383"/>
              <a:gd name="connsiteX12569" fmla="*/ 8897511 w 9310410"/>
              <a:gd name="connsiteY12569" fmla="*/ 3068882 h 5296383"/>
              <a:gd name="connsiteX12570" fmla="*/ 8883728 w 9310410"/>
              <a:gd name="connsiteY12570" fmla="*/ 3094651 h 5296383"/>
              <a:gd name="connsiteX12571" fmla="*/ 8883728 w 9310410"/>
              <a:gd name="connsiteY12571" fmla="*/ 3094651 h 5296383"/>
              <a:gd name="connsiteX12572" fmla="*/ 8883728 w 9310410"/>
              <a:gd name="connsiteY12572" fmla="*/ 3094651 h 5296383"/>
              <a:gd name="connsiteX12573" fmla="*/ 8882529 w 9310410"/>
              <a:gd name="connsiteY12573" fmla="*/ 3095849 h 5296383"/>
              <a:gd name="connsiteX12574" fmla="*/ 8883728 w 9310410"/>
              <a:gd name="connsiteY12574" fmla="*/ 3097048 h 5296383"/>
              <a:gd name="connsiteX12575" fmla="*/ 8883728 w 9310410"/>
              <a:gd name="connsiteY12575" fmla="*/ 3097048 h 5296383"/>
              <a:gd name="connsiteX12576" fmla="*/ 8883728 w 9310410"/>
              <a:gd name="connsiteY12576" fmla="*/ 3097048 h 5296383"/>
              <a:gd name="connsiteX12577" fmla="*/ 8884327 w 9310410"/>
              <a:gd name="connsiteY12577" fmla="*/ 3097048 h 5296383"/>
              <a:gd name="connsiteX12578" fmla="*/ 8884926 w 9310410"/>
              <a:gd name="connsiteY12578" fmla="*/ 3095849 h 5296383"/>
              <a:gd name="connsiteX12579" fmla="*/ 8883728 w 9310410"/>
              <a:gd name="connsiteY12579" fmla="*/ 3094651 h 5296383"/>
              <a:gd name="connsiteX12580" fmla="*/ 8883728 w 9310410"/>
              <a:gd name="connsiteY12580" fmla="*/ 3094651 h 5296383"/>
              <a:gd name="connsiteX12581" fmla="*/ 9074896 w 9310410"/>
              <a:gd name="connsiteY12581" fmla="*/ 3180347 h 5296383"/>
              <a:gd name="connsiteX12582" fmla="*/ 9074896 w 9310410"/>
              <a:gd name="connsiteY12582" fmla="*/ 3180347 h 5296383"/>
              <a:gd name="connsiteX12583" fmla="*/ 9074896 w 9310410"/>
              <a:gd name="connsiteY12583" fmla="*/ 3180347 h 5296383"/>
              <a:gd name="connsiteX12584" fmla="*/ 9076095 w 9310410"/>
              <a:gd name="connsiteY12584" fmla="*/ 3179149 h 5296383"/>
              <a:gd name="connsiteX12585" fmla="*/ 9074896 w 9310410"/>
              <a:gd name="connsiteY12585" fmla="*/ 3177950 h 5296383"/>
              <a:gd name="connsiteX12586" fmla="*/ 9074896 w 9310410"/>
              <a:gd name="connsiteY12586" fmla="*/ 3177950 h 5296383"/>
              <a:gd name="connsiteX12587" fmla="*/ 9074896 w 9310410"/>
              <a:gd name="connsiteY12587" fmla="*/ 3177950 h 5296383"/>
              <a:gd name="connsiteX12588" fmla="*/ 9073697 w 9310410"/>
              <a:gd name="connsiteY12588" fmla="*/ 3179149 h 5296383"/>
              <a:gd name="connsiteX12589" fmla="*/ 9074896 w 9310410"/>
              <a:gd name="connsiteY12589" fmla="*/ 3180347 h 5296383"/>
              <a:gd name="connsiteX12590" fmla="*/ 9100065 w 9310410"/>
              <a:gd name="connsiteY12590" fmla="*/ 3197127 h 5296383"/>
              <a:gd name="connsiteX12591" fmla="*/ 9100065 w 9310410"/>
              <a:gd name="connsiteY12591" fmla="*/ 3197127 h 5296383"/>
              <a:gd name="connsiteX12592" fmla="*/ 9100065 w 9310410"/>
              <a:gd name="connsiteY12592" fmla="*/ 3197127 h 5296383"/>
              <a:gd name="connsiteX12593" fmla="*/ 9100065 w 9310410"/>
              <a:gd name="connsiteY12593" fmla="*/ 3197127 h 5296383"/>
              <a:gd name="connsiteX12594" fmla="*/ 9101264 w 9310410"/>
              <a:gd name="connsiteY12594" fmla="*/ 3195928 h 5296383"/>
              <a:gd name="connsiteX12595" fmla="*/ 9100065 w 9310410"/>
              <a:gd name="connsiteY12595" fmla="*/ 3194730 h 5296383"/>
              <a:gd name="connsiteX12596" fmla="*/ 9100065 w 9310410"/>
              <a:gd name="connsiteY12596" fmla="*/ 3194730 h 5296383"/>
              <a:gd name="connsiteX12597" fmla="*/ 9100065 w 9310410"/>
              <a:gd name="connsiteY12597" fmla="*/ 3194730 h 5296383"/>
              <a:gd name="connsiteX12598" fmla="*/ 9099466 w 9310410"/>
              <a:gd name="connsiteY12598" fmla="*/ 3194730 h 5296383"/>
              <a:gd name="connsiteX12599" fmla="*/ 9098867 w 9310410"/>
              <a:gd name="connsiteY12599" fmla="*/ 3195928 h 5296383"/>
              <a:gd name="connsiteX12600" fmla="*/ 9100065 w 9310410"/>
              <a:gd name="connsiteY12600" fmla="*/ 3197127 h 5296383"/>
              <a:gd name="connsiteX12601" fmla="*/ 9095272 w 9310410"/>
              <a:gd name="connsiteY12601" fmla="*/ 3191134 h 5296383"/>
              <a:gd name="connsiteX12602" fmla="*/ 9095272 w 9310410"/>
              <a:gd name="connsiteY12602" fmla="*/ 3191134 h 5296383"/>
              <a:gd name="connsiteX12603" fmla="*/ 9095272 w 9310410"/>
              <a:gd name="connsiteY12603" fmla="*/ 3191134 h 5296383"/>
              <a:gd name="connsiteX12604" fmla="*/ 9096470 w 9310410"/>
              <a:gd name="connsiteY12604" fmla="*/ 3189935 h 5296383"/>
              <a:gd name="connsiteX12605" fmla="*/ 9095272 w 9310410"/>
              <a:gd name="connsiteY12605" fmla="*/ 3188737 h 5296383"/>
              <a:gd name="connsiteX12606" fmla="*/ 9095272 w 9310410"/>
              <a:gd name="connsiteY12606" fmla="*/ 3188737 h 5296383"/>
              <a:gd name="connsiteX12607" fmla="*/ 9095272 w 9310410"/>
              <a:gd name="connsiteY12607" fmla="*/ 3188737 h 5296383"/>
              <a:gd name="connsiteX12608" fmla="*/ 9094073 w 9310410"/>
              <a:gd name="connsiteY12608" fmla="*/ 3189935 h 5296383"/>
              <a:gd name="connsiteX12609" fmla="*/ 9095272 w 9310410"/>
              <a:gd name="connsiteY12609" fmla="*/ 3191134 h 5296383"/>
              <a:gd name="connsiteX12610" fmla="*/ 9224715 w 9310410"/>
              <a:gd name="connsiteY12610" fmla="*/ 3292411 h 5296383"/>
              <a:gd name="connsiteX12611" fmla="*/ 9224715 w 9310410"/>
              <a:gd name="connsiteY12611" fmla="*/ 3292411 h 5296383"/>
              <a:gd name="connsiteX12612" fmla="*/ 9224715 w 9310410"/>
              <a:gd name="connsiteY12612" fmla="*/ 3292411 h 5296383"/>
              <a:gd name="connsiteX12613" fmla="*/ 9225314 w 9310410"/>
              <a:gd name="connsiteY12613" fmla="*/ 3291812 h 5296383"/>
              <a:gd name="connsiteX12614" fmla="*/ 9225913 w 9310410"/>
              <a:gd name="connsiteY12614" fmla="*/ 3291213 h 5296383"/>
              <a:gd name="connsiteX12615" fmla="*/ 9225314 w 9310410"/>
              <a:gd name="connsiteY12615" fmla="*/ 3290613 h 5296383"/>
              <a:gd name="connsiteX12616" fmla="*/ 9224715 w 9310410"/>
              <a:gd name="connsiteY12616" fmla="*/ 3290014 h 5296383"/>
              <a:gd name="connsiteX12617" fmla="*/ 9224715 w 9310410"/>
              <a:gd name="connsiteY12617" fmla="*/ 3290014 h 5296383"/>
              <a:gd name="connsiteX12618" fmla="*/ 9224715 w 9310410"/>
              <a:gd name="connsiteY12618" fmla="*/ 3290014 h 5296383"/>
              <a:gd name="connsiteX12619" fmla="*/ 9223516 w 9310410"/>
              <a:gd name="connsiteY12619" fmla="*/ 3291213 h 5296383"/>
              <a:gd name="connsiteX12620" fmla="*/ 9224715 w 9310410"/>
              <a:gd name="connsiteY12620" fmla="*/ 3292411 h 5296383"/>
              <a:gd name="connsiteX12621" fmla="*/ 9310410 w 9310410"/>
              <a:gd name="connsiteY12621" fmla="*/ 3266642 h 5296383"/>
              <a:gd name="connsiteX12622" fmla="*/ 9309811 w 9310410"/>
              <a:gd name="connsiteY12622" fmla="*/ 3265444 h 5296383"/>
              <a:gd name="connsiteX12623" fmla="*/ 9309212 w 9310410"/>
              <a:gd name="connsiteY12623" fmla="*/ 3265444 h 5296383"/>
              <a:gd name="connsiteX12624" fmla="*/ 9309212 w 9310410"/>
              <a:gd name="connsiteY12624" fmla="*/ 3265444 h 5296383"/>
              <a:gd name="connsiteX12625" fmla="*/ 9309212 w 9310410"/>
              <a:gd name="connsiteY12625" fmla="*/ 3265444 h 5296383"/>
              <a:gd name="connsiteX12626" fmla="*/ 9308014 w 9310410"/>
              <a:gd name="connsiteY12626" fmla="*/ 3266642 h 5296383"/>
              <a:gd name="connsiteX12627" fmla="*/ 9309212 w 9310410"/>
              <a:gd name="connsiteY12627" fmla="*/ 3267841 h 5296383"/>
              <a:gd name="connsiteX12628" fmla="*/ 9309212 w 9310410"/>
              <a:gd name="connsiteY12628" fmla="*/ 3267841 h 5296383"/>
              <a:gd name="connsiteX12629" fmla="*/ 9309212 w 9310410"/>
              <a:gd name="connsiteY12629" fmla="*/ 3267841 h 5296383"/>
              <a:gd name="connsiteX12630" fmla="*/ 9309811 w 9310410"/>
              <a:gd name="connsiteY12630" fmla="*/ 3267841 h 5296383"/>
              <a:gd name="connsiteX12631" fmla="*/ 9310410 w 9310410"/>
              <a:gd name="connsiteY12631" fmla="*/ 3266642 h 5296383"/>
              <a:gd name="connsiteX12632" fmla="*/ 9308613 w 9310410"/>
              <a:gd name="connsiteY12632" fmla="*/ 3256455 h 5296383"/>
              <a:gd name="connsiteX12633" fmla="*/ 9307414 w 9310410"/>
              <a:gd name="connsiteY12633" fmla="*/ 3255256 h 5296383"/>
              <a:gd name="connsiteX12634" fmla="*/ 9307414 w 9310410"/>
              <a:gd name="connsiteY12634" fmla="*/ 3255256 h 5296383"/>
              <a:gd name="connsiteX12635" fmla="*/ 9307414 w 9310410"/>
              <a:gd name="connsiteY12635" fmla="*/ 3255256 h 5296383"/>
              <a:gd name="connsiteX12636" fmla="*/ 9306815 w 9310410"/>
              <a:gd name="connsiteY12636" fmla="*/ 3255856 h 5296383"/>
              <a:gd name="connsiteX12637" fmla="*/ 9306216 w 9310410"/>
              <a:gd name="connsiteY12637" fmla="*/ 3256455 h 5296383"/>
              <a:gd name="connsiteX12638" fmla="*/ 9306815 w 9310410"/>
              <a:gd name="connsiteY12638" fmla="*/ 3257054 h 5296383"/>
              <a:gd name="connsiteX12639" fmla="*/ 9307414 w 9310410"/>
              <a:gd name="connsiteY12639" fmla="*/ 3257653 h 5296383"/>
              <a:gd name="connsiteX12640" fmla="*/ 9307414 w 9310410"/>
              <a:gd name="connsiteY12640" fmla="*/ 3257653 h 5296383"/>
              <a:gd name="connsiteX12641" fmla="*/ 9307414 w 9310410"/>
              <a:gd name="connsiteY12641" fmla="*/ 3257653 h 5296383"/>
              <a:gd name="connsiteX12642" fmla="*/ 9308613 w 9310410"/>
              <a:gd name="connsiteY12642" fmla="*/ 3256455 h 5296383"/>
              <a:gd name="connsiteX12643" fmla="*/ 8844176 w 9310410"/>
              <a:gd name="connsiteY12643" fmla="*/ 4143980 h 5296383"/>
              <a:gd name="connsiteX12644" fmla="*/ 8841779 w 9310410"/>
              <a:gd name="connsiteY12644" fmla="*/ 4143980 h 5296383"/>
              <a:gd name="connsiteX12645" fmla="*/ 8840580 w 9310410"/>
              <a:gd name="connsiteY12645" fmla="*/ 4143980 h 5296383"/>
              <a:gd name="connsiteX12646" fmla="*/ 8839381 w 9310410"/>
              <a:gd name="connsiteY12646" fmla="*/ 4146377 h 5296383"/>
              <a:gd name="connsiteX12647" fmla="*/ 8839381 w 9310410"/>
              <a:gd name="connsiteY12647" fmla="*/ 4146377 h 5296383"/>
              <a:gd name="connsiteX12648" fmla="*/ 8839381 w 9310410"/>
              <a:gd name="connsiteY12648" fmla="*/ 4146377 h 5296383"/>
              <a:gd name="connsiteX12649" fmla="*/ 8841779 w 9310410"/>
              <a:gd name="connsiteY12649" fmla="*/ 4146377 h 5296383"/>
              <a:gd name="connsiteX12650" fmla="*/ 8842977 w 9310410"/>
              <a:gd name="connsiteY12650" fmla="*/ 4146377 h 5296383"/>
              <a:gd name="connsiteX12651" fmla="*/ 8845374 w 9310410"/>
              <a:gd name="connsiteY12651" fmla="*/ 4145777 h 5296383"/>
              <a:gd name="connsiteX12652" fmla="*/ 8844176 w 9310410"/>
              <a:gd name="connsiteY12652" fmla="*/ 4143980 h 5296383"/>
              <a:gd name="connsiteX12653" fmla="*/ 8686566 w 9310410"/>
              <a:gd name="connsiteY12653" fmla="*/ 4268629 h 5296383"/>
              <a:gd name="connsiteX12654" fmla="*/ 8686566 w 9310410"/>
              <a:gd name="connsiteY12654" fmla="*/ 4268629 h 5296383"/>
              <a:gd name="connsiteX12655" fmla="*/ 8686566 w 9310410"/>
              <a:gd name="connsiteY12655" fmla="*/ 4268629 h 5296383"/>
              <a:gd name="connsiteX12656" fmla="*/ 8685368 w 9310410"/>
              <a:gd name="connsiteY12656" fmla="*/ 4269827 h 5296383"/>
              <a:gd name="connsiteX12657" fmla="*/ 8686566 w 9310410"/>
              <a:gd name="connsiteY12657" fmla="*/ 4271026 h 5296383"/>
              <a:gd name="connsiteX12658" fmla="*/ 8686566 w 9310410"/>
              <a:gd name="connsiteY12658" fmla="*/ 4271026 h 5296383"/>
              <a:gd name="connsiteX12659" fmla="*/ 8686566 w 9310410"/>
              <a:gd name="connsiteY12659" fmla="*/ 4271026 h 5296383"/>
              <a:gd name="connsiteX12660" fmla="*/ 8687765 w 9310410"/>
              <a:gd name="connsiteY12660" fmla="*/ 4269827 h 5296383"/>
              <a:gd name="connsiteX12661" fmla="*/ 8686566 w 9310410"/>
              <a:gd name="connsiteY12661" fmla="*/ 4268629 h 5296383"/>
              <a:gd name="connsiteX12662" fmla="*/ 8153213 w 9310410"/>
              <a:gd name="connsiteY12662" fmla="*/ 3185740 h 5296383"/>
              <a:gd name="connsiteX12663" fmla="*/ 8153213 w 9310410"/>
              <a:gd name="connsiteY12663" fmla="*/ 3185740 h 5296383"/>
              <a:gd name="connsiteX12664" fmla="*/ 8155011 w 9310410"/>
              <a:gd name="connsiteY12664" fmla="*/ 3183943 h 5296383"/>
              <a:gd name="connsiteX12665" fmla="*/ 8155011 w 9310410"/>
              <a:gd name="connsiteY12665" fmla="*/ 3180946 h 5296383"/>
              <a:gd name="connsiteX12666" fmla="*/ 8153812 w 9310410"/>
              <a:gd name="connsiteY12666" fmla="*/ 3181545 h 5296383"/>
              <a:gd name="connsiteX12667" fmla="*/ 8153213 w 9310410"/>
              <a:gd name="connsiteY12667" fmla="*/ 3185740 h 5296383"/>
              <a:gd name="connsiteX12668" fmla="*/ 8153213 w 9310410"/>
              <a:gd name="connsiteY12668" fmla="*/ 3185740 h 5296383"/>
              <a:gd name="connsiteX12669" fmla="*/ 8147220 w 9310410"/>
              <a:gd name="connsiteY12669" fmla="*/ 3182145 h 5296383"/>
              <a:gd name="connsiteX12670" fmla="*/ 8148419 w 9310410"/>
              <a:gd name="connsiteY12670" fmla="*/ 3182145 h 5296383"/>
              <a:gd name="connsiteX12671" fmla="*/ 8151416 w 9310410"/>
              <a:gd name="connsiteY12671" fmla="*/ 3179748 h 5296383"/>
              <a:gd name="connsiteX12672" fmla="*/ 8153213 w 9310410"/>
              <a:gd name="connsiteY12672" fmla="*/ 3174354 h 5296383"/>
              <a:gd name="connsiteX12673" fmla="*/ 8153213 w 9310410"/>
              <a:gd name="connsiteY12673" fmla="*/ 3174354 h 5296383"/>
              <a:gd name="connsiteX12674" fmla="*/ 8153213 w 9310410"/>
              <a:gd name="connsiteY12674" fmla="*/ 3174354 h 5296383"/>
              <a:gd name="connsiteX12675" fmla="*/ 8147220 w 9310410"/>
              <a:gd name="connsiteY12675" fmla="*/ 3182145 h 5296383"/>
              <a:gd name="connsiteX12676" fmla="*/ 1883010 w 9310410"/>
              <a:gd name="connsiteY12676" fmla="*/ 684970 h 5296383"/>
              <a:gd name="connsiteX12677" fmla="*/ 1883010 w 9310410"/>
              <a:gd name="connsiteY12677" fmla="*/ 684970 h 5296383"/>
              <a:gd name="connsiteX12678" fmla="*/ 1883010 w 9310410"/>
              <a:gd name="connsiteY12678" fmla="*/ 684970 h 5296383"/>
              <a:gd name="connsiteX12679" fmla="*/ 1881212 w 9310410"/>
              <a:gd name="connsiteY12679" fmla="*/ 681375 h 5296383"/>
              <a:gd name="connsiteX12680" fmla="*/ 1880013 w 9310410"/>
              <a:gd name="connsiteY12680" fmla="*/ 681974 h 5296383"/>
              <a:gd name="connsiteX12681" fmla="*/ 1879414 w 9310410"/>
              <a:gd name="connsiteY12681" fmla="*/ 682573 h 5296383"/>
              <a:gd name="connsiteX12682" fmla="*/ 1883010 w 9310410"/>
              <a:gd name="connsiteY12682" fmla="*/ 684970 h 5296383"/>
              <a:gd name="connsiteX12683" fmla="*/ 1308905 w 9310410"/>
              <a:gd name="connsiteY12683" fmla="*/ 720327 h 5296383"/>
              <a:gd name="connsiteX12684" fmla="*/ 1308905 w 9310410"/>
              <a:gd name="connsiteY12684" fmla="*/ 720327 h 5296383"/>
              <a:gd name="connsiteX12685" fmla="*/ 1308905 w 9310410"/>
              <a:gd name="connsiteY12685" fmla="*/ 720327 h 5296383"/>
              <a:gd name="connsiteX12686" fmla="*/ 1308905 w 9310410"/>
              <a:gd name="connsiteY12686" fmla="*/ 722724 h 5296383"/>
              <a:gd name="connsiteX12687" fmla="*/ 1308905 w 9310410"/>
              <a:gd name="connsiteY12687" fmla="*/ 723324 h 5296383"/>
              <a:gd name="connsiteX12688" fmla="*/ 1310104 w 9310410"/>
              <a:gd name="connsiteY12688" fmla="*/ 723324 h 5296383"/>
              <a:gd name="connsiteX12689" fmla="*/ 1310104 w 9310410"/>
              <a:gd name="connsiteY12689" fmla="*/ 723324 h 5296383"/>
              <a:gd name="connsiteX12690" fmla="*/ 1310104 w 9310410"/>
              <a:gd name="connsiteY12690" fmla="*/ 723324 h 5296383"/>
              <a:gd name="connsiteX12691" fmla="*/ 1308905 w 9310410"/>
              <a:gd name="connsiteY12691" fmla="*/ 720327 h 5296383"/>
              <a:gd name="connsiteX12692" fmla="*/ 9046730 w 9310410"/>
              <a:gd name="connsiteY12692" fmla="*/ 3141994 h 5296383"/>
              <a:gd name="connsiteX12693" fmla="*/ 9046730 w 9310410"/>
              <a:gd name="connsiteY12693" fmla="*/ 3141994 h 5296383"/>
              <a:gd name="connsiteX12694" fmla="*/ 9046730 w 9310410"/>
              <a:gd name="connsiteY12694" fmla="*/ 3141994 h 5296383"/>
              <a:gd name="connsiteX12695" fmla="*/ 9046730 w 9310410"/>
              <a:gd name="connsiteY12695" fmla="*/ 3141994 h 5296383"/>
              <a:gd name="connsiteX12696" fmla="*/ 9047929 w 9310410"/>
              <a:gd name="connsiteY12696" fmla="*/ 3140795 h 5296383"/>
              <a:gd name="connsiteX12697" fmla="*/ 9046730 w 9310410"/>
              <a:gd name="connsiteY12697" fmla="*/ 3139596 h 5296383"/>
              <a:gd name="connsiteX12698" fmla="*/ 9046730 w 9310410"/>
              <a:gd name="connsiteY12698" fmla="*/ 3139596 h 5296383"/>
              <a:gd name="connsiteX12699" fmla="*/ 9046730 w 9310410"/>
              <a:gd name="connsiteY12699" fmla="*/ 3139596 h 5296383"/>
              <a:gd name="connsiteX12700" fmla="*/ 9046131 w 9310410"/>
              <a:gd name="connsiteY12700" fmla="*/ 3139596 h 5296383"/>
              <a:gd name="connsiteX12701" fmla="*/ 9045532 w 9310410"/>
              <a:gd name="connsiteY12701" fmla="*/ 3140795 h 5296383"/>
              <a:gd name="connsiteX12702" fmla="*/ 9046730 w 9310410"/>
              <a:gd name="connsiteY12702" fmla="*/ 3141994 h 5296383"/>
              <a:gd name="connsiteX12703" fmla="*/ 9055120 w 9310410"/>
              <a:gd name="connsiteY12703" fmla="*/ 3156975 h 5296383"/>
              <a:gd name="connsiteX12704" fmla="*/ 9055120 w 9310410"/>
              <a:gd name="connsiteY12704" fmla="*/ 3156975 h 5296383"/>
              <a:gd name="connsiteX12705" fmla="*/ 9055120 w 9310410"/>
              <a:gd name="connsiteY12705" fmla="*/ 3156975 h 5296383"/>
              <a:gd name="connsiteX12706" fmla="*/ 9055120 w 9310410"/>
              <a:gd name="connsiteY12706" fmla="*/ 3156975 h 5296383"/>
              <a:gd name="connsiteX12707" fmla="*/ 9056319 w 9310410"/>
              <a:gd name="connsiteY12707" fmla="*/ 3155777 h 5296383"/>
              <a:gd name="connsiteX12708" fmla="*/ 9055120 w 9310410"/>
              <a:gd name="connsiteY12708" fmla="*/ 3154578 h 5296383"/>
              <a:gd name="connsiteX12709" fmla="*/ 9055120 w 9310410"/>
              <a:gd name="connsiteY12709" fmla="*/ 3154578 h 5296383"/>
              <a:gd name="connsiteX12710" fmla="*/ 9055120 w 9310410"/>
              <a:gd name="connsiteY12710" fmla="*/ 3154578 h 5296383"/>
              <a:gd name="connsiteX12711" fmla="*/ 9054521 w 9310410"/>
              <a:gd name="connsiteY12711" fmla="*/ 3154578 h 5296383"/>
              <a:gd name="connsiteX12712" fmla="*/ 9053922 w 9310410"/>
              <a:gd name="connsiteY12712" fmla="*/ 3155777 h 5296383"/>
              <a:gd name="connsiteX12713" fmla="*/ 9055120 w 9310410"/>
              <a:gd name="connsiteY12713" fmla="*/ 3156975 h 5296383"/>
              <a:gd name="connsiteX12714" fmla="*/ 9067105 w 9310410"/>
              <a:gd name="connsiteY12714" fmla="*/ 3189336 h 5296383"/>
              <a:gd name="connsiteX12715" fmla="*/ 9067105 w 9310410"/>
              <a:gd name="connsiteY12715" fmla="*/ 3189336 h 5296383"/>
              <a:gd name="connsiteX12716" fmla="*/ 9067105 w 9310410"/>
              <a:gd name="connsiteY12716" fmla="*/ 3189336 h 5296383"/>
              <a:gd name="connsiteX12717" fmla="*/ 9067105 w 9310410"/>
              <a:gd name="connsiteY12717" fmla="*/ 3189336 h 5296383"/>
              <a:gd name="connsiteX12718" fmla="*/ 9068304 w 9310410"/>
              <a:gd name="connsiteY12718" fmla="*/ 3188138 h 5296383"/>
              <a:gd name="connsiteX12719" fmla="*/ 9067705 w 9310410"/>
              <a:gd name="connsiteY12719" fmla="*/ 3186939 h 5296383"/>
              <a:gd name="connsiteX12720" fmla="*/ 9067105 w 9310410"/>
              <a:gd name="connsiteY12720" fmla="*/ 3186939 h 5296383"/>
              <a:gd name="connsiteX12721" fmla="*/ 9067105 w 9310410"/>
              <a:gd name="connsiteY12721" fmla="*/ 3186939 h 5296383"/>
              <a:gd name="connsiteX12722" fmla="*/ 9067105 w 9310410"/>
              <a:gd name="connsiteY12722" fmla="*/ 3186939 h 5296383"/>
              <a:gd name="connsiteX12723" fmla="*/ 9065907 w 9310410"/>
              <a:gd name="connsiteY12723" fmla="*/ 3188138 h 5296383"/>
              <a:gd name="connsiteX12724" fmla="*/ 9067105 w 9310410"/>
              <a:gd name="connsiteY12724" fmla="*/ 3189336 h 5296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Lst>
            <a:rect l="l" t="t" r="r" b="b"/>
            <a:pathLst>
              <a:path w="9310410" h="5296383">
                <a:moveTo>
                  <a:pt x="3474682" y="3391291"/>
                </a:moveTo>
                <a:cubicBezTo>
                  <a:pt x="3472284" y="3386497"/>
                  <a:pt x="3454306" y="3382902"/>
                  <a:pt x="3448913" y="3377508"/>
                </a:cubicBezTo>
                <a:cubicBezTo>
                  <a:pt x="3443519" y="3372115"/>
                  <a:pt x="3433931" y="3372714"/>
                  <a:pt x="3431534" y="3375710"/>
                </a:cubicBezTo>
                <a:cubicBezTo>
                  <a:pt x="3429137" y="3378707"/>
                  <a:pt x="3423144" y="3378707"/>
                  <a:pt x="3423144" y="3378707"/>
                </a:cubicBezTo>
                <a:cubicBezTo>
                  <a:pt x="3423144" y="3378707"/>
                  <a:pt x="3410559" y="3376909"/>
                  <a:pt x="3398574" y="3375111"/>
                </a:cubicBezTo>
                <a:cubicBezTo>
                  <a:pt x="3386588" y="3373313"/>
                  <a:pt x="3385989" y="3372115"/>
                  <a:pt x="3378198" y="3372115"/>
                </a:cubicBezTo>
                <a:cubicBezTo>
                  <a:pt x="3370408" y="3372115"/>
                  <a:pt x="3369809" y="3369718"/>
                  <a:pt x="3364415" y="3367320"/>
                </a:cubicBezTo>
                <a:cubicBezTo>
                  <a:pt x="3359021" y="3364924"/>
                  <a:pt x="3356025" y="3360729"/>
                  <a:pt x="3345238" y="3360129"/>
                </a:cubicBezTo>
                <a:cubicBezTo>
                  <a:pt x="3334451" y="3359530"/>
                  <a:pt x="3333253" y="3357732"/>
                  <a:pt x="3329058" y="3354736"/>
                </a:cubicBezTo>
                <a:cubicBezTo>
                  <a:pt x="3324863" y="3352339"/>
                  <a:pt x="3321867" y="3351140"/>
                  <a:pt x="3318870" y="3352938"/>
                </a:cubicBezTo>
                <a:cubicBezTo>
                  <a:pt x="3315874" y="3354736"/>
                  <a:pt x="3313477" y="3355335"/>
                  <a:pt x="3309282" y="3354736"/>
                </a:cubicBezTo>
                <a:cubicBezTo>
                  <a:pt x="3305087" y="3354136"/>
                  <a:pt x="3304488" y="3355335"/>
                  <a:pt x="3302090" y="3357133"/>
                </a:cubicBezTo>
                <a:cubicBezTo>
                  <a:pt x="3299694" y="3358931"/>
                  <a:pt x="3297296" y="3357732"/>
                  <a:pt x="3290704" y="3356534"/>
                </a:cubicBezTo>
                <a:cubicBezTo>
                  <a:pt x="3284112" y="3355335"/>
                  <a:pt x="3280517" y="3350541"/>
                  <a:pt x="3274524" y="3348144"/>
                </a:cubicBezTo>
                <a:cubicBezTo>
                  <a:pt x="3269130" y="3345747"/>
                  <a:pt x="3269130" y="3346945"/>
                  <a:pt x="3260141" y="3345747"/>
                </a:cubicBezTo>
                <a:cubicBezTo>
                  <a:pt x="3251752" y="3345147"/>
                  <a:pt x="3239766" y="3343949"/>
                  <a:pt x="3242763" y="3337357"/>
                </a:cubicBezTo>
                <a:cubicBezTo>
                  <a:pt x="3245759" y="3330765"/>
                  <a:pt x="3249954" y="3328368"/>
                  <a:pt x="3240965" y="3328967"/>
                </a:cubicBezTo>
                <a:cubicBezTo>
                  <a:pt x="3231976" y="3329566"/>
                  <a:pt x="3227781" y="3327768"/>
                  <a:pt x="3218792" y="3328368"/>
                </a:cubicBezTo>
                <a:cubicBezTo>
                  <a:pt x="3210402" y="3328967"/>
                  <a:pt x="3205607" y="3328368"/>
                  <a:pt x="3205607" y="3325971"/>
                </a:cubicBezTo>
                <a:cubicBezTo>
                  <a:pt x="3206207" y="3323573"/>
                  <a:pt x="3206806" y="3323573"/>
                  <a:pt x="3211001" y="3323573"/>
                </a:cubicBezTo>
                <a:cubicBezTo>
                  <a:pt x="3215196" y="3323573"/>
                  <a:pt x="3221188" y="3321776"/>
                  <a:pt x="3222987" y="3312187"/>
                </a:cubicBezTo>
                <a:cubicBezTo>
                  <a:pt x="3224784" y="3302599"/>
                  <a:pt x="3226582" y="3295408"/>
                  <a:pt x="3231376" y="3293011"/>
                </a:cubicBezTo>
                <a:cubicBezTo>
                  <a:pt x="3236170" y="3290613"/>
                  <a:pt x="3240965" y="3293610"/>
                  <a:pt x="3248156" y="3293610"/>
                </a:cubicBezTo>
                <a:cubicBezTo>
                  <a:pt x="3255347" y="3293011"/>
                  <a:pt x="3267333" y="3292411"/>
                  <a:pt x="3270928" y="3295408"/>
                </a:cubicBezTo>
                <a:cubicBezTo>
                  <a:pt x="3275123" y="3298404"/>
                  <a:pt x="3278119" y="3300202"/>
                  <a:pt x="3281116" y="3300801"/>
                </a:cubicBezTo>
                <a:cubicBezTo>
                  <a:pt x="3284112" y="3301400"/>
                  <a:pt x="3287109" y="3304397"/>
                  <a:pt x="3288907" y="3306194"/>
                </a:cubicBezTo>
                <a:cubicBezTo>
                  <a:pt x="3290704" y="3308592"/>
                  <a:pt x="3295499" y="3308592"/>
                  <a:pt x="3293101" y="3303797"/>
                </a:cubicBezTo>
                <a:cubicBezTo>
                  <a:pt x="3290704" y="3299003"/>
                  <a:pt x="3292502" y="3299603"/>
                  <a:pt x="3296697" y="3302000"/>
                </a:cubicBezTo>
                <a:cubicBezTo>
                  <a:pt x="3300892" y="3304397"/>
                  <a:pt x="3302090" y="3307992"/>
                  <a:pt x="3304488" y="3312187"/>
                </a:cubicBezTo>
                <a:cubicBezTo>
                  <a:pt x="3306885" y="3316382"/>
                  <a:pt x="3312278" y="3320577"/>
                  <a:pt x="3319470" y="3320577"/>
                </a:cubicBezTo>
                <a:cubicBezTo>
                  <a:pt x="3326661" y="3320577"/>
                  <a:pt x="3329657" y="3320577"/>
                  <a:pt x="3335050" y="3322375"/>
                </a:cubicBezTo>
                <a:cubicBezTo>
                  <a:pt x="3340444" y="3324173"/>
                  <a:pt x="3344639" y="3322974"/>
                  <a:pt x="3347635" y="3320577"/>
                </a:cubicBezTo>
                <a:cubicBezTo>
                  <a:pt x="3350632" y="3318180"/>
                  <a:pt x="3353029" y="3319378"/>
                  <a:pt x="3356025" y="3319378"/>
                </a:cubicBezTo>
                <a:cubicBezTo>
                  <a:pt x="3359021" y="3319378"/>
                  <a:pt x="3360220" y="3318180"/>
                  <a:pt x="3361419" y="3312187"/>
                </a:cubicBezTo>
                <a:cubicBezTo>
                  <a:pt x="3362617" y="3306794"/>
                  <a:pt x="3374003" y="3308592"/>
                  <a:pt x="3377599" y="3310989"/>
                </a:cubicBezTo>
                <a:cubicBezTo>
                  <a:pt x="3381195" y="3313386"/>
                  <a:pt x="3383592" y="3315183"/>
                  <a:pt x="3387787" y="3315183"/>
                </a:cubicBezTo>
                <a:cubicBezTo>
                  <a:pt x="3391982" y="3314584"/>
                  <a:pt x="3394978" y="3314584"/>
                  <a:pt x="3397974" y="3316382"/>
                </a:cubicBezTo>
                <a:cubicBezTo>
                  <a:pt x="3400971" y="3318779"/>
                  <a:pt x="3415952" y="3319978"/>
                  <a:pt x="3417751" y="3324173"/>
                </a:cubicBezTo>
                <a:cubicBezTo>
                  <a:pt x="3419548" y="3328368"/>
                  <a:pt x="3423144" y="3335559"/>
                  <a:pt x="3423144" y="3335559"/>
                </a:cubicBezTo>
                <a:cubicBezTo>
                  <a:pt x="3423144" y="3335559"/>
                  <a:pt x="3420747" y="3346945"/>
                  <a:pt x="3423743" y="3346346"/>
                </a:cubicBezTo>
                <a:cubicBezTo>
                  <a:pt x="3426740" y="3345747"/>
                  <a:pt x="3439923" y="3345147"/>
                  <a:pt x="3438126" y="3349942"/>
                </a:cubicBezTo>
                <a:cubicBezTo>
                  <a:pt x="3436328" y="3354736"/>
                  <a:pt x="3442321" y="3353537"/>
                  <a:pt x="3447714" y="3352339"/>
                </a:cubicBezTo>
                <a:cubicBezTo>
                  <a:pt x="3453108" y="3351739"/>
                  <a:pt x="3456703" y="3351739"/>
                  <a:pt x="3462097" y="3351739"/>
                </a:cubicBezTo>
                <a:cubicBezTo>
                  <a:pt x="3467490" y="3351739"/>
                  <a:pt x="3478876" y="3354736"/>
                  <a:pt x="3475281" y="3363125"/>
                </a:cubicBezTo>
                <a:cubicBezTo>
                  <a:pt x="3471685" y="3371515"/>
                  <a:pt x="3471086" y="3378107"/>
                  <a:pt x="3477678" y="3381104"/>
                </a:cubicBezTo>
                <a:cubicBezTo>
                  <a:pt x="3482472" y="3385898"/>
                  <a:pt x="3477078" y="3396085"/>
                  <a:pt x="3474682" y="3391291"/>
                </a:cubicBezTo>
                <a:close/>
                <a:moveTo>
                  <a:pt x="5341420" y="832392"/>
                </a:moveTo>
                <a:cubicBezTo>
                  <a:pt x="5342618" y="838384"/>
                  <a:pt x="5339023" y="838384"/>
                  <a:pt x="5334229" y="838384"/>
                </a:cubicBezTo>
                <a:cubicBezTo>
                  <a:pt x="5330034" y="838384"/>
                  <a:pt x="5328236" y="843778"/>
                  <a:pt x="5327037" y="846774"/>
                </a:cubicBezTo>
                <a:cubicBezTo>
                  <a:pt x="5325839" y="856363"/>
                  <a:pt x="5316850" y="848572"/>
                  <a:pt x="5309059" y="844377"/>
                </a:cubicBezTo>
                <a:cubicBezTo>
                  <a:pt x="5308460" y="843778"/>
                  <a:pt x="5314453" y="855164"/>
                  <a:pt x="5310258" y="855763"/>
                </a:cubicBezTo>
                <a:cubicBezTo>
                  <a:pt x="5306662" y="856363"/>
                  <a:pt x="5301868" y="855763"/>
                  <a:pt x="5301868" y="856363"/>
                </a:cubicBezTo>
                <a:cubicBezTo>
                  <a:pt x="5301269" y="859359"/>
                  <a:pt x="5296474" y="857561"/>
                  <a:pt x="5292279" y="856363"/>
                </a:cubicBezTo>
                <a:cubicBezTo>
                  <a:pt x="5288684" y="852168"/>
                  <a:pt x="5283290" y="853965"/>
                  <a:pt x="5288684" y="859958"/>
                </a:cubicBezTo>
                <a:cubicBezTo>
                  <a:pt x="5294676" y="865951"/>
                  <a:pt x="5286287" y="867149"/>
                  <a:pt x="5291680" y="870745"/>
                </a:cubicBezTo>
                <a:cubicBezTo>
                  <a:pt x="5297673" y="874341"/>
                  <a:pt x="5292279" y="883929"/>
                  <a:pt x="5287485" y="882131"/>
                </a:cubicBezTo>
                <a:cubicBezTo>
                  <a:pt x="5280893" y="879734"/>
                  <a:pt x="5270106" y="879734"/>
                  <a:pt x="5270106" y="885128"/>
                </a:cubicBezTo>
                <a:cubicBezTo>
                  <a:pt x="5270106" y="888124"/>
                  <a:pt x="5282092" y="879734"/>
                  <a:pt x="5289283" y="888124"/>
                </a:cubicBezTo>
                <a:cubicBezTo>
                  <a:pt x="5292879" y="892319"/>
                  <a:pt x="5305464" y="891720"/>
                  <a:pt x="5300070" y="895915"/>
                </a:cubicBezTo>
                <a:cubicBezTo>
                  <a:pt x="5298272" y="897113"/>
                  <a:pt x="5287485" y="891720"/>
                  <a:pt x="5287485" y="898911"/>
                </a:cubicBezTo>
                <a:cubicBezTo>
                  <a:pt x="5287485" y="900110"/>
                  <a:pt x="5261117" y="900110"/>
                  <a:pt x="5255724" y="894716"/>
                </a:cubicBezTo>
                <a:cubicBezTo>
                  <a:pt x="5252128" y="891120"/>
                  <a:pt x="5234150" y="885128"/>
                  <a:pt x="5228756" y="886326"/>
                </a:cubicBezTo>
                <a:cubicBezTo>
                  <a:pt x="5223363" y="887525"/>
                  <a:pt x="5213175" y="883330"/>
                  <a:pt x="5214374" y="871344"/>
                </a:cubicBezTo>
                <a:cubicBezTo>
                  <a:pt x="5215572" y="859958"/>
                  <a:pt x="5204186" y="858160"/>
                  <a:pt x="5198193" y="858160"/>
                </a:cubicBezTo>
                <a:cubicBezTo>
                  <a:pt x="5192201" y="858160"/>
                  <a:pt x="5179017" y="857561"/>
                  <a:pt x="5176620" y="861157"/>
                </a:cubicBezTo>
                <a:cubicBezTo>
                  <a:pt x="5174222" y="864752"/>
                  <a:pt x="5163436" y="864752"/>
                  <a:pt x="5161638" y="860557"/>
                </a:cubicBezTo>
                <a:cubicBezTo>
                  <a:pt x="5158042" y="853366"/>
                  <a:pt x="5141861" y="856962"/>
                  <a:pt x="5150851" y="848572"/>
                </a:cubicBezTo>
                <a:cubicBezTo>
                  <a:pt x="5159241" y="840182"/>
                  <a:pt x="5155046" y="832392"/>
                  <a:pt x="5150251" y="837785"/>
                </a:cubicBezTo>
                <a:cubicBezTo>
                  <a:pt x="5147255" y="840781"/>
                  <a:pt x="5137667" y="847973"/>
                  <a:pt x="5133472" y="845576"/>
                </a:cubicBezTo>
                <a:cubicBezTo>
                  <a:pt x="5129876" y="843179"/>
                  <a:pt x="5120887" y="847973"/>
                  <a:pt x="5130475" y="856363"/>
                </a:cubicBezTo>
                <a:cubicBezTo>
                  <a:pt x="5136468" y="861756"/>
                  <a:pt x="5141262" y="880333"/>
                  <a:pt x="5128078" y="888124"/>
                </a:cubicBezTo>
                <a:cubicBezTo>
                  <a:pt x="5120288" y="892319"/>
                  <a:pt x="5104107" y="906702"/>
                  <a:pt x="5093920" y="898312"/>
                </a:cubicBezTo>
                <a:cubicBezTo>
                  <a:pt x="5083732" y="889922"/>
                  <a:pt x="5084930" y="891720"/>
                  <a:pt x="5075941" y="889323"/>
                </a:cubicBezTo>
                <a:cubicBezTo>
                  <a:pt x="5066952" y="886925"/>
                  <a:pt x="5059162" y="891120"/>
                  <a:pt x="5074144" y="892319"/>
                </a:cubicBezTo>
                <a:cubicBezTo>
                  <a:pt x="5082534" y="892918"/>
                  <a:pt x="5075342" y="899510"/>
                  <a:pt x="5068151" y="895315"/>
                </a:cubicBezTo>
                <a:cubicBezTo>
                  <a:pt x="5063357" y="892918"/>
                  <a:pt x="5051970" y="895315"/>
                  <a:pt x="5061559" y="903705"/>
                </a:cubicBezTo>
                <a:cubicBezTo>
                  <a:pt x="5069349" y="910297"/>
                  <a:pt x="5069349" y="903705"/>
                  <a:pt x="5076541" y="902507"/>
                </a:cubicBezTo>
                <a:cubicBezTo>
                  <a:pt x="5083732" y="901308"/>
                  <a:pt x="5086129" y="903106"/>
                  <a:pt x="5087328" y="906702"/>
                </a:cubicBezTo>
                <a:cubicBezTo>
                  <a:pt x="5088526" y="910297"/>
                  <a:pt x="5090324" y="912095"/>
                  <a:pt x="5096317" y="910896"/>
                </a:cubicBezTo>
                <a:cubicBezTo>
                  <a:pt x="5102310" y="910297"/>
                  <a:pt x="5105905" y="913893"/>
                  <a:pt x="5108901" y="920485"/>
                </a:cubicBezTo>
                <a:cubicBezTo>
                  <a:pt x="5108901" y="920485"/>
                  <a:pt x="5114295" y="927077"/>
                  <a:pt x="5108901" y="927077"/>
                </a:cubicBezTo>
                <a:cubicBezTo>
                  <a:pt x="5103508" y="927077"/>
                  <a:pt x="5108302" y="930672"/>
                  <a:pt x="5114295" y="930672"/>
                </a:cubicBezTo>
                <a:cubicBezTo>
                  <a:pt x="5120288" y="930672"/>
                  <a:pt x="5117291" y="938463"/>
                  <a:pt x="5116093" y="938463"/>
                </a:cubicBezTo>
                <a:cubicBezTo>
                  <a:pt x="5107703" y="939062"/>
                  <a:pt x="5120288" y="949250"/>
                  <a:pt x="5130475" y="949849"/>
                </a:cubicBezTo>
                <a:cubicBezTo>
                  <a:pt x="5149652" y="951647"/>
                  <a:pt x="5137667" y="957041"/>
                  <a:pt x="5142461" y="964232"/>
                </a:cubicBezTo>
                <a:cubicBezTo>
                  <a:pt x="5142461" y="964232"/>
                  <a:pt x="5143660" y="970824"/>
                  <a:pt x="5140663" y="972022"/>
                </a:cubicBezTo>
                <a:cubicBezTo>
                  <a:pt x="5137667" y="973221"/>
                  <a:pt x="5134071" y="982210"/>
                  <a:pt x="5129277" y="978015"/>
                </a:cubicBezTo>
                <a:cubicBezTo>
                  <a:pt x="5122685" y="971423"/>
                  <a:pt x="5114295" y="976817"/>
                  <a:pt x="5109501" y="972022"/>
                </a:cubicBezTo>
                <a:cubicBezTo>
                  <a:pt x="5104107" y="967827"/>
                  <a:pt x="5102310" y="970824"/>
                  <a:pt x="5101111" y="972022"/>
                </a:cubicBezTo>
                <a:cubicBezTo>
                  <a:pt x="5099912" y="973221"/>
                  <a:pt x="5095718" y="972622"/>
                  <a:pt x="5096916" y="967827"/>
                </a:cubicBezTo>
                <a:cubicBezTo>
                  <a:pt x="5098714" y="959438"/>
                  <a:pt x="5095118" y="964232"/>
                  <a:pt x="5092721" y="964232"/>
                </a:cubicBezTo>
                <a:cubicBezTo>
                  <a:pt x="5090324" y="964232"/>
                  <a:pt x="5083133" y="962434"/>
                  <a:pt x="5089725" y="969625"/>
                </a:cubicBezTo>
                <a:cubicBezTo>
                  <a:pt x="5094519" y="975019"/>
                  <a:pt x="5089125" y="975618"/>
                  <a:pt x="5084930" y="975618"/>
                </a:cubicBezTo>
                <a:cubicBezTo>
                  <a:pt x="5076541" y="975618"/>
                  <a:pt x="5072346" y="986405"/>
                  <a:pt x="5064555" y="987603"/>
                </a:cubicBezTo>
                <a:cubicBezTo>
                  <a:pt x="5056765" y="988802"/>
                  <a:pt x="5042382" y="1009177"/>
                  <a:pt x="5029198" y="1007979"/>
                </a:cubicBezTo>
                <a:cubicBezTo>
                  <a:pt x="5017213" y="1006780"/>
                  <a:pt x="5027999" y="1022961"/>
                  <a:pt x="5013617" y="1019365"/>
                </a:cubicBezTo>
                <a:cubicBezTo>
                  <a:pt x="5002231" y="1016369"/>
                  <a:pt x="5016613" y="1029553"/>
                  <a:pt x="5002231" y="1027755"/>
                </a:cubicBezTo>
                <a:cubicBezTo>
                  <a:pt x="4993242" y="1026556"/>
                  <a:pt x="4987848" y="1047531"/>
                  <a:pt x="4972867" y="1052325"/>
                </a:cubicBezTo>
                <a:cubicBezTo>
                  <a:pt x="4971668" y="1052924"/>
                  <a:pt x="4970469" y="1051127"/>
                  <a:pt x="4969271" y="1052325"/>
                </a:cubicBezTo>
                <a:cubicBezTo>
                  <a:pt x="4966274" y="1054123"/>
                  <a:pt x="4960881" y="1065509"/>
                  <a:pt x="4960881" y="1067307"/>
                </a:cubicBezTo>
                <a:cubicBezTo>
                  <a:pt x="4962679" y="1073899"/>
                  <a:pt x="4955487" y="1076296"/>
                  <a:pt x="4953090" y="1064910"/>
                </a:cubicBezTo>
                <a:cubicBezTo>
                  <a:pt x="4950693" y="1054722"/>
                  <a:pt x="4940506" y="1055321"/>
                  <a:pt x="4938108" y="1048729"/>
                </a:cubicBezTo>
                <a:cubicBezTo>
                  <a:pt x="4935112" y="1041538"/>
                  <a:pt x="4923726" y="1044535"/>
                  <a:pt x="4910542" y="1046332"/>
                </a:cubicBezTo>
                <a:cubicBezTo>
                  <a:pt x="4897358" y="1048130"/>
                  <a:pt x="4885372" y="1046932"/>
                  <a:pt x="4881177" y="1059516"/>
                </a:cubicBezTo>
                <a:cubicBezTo>
                  <a:pt x="4875185" y="1075697"/>
                  <a:pt x="4864398" y="1085285"/>
                  <a:pt x="4866195" y="1060715"/>
                </a:cubicBezTo>
                <a:cubicBezTo>
                  <a:pt x="4867994" y="1036145"/>
                  <a:pt x="4858405" y="1048729"/>
                  <a:pt x="4849416" y="1058318"/>
                </a:cubicBezTo>
                <a:cubicBezTo>
                  <a:pt x="4842824" y="1065509"/>
                  <a:pt x="4844023" y="1070303"/>
                  <a:pt x="4840427" y="1076296"/>
                </a:cubicBezTo>
                <a:cubicBezTo>
                  <a:pt x="4836831" y="1082289"/>
                  <a:pt x="4832037" y="1080491"/>
                  <a:pt x="4831438" y="1078094"/>
                </a:cubicBezTo>
                <a:cubicBezTo>
                  <a:pt x="4830839" y="1075697"/>
                  <a:pt x="4826644" y="1073899"/>
                  <a:pt x="4823647" y="1078094"/>
                </a:cubicBezTo>
                <a:cubicBezTo>
                  <a:pt x="4821849" y="1081090"/>
                  <a:pt x="4817654" y="1079892"/>
                  <a:pt x="4814658" y="1076895"/>
                </a:cubicBezTo>
                <a:cubicBezTo>
                  <a:pt x="4809264" y="1071502"/>
                  <a:pt x="4803272" y="1078693"/>
                  <a:pt x="4803871" y="1087682"/>
                </a:cubicBezTo>
                <a:cubicBezTo>
                  <a:pt x="4803871" y="1098469"/>
                  <a:pt x="4804470" y="1109855"/>
                  <a:pt x="4798478" y="1105061"/>
                </a:cubicBezTo>
                <a:cubicBezTo>
                  <a:pt x="4794283" y="1102065"/>
                  <a:pt x="4791886" y="1107458"/>
                  <a:pt x="4794283" y="1111054"/>
                </a:cubicBezTo>
                <a:cubicBezTo>
                  <a:pt x="4796081" y="1114050"/>
                  <a:pt x="4784095" y="1121841"/>
                  <a:pt x="4782297" y="1131429"/>
                </a:cubicBezTo>
                <a:cubicBezTo>
                  <a:pt x="4781099" y="1141617"/>
                  <a:pt x="4768514" y="1154801"/>
                  <a:pt x="4778702" y="1151805"/>
                </a:cubicBezTo>
                <a:cubicBezTo>
                  <a:pt x="4782897" y="1150606"/>
                  <a:pt x="4787691" y="1160794"/>
                  <a:pt x="4790088" y="1149407"/>
                </a:cubicBezTo>
                <a:cubicBezTo>
                  <a:pt x="4792485" y="1136223"/>
                  <a:pt x="4808665" y="1151805"/>
                  <a:pt x="4800875" y="1159595"/>
                </a:cubicBezTo>
                <a:cubicBezTo>
                  <a:pt x="4799676" y="1160794"/>
                  <a:pt x="4797279" y="1167985"/>
                  <a:pt x="4797279" y="1173978"/>
                </a:cubicBezTo>
                <a:cubicBezTo>
                  <a:pt x="4797279" y="1180570"/>
                  <a:pt x="4796680" y="1188360"/>
                  <a:pt x="4804470" y="1185364"/>
                </a:cubicBezTo>
                <a:cubicBezTo>
                  <a:pt x="4811063" y="1182967"/>
                  <a:pt x="4807467" y="1194353"/>
                  <a:pt x="4810463" y="1199747"/>
                </a:cubicBezTo>
                <a:cubicBezTo>
                  <a:pt x="4814658" y="1207537"/>
                  <a:pt x="4798478" y="1216526"/>
                  <a:pt x="4801474" y="1200945"/>
                </a:cubicBezTo>
                <a:cubicBezTo>
                  <a:pt x="4804470" y="1185364"/>
                  <a:pt x="4792485" y="1195552"/>
                  <a:pt x="4791886" y="1199147"/>
                </a:cubicBezTo>
                <a:cubicBezTo>
                  <a:pt x="4791286" y="1202743"/>
                  <a:pt x="4790088" y="1203941"/>
                  <a:pt x="4788889" y="1206339"/>
                </a:cubicBezTo>
                <a:cubicBezTo>
                  <a:pt x="4782897" y="1206339"/>
                  <a:pt x="4786492" y="1209335"/>
                  <a:pt x="4783496" y="1211732"/>
                </a:cubicBezTo>
                <a:cubicBezTo>
                  <a:pt x="4778702" y="1215927"/>
                  <a:pt x="4771510" y="1229111"/>
                  <a:pt x="4779301" y="1240497"/>
                </a:cubicBezTo>
                <a:cubicBezTo>
                  <a:pt x="4787092" y="1251883"/>
                  <a:pt x="4787691" y="1259674"/>
                  <a:pt x="4777503" y="1260872"/>
                </a:cubicBezTo>
                <a:cubicBezTo>
                  <a:pt x="4773308" y="1261472"/>
                  <a:pt x="4766716" y="1261472"/>
                  <a:pt x="4764319" y="1259075"/>
                </a:cubicBezTo>
                <a:cubicBezTo>
                  <a:pt x="4759525" y="1254880"/>
                  <a:pt x="4755929" y="1258475"/>
                  <a:pt x="4751135" y="1265667"/>
                </a:cubicBezTo>
                <a:cubicBezTo>
                  <a:pt x="4745742" y="1272858"/>
                  <a:pt x="4746940" y="1274056"/>
                  <a:pt x="4741547" y="1277053"/>
                </a:cubicBezTo>
                <a:cubicBezTo>
                  <a:pt x="4733157" y="1282446"/>
                  <a:pt x="4734355" y="1292634"/>
                  <a:pt x="4739749" y="1299825"/>
                </a:cubicBezTo>
                <a:cubicBezTo>
                  <a:pt x="4745142" y="1307616"/>
                  <a:pt x="4745142" y="1317804"/>
                  <a:pt x="4737951" y="1308814"/>
                </a:cubicBezTo>
                <a:cubicBezTo>
                  <a:pt x="4733756" y="1303421"/>
                  <a:pt x="4724168" y="1309414"/>
                  <a:pt x="4721771" y="1311811"/>
                </a:cubicBezTo>
                <a:cubicBezTo>
                  <a:pt x="4718175" y="1316006"/>
                  <a:pt x="4711583" y="1319002"/>
                  <a:pt x="4711583" y="1315406"/>
                </a:cubicBezTo>
                <a:cubicBezTo>
                  <a:pt x="4711583" y="1311811"/>
                  <a:pt x="4706789" y="1313609"/>
                  <a:pt x="4706789" y="1319601"/>
                </a:cubicBezTo>
                <a:cubicBezTo>
                  <a:pt x="4706789" y="1325594"/>
                  <a:pt x="4706190" y="1341175"/>
                  <a:pt x="4704392" y="1343572"/>
                </a:cubicBezTo>
                <a:cubicBezTo>
                  <a:pt x="4700796" y="1347767"/>
                  <a:pt x="4703792" y="1362749"/>
                  <a:pt x="4691807" y="1363948"/>
                </a:cubicBezTo>
                <a:cubicBezTo>
                  <a:pt x="4679821" y="1365146"/>
                  <a:pt x="4672630" y="1395110"/>
                  <a:pt x="4665439" y="1378929"/>
                </a:cubicBezTo>
                <a:cubicBezTo>
                  <a:pt x="4658248" y="1362150"/>
                  <a:pt x="4654053" y="1341175"/>
                  <a:pt x="4654053" y="1332785"/>
                </a:cubicBezTo>
                <a:cubicBezTo>
                  <a:pt x="4654053" y="1324395"/>
                  <a:pt x="4635475" y="1268064"/>
                  <a:pt x="4637872" y="1253681"/>
                </a:cubicBezTo>
                <a:cubicBezTo>
                  <a:pt x="4640269" y="1239299"/>
                  <a:pt x="4625887" y="1194353"/>
                  <a:pt x="4645064" y="1181169"/>
                </a:cubicBezTo>
                <a:cubicBezTo>
                  <a:pt x="4655251" y="1173978"/>
                  <a:pt x="4652255" y="1173978"/>
                  <a:pt x="4657648" y="1172779"/>
                </a:cubicBezTo>
                <a:cubicBezTo>
                  <a:pt x="4663641" y="1171581"/>
                  <a:pt x="4661244" y="1166187"/>
                  <a:pt x="4660045" y="1159595"/>
                </a:cubicBezTo>
                <a:cubicBezTo>
                  <a:pt x="4658847" y="1152404"/>
                  <a:pt x="4654652" y="1150007"/>
                  <a:pt x="4663641" y="1148209"/>
                </a:cubicBezTo>
                <a:cubicBezTo>
                  <a:pt x="4670832" y="1147010"/>
                  <a:pt x="4672630" y="1151805"/>
                  <a:pt x="4678623" y="1141617"/>
                </a:cubicBezTo>
                <a:cubicBezTo>
                  <a:pt x="4685814" y="1129032"/>
                  <a:pt x="4690009" y="1152404"/>
                  <a:pt x="4706789" y="1135624"/>
                </a:cubicBezTo>
                <a:cubicBezTo>
                  <a:pt x="4723568" y="1118845"/>
                  <a:pt x="4725966" y="1107458"/>
                  <a:pt x="4734955" y="1102664"/>
                </a:cubicBezTo>
                <a:cubicBezTo>
                  <a:pt x="4743944" y="1097271"/>
                  <a:pt x="4759525" y="1084686"/>
                  <a:pt x="4757727" y="1078693"/>
                </a:cubicBezTo>
                <a:cubicBezTo>
                  <a:pt x="4756528" y="1072700"/>
                  <a:pt x="4760124" y="1070303"/>
                  <a:pt x="4764918" y="1070303"/>
                </a:cubicBezTo>
                <a:cubicBezTo>
                  <a:pt x="4769713" y="1070303"/>
                  <a:pt x="4767915" y="1063112"/>
                  <a:pt x="4765518" y="1060715"/>
                </a:cubicBezTo>
                <a:cubicBezTo>
                  <a:pt x="4763121" y="1058318"/>
                  <a:pt x="4770911" y="1049329"/>
                  <a:pt x="4776304" y="1051726"/>
                </a:cubicBezTo>
                <a:cubicBezTo>
                  <a:pt x="4779301" y="1053524"/>
                  <a:pt x="4784694" y="1049928"/>
                  <a:pt x="4787092" y="1045134"/>
                </a:cubicBezTo>
                <a:cubicBezTo>
                  <a:pt x="4788889" y="1040939"/>
                  <a:pt x="4793683" y="1040939"/>
                  <a:pt x="4800275" y="1042137"/>
                </a:cubicBezTo>
                <a:cubicBezTo>
                  <a:pt x="4806868" y="1043336"/>
                  <a:pt x="4811662" y="1037943"/>
                  <a:pt x="4808066" y="1034347"/>
                </a:cubicBezTo>
                <a:cubicBezTo>
                  <a:pt x="4800875" y="1028953"/>
                  <a:pt x="4812860" y="1029553"/>
                  <a:pt x="4808066" y="1019964"/>
                </a:cubicBezTo>
                <a:cubicBezTo>
                  <a:pt x="4803272" y="1010376"/>
                  <a:pt x="4814658" y="1012174"/>
                  <a:pt x="4810463" y="1003185"/>
                </a:cubicBezTo>
                <a:cubicBezTo>
                  <a:pt x="4807467" y="996593"/>
                  <a:pt x="4812860" y="986405"/>
                  <a:pt x="4826044" y="986405"/>
                </a:cubicBezTo>
                <a:cubicBezTo>
                  <a:pt x="4839228" y="987004"/>
                  <a:pt x="4829640" y="982210"/>
                  <a:pt x="4821250" y="978015"/>
                </a:cubicBezTo>
                <a:cubicBezTo>
                  <a:pt x="4812860" y="973820"/>
                  <a:pt x="4806868" y="976217"/>
                  <a:pt x="4803871" y="979813"/>
                </a:cubicBezTo>
                <a:cubicBezTo>
                  <a:pt x="4802073" y="982210"/>
                  <a:pt x="4796081" y="983409"/>
                  <a:pt x="4793683" y="984008"/>
                </a:cubicBezTo>
                <a:cubicBezTo>
                  <a:pt x="4791286" y="984607"/>
                  <a:pt x="4788290" y="987603"/>
                  <a:pt x="4791886" y="991199"/>
                </a:cubicBezTo>
                <a:cubicBezTo>
                  <a:pt x="4796081" y="995394"/>
                  <a:pt x="4787691" y="998390"/>
                  <a:pt x="4792485" y="1003185"/>
                </a:cubicBezTo>
                <a:cubicBezTo>
                  <a:pt x="4799676" y="1009777"/>
                  <a:pt x="4793084" y="1016369"/>
                  <a:pt x="4788889" y="1012174"/>
                </a:cubicBezTo>
                <a:cubicBezTo>
                  <a:pt x="4784694" y="1007979"/>
                  <a:pt x="4778102" y="1014571"/>
                  <a:pt x="4775705" y="1018166"/>
                </a:cubicBezTo>
                <a:cubicBezTo>
                  <a:pt x="4773308" y="1021762"/>
                  <a:pt x="4764319" y="1024758"/>
                  <a:pt x="4761323" y="1027156"/>
                </a:cubicBezTo>
                <a:cubicBezTo>
                  <a:pt x="4758326" y="1029553"/>
                  <a:pt x="4753532" y="1030751"/>
                  <a:pt x="4746341" y="1043935"/>
                </a:cubicBezTo>
                <a:cubicBezTo>
                  <a:pt x="4739150" y="1057119"/>
                  <a:pt x="4732557" y="1049928"/>
                  <a:pt x="4736752" y="1042137"/>
                </a:cubicBezTo>
                <a:cubicBezTo>
                  <a:pt x="4740947" y="1034347"/>
                  <a:pt x="4730161" y="1036145"/>
                  <a:pt x="4726565" y="1040340"/>
                </a:cubicBezTo>
                <a:cubicBezTo>
                  <a:pt x="4721171" y="1048130"/>
                  <a:pt x="4717576" y="1037943"/>
                  <a:pt x="4724767" y="1027755"/>
                </a:cubicBezTo>
                <a:cubicBezTo>
                  <a:pt x="4731958" y="1017567"/>
                  <a:pt x="4726565" y="1015769"/>
                  <a:pt x="4727164" y="1012773"/>
                </a:cubicBezTo>
                <a:cubicBezTo>
                  <a:pt x="4727763" y="1009777"/>
                  <a:pt x="4722370" y="1003784"/>
                  <a:pt x="4717576" y="1007979"/>
                </a:cubicBezTo>
                <a:cubicBezTo>
                  <a:pt x="4711583" y="1013372"/>
                  <a:pt x="4706190" y="1001387"/>
                  <a:pt x="4693605" y="1006780"/>
                </a:cubicBezTo>
                <a:cubicBezTo>
                  <a:pt x="4681020" y="1012174"/>
                  <a:pt x="4673829" y="1010975"/>
                  <a:pt x="4670832" y="1010975"/>
                </a:cubicBezTo>
                <a:cubicBezTo>
                  <a:pt x="4667237" y="1010975"/>
                  <a:pt x="4660645" y="1014571"/>
                  <a:pt x="4658847" y="1019365"/>
                </a:cubicBezTo>
                <a:cubicBezTo>
                  <a:pt x="4656450" y="1025358"/>
                  <a:pt x="4650457" y="1020564"/>
                  <a:pt x="4646861" y="1031351"/>
                </a:cubicBezTo>
                <a:cubicBezTo>
                  <a:pt x="4644464" y="1040340"/>
                  <a:pt x="4640869" y="1036145"/>
                  <a:pt x="4636674" y="1045134"/>
                </a:cubicBezTo>
                <a:cubicBezTo>
                  <a:pt x="4633078" y="1053524"/>
                  <a:pt x="4619894" y="1058318"/>
                  <a:pt x="4611504" y="1061914"/>
                </a:cubicBezTo>
                <a:cubicBezTo>
                  <a:pt x="4603114" y="1064910"/>
                  <a:pt x="4594724" y="1072101"/>
                  <a:pt x="4597122" y="1082888"/>
                </a:cubicBezTo>
                <a:cubicBezTo>
                  <a:pt x="4597721" y="1087083"/>
                  <a:pt x="4591728" y="1091278"/>
                  <a:pt x="4599519" y="1090679"/>
                </a:cubicBezTo>
                <a:cubicBezTo>
                  <a:pt x="4606710" y="1090079"/>
                  <a:pt x="4607309" y="1092476"/>
                  <a:pt x="4612104" y="1091278"/>
                </a:cubicBezTo>
                <a:cubicBezTo>
                  <a:pt x="4616898" y="1090679"/>
                  <a:pt x="4619295" y="1094874"/>
                  <a:pt x="4620493" y="1098469"/>
                </a:cubicBezTo>
                <a:cubicBezTo>
                  <a:pt x="4621093" y="1102664"/>
                  <a:pt x="4625288" y="1103863"/>
                  <a:pt x="4619894" y="1105061"/>
                </a:cubicBezTo>
                <a:cubicBezTo>
                  <a:pt x="4614500" y="1106260"/>
                  <a:pt x="4611504" y="1110455"/>
                  <a:pt x="4609107" y="1108058"/>
                </a:cubicBezTo>
                <a:cubicBezTo>
                  <a:pt x="4606710" y="1105660"/>
                  <a:pt x="4601916" y="1108058"/>
                  <a:pt x="4598919" y="1106260"/>
                </a:cubicBezTo>
                <a:cubicBezTo>
                  <a:pt x="4595923" y="1104462"/>
                  <a:pt x="4590529" y="1105660"/>
                  <a:pt x="4588732" y="1103863"/>
                </a:cubicBezTo>
                <a:cubicBezTo>
                  <a:pt x="4586335" y="1101466"/>
                  <a:pt x="4580342" y="1104462"/>
                  <a:pt x="4575548" y="1108058"/>
                </a:cubicBezTo>
                <a:cubicBezTo>
                  <a:pt x="4570754" y="1111054"/>
                  <a:pt x="4558768" y="1114050"/>
                  <a:pt x="4556970" y="1109256"/>
                </a:cubicBezTo>
                <a:cubicBezTo>
                  <a:pt x="4555173" y="1104462"/>
                  <a:pt x="4551577" y="1107458"/>
                  <a:pt x="4546783" y="1113451"/>
                </a:cubicBezTo>
                <a:cubicBezTo>
                  <a:pt x="4543187" y="1117646"/>
                  <a:pt x="4532400" y="1117047"/>
                  <a:pt x="4530003" y="1112253"/>
                </a:cubicBezTo>
                <a:cubicBezTo>
                  <a:pt x="4527606" y="1107458"/>
                  <a:pt x="4535397" y="1105061"/>
                  <a:pt x="4540191" y="1105061"/>
                </a:cubicBezTo>
                <a:cubicBezTo>
                  <a:pt x="4544985" y="1105061"/>
                  <a:pt x="4545584" y="1105660"/>
                  <a:pt x="4545584" y="1102664"/>
                </a:cubicBezTo>
                <a:cubicBezTo>
                  <a:pt x="4545584" y="1100267"/>
                  <a:pt x="4543187" y="1100866"/>
                  <a:pt x="4540191" y="1100866"/>
                </a:cubicBezTo>
                <a:cubicBezTo>
                  <a:pt x="4537194" y="1100866"/>
                  <a:pt x="4534797" y="1100267"/>
                  <a:pt x="4537194" y="1097870"/>
                </a:cubicBezTo>
                <a:cubicBezTo>
                  <a:pt x="4539591" y="1095473"/>
                  <a:pt x="4528205" y="1088881"/>
                  <a:pt x="4522812" y="1093675"/>
                </a:cubicBezTo>
                <a:cubicBezTo>
                  <a:pt x="4518617" y="1097271"/>
                  <a:pt x="4510826" y="1095473"/>
                  <a:pt x="4514422" y="1090079"/>
                </a:cubicBezTo>
                <a:cubicBezTo>
                  <a:pt x="4517418" y="1085885"/>
                  <a:pt x="4508429" y="1084686"/>
                  <a:pt x="4503635" y="1086484"/>
                </a:cubicBezTo>
                <a:cubicBezTo>
                  <a:pt x="4499440" y="1088282"/>
                  <a:pt x="4493447" y="1084087"/>
                  <a:pt x="4491050" y="1083487"/>
                </a:cubicBezTo>
                <a:cubicBezTo>
                  <a:pt x="4488653" y="1082888"/>
                  <a:pt x="4482061" y="1082888"/>
                  <a:pt x="4481462" y="1085285"/>
                </a:cubicBezTo>
                <a:cubicBezTo>
                  <a:pt x="4480862" y="1087682"/>
                  <a:pt x="4477866" y="1087682"/>
                  <a:pt x="4476068" y="1087682"/>
                </a:cubicBezTo>
                <a:cubicBezTo>
                  <a:pt x="4473671" y="1087682"/>
                  <a:pt x="4470675" y="1090679"/>
                  <a:pt x="4474870" y="1095473"/>
                </a:cubicBezTo>
                <a:cubicBezTo>
                  <a:pt x="4479065" y="1100267"/>
                  <a:pt x="4465881" y="1103863"/>
                  <a:pt x="4462884" y="1097870"/>
                </a:cubicBezTo>
                <a:cubicBezTo>
                  <a:pt x="4460487" y="1091278"/>
                  <a:pt x="4458689" y="1094274"/>
                  <a:pt x="4456292" y="1095473"/>
                </a:cubicBezTo>
                <a:cubicBezTo>
                  <a:pt x="4453895" y="1096671"/>
                  <a:pt x="4447902" y="1091278"/>
                  <a:pt x="4446105" y="1094874"/>
                </a:cubicBezTo>
                <a:cubicBezTo>
                  <a:pt x="4444307" y="1098469"/>
                  <a:pt x="4440711" y="1103863"/>
                  <a:pt x="4434718" y="1099069"/>
                </a:cubicBezTo>
                <a:cubicBezTo>
                  <a:pt x="4429325" y="1094274"/>
                  <a:pt x="4427527" y="1096671"/>
                  <a:pt x="4422134" y="1094874"/>
                </a:cubicBezTo>
                <a:cubicBezTo>
                  <a:pt x="4416740" y="1093076"/>
                  <a:pt x="4410747" y="1089480"/>
                  <a:pt x="4413744" y="1096072"/>
                </a:cubicBezTo>
                <a:cubicBezTo>
                  <a:pt x="4414942" y="1099668"/>
                  <a:pt x="4405354" y="1109256"/>
                  <a:pt x="4405354" y="1101466"/>
                </a:cubicBezTo>
                <a:cubicBezTo>
                  <a:pt x="4405354" y="1093076"/>
                  <a:pt x="4411347" y="1090679"/>
                  <a:pt x="4404755" y="1089480"/>
                </a:cubicBezTo>
                <a:cubicBezTo>
                  <a:pt x="4397564" y="1088881"/>
                  <a:pt x="4375989" y="1095473"/>
                  <a:pt x="4363405" y="1094874"/>
                </a:cubicBezTo>
                <a:cubicBezTo>
                  <a:pt x="4350221" y="1094274"/>
                  <a:pt x="4337636" y="1088881"/>
                  <a:pt x="4318459" y="1108058"/>
                </a:cubicBezTo>
                <a:cubicBezTo>
                  <a:pt x="4309470" y="1117646"/>
                  <a:pt x="4306474" y="1120043"/>
                  <a:pt x="4301680" y="1122440"/>
                </a:cubicBezTo>
                <a:cubicBezTo>
                  <a:pt x="4296885" y="1124837"/>
                  <a:pt x="4286698" y="1133826"/>
                  <a:pt x="4284900" y="1141018"/>
                </a:cubicBezTo>
                <a:cubicBezTo>
                  <a:pt x="4283102" y="1148209"/>
                  <a:pt x="4272914" y="1154202"/>
                  <a:pt x="4263925" y="1157797"/>
                </a:cubicBezTo>
                <a:cubicBezTo>
                  <a:pt x="4254936" y="1161393"/>
                  <a:pt x="4247146" y="1170981"/>
                  <a:pt x="4239355" y="1175176"/>
                </a:cubicBezTo>
                <a:cubicBezTo>
                  <a:pt x="4231565" y="1179371"/>
                  <a:pt x="4236958" y="1180570"/>
                  <a:pt x="4230366" y="1181768"/>
                </a:cubicBezTo>
                <a:cubicBezTo>
                  <a:pt x="4223774" y="1182368"/>
                  <a:pt x="4218381" y="1191956"/>
                  <a:pt x="4214785" y="1193754"/>
                </a:cubicBezTo>
                <a:cubicBezTo>
                  <a:pt x="4210590" y="1195552"/>
                  <a:pt x="4207594" y="1201544"/>
                  <a:pt x="4205196" y="1206938"/>
                </a:cubicBezTo>
                <a:cubicBezTo>
                  <a:pt x="4202800" y="1212331"/>
                  <a:pt x="4199204" y="1214728"/>
                  <a:pt x="4196207" y="1216526"/>
                </a:cubicBezTo>
                <a:cubicBezTo>
                  <a:pt x="4193211" y="1218324"/>
                  <a:pt x="4188417" y="1222519"/>
                  <a:pt x="4185420" y="1221320"/>
                </a:cubicBezTo>
                <a:cubicBezTo>
                  <a:pt x="4182424" y="1220721"/>
                  <a:pt x="4178828" y="1226714"/>
                  <a:pt x="4177030" y="1229111"/>
                </a:cubicBezTo>
                <a:cubicBezTo>
                  <a:pt x="4175233" y="1231508"/>
                  <a:pt x="4171038" y="1237501"/>
                  <a:pt x="4165644" y="1237501"/>
                </a:cubicBezTo>
                <a:cubicBezTo>
                  <a:pt x="4158453" y="1238100"/>
                  <a:pt x="4155457" y="1243493"/>
                  <a:pt x="4153659" y="1246490"/>
                </a:cubicBezTo>
                <a:cubicBezTo>
                  <a:pt x="4151861" y="1249486"/>
                  <a:pt x="4151262" y="1252483"/>
                  <a:pt x="4155457" y="1250685"/>
                </a:cubicBezTo>
                <a:cubicBezTo>
                  <a:pt x="4159652" y="1248887"/>
                  <a:pt x="4163847" y="1254880"/>
                  <a:pt x="4168641" y="1256678"/>
                </a:cubicBezTo>
                <a:cubicBezTo>
                  <a:pt x="4173435" y="1258475"/>
                  <a:pt x="4181225" y="1257277"/>
                  <a:pt x="4183623" y="1254880"/>
                </a:cubicBezTo>
                <a:cubicBezTo>
                  <a:pt x="4186019" y="1252483"/>
                  <a:pt x="4190814" y="1251883"/>
                  <a:pt x="4187818" y="1257277"/>
                </a:cubicBezTo>
                <a:cubicBezTo>
                  <a:pt x="4185420" y="1262670"/>
                  <a:pt x="4185420" y="1270461"/>
                  <a:pt x="4185420" y="1276454"/>
                </a:cubicBezTo>
                <a:cubicBezTo>
                  <a:pt x="4185420" y="1281847"/>
                  <a:pt x="4186619" y="1284244"/>
                  <a:pt x="4192012" y="1281248"/>
                </a:cubicBezTo>
                <a:cubicBezTo>
                  <a:pt x="4197406" y="1278251"/>
                  <a:pt x="4191413" y="1274056"/>
                  <a:pt x="4192612" y="1271060"/>
                </a:cubicBezTo>
                <a:cubicBezTo>
                  <a:pt x="4193211" y="1268064"/>
                  <a:pt x="4193211" y="1264468"/>
                  <a:pt x="4200402" y="1263869"/>
                </a:cubicBezTo>
                <a:cubicBezTo>
                  <a:pt x="4207594" y="1263270"/>
                  <a:pt x="4202200" y="1268663"/>
                  <a:pt x="4200402" y="1269262"/>
                </a:cubicBezTo>
                <a:cubicBezTo>
                  <a:pt x="4196807" y="1271060"/>
                  <a:pt x="4197406" y="1275854"/>
                  <a:pt x="4203998" y="1275854"/>
                </a:cubicBezTo>
                <a:cubicBezTo>
                  <a:pt x="4210590" y="1275854"/>
                  <a:pt x="4208193" y="1279450"/>
                  <a:pt x="4203998" y="1283046"/>
                </a:cubicBezTo>
                <a:cubicBezTo>
                  <a:pt x="4199803" y="1287240"/>
                  <a:pt x="4195608" y="1290836"/>
                  <a:pt x="4198005" y="1293833"/>
                </a:cubicBezTo>
                <a:cubicBezTo>
                  <a:pt x="4200402" y="1296829"/>
                  <a:pt x="4207594" y="1290237"/>
                  <a:pt x="4211189" y="1289638"/>
                </a:cubicBezTo>
                <a:cubicBezTo>
                  <a:pt x="4215384" y="1289038"/>
                  <a:pt x="4219579" y="1284843"/>
                  <a:pt x="4221377" y="1280649"/>
                </a:cubicBezTo>
                <a:cubicBezTo>
                  <a:pt x="4223175" y="1276454"/>
                  <a:pt x="4231565" y="1273457"/>
                  <a:pt x="4227969" y="1278251"/>
                </a:cubicBezTo>
                <a:cubicBezTo>
                  <a:pt x="4224373" y="1283046"/>
                  <a:pt x="4222576" y="1295630"/>
                  <a:pt x="4230366" y="1285443"/>
                </a:cubicBezTo>
                <a:cubicBezTo>
                  <a:pt x="4236359" y="1277053"/>
                  <a:pt x="4230965" y="1277053"/>
                  <a:pt x="4235760" y="1270461"/>
                </a:cubicBezTo>
                <a:cubicBezTo>
                  <a:pt x="4238156" y="1266865"/>
                  <a:pt x="4232763" y="1256078"/>
                  <a:pt x="4241153" y="1265067"/>
                </a:cubicBezTo>
                <a:cubicBezTo>
                  <a:pt x="4248943" y="1273457"/>
                  <a:pt x="4254337" y="1270461"/>
                  <a:pt x="4257932" y="1268663"/>
                </a:cubicBezTo>
                <a:cubicBezTo>
                  <a:pt x="4262127" y="1266266"/>
                  <a:pt x="4262127" y="1267464"/>
                  <a:pt x="4266322" y="1270461"/>
                </a:cubicBezTo>
                <a:cubicBezTo>
                  <a:pt x="4270517" y="1273457"/>
                  <a:pt x="4268720" y="1274056"/>
                  <a:pt x="4269918" y="1278251"/>
                </a:cubicBezTo>
                <a:cubicBezTo>
                  <a:pt x="4270517" y="1282446"/>
                  <a:pt x="4275312" y="1286641"/>
                  <a:pt x="4279507" y="1289038"/>
                </a:cubicBezTo>
                <a:cubicBezTo>
                  <a:pt x="4281304" y="1290237"/>
                  <a:pt x="4284900" y="1295031"/>
                  <a:pt x="4287297" y="1297428"/>
                </a:cubicBezTo>
                <a:cubicBezTo>
                  <a:pt x="4290293" y="1301024"/>
                  <a:pt x="4292091" y="1302822"/>
                  <a:pt x="4291492" y="1305219"/>
                </a:cubicBezTo>
                <a:cubicBezTo>
                  <a:pt x="4289694" y="1310013"/>
                  <a:pt x="4289694" y="1310612"/>
                  <a:pt x="4286098" y="1310612"/>
                </a:cubicBezTo>
                <a:cubicBezTo>
                  <a:pt x="4281903" y="1310612"/>
                  <a:pt x="4280705" y="1310612"/>
                  <a:pt x="4282503" y="1316006"/>
                </a:cubicBezTo>
                <a:cubicBezTo>
                  <a:pt x="4284301" y="1321399"/>
                  <a:pt x="4287896" y="1321399"/>
                  <a:pt x="4289694" y="1323796"/>
                </a:cubicBezTo>
                <a:cubicBezTo>
                  <a:pt x="4292091" y="1326193"/>
                  <a:pt x="4292091" y="1327392"/>
                  <a:pt x="4290293" y="1329190"/>
                </a:cubicBezTo>
                <a:cubicBezTo>
                  <a:pt x="4288496" y="1330988"/>
                  <a:pt x="4290893" y="1333385"/>
                  <a:pt x="4294488" y="1336381"/>
                </a:cubicBezTo>
                <a:cubicBezTo>
                  <a:pt x="4298683" y="1338778"/>
                  <a:pt x="4296885" y="1347767"/>
                  <a:pt x="4290293" y="1352561"/>
                </a:cubicBezTo>
                <a:cubicBezTo>
                  <a:pt x="4283102" y="1357356"/>
                  <a:pt x="4275312" y="1365745"/>
                  <a:pt x="4277109" y="1368742"/>
                </a:cubicBezTo>
                <a:cubicBezTo>
                  <a:pt x="4278907" y="1371738"/>
                  <a:pt x="4277709" y="1372937"/>
                  <a:pt x="4276510" y="1374135"/>
                </a:cubicBezTo>
                <a:cubicBezTo>
                  <a:pt x="4274712" y="1375334"/>
                  <a:pt x="4272315" y="1376532"/>
                  <a:pt x="4273514" y="1382525"/>
                </a:cubicBezTo>
                <a:cubicBezTo>
                  <a:pt x="4274113" y="1387919"/>
                  <a:pt x="4271117" y="1392713"/>
                  <a:pt x="4269319" y="1396308"/>
                </a:cubicBezTo>
                <a:cubicBezTo>
                  <a:pt x="4267521" y="1400503"/>
                  <a:pt x="4265124" y="1408294"/>
                  <a:pt x="4267521" y="1409492"/>
                </a:cubicBezTo>
                <a:cubicBezTo>
                  <a:pt x="4269918" y="1411290"/>
                  <a:pt x="4269319" y="1413687"/>
                  <a:pt x="4266922" y="1416684"/>
                </a:cubicBezTo>
                <a:cubicBezTo>
                  <a:pt x="4264525" y="1419081"/>
                  <a:pt x="4265723" y="1425074"/>
                  <a:pt x="4267521" y="1429868"/>
                </a:cubicBezTo>
                <a:cubicBezTo>
                  <a:pt x="4269319" y="1434662"/>
                  <a:pt x="4266322" y="1441853"/>
                  <a:pt x="4265124" y="1443651"/>
                </a:cubicBezTo>
                <a:cubicBezTo>
                  <a:pt x="4263925" y="1446048"/>
                  <a:pt x="4263326" y="1452041"/>
                  <a:pt x="4263326" y="1455637"/>
                </a:cubicBezTo>
                <a:cubicBezTo>
                  <a:pt x="4263326" y="1459831"/>
                  <a:pt x="4259131" y="1474813"/>
                  <a:pt x="4249543" y="1479607"/>
                </a:cubicBezTo>
                <a:cubicBezTo>
                  <a:pt x="4239954" y="1484402"/>
                  <a:pt x="4236359" y="1497586"/>
                  <a:pt x="4235160" y="1499384"/>
                </a:cubicBezTo>
                <a:cubicBezTo>
                  <a:pt x="4234561" y="1501181"/>
                  <a:pt x="4226770" y="1511369"/>
                  <a:pt x="4221976" y="1513167"/>
                </a:cubicBezTo>
                <a:cubicBezTo>
                  <a:pt x="4217182" y="1514965"/>
                  <a:pt x="4209391" y="1526950"/>
                  <a:pt x="4206994" y="1535939"/>
                </a:cubicBezTo>
                <a:cubicBezTo>
                  <a:pt x="4204597" y="1544928"/>
                  <a:pt x="4195009" y="1554517"/>
                  <a:pt x="4184821" y="1560509"/>
                </a:cubicBezTo>
                <a:cubicBezTo>
                  <a:pt x="4174633" y="1565903"/>
                  <a:pt x="4162048" y="1589275"/>
                  <a:pt x="4156056" y="1593469"/>
                </a:cubicBezTo>
                <a:cubicBezTo>
                  <a:pt x="4150663" y="1597664"/>
                  <a:pt x="4151861" y="1600061"/>
                  <a:pt x="4149464" y="1601260"/>
                </a:cubicBezTo>
                <a:cubicBezTo>
                  <a:pt x="4145868" y="1603657"/>
                  <a:pt x="4142273" y="1606654"/>
                  <a:pt x="4140475" y="1611448"/>
                </a:cubicBezTo>
                <a:cubicBezTo>
                  <a:pt x="4138677" y="1616242"/>
                  <a:pt x="4132684" y="1626429"/>
                  <a:pt x="4124894" y="1631224"/>
                </a:cubicBezTo>
                <a:cubicBezTo>
                  <a:pt x="4117103" y="1636018"/>
                  <a:pt x="4111710" y="1643209"/>
                  <a:pt x="4106316" y="1644408"/>
                </a:cubicBezTo>
                <a:cubicBezTo>
                  <a:pt x="4100923" y="1645606"/>
                  <a:pt x="4096728" y="1656993"/>
                  <a:pt x="4086540" y="1656393"/>
                </a:cubicBezTo>
                <a:cubicBezTo>
                  <a:pt x="4076352" y="1655794"/>
                  <a:pt x="4070959" y="1665982"/>
                  <a:pt x="4063168" y="1658191"/>
                </a:cubicBezTo>
                <a:cubicBezTo>
                  <a:pt x="4055378" y="1650400"/>
                  <a:pt x="4051183" y="1659989"/>
                  <a:pt x="4046389" y="1646206"/>
                </a:cubicBezTo>
                <a:cubicBezTo>
                  <a:pt x="4044591" y="1640812"/>
                  <a:pt x="4042793" y="1639614"/>
                  <a:pt x="4039797" y="1639614"/>
                </a:cubicBezTo>
                <a:cubicBezTo>
                  <a:pt x="4035602" y="1639614"/>
                  <a:pt x="4031407" y="1640213"/>
                  <a:pt x="4030208" y="1645606"/>
                </a:cubicBezTo>
                <a:cubicBezTo>
                  <a:pt x="4028410" y="1653397"/>
                  <a:pt x="4022418" y="1654595"/>
                  <a:pt x="4022418" y="1657592"/>
                </a:cubicBezTo>
                <a:cubicBezTo>
                  <a:pt x="4022418" y="1660588"/>
                  <a:pt x="4021219" y="1661787"/>
                  <a:pt x="4017024" y="1661187"/>
                </a:cubicBezTo>
                <a:cubicBezTo>
                  <a:pt x="4013429" y="1660588"/>
                  <a:pt x="4009234" y="1662386"/>
                  <a:pt x="4009234" y="1665982"/>
                </a:cubicBezTo>
                <a:cubicBezTo>
                  <a:pt x="4009234" y="1666581"/>
                  <a:pt x="4009833" y="1666581"/>
                  <a:pt x="4009833" y="1667180"/>
                </a:cubicBezTo>
                <a:cubicBezTo>
                  <a:pt x="4010432" y="1669577"/>
                  <a:pt x="4008635" y="1671375"/>
                  <a:pt x="4008635" y="1671375"/>
                </a:cubicBezTo>
                <a:cubicBezTo>
                  <a:pt x="4008635" y="1671375"/>
                  <a:pt x="4006237" y="1673772"/>
                  <a:pt x="4003241" y="1671375"/>
                </a:cubicBezTo>
                <a:cubicBezTo>
                  <a:pt x="4000844" y="1668978"/>
                  <a:pt x="3996050" y="1671974"/>
                  <a:pt x="3996050" y="1674371"/>
                </a:cubicBezTo>
                <a:cubicBezTo>
                  <a:pt x="3995450" y="1676769"/>
                  <a:pt x="3993054" y="1679765"/>
                  <a:pt x="3988859" y="1681563"/>
                </a:cubicBezTo>
                <a:cubicBezTo>
                  <a:pt x="3984664" y="1683361"/>
                  <a:pt x="3985862" y="1686956"/>
                  <a:pt x="3983465" y="1689953"/>
                </a:cubicBezTo>
                <a:cubicBezTo>
                  <a:pt x="3981068" y="1692949"/>
                  <a:pt x="3978072" y="1698342"/>
                  <a:pt x="3979270" y="1704934"/>
                </a:cubicBezTo>
                <a:cubicBezTo>
                  <a:pt x="3979869" y="1712126"/>
                  <a:pt x="3981667" y="1720516"/>
                  <a:pt x="3971479" y="1722913"/>
                </a:cubicBezTo>
                <a:cubicBezTo>
                  <a:pt x="3961292" y="1725310"/>
                  <a:pt x="3953501" y="1734898"/>
                  <a:pt x="3952303" y="1739692"/>
                </a:cubicBezTo>
                <a:cubicBezTo>
                  <a:pt x="3951104" y="1743887"/>
                  <a:pt x="3935523" y="1749880"/>
                  <a:pt x="3931928" y="1751079"/>
                </a:cubicBezTo>
                <a:cubicBezTo>
                  <a:pt x="3927733" y="1752277"/>
                  <a:pt x="3922339" y="1755873"/>
                  <a:pt x="3922339" y="1765461"/>
                </a:cubicBezTo>
                <a:cubicBezTo>
                  <a:pt x="3922339" y="1775050"/>
                  <a:pt x="3911552" y="1775649"/>
                  <a:pt x="3919343" y="1778046"/>
                </a:cubicBezTo>
                <a:cubicBezTo>
                  <a:pt x="3921740" y="1778645"/>
                  <a:pt x="3928931" y="1787634"/>
                  <a:pt x="3929530" y="1790031"/>
                </a:cubicBezTo>
                <a:cubicBezTo>
                  <a:pt x="3931328" y="1793627"/>
                  <a:pt x="3929530" y="1794826"/>
                  <a:pt x="3933725" y="1794226"/>
                </a:cubicBezTo>
                <a:cubicBezTo>
                  <a:pt x="3935523" y="1793627"/>
                  <a:pt x="3937321" y="1794226"/>
                  <a:pt x="3938519" y="1796623"/>
                </a:cubicBezTo>
                <a:cubicBezTo>
                  <a:pt x="3939119" y="1797822"/>
                  <a:pt x="3939119" y="1799021"/>
                  <a:pt x="3938519" y="1800818"/>
                </a:cubicBezTo>
                <a:cubicBezTo>
                  <a:pt x="3937920" y="1805013"/>
                  <a:pt x="3963689" y="1836175"/>
                  <a:pt x="3962490" y="1862544"/>
                </a:cubicBezTo>
                <a:cubicBezTo>
                  <a:pt x="3961891" y="1878724"/>
                  <a:pt x="3960693" y="1879323"/>
                  <a:pt x="3958295" y="1881121"/>
                </a:cubicBezTo>
                <a:cubicBezTo>
                  <a:pt x="3955898" y="1882919"/>
                  <a:pt x="3956498" y="1883518"/>
                  <a:pt x="3958295" y="1885316"/>
                </a:cubicBezTo>
                <a:cubicBezTo>
                  <a:pt x="3960093" y="1887713"/>
                  <a:pt x="3958895" y="1902695"/>
                  <a:pt x="3954101" y="1903294"/>
                </a:cubicBezTo>
                <a:cubicBezTo>
                  <a:pt x="3949306" y="1903893"/>
                  <a:pt x="3951703" y="1913482"/>
                  <a:pt x="3942115" y="1914081"/>
                </a:cubicBezTo>
                <a:cubicBezTo>
                  <a:pt x="3931928" y="1914680"/>
                  <a:pt x="3931328" y="1918276"/>
                  <a:pt x="3929530" y="1920673"/>
                </a:cubicBezTo>
                <a:cubicBezTo>
                  <a:pt x="3927733" y="1923070"/>
                  <a:pt x="3924137" y="1923070"/>
                  <a:pt x="3919942" y="1923070"/>
                </a:cubicBezTo>
                <a:cubicBezTo>
                  <a:pt x="3915747" y="1922471"/>
                  <a:pt x="3911552" y="1923070"/>
                  <a:pt x="3913350" y="1925467"/>
                </a:cubicBezTo>
                <a:cubicBezTo>
                  <a:pt x="3915148" y="1927864"/>
                  <a:pt x="3909754" y="1932059"/>
                  <a:pt x="3907357" y="1926066"/>
                </a:cubicBezTo>
                <a:cubicBezTo>
                  <a:pt x="3906159" y="1923070"/>
                  <a:pt x="3902563" y="1925467"/>
                  <a:pt x="3903162" y="1930261"/>
                </a:cubicBezTo>
                <a:cubicBezTo>
                  <a:pt x="3903762" y="1934456"/>
                  <a:pt x="3902563" y="1935056"/>
                  <a:pt x="3899567" y="1937453"/>
                </a:cubicBezTo>
                <a:cubicBezTo>
                  <a:pt x="3896570" y="1939850"/>
                  <a:pt x="3894173" y="1935655"/>
                  <a:pt x="3897170" y="1933857"/>
                </a:cubicBezTo>
                <a:cubicBezTo>
                  <a:pt x="3900166" y="1931460"/>
                  <a:pt x="3896570" y="1926666"/>
                  <a:pt x="3892375" y="1933258"/>
                </a:cubicBezTo>
                <a:cubicBezTo>
                  <a:pt x="3889978" y="1937453"/>
                  <a:pt x="3888181" y="1940449"/>
                  <a:pt x="3885783" y="1938651"/>
                </a:cubicBezTo>
                <a:cubicBezTo>
                  <a:pt x="3883386" y="1936254"/>
                  <a:pt x="3880989" y="1939251"/>
                  <a:pt x="3879191" y="1941048"/>
                </a:cubicBezTo>
                <a:cubicBezTo>
                  <a:pt x="3877393" y="1942846"/>
                  <a:pt x="3874997" y="1942247"/>
                  <a:pt x="3874997" y="1939850"/>
                </a:cubicBezTo>
                <a:cubicBezTo>
                  <a:pt x="3874997" y="1937453"/>
                  <a:pt x="3870202" y="1929662"/>
                  <a:pt x="3871401" y="1923070"/>
                </a:cubicBezTo>
                <a:cubicBezTo>
                  <a:pt x="3872599" y="1916478"/>
                  <a:pt x="3868404" y="1914680"/>
                  <a:pt x="3870802" y="1912883"/>
                </a:cubicBezTo>
                <a:cubicBezTo>
                  <a:pt x="3873199" y="1910485"/>
                  <a:pt x="3874997" y="1920074"/>
                  <a:pt x="3876195" y="1912283"/>
                </a:cubicBezTo>
                <a:cubicBezTo>
                  <a:pt x="3876794" y="1907489"/>
                  <a:pt x="3878592" y="1906890"/>
                  <a:pt x="3881588" y="1903893"/>
                </a:cubicBezTo>
                <a:cubicBezTo>
                  <a:pt x="3886382" y="1899698"/>
                  <a:pt x="3876794" y="1901496"/>
                  <a:pt x="3883386" y="1893706"/>
                </a:cubicBezTo>
                <a:cubicBezTo>
                  <a:pt x="3888181" y="1888312"/>
                  <a:pt x="3883386" y="1890110"/>
                  <a:pt x="3886382" y="1886515"/>
                </a:cubicBezTo>
                <a:cubicBezTo>
                  <a:pt x="3889379" y="1882320"/>
                  <a:pt x="3886982" y="1881720"/>
                  <a:pt x="3883986" y="1882320"/>
                </a:cubicBezTo>
                <a:cubicBezTo>
                  <a:pt x="3881588" y="1882919"/>
                  <a:pt x="3881588" y="1879323"/>
                  <a:pt x="3882188" y="1876926"/>
                </a:cubicBezTo>
                <a:cubicBezTo>
                  <a:pt x="3882787" y="1874529"/>
                  <a:pt x="3878592" y="1869135"/>
                  <a:pt x="3879791" y="1864941"/>
                </a:cubicBezTo>
                <a:cubicBezTo>
                  <a:pt x="3880989" y="1860746"/>
                  <a:pt x="3879791" y="1859547"/>
                  <a:pt x="3876794" y="1860146"/>
                </a:cubicBezTo>
                <a:cubicBezTo>
                  <a:pt x="3873798" y="1860746"/>
                  <a:pt x="3869603" y="1858948"/>
                  <a:pt x="3874397" y="1852356"/>
                </a:cubicBezTo>
                <a:cubicBezTo>
                  <a:pt x="3879191" y="1845764"/>
                  <a:pt x="3881588" y="1849359"/>
                  <a:pt x="3882787" y="1840370"/>
                </a:cubicBezTo>
                <a:cubicBezTo>
                  <a:pt x="3883386" y="1833179"/>
                  <a:pt x="3879791" y="1830183"/>
                  <a:pt x="3880989" y="1827186"/>
                </a:cubicBezTo>
                <a:cubicBezTo>
                  <a:pt x="3881588" y="1825988"/>
                  <a:pt x="3881588" y="1823591"/>
                  <a:pt x="3880989" y="1822392"/>
                </a:cubicBezTo>
                <a:cubicBezTo>
                  <a:pt x="3880989" y="1822392"/>
                  <a:pt x="3880989" y="1822392"/>
                  <a:pt x="3880989" y="1822392"/>
                </a:cubicBezTo>
                <a:cubicBezTo>
                  <a:pt x="3880989" y="1822392"/>
                  <a:pt x="3880390" y="1822392"/>
                  <a:pt x="3880390" y="1822392"/>
                </a:cubicBezTo>
                <a:cubicBezTo>
                  <a:pt x="3879191" y="1820594"/>
                  <a:pt x="3877993" y="1819995"/>
                  <a:pt x="3874397" y="1820594"/>
                </a:cubicBezTo>
                <a:cubicBezTo>
                  <a:pt x="3872000" y="1821194"/>
                  <a:pt x="3869004" y="1819396"/>
                  <a:pt x="3867206" y="1817598"/>
                </a:cubicBezTo>
                <a:cubicBezTo>
                  <a:pt x="3864809" y="1815800"/>
                  <a:pt x="3862412" y="1815800"/>
                  <a:pt x="3860614" y="1820594"/>
                </a:cubicBezTo>
                <a:cubicBezTo>
                  <a:pt x="3858816" y="1825389"/>
                  <a:pt x="3852224" y="1820594"/>
                  <a:pt x="3849228" y="1818796"/>
                </a:cubicBezTo>
                <a:cubicBezTo>
                  <a:pt x="3846831" y="1816999"/>
                  <a:pt x="3846231" y="1813403"/>
                  <a:pt x="3849228" y="1811605"/>
                </a:cubicBezTo>
                <a:cubicBezTo>
                  <a:pt x="3852224" y="1809807"/>
                  <a:pt x="3850426" y="1806212"/>
                  <a:pt x="3845632" y="1808609"/>
                </a:cubicBezTo>
                <a:cubicBezTo>
                  <a:pt x="3840838" y="1811006"/>
                  <a:pt x="3839040" y="1808010"/>
                  <a:pt x="3842636" y="1805013"/>
                </a:cubicBezTo>
                <a:cubicBezTo>
                  <a:pt x="3846231" y="1802017"/>
                  <a:pt x="3841437" y="1801418"/>
                  <a:pt x="3844433" y="1796024"/>
                </a:cubicBezTo>
                <a:cubicBezTo>
                  <a:pt x="3848029" y="1789432"/>
                  <a:pt x="3855820" y="1788233"/>
                  <a:pt x="3851026" y="1787634"/>
                </a:cubicBezTo>
                <a:cubicBezTo>
                  <a:pt x="3847430" y="1787035"/>
                  <a:pt x="3848628" y="1774450"/>
                  <a:pt x="3855820" y="1776248"/>
                </a:cubicBezTo>
                <a:cubicBezTo>
                  <a:pt x="3861812" y="1777447"/>
                  <a:pt x="3863610" y="1760667"/>
                  <a:pt x="3857018" y="1760667"/>
                </a:cubicBezTo>
                <a:cubicBezTo>
                  <a:pt x="3854621" y="1760667"/>
                  <a:pt x="3848628" y="1752277"/>
                  <a:pt x="3846231" y="1757071"/>
                </a:cubicBezTo>
                <a:cubicBezTo>
                  <a:pt x="3841437" y="1761266"/>
                  <a:pt x="3838441" y="1754075"/>
                  <a:pt x="3833646" y="1752277"/>
                </a:cubicBezTo>
                <a:lnTo>
                  <a:pt x="3833646" y="1751678"/>
                </a:lnTo>
                <a:cubicBezTo>
                  <a:pt x="3831849" y="1752277"/>
                  <a:pt x="3829451" y="1753476"/>
                  <a:pt x="3829451" y="1754075"/>
                </a:cubicBezTo>
                <a:cubicBezTo>
                  <a:pt x="3826455" y="1757071"/>
                  <a:pt x="3811473" y="1748682"/>
                  <a:pt x="3810275" y="1754674"/>
                </a:cubicBezTo>
                <a:cubicBezTo>
                  <a:pt x="3809675" y="1757071"/>
                  <a:pt x="3800087" y="1757071"/>
                  <a:pt x="3796491" y="1757071"/>
                </a:cubicBezTo>
                <a:cubicBezTo>
                  <a:pt x="3792297" y="1757071"/>
                  <a:pt x="3780311" y="1764263"/>
                  <a:pt x="3776715" y="1770255"/>
                </a:cubicBezTo>
                <a:cubicBezTo>
                  <a:pt x="3772520" y="1776248"/>
                  <a:pt x="3763531" y="1782241"/>
                  <a:pt x="3756939" y="1783439"/>
                </a:cubicBezTo>
                <a:cubicBezTo>
                  <a:pt x="3750947" y="1784638"/>
                  <a:pt x="3744954" y="1786436"/>
                  <a:pt x="3749748" y="1777447"/>
                </a:cubicBezTo>
                <a:cubicBezTo>
                  <a:pt x="3755142" y="1769057"/>
                  <a:pt x="3764730" y="1775649"/>
                  <a:pt x="3768326" y="1766060"/>
                </a:cubicBezTo>
                <a:cubicBezTo>
                  <a:pt x="3772520" y="1756472"/>
                  <a:pt x="3760535" y="1765461"/>
                  <a:pt x="3764131" y="1758869"/>
                </a:cubicBezTo>
                <a:cubicBezTo>
                  <a:pt x="3768326" y="1751678"/>
                  <a:pt x="3763531" y="1746884"/>
                  <a:pt x="3772520" y="1745685"/>
                </a:cubicBezTo>
                <a:cubicBezTo>
                  <a:pt x="3781510" y="1743887"/>
                  <a:pt x="3775517" y="1740292"/>
                  <a:pt x="3782708" y="1734299"/>
                </a:cubicBezTo>
                <a:cubicBezTo>
                  <a:pt x="3791697" y="1725909"/>
                  <a:pt x="3780311" y="1724711"/>
                  <a:pt x="3780910" y="1715122"/>
                </a:cubicBezTo>
                <a:cubicBezTo>
                  <a:pt x="3781510" y="1704934"/>
                  <a:pt x="3780910" y="1703736"/>
                  <a:pt x="3775517" y="1707931"/>
                </a:cubicBezTo>
                <a:cubicBezTo>
                  <a:pt x="3770124" y="1712725"/>
                  <a:pt x="3767127" y="1710328"/>
                  <a:pt x="3764131" y="1710927"/>
                </a:cubicBezTo>
                <a:cubicBezTo>
                  <a:pt x="3761134" y="1711526"/>
                  <a:pt x="3750947" y="1712126"/>
                  <a:pt x="3742557" y="1726508"/>
                </a:cubicBezTo>
                <a:cubicBezTo>
                  <a:pt x="3735366" y="1738494"/>
                  <a:pt x="3727575" y="1737295"/>
                  <a:pt x="3722781" y="1738494"/>
                </a:cubicBezTo>
                <a:cubicBezTo>
                  <a:pt x="3717987" y="1739093"/>
                  <a:pt x="3702406" y="1745685"/>
                  <a:pt x="3701806" y="1753476"/>
                </a:cubicBezTo>
                <a:cubicBezTo>
                  <a:pt x="3701207" y="1760667"/>
                  <a:pt x="3688622" y="1764263"/>
                  <a:pt x="3685626" y="1764263"/>
                </a:cubicBezTo>
                <a:cubicBezTo>
                  <a:pt x="3682629" y="1764263"/>
                  <a:pt x="3678435" y="1767259"/>
                  <a:pt x="3677236" y="1769656"/>
                </a:cubicBezTo>
                <a:cubicBezTo>
                  <a:pt x="3676037" y="1772053"/>
                  <a:pt x="3670644" y="1770855"/>
                  <a:pt x="3670644" y="1767259"/>
                </a:cubicBezTo>
                <a:cubicBezTo>
                  <a:pt x="3670644" y="1763663"/>
                  <a:pt x="3667048" y="1757671"/>
                  <a:pt x="3663453" y="1761266"/>
                </a:cubicBezTo>
                <a:cubicBezTo>
                  <a:pt x="3659258" y="1764862"/>
                  <a:pt x="3663453" y="1772652"/>
                  <a:pt x="3658658" y="1776847"/>
                </a:cubicBezTo>
                <a:cubicBezTo>
                  <a:pt x="3653864" y="1781042"/>
                  <a:pt x="3651467" y="1791230"/>
                  <a:pt x="3657460" y="1798421"/>
                </a:cubicBezTo>
                <a:cubicBezTo>
                  <a:pt x="3662853" y="1805613"/>
                  <a:pt x="3663453" y="1805613"/>
                  <a:pt x="3670644" y="1804414"/>
                </a:cubicBezTo>
                <a:cubicBezTo>
                  <a:pt x="3681431" y="1802017"/>
                  <a:pt x="3676037" y="1811006"/>
                  <a:pt x="3684427" y="1809807"/>
                </a:cubicBezTo>
                <a:cubicBezTo>
                  <a:pt x="3688622" y="1809208"/>
                  <a:pt x="3692817" y="1815201"/>
                  <a:pt x="3688023" y="1819995"/>
                </a:cubicBezTo>
                <a:cubicBezTo>
                  <a:pt x="3683229" y="1824190"/>
                  <a:pt x="3677835" y="1831381"/>
                  <a:pt x="3689222" y="1836775"/>
                </a:cubicBezTo>
                <a:cubicBezTo>
                  <a:pt x="3700608" y="1842168"/>
                  <a:pt x="3708398" y="1839172"/>
                  <a:pt x="3710795" y="1831981"/>
                </a:cubicBezTo>
                <a:cubicBezTo>
                  <a:pt x="3713193" y="1824789"/>
                  <a:pt x="3719185" y="1831381"/>
                  <a:pt x="3723380" y="1824190"/>
                </a:cubicBezTo>
                <a:cubicBezTo>
                  <a:pt x="3727575" y="1816999"/>
                  <a:pt x="3729373" y="1816399"/>
                  <a:pt x="3735366" y="1816399"/>
                </a:cubicBezTo>
                <a:cubicBezTo>
                  <a:pt x="3741358" y="1816399"/>
                  <a:pt x="3739560" y="1816999"/>
                  <a:pt x="3742557" y="1818796"/>
                </a:cubicBezTo>
                <a:cubicBezTo>
                  <a:pt x="3744954" y="1820594"/>
                  <a:pt x="3746752" y="1822392"/>
                  <a:pt x="3749149" y="1820594"/>
                </a:cubicBezTo>
                <a:cubicBezTo>
                  <a:pt x="3753344" y="1818197"/>
                  <a:pt x="3753344" y="1820594"/>
                  <a:pt x="3753344" y="1823591"/>
                </a:cubicBezTo>
                <a:cubicBezTo>
                  <a:pt x="3753344" y="1826587"/>
                  <a:pt x="3754542" y="1828984"/>
                  <a:pt x="3760535" y="1825988"/>
                </a:cubicBezTo>
                <a:cubicBezTo>
                  <a:pt x="3765929" y="1822991"/>
                  <a:pt x="3767726" y="1826587"/>
                  <a:pt x="3772520" y="1826587"/>
                </a:cubicBezTo>
                <a:cubicBezTo>
                  <a:pt x="3777914" y="1826587"/>
                  <a:pt x="3784506" y="1825389"/>
                  <a:pt x="3780910" y="1830183"/>
                </a:cubicBezTo>
                <a:cubicBezTo>
                  <a:pt x="3776715" y="1834977"/>
                  <a:pt x="3779113" y="1838573"/>
                  <a:pt x="3775517" y="1840970"/>
                </a:cubicBezTo>
                <a:cubicBezTo>
                  <a:pt x="3771322" y="1843367"/>
                  <a:pt x="3771322" y="1845164"/>
                  <a:pt x="3776116" y="1844565"/>
                </a:cubicBezTo>
                <a:cubicBezTo>
                  <a:pt x="3780910" y="1843966"/>
                  <a:pt x="3780311" y="1846962"/>
                  <a:pt x="3775517" y="1848760"/>
                </a:cubicBezTo>
                <a:cubicBezTo>
                  <a:pt x="3770723" y="1850558"/>
                  <a:pt x="3770124" y="1848161"/>
                  <a:pt x="3767127" y="1849359"/>
                </a:cubicBezTo>
                <a:cubicBezTo>
                  <a:pt x="3764131" y="1849959"/>
                  <a:pt x="3759337" y="1848760"/>
                  <a:pt x="3758138" y="1851157"/>
                </a:cubicBezTo>
                <a:cubicBezTo>
                  <a:pt x="3756939" y="1853554"/>
                  <a:pt x="3749748" y="1851757"/>
                  <a:pt x="3747351" y="1854154"/>
                </a:cubicBezTo>
                <a:cubicBezTo>
                  <a:pt x="3744954" y="1856551"/>
                  <a:pt x="3739560" y="1855352"/>
                  <a:pt x="3736564" y="1853554"/>
                </a:cubicBezTo>
                <a:cubicBezTo>
                  <a:pt x="3733568" y="1851757"/>
                  <a:pt x="3722182" y="1856551"/>
                  <a:pt x="3720384" y="1862544"/>
                </a:cubicBezTo>
                <a:cubicBezTo>
                  <a:pt x="3718586" y="1868536"/>
                  <a:pt x="3724579" y="1877525"/>
                  <a:pt x="3717987" y="1877525"/>
                </a:cubicBezTo>
                <a:cubicBezTo>
                  <a:pt x="3711395" y="1877525"/>
                  <a:pt x="3707799" y="1881121"/>
                  <a:pt x="3707200" y="1882919"/>
                </a:cubicBezTo>
                <a:cubicBezTo>
                  <a:pt x="3706600" y="1885316"/>
                  <a:pt x="3703604" y="1885316"/>
                  <a:pt x="3701207" y="1885316"/>
                </a:cubicBezTo>
                <a:cubicBezTo>
                  <a:pt x="3698810" y="1885316"/>
                  <a:pt x="3691618" y="1891309"/>
                  <a:pt x="3689222" y="1895504"/>
                </a:cubicBezTo>
                <a:cubicBezTo>
                  <a:pt x="3686824" y="1899698"/>
                  <a:pt x="3686824" y="1903294"/>
                  <a:pt x="3683828" y="1907489"/>
                </a:cubicBezTo>
                <a:cubicBezTo>
                  <a:pt x="3680832" y="1911684"/>
                  <a:pt x="3676637" y="1924269"/>
                  <a:pt x="3692218" y="1928464"/>
                </a:cubicBezTo>
                <a:cubicBezTo>
                  <a:pt x="3707200" y="1932659"/>
                  <a:pt x="3717388" y="1960225"/>
                  <a:pt x="3719185" y="1975207"/>
                </a:cubicBezTo>
                <a:cubicBezTo>
                  <a:pt x="3720983" y="1990189"/>
                  <a:pt x="3716189" y="1994384"/>
                  <a:pt x="3720983" y="1996182"/>
                </a:cubicBezTo>
                <a:cubicBezTo>
                  <a:pt x="3725777" y="1997979"/>
                  <a:pt x="3728174" y="2005171"/>
                  <a:pt x="3729373" y="2008167"/>
                </a:cubicBezTo>
                <a:cubicBezTo>
                  <a:pt x="3731770" y="2013561"/>
                  <a:pt x="3733568" y="2013561"/>
                  <a:pt x="3737763" y="2016557"/>
                </a:cubicBezTo>
                <a:cubicBezTo>
                  <a:pt x="3740759" y="2018954"/>
                  <a:pt x="3744355" y="2028542"/>
                  <a:pt x="3735366" y="2024947"/>
                </a:cubicBezTo>
                <a:cubicBezTo>
                  <a:pt x="3726976" y="2020752"/>
                  <a:pt x="3720384" y="2020153"/>
                  <a:pt x="3717987" y="2018355"/>
                </a:cubicBezTo>
                <a:cubicBezTo>
                  <a:pt x="3717987" y="2018355"/>
                  <a:pt x="3706001" y="2015958"/>
                  <a:pt x="3712593" y="2022550"/>
                </a:cubicBezTo>
                <a:cubicBezTo>
                  <a:pt x="3719185" y="2028542"/>
                  <a:pt x="3724579" y="2027943"/>
                  <a:pt x="3729972" y="2035734"/>
                </a:cubicBezTo>
                <a:cubicBezTo>
                  <a:pt x="3735366" y="2043524"/>
                  <a:pt x="3735366" y="2045921"/>
                  <a:pt x="3735366" y="2050716"/>
                </a:cubicBezTo>
                <a:cubicBezTo>
                  <a:pt x="3735366" y="2055510"/>
                  <a:pt x="3732369" y="2056109"/>
                  <a:pt x="3729972" y="2056109"/>
                </a:cubicBezTo>
                <a:cubicBezTo>
                  <a:pt x="3727575" y="2056109"/>
                  <a:pt x="3726976" y="2056708"/>
                  <a:pt x="3725178" y="2057907"/>
                </a:cubicBezTo>
                <a:cubicBezTo>
                  <a:pt x="3723380" y="2059105"/>
                  <a:pt x="3720983" y="2060304"/>
                  <a:pt x="3718586" y="2059105"/>
                </a:cubicBezTo>
                <a:cubicBezTo>
                  <a:pt x="3716189" y="2058506"/>
                  <a:pt x="3714391" y="2060903"/>
                  <a:pt x="3713193" y="2062701"/>
                </a:cubicBezTo>
                <a:cubicBezTo>
                  <a:pt x="3711395" y="2064499"/>
                  <a:pt x="3709597" y="2064499"/>
                  <a:pt x="3706600" y="2063899"/>
                </a:cubicBezTo>
                <a:cubicBezTo>
                  <a:pt x="3703604" y="2063300"/>
                  <a:pt x="3701207" y="2064499"/>
                  <a:pt x="3702406" y="2067495"/>
                </a:cubicBezTo>
                <a:cubicBezTo>
                  <a:pt x="3703604" y="2069892"/>
                  <a:pt x="3703604" y="2068694"/>
                  <a:pt x="3703604" y="2071690"/>
                </a:cubicBezTo>
                <a:cubicBezTo>
                  <a:pt x="3703604" y="2074087"/>
                  <a:pt x="3705402" y="2076484"/>
                  <a:pt x="3708998" y="2072289"/>
                </a:cubicBezTo>
                <a:cubicBezTo>
                  <a:pt x="3713193" y="2068094"/>
                  <a:pt x="3722182" y="2068694"/>
                  <a:pt x="3723380" y="2074687"/>
                </a:cubicBezTo>
                <a:cubicBezTo>
                  <a:pt x="3723979" y="2080080"/>
                  <a:pt x="3723380" y="2086073"/>
                  <a:pt x="3731770" y="2084874"/>
                </a:cubicBezTo>
                <a:cubicBezTo>
                  <a:pt x="3740160" y="2084275"/>
                  <a:pt x="3740160" y="2088470"/>
                  <a:pt x="3732969" y="2089069"/>
                </a:cubicBezTo>
                <a:cubicBezTo>
                  <a:pt x="3725777" y="2089668"/>
                  <a:pt x="3722781" y="2101055"/>
                  <a:pt x="3731770" y="2095062"/>
                </a:cubicBezTo>
                <a:cubicBezTo>
                  <a:pt x="3740160" y="2089668"/>
                  <a:pt x="3733568" y="2100455"/>
                  <a:pt x="3731770" y="2102253"/>
                </a:cubicBezTo>
                <a:cubicBezTo>
                  <a:pt x="3729972" y="2104051"/>
                  <a:pt x="3731171" y="2109444"/>
                  <a:pt x="3725178" y="2107047"/>
                </a:cubicBezTo>
                <a:cubicBezTo>
                  <a:pt x="3719784" y="2104650"/>
                  <a:pt x="3718586" y="2109444"/>
                  <a:pt x="3723380" y="2111242"/>
                </a:cubicBezTo>
                <a:cubicBezTo>
                  <a:pt x="3728174" y="2113040"/>
                  <a:pt x="3723979" y="2120831"/>
                  <a:pt x="3719784" y="2120831"/>
                </a:cubicBezTo>
                <a:cubicBezTo>
                  <a:pt x="3715589" y="2120831"/>
                  <a:pt x="3712593" y="2120831"/>
                  <a:pt x="3716189" y="2126224"/>
                </a:cubicBezTo>
                <a:cubicBezTo>
                  <a:pt x="3719784" y="2131618"/>
                  <a:pt x="3728174" y="2135812"/>
                  <a:pt x="3721582" y="2136412"/>
                </a:cubicBezTo>
                <a:cubicBezTo>
                  <a:pt x="3715589" y="2137011"/>
                  <a:pt x="3716189" y="2147798"/>
                  <a:pt x="3713193" y="2138210"/>
                </a:cubicBezTo>
                <a:cubicBezTo>
                  <a:pt x="3710196" y="2128621"/>
                  <a:pt x="3707799" y="2135213"/>
                  <a:pt x="3707799" y="2137610"/>
                </a:cubicBezTo>
                <a:cubicBezTo>
                  <a:pt x="3707200" y="2140007"/>
                  <a:pt x="3704803" y="2141805"/>
                  <a:pt x="3701207" y="2143004"/>
                </a:cubicBezTo>
                <a:cubicBezTo>
                  <a:pt x="3697611" y="2144202"/>
                  <a:pt x="3697012" y="2144802"/>
                  <a:pt x="3697012" y="2147798"/>
                </a:cubicBezTo>
                <a:cubicBezTo>
                  <a:pt x="3697012" y="2150794"/>
                  <a:pt x="3692817" y="2154989"/>
                  <a:pt x="3695214" y="2157986"/>
                </a:cubicBezTo>
                <a:cubicBezTo>
                  <a:pt x="3697611" y="2160982"/>
                  <a:pt x="3695813" y="2162780"/>
                  <a:pt x="3694016" y="2163379"/>
                </a:cubicBezTo>
                <a:cubicBezTo>
                  <a:pt x="3692218" y="2163978"/>
                  <a:pt x="3690420" y="2166375"/>
                  <a:pt x="3690420" y="2168173"/>
                </a:cubicBezTo>
                <a:cubicBezTo>
                  <a:pt x="3690420" y="2169971"/>
                  <a:pt x="3682629" y="2177762"/>
                  <a:pt x="3679034" y="2180159"/>
                </a:cubicBezTo>
                <a:cubicBezTo>
                  <a:pt x="3676037" y="2181957"/>
                  <a:pt x="3676037" y="2185552"/>
                  <a:pt x="3674240" y="2189148"/>
                </a:cubicBezTo>
                <a:cubicBezTo>
                  <a:pt x="3672442" y="2192743"/>
                  <a:pt x="3668247" y="2191545"/>
                  <a:pt x="3670644" y="2187949"/>
                </a:cubicBezTo>
                <a:cubicBezTo>
                  <a:pt x="3673041" y="2184354"/>
                  <a:pt x="3669446" y="2184354"/>
                  <a:pt x="3665850" y="2187350"/>
                </a:cubicBezTo>
                <a:cubicBezTo>
                  <a:pt x="3662254" y="2189747"/>
                  <a:pt x="3656262" y="2189148"/>
                  <a:pt x="3663453" y="2192743"/>
                </a:cubicBezTo>
                <a:cubicBezTo>
                  <a:pt x="3670644" y="2196938"/>
                  <a:pt x="3665850" y="2197538"/>
                  <a:pt x="3664052" y="2196938"/>
                </a:cubicBezTo>
                <a:cubicBezTo>
                  <a:pt x="3661655" y="2196339"/>
                  <a:pt x="3659857" y="2204130"/>
                  <a:pt x="3664651" y="2202332"/>
                </a:cubicBezTo>
                <a:cubicBezTo>
                  <a:pt x="3668846" y="2200534"/>
                  <a:pt x="3670045" y="2204729"/>
                  <a:pt x="3665251" y="2205928"/>
                </a:cubicBezTo>
                <a:cubicBezTo>
                  <a:pt x="3660457" y="2207126"/>
                  <a:pt x="3661056" y="2211321"/>
                  <a:pt x="3662853" y="2211920"/>
                </a:cubicBezTo>
                <a:cubicBezTo>
                  <a:pt x="3664651" y="2212520"/>
                  <a:pt x="3665251" y="2217314"/>
                  <a:pt x="3662853" y="2219112"/>
                </a:cubicBezTo>
                <a:cubicBezTo>
                  <a:pt x="3660457" y="2221509"/>
                  <a:pt x="3659258" y="2225704"/>
                  <a:pt x="3662254" y="2229899"/>
                </a:cubicBezTo>
                <a:cubicBezTo>
                  <a:pt x="3664052" y="2233494"/>
                  <a:pt x="3662853" y="2235292"/>
                  <a:pt x="3661056" y="2235891"/>
                </a:cubicBezTo>
                <a:cubicBezTo>
                  <a:pt x="3658658" y="2237090"/>
                  <a:pt x="3655662" y="2236491"/>
                  <a:pt x="3656861" y="2231696"/>
                </a:cubicBezTo>
                <a:cubicBezTo>
                  <a:pt x="3658059" y="2223306"/>
                  <a:pt x="3641280" y="2238288"/>
                  <a:pt x="3648471" y="2237689"/>
                </a:cubicBezTo>
                <a:cubicBezTo>
                  <a:pt x="3653864" y="2237090"/>
                  <a:pt x="3653864" y="2242483"/>
                  <a:pt x="3649669" y="2242483"/>
                </a:cubicBezTo>
                <a:cubicBezTo>
                  <a:pt x="3646074" y="2242483"/>
                  <a:pt x="3644875" y="2243083"/>
                  <a:pt x="3644276" y="2240086"/>
                </a:cubicBezTo>
                <a:cubicBezTo>
                  <a:pt x="3643677" y="2237090"/>
                  <a:pt x="3638283" y="2237689"/>
                  <a:pt x="3640081" y="2240685"/>
                </a:cubicBezTo>
                <a:cubicBezTo>
                  <a:pt x="3641879" y="2243682"/>
                  <a:pt x="3641280" y="2244880"/>
                  <a:pt x="3639482" y="2244880"/>
                </a:cubicBezTo>
                <a:cubicBezTo>
                  <a:pt x="3637684" y="2245480"/>
                  <a:pt x="3637684" y="2249075"/>
                  <a:pt x="3642478" y="2249674"/>
                </a:cubicBezTo>
                <a:cubicBezTo>
                  <a:pt x="3647272" y="2250274"/>
                  <a:pt x="3643077" y="2255667"/>
                  <a:pt x="3637085" y="2253270"/>
                </a:cubicBezTo>
                <a:cubicBezTo>
                  <a:pt x="3631691" y="2250873"/>
                  <a:pt x="3631691" y="2254469"/>
                  <a:pt x="3631691" y="2255667"/>
                </a:cubicBezTo>
                <a:cubicBezTo>
                  <a:pt x="3631691" y="2256866"/>
                  <a:pt x="3638283" y="2255667"/>
                  <a:pt x="3636486" y="2260462"/>
                </a:cubicBezTo>
                <a:cubicBezTo>
                  <a:pt x="3634687" y="2265256"/>
                  <a:pt x="3629294" y="2264057"/>
                  <a:pt x="3630493" y="2262259"/>
                </a:cubicBezTo>
                <a:cubicBezTo>
                  <a:pt x="3631092" y="2260462"/>
                  <a:pt x="3621504" y="2258664"/>
                  <a:pt x="3619706" y="2265256"/>
                </a:cubicBezTo>
                <a:cubicBezTo>
                  <a:pt x="3618507" y="2270050"/>
                  <a:pt x="3618507" y="2273046"/>
                  <a:pt x="3611316" y="2277840"/>
                </a:cubicBezTo>
                <a:cubicBezTo>
                  <a:pt x="3604125" y="2282635"/>
                  <a:pt x="3598132" y="2285032"/>
                  <a:pt x="3595735" y="2289826"/>
                </a:cubicBezTo>
                <a:cubicBezTo>
                  <a:pt x="3593338" y="2294620"/>
                  <a:pt x="3584349" y="2298216"/>
                  <a:pt x="3582551" y="2295819"/>
                </a:cubicBezTo>
                <a:cubicBezTo>
                  <a:pt x="3580753" y="2293422"/>
                  <a:pt x="3578356" y="2294021"/>
                  <a:pt x="3576558" y="2296418"/>
                </a:cubicBezTo>
                <a:cubicBezTo>
                  <a:pt x="3574161" y="2305407"/>
                  <a:pt x="3571165" y="2308403"/>
                  <a:pt x="3570565" y="2308403"/>
                </a:cubicBezTo>
                <a:cubicBezTo>
                  <a:pt x="3568168" y="2308403"/>
                  <a:pt x="3564573" y="2313797"/>
                  <a:pt x="3564573" y="2316194"/>
                </a:cubicBezTo>
                <a:cubicBezTo>
                  <a:pt x="3564573" y="2318591"/>
                  <a:pt x="3563374" y="2320389"/>
                  <a:pt x="3558580" y="2319790"/>
                </a:cubicBezTo>
                <a:cubicBezTo>
                  <a:pt x="3553785" y="2319190"/>
                  <a:pt x="3551389" y="2326981"/>
                  <a:pt x="3548392" y="2323985"/>
                </a:cubicBezTo>
                <a:cubicBezTo>
                  <a:pt x="3543598" y="2319190"/>
                  <a:pt x="3547793" y="2328779"/>
                  <a:pt x="3540602" y="2327580"/>
                </a:cubicBezTo>
                <a:cubicBezTo>
                  <a:pt x="3536407" y="2326981"/>
                  <a:pt x="3533410" y="2326382"/>
                  <a:pt x="3532811" y="2323385"/>
                </a:cubicBezTo>
                <a:cubicBezTo>
                  <a:pt x="3532212" y="2320988"/>
                  <a:pt x="3530414" y="2321587"/>
                  <a:pt x="3529215" y="2323985"/>
                </a:cubicBezTo>
                <a:cubicBezTo>
                  <a:pt x="3528616" y="2326382"/>
                  <a:pt x="3524421" y="2324584"/>
                  <a:pt x="3524421" y="2324584"/>
                </a:cubicBezTo>
                <a:cubicBezTo>
                  <a:pt x="3524421" y="2324584"/>
                  <a:pt x="3522024" y="2326981"/>
                  <a:pt x="3520226" y="2329378"/>
                </a:cubicBezTo>
                <a:cubicBezTo>
                  <a:pt x="3518429" y="2331775"/>
                  <a:pt x="3516031" y="2328179"/>
                  <a:pt x="3517829" y="2325183"/>
                </a:cubicBezTo>
                <a:cubicBezTo>
                  <a:pt x="3520226" y="2322786"/>
                  <a:pt x="3519028" y="2317393"/>
                  <a:pt x="3511237" y="2325183"/>
                </a:cubicBezTo>
                <a:cubicBezTo>
                  <a:pt x="3508241" y="2328179"/>
                  <a:pt x="3521425" y="2331176"/>
                  <a:pt x="3510638" y="2332374"/>
                </a:cubicBezTo>
                <a:cubicBezTo>
                  <a:pt x="3506443" y="2332974"/>
                  <a:pt x="3507042" y="2340165"/>
                  <a:pt x="3505244" y="2343161"/>
                </a:cubicBezTo>
                <a:cubicBezTo>
                  <a:pt x="3502847" y="2346158"/>
                  <a:pt x="3500450" y="2352750"/>
                  <a:pt x="3493259" y="2347356"/>
                </a:cubicBezTo>
                <a:cubicBezTo>
                  <a:pt x="3486068" y="2341963"/>
                  <a:pt x="3487865" y="2342562"/>
                  <a:pt x="3482472" y="2345558"/>
                </a:cubicBezTo>
                <a:cubicBezTo>
                  <a:pt x="3477078" y="2348555"/>
                  <a:pt x="3472883" y="2349753"/>
                  <a:pt x="3471086" y="2344959"/>
                </a:cubicBezTo>
                <a:cubicBezTo>
                  <a:pt x="3469288" y="2340165"/>
                  <a:pt x="3468689" y="2340165"/>
                  <a:pt x="3466292" y="2342562"/>
                </a:cubicBezTo>
                <a:cubicBezTo>
                  <a:pt x="3463894" y="2344959"/>
                  <a:pt x="3462097" y="2346757"/>
                  <a:pt x="3463894" y="2349753"/>
                </a:cubicBezTo>
                <a:cubicBezTo>
                  <a:pt x="3466292" y="2352150"/>
                  <a:pt x="3463894" y="2355746"/>
                  <a:pt x="3459100" y="2356945"/>
                </a:cubicBezTo>
                <a:cubicBezTo>
                  <a:pt x="3454306" y="2357544"/>
                  <a:pt x="3451310" y="2355147"/>
                  <a:pt x="3451310" y="2355147"/>
                </a:cubicBezTo>
                <a:cubicBezTo>
                  <a:pt x="3450711" y="2352750"/>
                  <a:pt x="3448913" y="2353948"/>
                  <a:pt x="3447115" y="2355746"/>
                </a:cubicBezTo>
                <a:cubicBezTo>
                  <a:pt x="3445916" y="2357544"/>
                  <a:pt x="3438725" y="2357544"/>
                  <a:pt x="3435129" y="2354547"/>
                </a:cubicBezTo>
                <a:cubicBezTo>
                  <a:pt x="3431534" y="2351551"/>
                  <a:pt x="3428537" y="2353948"/>
                  <a:pt x="3429736" y="2355746"/>
                </a:cubicBezTo>
                <a:cubicBezTo>
                  <a:pt x="3430335" y="2358143"/>
                  <a:pt x="3423743" y="2362338"/>
                  <a:pt x="3419548" y="2361139"/>
                </a:cubicBezTo>
                <a:cubicBezTo>
                  <a:pt x="3419548" y="2361139"/>
                  <a:pt x="3413556" y="2359342"/>
                  <a:pt x="3410559" y="2361739"/>
                </a:cubicBezTo>
                <a:cubicBezTo>
                  <a:pt x="3407563" y="2364136"/>
                  <a:pt x="3406364" y="2365934"/>
                  <a:pt x="3403368" y="2366533"/>
                </a:cubicBezTo>
                <a:cubicBezTo>
                  <a:pt x="3400971" y="2367132"/>
                  <a:pt x="3399173" y="2368930"/>
                  <a:pt x="3395577" y="2371327"/>
                </a:cubicBezTo>
                <a:cubicBezTo>
                  <a:pt x="3391382" y="2373724"/>
                  <a:pt x="3384791" y="2375522"/>
                  <a:pt x="3382992" y="2379118"/>
                </a:cubicBezTo>
                <a:cubicBezTo>
                  <a:pt x="3381195" y="2383313"/>
                  <a:pt x="3381794" y="2386309"/>
                  <a:pt x="3384191" y="2388107"/>
                </a:cubicBezTo>
                <a:cubicBezTo>
                  <a:pt x="3386588" y="2389905"/>
                  <a:pt x="3386588" y="2392302"/>
                  <a:pt x="3384191" y="2392901"/>
                </a:cubicBezTo>
                <a:cubicBezTo>
                  <a:pt x="3381794" y="2393500"/>
                  <a:pt x="3382992" y="2395298"/>
                  <a:pt x="3385390" y="2396497"/>
                </a:cubicBezTo>
                <a:cubicBezTo>
                  <a:pt x="3387787" y="2397096"/>
                  <a:pt x="3388985" y="2401291"/>
                  <a:pt x="3386588" y="2404287"/>
                </a:cubicBezTo>
                <a:cubicBezTo>
                  <a:pt x="3384191" y="2407284"/>
                  <a:pt x="3379397" y="2408482"/>
                  <a:pt x="3374603" y="2407883"/>
                </a:cubicBezTo>
                <a:cubicBezTo>
                  <a:pt x="3369809" y="2407284"/>
                  <a:pt x="3369209" y="2404887"/>
                  <a:pt x="3371007" y="2403688"/>
                </a:cubicBezTo>
                <a:cubicBezTo>
                  <a:pt x="3372805" y="2402489"/>
                  <a:pt x="3371007" y="2398295"/>
                  <a:pt x="3368011" y="2392302"/>
                </a:cubicBezTo>
                <a:cubicBezTo>
                  <a:pt x="3365014" y="2386908"/>
                  <a:pt x="3363816" y="2382114"/>
                  <a:pt x="3366213" y="2379118"/>
                </a:cubicBezTo>
                <a:cubicBezTo>
                  <a:pt x="3368610" y="2375522"/>
                  <a:pt x="3369209" y="2369529"/>
                  <a:pt x="3373404" y="2367132"/>
                </a:cubicBezTo>
                <a:cubicBezTo>
                  <a:pt x="3377599" y="2364735"/>
                  <a:pt x="3378798" y="2362937"/>
                  <a:pt x="3374603" y="2362937"/>
                </a:cubicBezTo>
                <a:cubicBezTo>
                  <a:pt x="3370408" y="2362937"/>
                  <a:pt x="3371007" y="2361739"/>
                  <a:pt x="3370408" y="2359342"/>
                </a:cubicBezTo>
                <a:cubicBezTo>
                  <a:pt x="3369809" y="2356945"/>
                  <a:pt x="3368610" y="2358742"/>
                  <a:pt x="3366213" y="2360540"/>
                </a:cubicBezTo>
                <a:cubicBezTo>
                  <a:pt x="3363816" y="2362937"/>
                  <a:pt x="3360820" y="2364735"/>
                  <a:pt x="3357823" y="2364735"/>
                </a:cubicBezTo>
                <a:cubicBezTo>
                  <a:pt x="3354827" y="2364735"/>
                  <a:pt x="3354227" y="2365934"/>
                  <a:pt x="3354227" y="2362937"/>
                </a:cubicBezTo>
                <a:cubicBezTo>
                  <a:pt x="3354227" y="2359941"/>
                  <a:pt x="3351830" y="2358742"/>
                  <a:pt x="3348834" y="2358742"/>
                </a:cubicBezTo>
                <a:cubicBezTo>
                  <a:pt x="3345838" y="2358143"/>
                  <a:pt x="3341643" y="2359941"/>
                  <a:pt x="3341643" y="2356345"/>
                </a:cubicBezTo>
                <a:cubicBezTo>
                  <a:pt x="3341643" y="2352150"/>
                  <a:pt x="3339845" y="2350952"/>
                  <a:pt x="3339245" y="2353948"/>
                </a:cubicBezTo>
                <a:cubicBezTo>
                  <a:pt x="3338646" y="2357544"/>
                  <a:pt x="3336849" y="2359342"/>
                  <a:pt x="3334451" y="2358143"/>
                </a:cubicBezTo>
                <a:cubicBezTo>
                  <a:pt x="3332054" y="2356945"/>
                  <a:pt x="3326661" y="2357544"/>
                  <a:pt x="3324264" y="2360540"/>
                </a:cubicBezTo>
                <a:cubicBezTo>
                  <a:pt x="3321867" y="2363537"/>
                  <a:pt x="3320668" y="2362937"/>
                  <a:pt x="3317072" y="2362937"/>
                </a:cubicBezTo>
                <a:cubicBezTo>
                  <a:pt x="3313477" y="2362937"/>
                  <a:pt x="3306885" y="2365334"/>
                  <a:pt x="3303889" y="2367732"/>
                </a:cubicBezTo>
                <a:cubicBezTo>
                  <a:pt x="3301491" y="2370129"/>
                  <a:pt x="3301491" y="2376121"/>
                  <a:pt x="3295499" y="2379118"/>
                </a:cubicBezTo>
                <a:cubicBezTo>
                  <a:pt x="3289506" y="2382114"/>
                  <a:pt x="3279918" y="2381515"/>
                  <a:pt x="3278719" y="2383912"/>
                </a:cubicBezTo>
                <a:cubicBezTo>
                  <a:pt x="3277520" y="2386309"/>
                  <a:pt x="3278119" y="2394100"/>
                  <a:pt x="3277520" y="2396497"/>
                </a:cubicBezTo>
                <a:cubicBezTo>
                  <a:pt x="3276921" y="2398894"/>
                  <a:pt x="3276322" y="2401890"/>
                  <a:pt x="3273325" y="2402489"/>
                </a:cubicBezTo>
                <a:cubicBezTo>
                  <a:pt x="3270329" y="2403089"/>
                  <a:pt x="3269130" y="2404887"/>
                  <a:pt x="3268531" y="2407883"/>
                </a:cubicBezTo>
                <a:cubicBezTo>
                  <a:pt x="3267932" y="2410879"/>
                  <a:pt x="3269130" y="2412078"/>
                  <a:pt x="3262538" y="2415074"/>
                </a:cubicBezTo>
                <a:cubicBezTo>
                  <a:pt x="3255947" y="2417471"/>
                  <a:pt x="3248755" y="2426460"/>
                  <a:pt x="3246958" y="2434850"/>
                </a:cubicBezTo>
                <a:cubicBezTo>
                  <a:pt x="3245159" y="2443240"/>
                  <a:pt x="3244560" y="2448633"/>
                  <a:pt x="3244560" y="2450431"/>
                </a:cubicBezTo>
                <a:cubicBezTo>
                  <a:pt x="3243961" y="2452229"/>
                  <a:pt x="3245159" y="2454027"/>
                  <a:pt x="3246958" y="2454626"/>
                </a:cubicBezTo>
                <a:cubicBezTo>
                  <a:pt x="3249354" y="2455226"/>
                  <a:pt x="3249354" y="2458222"/>
                  <a:pt x="3249354" y="2461818"/>
                </a:cubicBezTo>
                <a:cubicBezTo>
                  <a:pt x="3249354" y="2466012"/>
                  <a:pt x="3249954" y="2473204"/>
                  <a:pt x="3254748" y="2474402"/>
                </a:cubicBezTo>
                <a:cubicBezTo>
                  <a:pt x="3259542" y="2475601"/>
                  <a:pt x="3261340" y="2477399"/>
                  <a:pt x="3258943" y="2478597"/>
                </a:cubicBezTo>
                <a:cubicBezTo>
                  <a:pt x="3256546" y="2479796"/>
                  <a:pt x="3259542" y="2488785"/>
                  <a:pt x="3263138" y="2492980"/>
                </a:cubicBezTo>
                <a:cubicBezTo>
                  <a:pt x="3267333" y="2497175"/>
                  <a:pt x="3272726" y="2504965"/>
                  <a:pt x="3278119" y="2506763"/>
                </a:cubicBezTo>
                <a:cubicBezTo>
                  <a:pt x="3283513" y="2508561"/>
                  <a:pt x="3282914" y="2511557"/>
                  <a:pt x="3282914" y="2515153"/>
                </a:cubicBezTo>
                <a:cubicBezTo>
                  <a:pt x="3282914" y="2518749"/>
                  <a:pt x="3284712" y="2521146"/>
                  <a:pt x="3286509" y="2524741"/>
                </a:cubicBezTo>
                <a:cubicBezTo>
                  <a:pt x="3288307" y="2528337"/>
                  <a:pt x="3291304" y="2540922"/>
                  <a:pt x="3294899" y="2537925"/>
                </a:cubicBezTo>
                <a:cubicBezTo>
                  <a:pt x="3299094" y="2535528"/>
                  <a:pt x="3300293" y="2537326"/>
                  <a:pt x="3302690" y="2539723"/>
                </a:cubicBezTo>
                <a:cubicBezTo>
                  <a:pt x="3305087" y="2542120"/>
                  <a:pt x="3309881" y="2543918"/>
                  <a:pt x="3309282" y="2547514"/>
                </a:cubicBezTo>
                <a:cubicBezTo>
                  <a:pt x="3308683" y="2551709"/>
                  <a:pt x="3309881" y="2550510"/>
                  <a:pt x="3311679" y="2551709"/>
                </a:cubicBezTo>
                <a:cubicBezTo>
                  <a:pt x="3314076" y="2552907"/>
                  <a:pt x="3315874" y="2566691"/>
                  <a:pt x="3318870" y="2569687"/>
                </a:cubicBezTo>
                <a:cubicBezTo>
                  <a:pt x="3321867" y="2572683"/>
                  <a:pt x="3322466" y="2573882"/>
                  <a:pt x="3321267" y="2576878"/>
                </a:cubicBezTo>
                <a:cubicBezTo>
                  <a:pt x="3320668" y="2579275"/>
                  <a:pt x="3321867" y="2584069"/>
                  <a:pt x="3323664" y="2585867"/>
                </a:cubicBezTo>
                <a:cubicBezTo>
                  <a:pt x="3326061" y="2587665"/>
                  <a:pt x="3327859" y="2590661"/>
                  <a:pt x="3326061" y="2593059"/>
                </a:cubicBezTo>
                <a:cubicBezTo>
                  <a:pt x="3324264" y="2595456"/>
                  <a:pt x="3325462" y="2603246"/>
                  <a:pt x="3326061" y="2605044"/>
                </a:cubicBezTo>
                <a:cubicBezTo>
                  <a:pt x="3326661" y="2607441"/>
                  <a:pt x="3331455" y="2617030"/>
                  <a:pt x="3330256" y="2619427"/>
                </a:cubicBezTo>
                <a:cubicBezTo>
                  <a:pt x="3329058" y="2621824"/>
                  <a:pt x="3329657" y="2624221"/>
                  <a:pt x="3330856" y="2626618"/>
                </a:cubicBezTo>
                <a:cubicBezTo>
                  <a:pt x="3331455" y="2629015"/>
                  <a:pt x="3331455" y="2633210"/>
                  <a:pt x="3328459" y="2633210"/>
                </a:cubicBezTo>
                <a:cubicBezTo>
                  <a:pt x="3325462" y="2633210"/>
                  <a:pt x="3324863" y="2635607"/>
                  <a:pt x="3327859" y="2638004"/>
                </a:cubicBezTo>
                <a:cubicBezTo>
                  <a:pt x="3330256" y="2640401"/>
                  <a:pt x="3329657" y="2642199"/>
                  <a:pt x="3329657" y="2645195"/>
                </a:cubicBezTo>
                <a:cubicBezTo>
                  <a:pt x="3329657" y="2648192"/>
                  <a:pt x="3330256" y="2650589"/>
                  <a:pt x="3331455" y="2652387"/>
                </a:cubicBezTo>
                <a:cubicBezTo>
                  <a:pt x="3332654" y="2654184"/>
                  <a:pt x="3333253" y="2658379"/>
                  <a:pt x="3330856" y="2658979"/>
                </a:cubicBezTo>
                <a:cubicBezTo>
                  <a:pt x="3328459" y="2659578"/>
                  <a:pt x="3326661" y="2661376"/>
                  <a:pt x="3328459" y="2663173"/>
                </a:cubicBezTo>
                <a:cubicBezTo>
                  <a:pt x="3330256" y="2665571"/>
                  <a:pt x="3328459" y="2666769"/>
                  <a:pt x="3326061" y="2664971"/>
                </a:cubicBezTo>
                <a:cubicBezTo>
                  <a:pt x="3323664" y="2663173"/>
                  <a:pt x="3323065" y="2667368"/>
                  <a:pt x="3323664" y="2669166"/>
                </a:cubicBezTo>
                <a:cubicBezTo>
                  <a:pt x="3324264" y="2671563"/>
                  <a:pt x="3324264" y="2676957"/>
                  <a:pt x="3323065" y="2676358"/>
                </a:cubicBezTo>
                <a:cubicBezTo>
                  <a:pt x="3321267" y="2675758"/>
                  <a:pt x="3321867" y="2679953"/>
                  <a:pt x="3323664" y="2682350"/>
                </a:cubicBezTo>
                <a:cubicBezTo>
                  <a:pt x="3325462" y="2684747"/>
                  <a:pt x="3325462" y="2687144"/>
                  <a:pt x="3323065" y="2686545"/>
                </a:cubicBezTo>
                <a:cubicBezTo>
                  <a:pt x="3320668" y="2685946"/>
                  <a:pt x="3320668" y="2690740"/>
                  <a:pt x="3322466" y="2691939"/>
                </a:cubicBezTo>
                <a:cubicBezTo>
                  <a:pt x="3324264" y="2693137"/>
                  <a:pt x="3326661" y="2694336"/>
                  <a:pt x="3324264" y="2696733"/>
                </a:cubicBezTo>
                <a:cubicBezTo>
                  <a:pt x="3321867" y="2699130"/>
                  <a:pt x="3321867" y="2699130"/>
                  <a:pt x="3318870" y="2698531"/>
                </a:cubicBezTo>
                <a:cubicBezTo>
                  <a:pt x="3315874" y="2697931"/>
                  <a:pt x="3316473" y="2701527"/>
                  <a:pt x="3316473" y="2704524"/>
                </a:cubicBezTo>
                <a:cubicBezTo>
                  <a:pt x="3316473" y="2707520"/>
                  <a:pt x="3317072" y="2712913"/>
                  <a:pt x="3312278" y="2714711"/>
                </a:cubicBezTo>
                <a:cubicBezTo>
                  <a:pt x="3308083" y="2716509"/>
                  <a:pt x="3298495" y="2718906"/>
                  <a:pt x="3294300" y="2723101"/>
                </a:cubicBezTo>
                <a:cubicBezTo>
                  <a:pt x="3290105" y="2727296"/>
                  <a:pt x="3287109" y="2730292"/>
                  <a:pt x="3283513" y="2729693"/>
                </a:cubicBezTo>
                <a:cubicBezTo>
                  <a:pt x="3279918" y="2729094"/>
                  <a:pt x="3277520" y="2732090"/>
                  <a:pt x="3275123" y="2734487"/>
                </a:cubicBezTo>
                <a:cubicBezTo>
                  <a:pt x="3272726" y="2736884"/>
                  <a:pt x="3266733" y="2742877"/>
                  <a:pt x="3261340" y="2739881"/>
                </a:cubicBezTo>
                <a:cubicBezTo>
                  <a:pt x="3255947" y="2736884"/>
                  <a:pt x="3252950" y="2737484"/>
                  <a:pt x="3251152" y="2735686"/>
                </a:cubicBezTo>
                <a:cubicBezTo>
                  <a:pt x="3248755" y="2733888"/>
                  <a:pt x="3246358" y="2735686"/>
                  <a:pt x="3247557" y="2738083"/>
                </a:cubicBezTo>
                <a:cubicBezTo>
                  <a:pt x="3248755" y="2740480"/>
                  <a:pt x="3246958" y="2742278"/>
                  <a:pt x="3243362" y="2742278"/>
                </a:cubicBezTo>
                <a:cubicBezTo>
                  <a:pt x="3243362" y="2742278"/>
                  <a:pt x="3242763" y="2742278"/>
                  <a:pt x="3242763" y="2742278"/>
                </a:cubicBezTo>
                <a:lnTo>
                  <a:pt x="3243362" y="2747671"/>
                </a:lnTo>
                <a:cubicBezTo>
                  <a:pt x="3247557" y="2750068"/>
                  <a:pt x="3250553" y="2752465"/>
                  <a:pt x="3248755" y="2753065"/>
                </a:cubicBezTo>
                <a:cubicBezTo>
                  <a:pt x="3246358" y="2753664"/>
                  <a:pt x="3239766" y="2768646"/>
                  <a:pt x="3236170" y="2766249"/>
                </a:cubicBezTo>
                <a:cubicBezTo>
                  <a:pt x="3232575" y="2763852"/>
                  <a:pt x="3232575" y="2766848"/>
                  <a:pt x="3231976" y="2769245"/>
                </a:cubicBezTo>
                <a:cubicBezTo>
                  <a:pt x="3231376" y="2771642"/>
                  <a:pt x="3230777" y="2774638"/>
                  <a:pt x="3224784" y="2776436"/>
                </a:cubicBezTo>
                <a:cubicBezTo>
                  <a:pt x="3218792" y="2778234"/>
                  <a:pt x="3210402" y="2782429"/>
                  <a:pt x="3206806" y="2788422"/>
                </a:cubicBezTo>
                <a:cubicBezTo>
                  <a:pt x="3202611" y="2794415"/>
                  <a:pt x="3198416" y="2798609"/>
                  <a:pt x="3194221" y="2798609"/>
                </a:cubicBezTo>
                <a:cubicBezTo>
                  <a:pt x="3190026" y="2798609"/>
                  <a:pt x="3187030" y="2798010"/>
                  <a:pt x="3192423" y="2795014"/>
                </a:cubicBezTo>
                <a:cubicBezTo>
                  <a:pt x="3197817" y="2792617"/>
                  <a:pt x="3196019" y="2792017"/>
                  <a:pt x="3192423" y="2790819"/>
                </a:cubicBezTo>
                <a:cubicBezTo>
                  <a:pt x="3188828" y="2789620"/>
                  <a:pt x="3190026" y="2787223"/>
                  <a:pt x="3191225" y="2784826"/>
                </a:cubicBezTo>
                <a:cubicBezTo>
                  <a:pt x="3191824" y="2782429"/>
                  <a:pt x="3192423" y="2777635"/>
                  <a:pt x="3192423" y="2772841"/>
                </a:cubicBezTo>
                <a:cubicBezTo>
                  <a:pt x="3192423" y="2768046"/>
                  <a:pt x="3194821" y="2761455"/>
                  <a:pt x="3196618" y="2758458"/>
                </a:cubicBezTo>
                <a:cubicBezTo>
                  <a:pt x="3199016" y="2755462"/>
                  <a:pt x="3203210" y="2746473"/>
                  <a:pt x="3199016" y="2744675"/>
                </a:cubicBezTo>
                <a:cubicBezTo>
                  <a:pt x="3194821" y="2742877"/>
                  <a:pt x="3194221" y="2743476"/>
                  <a:pt x="3190626" y="2745274"/>
                </a:cubicBezTo>
                <a:cubicBezTo>
                  <a:pt x="3187030" y="2747072"/>
                  <a:pt x="3185831" y="2745873"/>
                  <a:pt x="3185831" y="2742877"/>
                </a:cubicBezTo>
                <a:cubicBezTo>
                  <a:pt x="3185831" y="2741678"/>
                  <a:pt x="3183434" y="2738083"/>
                  <a:pt x="3181037" y="2735086"/>
                </a:cubicBezTo>
                <a:cubicBezTo>
                  <a:pt x="3178041" y="2731491"/>
                  <a:pt x="3174445" y="2728495"/>
                  <a:pt x="3172647" y="2727895"/>
                </a:cubicBezTo>
                <a:cubicBezTo>
                  <a:pt x="3168452" y="2726697"/>
                  <a:pt x="3162460" y="2723700"/>
                  <a:pt x="3164857" y="2720704"/>
                </a:cubicBezTo>
                <a:cubicBezTo>
                  <a:pt x="3167254" y="2717707"/>
                  <a:pt x="3166056" y="2714112"/>
                  <a:pt x="3164257" y="2712314"/>
                </a:cubicBezTo>
                <a:cubicBezTo>
                  <a:pt x="3162460" y="2710516"/>
                  <a:pt x="3160063" y="2709917"/>
                  <a:pt x="3158265" y="2714711"/>
                </a:cubicBezTo>
                <a:cubicBezTo>
                  <a:pt x="3156467" y="2719505"/>
                  <a:pt x="3154070" y="2720704"/>
                  <a:pt x="3151673" y="2720105"/>
                </a:cubicBezTo>
                <a:cubicBezTo>
                  <a:pt x="3149276" y="2719505"/>
                  <a:pt x="3149276" y="2717707"/>
                  <a:pt x="3149276" y="2713513"/>
                </a:cubicBezTo>
                <a:cubicBezTo>
                  <a:pt x="3149276" y="2709318"/>
                  <a:pt x="3149875" y="2706321"/>
                  <a:pt x="3146879" y="2704524"/>
                </a:cubicBezTo>
                <a:cubicBezTo>
                  <a:pt x="3144481" y="2702126"/>
                  <a:pt x="3146279" y="2699130"/>
                  <a:pt x="3143882" y="2694336"/>
                </a:cubicBezTo>
                <a:cubicBezTo>
                  <a:pt x="3141485" y="2688942"/>
                  <a:pt x="3139687" y="2684148"/>
                  <a:pt x="3139687" y="2679354"/>
                </a:cubicBezTo>
                <a:cubicBezTo>
                  <a:pt x="3139687" y="2675159"/>
                  <a:pt x="3135492" y="2673361"/>
                  <a:pt x="3135492" y="2676358"/>
                </a:cubicBezTo>
                <a:cubicBezTo>
                  <a:pt x="3134893" y="2679354"/>
                  <a:pt x="3131897" y="2679354"/>
                  <a:pt x="3130099" y="2675758"/>
                </a:cubicBezTo>
                <a:cubicBezTo>
                  <a:pt x="3128301" y="2672163"/>
                  <a:pt x="3130099" y="2666769"/>
                  <a:pt x="3125904" y="2663773"/>
                </a:cubicBezTo>
                <a:cubicBezTo>
                  <a:pt x="3121709" y="2661376"/>
                  <a:pt x="3117514" y="2661975"/>
                  <a:pt x="3116315" y="2659578"/>
                </a:cubicBezTo>
                <a:cubicBezTo>
                  <a:pt x="3115716" y="2657181"/>
                  <a:pt x="3112121" y="2654184"/>
                  <a:pt x="3109724" y="2657181"/>
                </a:cubicBezTo>
                <a:cubicBezTo>
                  <a:pt x="3107326" y="2659578"/>
                  <a:pt x="3105529" y="2658379"/>
                  <a:pt x="3103132" y="2657181"/>
                </a:cubicBezTo>
                <a:cubicBezTo>
                  <a:pt x="3100735" y="2655982"/>
                  <a:pt x="3093543" y="2657780"/>
                  <a:pt x="3093543" y="2657780"/>
                </a:cubicBezTo>
                <a:cubicBezTo>
                  <a:pt x="3093543" y="2657780"/>
                  <a:pt x="3089948" y="2658379"/>
                  <a:pt x="3089348" y="2651188"/>
                </a:cubicBezTo>
                <a:cubicBezTo>
                  <a:pt x="3088749" y="2643997"/>
                  <a:pt x="3088150" y="2636805"/>
                  <a:pt x="3088749" y="2633210"/>
                </a:cubicBezTo>
                <a:cubicBezTo>
                  <a:pt x="3089348" y="2629614"/>
                  <a:pt x="3089348" y="2627816"/>
                  <a:pt x="3086352" y="2626019"/>
                </a:cubicBezTo>
                <a:cubicBezTo>
                  <a:pt x="3082756" y="2624221"/>
                  <a:pt x="3082157" y="2620625"/>
                  <a:pt x="3078561" y="2623622"/>
                </a:cubicBezTo>
                <a:cubicBezTo>
                  <a:pt x="3074966" y="2626019"/>
                  <a:pt x="3064778" y="2622423"/>
                  <a:pt x="3065377" y="2629015"/>
                </a:cubicBezTo>
                <a:cubicBezTo>
                  <a:pt x="3065977" y="2636206"/>
                  <a:pt x="3068374" y="2647593"/>
                  <a:pt x="3065977" y="2649990"/>
                </a:cubicBezTo>
                <a:cubicBezTo>
                  <a:pt x="3063579" y="2652387"/>
                  <a:pt x="3063579" y="2657181"/>
                  <a:pt x="3062381" y="2661975"/>
                </a:cubicBezTo>
                <a:cubicBezTo>
                  <a:pt x="3061182" y="2666769"/>
                  <a:pt x="3059984" y="2674560"/>
                  <a:pt x="3056988" y="2676957"/>
                </a:cubicBezTo>
                <a:cubicBezTo>
                  <a:pt x="3053991" y="2679354"/>
                  <a:pt x="3055190" y="2681152"/>
                  <a:pt x="3056388" y="2684148"/>
                </a:cubicBezTo>
                <a:cubicBezTo>
                  <a:pt x="3056988" y="2687744"/>
                  <a:pt x="3058785" y="2689542"/>
                  <a:pt x="3054590" y="2693737"/>
                </a:cubicBezTo>
                <a:cubicBezTo>
                  <a:pt x="3050396" y="2697931"/>
                  <a:pt x="3046800" y="2710516"/>
                  <a:pt x="3046201" y="2713513"/>
                </a:cubicBezTo>
                <a:cubicBezTo>
                  <a:pt x="3045601" y="2716509"/>
                  <a:pt x="3040208" y="2726097"/>
                  <a:pt x="3039609" y="2730292"/>
                </a:cubicBezTo>
                <a:cubicBezTo>
                  <a:pt x="3039009" y="2734487"/>
                  <a:pt x="3037211" y="2738682"/>
                  <a:pt x="3035414" y="2740480"/>
                </a:cubicBezTo>
                <a:cubicBezTo>
                  <a:pt x="3033616" y="2742877"/>
                  <a:pt x="3033017" y="2751267"/>
                  <a:pt x="3033017" y="2756061"/>
                </a:cubicBezTo>
                <a:cubicBezTo>
                  <a:pt x="3033017" y="2760855"/>
                  <a:pt x="3031818" y="2772241"/>
                  <a:pt x="3035414" y="2774039"/>
                </a:cubicBezTo>
                <a:cubicBezTo>
                  <a:pt x="3039609" y="2775837"/>
                  <a:pt x="3041406" y="2774638"/>
                  <a:pt x="3046201" y="2774039"/>
                </a:cubicBezTo>
                <a:cubicBezTo>
                  <a:pt x="3050995" y="2773440"/>
                  <a:pt x="3054590" y="2773440"/>
                  <a:pt x="3053392" y="2778833"/>
                </a:cubicBezTo>
                <a:cubicBezTo>
                  <a:pt x="3052193" y="2784227"/>
                  <a:pt x="3050396" y="2789021"/>
                  <a:pt x="3053392" y="2792617"/>
                </a:cubicBezTo>
                <a:cubicBezTo>
                  <a:pt x="3056388" y="2796812"/>
                  <a:pt x="3059984" y="2802804"/>
                  <a:pt x="3061782" y="2798609"/>
                </a:cubicBezTo>
                <a:cubicBezTo>
                  <a:pt x="3063579" y="2794415"/>
                  <a:pt x="3065977" y="2799209"/>
                  <a:pt x="3064778" y="2805801"/>
                </a:cubicBezTo>
                <a:cubicBezTo>
                  <a:pt x="3064179" y="2811794"/>
                  <a:pt x="3063579" y="2827974"/>
                  <a:pt x="3065377" y="2830970"/>
                </a:cubicBezTo>
                <a:cubicBezTo>
                  <a:pt x="3067774" y="2833967"/>
                  <a:pt x="3069572" y="2842956"/>
                  <a:pt x="3065977" y="2841158"/>
                </a:cubicBezTo>
                <a:cubicBezTo>
                  <a:pt x="3062980" y="2839360"/>
                  <a:pt x="3061782" y="2836364"/>
                  <a:pt x="3061782" y="2833967"/>
                </a:cubicBezTo>
                <a:cubicBezTo>
                  <a:pt x="3061782" y="2831570"/>
                  <a:pt x="3061182" y="2825577"/>
                  <a:pt x="3059385" y="2826775"/>
                </a:cubicBezTo>
                <a:cubicBezTo>
                  <a:pt x="3057587" y="2827375"/>
                  <a:pt x="3059984" y="2841158"/>
                  <a:pt x="3062980" y="2843555"/>
                </a:cubicBezTo>
                <a:cubicBezTo>
                  <a:pt x="3065977" y="2845952"/>
                  <a:pt x="3070172" y="2844154"/>
                  <a:pt x="3070771" y="2848349"/>
                </a:cubicBezTo>
                <a:cubicBezTo>
                  <a:pt x="3071370" y="2852544"/>
                  <a:pt x="3076164" y="2857338"/>
                  <a:pt x="3082756" y="2856739"/>
                </a:cubicBezTo>
                <a:cubicBezTo>
                  <a:pt x="3088749" y="2856140"/>
                  <a:pt x="3092345" y="2854342"/>
                  <a:pt x="3095940" y="2861533"/>
                </a:cubicBezTo>
                <a:cubicBezTo>
                  <a:pt x="3099536" y="2868725"/>
                  <a:pt x="3104330" y="2880111"/>
                  <a:pt x="3106128" y="2880710"/>
                </a:cubicBezTo>
                <a:cubicBezTo>
                  <a:pt x="3108525" y="2881309"/>
                  <a:pt x="3113919" y="2883107"/>
                  <a:pt x="3116915" y="2890898"/>
                </a:cubicBezTo>
                <a:cubicBezTo>
                  <a:pt x="3119911" y="2898089"/>
                  <a:pt x="3122308" y="2902883"/>
                  <a:pt x="3130099" y="2907078"/>
                </a:cubicBezTo>
                <a:cubicBezTo>
                  <a:pt x="3137290" y="2911273"/>
                  <a:pt x="3142684" y="2916067"/>
                  <a:pt x="3143882" y="2923858"/>
                </a:cubicBezTo>
                <a:cubicBezTo>
                  <a:pt x="3145081" y="2931648"/>
                  <a:pt x="3143283" y="2975995"/>
                  <a:pt x="3143283" y="2981388"/>
                </a:cubicBezTo>
                <a:cubicBezTo>
                  <a:pt x="3143283" y="2986781"/>
                  <a:pt x="3143882" y="2999366"/>
                  <a:pt x="3149276" y="3003561"/>
                </a:cubicBezTo>
                <a:cubicBezTo>
                  <a:pt x="3154669" y="3007756"/>
                  <a:pt x="3158265" y="3015547"/>
                  <a:pt x="3161261" y="3023337"/>
                </a:cubicBezTo>
                <a:cubicBezTo>
                  <a:pt x="3164257" y="3030529"/>
                  <a:pt x="3168452" y="3037121"/>
                  <a:pt x="3168452" y="3042514"/>
                </a:cubicBezTo>
                <a:cubicBezTo>
                  <a:pt x="3168452" y="3061092"/>
                  <a:pt x="3164257" y="3038319"/>
                  <a:pt x="3159463" y="3038319"/>
                </a:cubicBezTo>
                <a:cubicBezTo>
                  <a:pt x="3154669" y="3037720"/>
                  <a:pt x="3148077" y="3038918"/>
                  <a:pt x="3143283" y="3043712"/>
                </a:cubicBezTo>
                <a:cubicBezTo>
                  <a:pt x="3137890" y="3047907"/>
                  <a:pt x="3139088" y="3043712"/>
                  <a:pt x="3134893" y="3040117"/>
                </a:cubicBezTo>
                <a:cubicBezTo>
                  <a:pt x="3130698" y="3036521"/>
                  <a:pt x="3124705" y="3031727"/>
                  <a:pt x="3119911" y="3030529"/>
                </a:cubicBezTo>
                <a:cubicBezTo>
                  <a:pt x="3115716" y="3029929"/>
                  <a:pt x="3113319" y="3028131"/>
                  <a:pt x="3113319" y="3025734"/>
                </a:cubicBezTo>
                <a:cubicBezTo>
                  <a:pt x="3113319" y="3023337"/>
                  <a:pt x="3112121" y="3023337"/>
                  <a:pt x="3107926" y="3023337"/>
                </a:cubicBezTo>
                <a:cubicBezTo>
                  <a:pt x="3103731" y="3023337"/>
                  <a:pt x="3100735" y="3022139"/>
                  <a:pt x="3098937" y="3020341"/>
                </a:cubicBezTo>
                <a:cubicBezTo>
                  <a:pt x="3097139" y="3018543"/>
                  <a:pt x="3094742" y="3015547"/>
                  <a:pt x="3095940" y="3013150"/>
                </a:cubicBezTo>
                <a:cubicBezTo>
                  <a:pt x="3096540" y="3010752"/>
                  <a:pt x="3096540" y="3008955"/>
                  <a:pt x="3092944" y="3007756"/>
                </a:cubicBezTo>
                <a:cubicBezTo>
                  <a:pt x="3089348" y="3007157"/>
                  <a:pt x="3082756" y="3000565"/>
                  <a:pt x="3083955" y="2996370"/>
                </a:cubicBezTo>
                <a:cubicBezTo>
                  <a:pt x="3084554" y="2992175"/>
                  <a:pt x="3086352" y="2989179"/>
                  <a:pt x="3082157" y="2983186"/>
                </a:cubicBezTo>
                <a:cubicBezTo>
                  <a:pt x="3077962" y="2976594"/>
                  <a:pt x="3071969" y="2971200"/>
                  <a:pt x="3067175" y="2967005"/>
                </a:cubicBezTo>
                <a:cubicBezTo>
                  <a:pt x="3062381" y="2962810"/>
                  <a:pt x="3064778" y="2956818"/>
                  <a:pt x="3067774" y="2955619"/>
                </a:cubicBezTo>
                <a:cubicBezTo>
                  <a:pt x="3070172" y="2955020"/>
                  <a:pt x="3068973" y="2953222"/>
                  <a:pt x="3066576" y="2951424"/>
                </a:cubicBezTo>
                <a:cubicBezTo>
                  <a:pt x="3064179" y="2949027"/>
                  <a:pt x="3062381" y="2943634"/>
                  <a:pt x="3063579" y="2938840"/>
                </a:cubicBezTo>
                <a:cubicBezTo>
                  <a:pt x="3064179" y="2934045"/>
                  <a:pt x="3063579" y="2931648"/>
                  <a:pt x="3062381" y="2929251"/>
                </a:cubicBezTo>
                <a:cubicBezTo>
                  <a:pt x="3061182" y="2926854"/>
                  <a:pt x="3060583" y="2920262"/>
                  <a:pt x="3062381" y="2913071"/>
                </a:cubicBezTo>
                <a:cubicBezTo>
                  <a:pt x="3064179" y="2905879"/>
                  <a:pt x="3061782" y="2902284"/>
                  <a:pt x="3061182" y="2898089"/>
                </a:cubicBezTo>
                <a:cubicBezTo>
                  <a:pt x="3060583" y="2893894"/>
                  <a:pt x="3059385" y="2893295"/>
                  <a:pt x="3060583" y="2890898"/>
                </a:cubicBezTo>
                <a:cubicBezTo>
                  <a:pt x="3061782" y="2888501"/>
                  <a:pt x="3061182" y="2886103"/>
                  <a:pt x="3058186" y="2877714"/>
                </a:cubicBezTo>
                <a:cubicBezTo>
                  <a:pt x="3055789" y="2871721"/>
                  <a:pt x="3058186" y="2867526"/>
                  <a:pt x="3057587" y="2865728"/>
                </a:cubicBezTo>
                <a:cubicBezTo>
                  <a:pt x="3057587" y="2865728"/>
                  <a:pt x="3056988" y="2865728"/>
                  <a:pt x="3056988" y="2865728"/>
                </a:cubicBezTo>
                <a:lnTo>
                  <a:pt x="3055789" y="2863930"/>
                </a:lnTo>
                <a:cubicBezTo>
                  <a:pt x="3050396" y="2862732"/>
                  <a:pt x="3040208" y="2858537"/>
                  <a:pt x="3040807" y="2853143"/>
                </a:cubicBezTo>
                <a:cubicBezTo>
                  <a:pt x="3041406" y="2847750"/>
                  <a:pt x="3040807" y="2838162"/>
                  <a:pt x="3036013" y="2838162"/>
                </a:cubicBezTo>
                <a:cubicBezTo>
                  <a:pt x="3031219" y="2838162"/>
                  <a:pt x="3033017" y="2834566"/>
                  <a:pt x="3033616" y="2831570"/>
                </a:cubicBezTo>
                <a:cubicBezTo>
                  <a:pt x="3034215" y="2828573"/>
                  <a:pt x="3027623" y="2823180"/>
                  <a:pt x="3026425" y="2819584"/>
                </a:cubicBezTo>
                <a:cubicBezTo>
                  <a:pt x="3025825" y="2816588"/>
                  <a:pt x="3024028" y="2814191"/>
                  <a:pt x="3021031" y="2811794"/>
                </a:cubicBezTo>
                <a:cubicBezTo>
                  <a:pt x="3018634" y="2809396"/>
                  <a:pt x="3016836" y="2808198"/>
                  <a:pt x="3017435" y="2806400"/>
                </a:cubicBezTo>
                <a:cubicBezTo>
                  <a:pt x="3018035" y="2804003"/>
                  <a:pt x="3012042" y="2798609"/>
                  <a:pt x="3012042" y="2804003"/>
                </a:cubicBezTo>
                <a:cubicBezTo>
                  <a:pt x="3012042" y="2809396"/>
                  <a:pt x="3010843" y="2812393"/>
                  <a:pt x="3006648" y="2808198"/>
                </a:cubicBezTo>
                <a:cubicBezTo>
                  <a:pt x="3002454" y="2804003"/>
                  <a:pt x="3001854" y="2798010"/>
                  <a:pt x="3004251" y="2796212"/>
                </a:cubicBezTo>
                <a:cubicBezTo>
                  <a:pt x="3006648" y="2793815"/>
                  <a:pt x="3008446" y="2789021"/>
                  <a:pt x="3009645" y="2783028"/>
                </a:cubicBezTo>
                <a:cubicBezTo>
                  <a:pt x="3010244" y="2777036"/>
                  <a:pt x="3010244" y="2771043"/>
                  <a:pt x="3012641" y="2767447"/>
                </a:cubicBezTo>
                <a:cubicBezTo>
                  <a:pt x="3015038" y="2763252"/>
                  <a:pt x="3012641" y="2763252"/>
                  <a:pt x="3016237" y="2755462"/>
                </a:cubicBezTo>
                <a:cubicBezTo>
                  <a:pt x="3019833" y="2747671"/>
                  <a:pt x="3026425" y="2736884"/>
                  <a:pt x="3022829" y="2736285"/>
                </a:cubicBezTo>
                <a:cubicBezTo>
                  <a:pt x="3022829" y="2736285"/>
                  <a:pt x="3022829" y="2736285"/>
                  <a:pt x="3022230" y="2736285"/>
                </a:cubicBezTo>
                <a:cubicBezTo>
                  <a:pt x="3019233" y="2736285"/>
                  <a:pt x="3019233" y="2743476"/>
                  <a:pt x="3016836" y="2742278"/>
                </a:cubicBezTo>
                <a:cubicBezTo>
                  <a:pt x="3014439" y="2741678"/>
                  <a:pt x="3016237" y="2733888"/>
                  <a:pt x="3016237" y="2730292"/>
                </a:cubicBezTo>
                <a:cubicBezTo>
                  <a:pt x="3016836" y="2726097"/>
                  <a:pt x="3021630" y="2724899"/>
                  <a:pt x="3022230" y="2720105"/>
                </a:cubicBezTo>
                <a:cubicBezTo>
                  <a:pt x="3022829" y="2715910"/>
                  <a:pt x="3025226" y="2694336"/>
                  <a:pt x="3027623" y="2693137"/>
                </a:cubicBezTo>
                <a:cubicBezTo>
                  <a:pt x="3030020" y="2691939"/>
                  <a:pt x="3031219" y="2685946"/>
                  <a:pt x="3028822" y="2682950"/>
                </a:cubicBezTo>
                <a:cubicBezTo>
                  <a:pt x="3026425" y="2679953"/>
                  <a:pt x="3024627" y="2675758"/>
                  <a:pt x="3025825" y="2667968"/>
                </a:cubicBezTo>
                <a:cubicBezTo>
                  <a:pt x="3027024" y="2660177"/>
                  <a:pt x="3030020" y="2663773"/>
                  <a:pt x="3029421" y="2653585"/>
                </a:cubicBezTo>
                <a:cubicBezTo>
                  <a:pt x="3028822" y="2643398"/>
                  <a:pt x="3027623" y="2638603"/>
                  <a:pt x="3025825" y="2633809"/>
                </a:cubicBezTo>
                <a:cubicBezTo>
                  <a:pt x="3024028" y="2628416"/>
                  <a:pt x="3023428" y="2625419"/>
                  <a:pt x="3024028" y="2621224"/>
                </a:cubicBezTo>
                <a:cubicBezTo>
                  <a:pt x="3024627" y="2617030"/>
                  <a:pt x="3021630" y="2608640"/>
                  <a:pt x="3021031" y="2618228"/>
                </a:cubicBezTo>
                <a:cubicBezTo>
                  <a:pt x="3020432" y="2627816"/>
                  <a:pt x="3017435" y="2633210"/>
                  <a:pt x="3016836" y="2625419"/>
                </a:cubicBezTo>
                <a:cubicBezTo>
                  <a:pt x="3016237" y="2618228"/>
                  <a:pt x="3016237" y="2600849"/>
                  <a:pt x="3016237" y="2597853"/>
                </a:cubicBezTo>
                <a:cubicBezTo>
                  <a:pt x="3015638" y="2594856"/>
                  <a:pt x="3015038" y="2593658"/>
                  <a:pt x="3016836" y="2589463"/>
                </a:cubicBezTo>
                <a:cubicBezTo>
                  <a:pt x="3018634" y="2585268"/>
                  <a:pt x="3017435" y="2585268"/>
                  <a:pt x="3016237" y="2581073"/>
                </a:cubicBezTo>
                <a:cubicBezTo>
                  <a:pt x="3014439" y="2576279"/>
                  <a:pt x="3014439" y="2563694"/>
                  <a:pt x="3015638" y="2557701"/>
                </a:cubicBezTo>
                <a:cubicBezTo>
                  <a:pt x="3016237" y="2551709"/>
                  <a:pt x="3015038" y="2549911"/>
                  <a:pt x="3012641" y="2544517"/>
                </a:cubicBezTo>
                <a:cubicBezTo>
                  <a:pt x="3010244" y="2539124"/>
                  <a:pt x="3010843" y="2536727"/>
                  <a:pt x="3013240" y="2534330"/>
                </a:cubicBezTo>
                <a:cubicBezTo>
                  <a:pt x="3015638" y="2531933"/>
                  <a:pt x="3015638" y="2524142"/>
                  <a:pt x="3011443" y="2523543"/>
                </a:cubicBezTo>
                <a:cubicBezTo>
                  <a:pt x="3007248" y="2522943"/>
                  <a:pt x="3009046" y="2512756"/>
                  <a:pt x="3006648" y="2504965"/>
                </a:cubicBezTo>
                <a:cubicBezTo>
                  <a:pt x="3004251" y="2497175"/>
                  <a:pt x="2997659" y="2482792"/>
                  <a:pt x="2995262" y="2491182"/>
                </a:cubicBezTo>
                <a:cubicBezTo>
                  <a:pt x="2992865" y="2499572"/>
                  <a:pt x="2991067" y="2510958"/>
                  <a:pt x="2981479" y="2515752"/>
                </a:cubicBezTo>
                <a:cubicBezTo>
                  <a:pt x="2971891" y="2519947"/>
                  <a:pt x="2958707" y="2525940"/>
                  <a:pt x="2958707" y="2534929"/>
                </a:cubicBezTo>
                <a:cubicBezTo>
                  <a:pt x="2958107" y="2543319"/>
                  <a:pt x="2954512" y="2543918"/>
                  <a:pt x="2953313" y="2541521"/>
                </a:cubicBezTo>
                <a:cubicBezTo>
                  <a:pt x="2952115" y="2539124"/>
                  <a:pt x="2948519" y="2537925"/>
                  <a:pt x="2946721" y="2539124"/>
                </a:cubicBezTo>
                <a:cubicBezTo>
                  <a:pt x="2944923" y="2540322"/>
                  <a:pt x="2945523" y="2540922"/>
                  <a:pt x="2944324" y="2537326"/>
                </a:cubicBezTo>
                <a:cubicBezTo>
                  <a:pt x="2943126" y="2533730"/>
                  <a:pt x="2941328" y="2535528"/>
                  <a:pt x="2939530" y="2540322"/>
                </a:cubicBezTo>
                <a:cubicBezTo>
                  <a:pt x="2937732" y="2545117"/>
                  <a:pt x="2931739" y="2548712"/>
                  <a:pt x="2934136" y="2544517"/>
                </a:cubicBezTo>
                <a:cubicBezTo>
                  <a:pt x="2936534" y="2540322"/>
                  <a:pt x="2934736" y="2533131"/>
                  <a:pt x="2932339" y="2534929"/>
                </a:cubicBezTo>
                <a:cubicBezTo>
                  <a:pt x="2929941" y="2536727"/>
                  <a:pt x="2928144" y="2532532"/>
                  <a:pt x="2928144" y="2532532"/>
                </a:cubicBezTo>
                <a:cubicBezTo>
                  <a:pt x="2928144" y="2532532"/>
                  <a:pt x="2922750" y="2531933"/>
                  <a:pt x="2920952" y="2536727"/>
                </a:cubicBezTo>
                <a:cubicBezTo>
                  <a:pt x="2918555" y="2541521"/>
                  <a:pt x="2915559" y="2542720"/>
                  <a:pt x="2916757" y="2536727"/>
                </a:cubicBezTo>
                <a:cubicBezTo>
                  <a:pt x="2917357" y="2530734"/>
                  <a:pt x="2916757" y="2525340"/>
                  <a:pt x="2919754" y="2523543"/>
                </a:cubicBezTo>
                <a:cubicBezTo>
                  <a:pt x="2922750" y="2521146"/>
                  <a:pt x="2923349" y="2520546"/>
                  <a:pt x="2925147" y="2512157"/>
                </a:cubicBezTo>
                <a:cubicBezTo>
                  <a:pt x="2926945" y="2503767"/>
                  <a:pt x="2927544" y="2497175"/>
                  <a:pt x="2932339" y="2496575"/>
                </a:cubicBezTo>
                <a:cubicBezTo>
                  <a:pt x="2937133" y="2495976"/>
                  <a:pt x="2934736" y="2495377"/>
                  <a:pt x="2935335" y="2491182"/>
                </a:cubicBezTo>
                <a:cubicBezTo>
                  <a:pt x="2935934" y="2486987"/>
                  <a:pt x="2932938" y="2464215"/>
                  <a:pt x="2934736" y="2458821"/>
                </a:cubicBezTo>
                <a:cubicBezTo>
                  <a:pt x="2937133" y="2453428"/>
                  <a:pt x="2933537" y="2448633"/>
                  <a:pt x="2933537" y="2444439"/>
                </a:cubicBezTo>
                <a:cubicBezTo>
                  <a:pt x="2933537" y="2440244"/>
                  <a:pt x="2931739" y="2432453"/>
                  <a:pt x="2932938" y="2429457"/>
                </a:cubicBezTo>
                <a:cubicBezTo>
                  <a:pt x="2934136" y="2426460"/>
                  <a:pt x="2932339" y="2416273"/>
                  <a:pt x="2928144" y="2416273"/>
                </a:cubicBezTo>
                <a:cubicBezTo>
                  <a:pt x="2923949" y="2416273"/>
                  <a:pt x="2925147" y="2412677"/>
                  <a:pt x="2925746" y="2409681"/>
                </a:cubicBezTo>
                <a:cubicBezTo>
                  <a:pt x="2926346" y="2406684"/>
                  <a:pt x="2925746" y="2397695"/>
                  <a:pt x="2920952" y="2396497"/>
                </a:cubicBezTo>
                <a:cubicBezTo>
                  <a:pt x="2916158" y="2395298"/>
                  <a:pt x="2918555" y="2388107"/>
                  <a:pt x="2913761" y="2390504"/>
                </a:cubicBezTo>
                <a:cubicBezTo>
                  <a:pt x="2908967" y="2392901"/>
                  <a:pt x="2899978" y="2395897"/>
                  <a:pt x="2896981" y="2385710"/>
                </a:cubicBezTo>
                <a:cubicBezTo>
                  <a:pt x="2894584" y="2375522"/>
                  <a:pt x="2890389" y="2373125"/>
                  <a:pt x="2890989" y="2368930"/>
                </a:cubicBezTo>
                <a:cubicBezTo>
                  <a:pt x="2891588" y="2364735"/>
                  <a:pt x="2893985" y="2359342"/>
                  <a:pt x="2891588" y="2358143"/>
                </a:cubicBezTo>
                <a:cubicBezTo>
                  <a:pt x="2890989" y="2358143"/>
                  <a:pt x="2890389" y="2358143"/>
                  <a:pt x="2889790" y="2358143"/>
                </a:cubicBezTo>
                <a:cubicBezTo>
                  <a:pt x="2887992" y="2359342"/>
                  <a:pt x="2886794" y="2362937"/>
                  <a:pt x="2886794" y="2362937"/>
                </a:cubicBezTo>
                <a:cubicBezTo>
                  <a:pt x="2886794" y="2362937"/>
                  <a:pt x="2886195" y="2365334"/>
                  <a:pt x="2884397" y="2357544"/>
                </a:cubicBezTo>
                <a:cubicBezTo>
                  <a:pt x="2882599" y="2350353"/>
                  <a:pt x="2880202" y="2342562"/>
                  <a:pt x="2882599" y="2340165"/>
                </a:cubicBezTo>
                <a:cubicBezTo>
                  <a:pt x="2884996" y="2337768"/>
                  <a:pt x="2883198" y="2338966"/>
                  <a:pt x="2884996" y="2329977"/>
                </a:cubicBezTo>
                <a:cubicBezTo>
                  <a:pt x="2886794" y="2320988"/>
                  <a:pt x="2883198" y="2298815"/>
                  <a:pt x="2877805" y="2298216"/>
                </a:cubicBezTo>
                <a:cubicBezTo>
                  <a:pt x="2872411" y="2297616"/>
                  <a:pt x="2858029" y="2300014"/>
                  <a:pt x="2857429" y="2289227"/>
                </a:cubicBezTo>
                <a:cubicBezTo>
                  <a:pt x="2856830" y="2278440"/>
                  <a:pt x="2856231" y="2275443"/>
                  <a:pt x="2856830" y="2271248"/>
                </a:cubicBezTo>
                <a:cubicBezTo>
                  <a:pt x="2857429" y="2268252"/>
                  <a:pt x="2856830" y="2266454"/>
                  <a:pt x="2855632" y="2265855"/>
                </a:cubicBezTo>
                <a:lnTo>
                  <a:pt x="2852036" y="2268851"/>
                </a:lnTo>
                <a:lnTo>
                  <a:pt x="2851437" y="2268252"/>
                </a:lnTo>
                <a:cubicBezTo>
                  <a:pt x="2850238" y="2270050"/>
                  <a:pt x="2851437" y="2272447"/>
                  <a:pt x="2851437" y="2277840"/>
                </a:cubicBezTo>
                <a:cubicBezTo>
                  <a:pt x="2851437" y="2285032"/>
                  <a:pt x="2850837" y="2289826"/>
                  <a:pt x="2849039" y="2291624"/>
                </a:cubicBezTo>
                <a:cubicBezTo>
                  <a:pt x="2847242" y="2294021"/>
                  <a:pt x="2849039" y="2298815"/>
                  <a:pt x="2849639" y="2303010"/>
                </a:cubicBezTo>
                <a:cubicBezTo>
                  <a:pt x="2850238" y="2307205"/>
                  <a:pt x="2852036" y="2314995"/>
                  <a:pt x="2849639" y="2316194"/>
                </a:cubicBezTo>
                <a:cubicBezTo>
                  <a:pt x="2847242" y="2317992"/>
                  <a:pt x="2844844" y="2320988"/>
                  <a:pt x="2844844" y="2325183"/>
                </a:cubicBezTo>
                <a:cubicBezTo>
                  <a:pt x="2844844" y="2329378"/>
                  <a:pt x="2840650" y="2331775"/>
                  <a:pt x="2838852" y="2328779"/>
                </a:cubicBezTo>
                <a:cubicBezTo>
                  <a:pt x="2836455" y="2325782"/>
                  <a:pt x="2832260" y="2323985"/>
                  <a:pt x="2833458" y="2316793"/>
                </a:cubicBezTo>
                <a:cubicBezTo>
                  <a:pt x="2834058" y="2309602"/>
                  <a:pt x="2832260" y="2301811"/>
                  <a:pt x="2829264" y="2311400"/>
                </a:cubicBezTo>
                <a:cubicBezTo>
                  <a:pt x="2826866" y="2321587"/>
                  <a:pt x="2826267" y="2325183"/>
                  <a:pt x="2822072" y="2324584"/>
                </a:cubicBezTo>
                <a:cubicBezTo>
                  <a:pt x="2817877" y="2323985"/>
                  <a:pt x="2819076" y="2326981"/>
                  <a:pt x="2817877" y="2328779"/>
                </a:cubicBezTo>
                <a:cubicBezTo>
                  <a:pt x="2817278" y="2330576"/>
                  <a:pt x="2816679" y="2331176"/>
                  <a:pt x="2813682" y="2328179"/>
                </a:cubicBezTo>
                <a:cubicBezTo>
                  <a:pt x="2812484" y="2326981"/>
                  <a:pt x="2810686" y="2325782"/>
                  <a:pt x="2808888" y="2324584"/>
                </a:cubicBezTo>
                <a:cubicBezTo>
                  <a:pt x="2807090" y="2323385"/>
                  <a:pt x="2804693" y="2322786"/>
                  <a:pt x="2802296" y="2322187"/>
                </a:cubicBezTo>
                <a:cubicBezTo>
                  <a:pt x="2797502" y="2321587"/>
                  <a:pt x="2796903" y="2323385"/>
                  <a:pt x="2796303" y="2326981"/>
                </a:cubicBezTo>
                <a:cubicBezTo>
                  <a:pt x="2795704" y="2330576"/>
                  <a:pt x="2793906" y="2332974"/>
                  <a:pt x="2791509" y="2331176"/>
                </a:cubicBezTo>
                <a:cubicBezTo>
                  <a:pt x="2789112" y="2328779"/>
                  <a:pt x="2784318" y="2325782"/>
                  <a:pt x="2784318" y="2320988"/>
                </a:cubicBezTo>
                <a:cubicBezTo>
                  <a:pt x="2784318" y="2316194"/>
                  <a:pt x="2780722" y="2310800"/>
                  <a:pt x="2778924" y="2319190"/>
                </a:cubicBezTo>
                <a:cubicBezTo>
                  <a:pt x="2777127" y="2327580"/>
                  <a:pt x="2774730" y="2329977"/>
                  <a:pt x="2769336" y="2329977"/>
                </a:cubicBezTo>
                <a:cubicBezTo>
                  <a:pt x="2763943" y="2329977"/>
                  <a:pt x="2753755" y="2331176"/>
                  <a:pt x="2748362" y="2337169"/>
                </a:cubicBezTo>
                <a:cubicBezTo>
                  <a:pt x="2742968" y="2343161"/>
                  <a:pt x="2736376" y="2347956"/>
                  <a:pt x="2738773" y="2350952"/>
                </a:cubicBezTo>
                <a:cubicBezTo>
                  <a:pt x="2741170" y="2353948"/>
                  <a:pt x="2743567" y="2362338"/>
                  <a:pt x="2739372" y="2364735"/>
                </a:cubicBezTo>
                <a:cubicBezTo>
                  <a:pt x="2735177" y="2367132"/>
                  <a:pt x="2735777" y="2371927"/>
                  <a:pt x="2735177" y="2374923"/>
                </a:cubicBezTo>
                <a:cubicBezTo>
                  <a:pt x="2734578" y="2377320"/>
                  <a:pt x="2721993" y="2392901"/>
                  <a:pt x="2714203" y="2392901"/>
                </a:cubicBezTo>
                <a:cubicBezTo>
                  <a:pt x="2706412" y="2393500"/>
                  <a:pt x="2701618" y="2398295"/>
                  <a:pt x="2696824" y="2396497"/>
                </a:cubicBezTo>
                <a:cubicBezTo>
                  <a:pt x="2692030" y="2394100"/>
                  <a:pt x="2689633" y="2392302"/>
                  <a:pt x="2685438" y="2396497"/>
                </a:cubicBezTo>
                <a:cubicBezTo>
                  <a:pt x="2681243" y="2400692"/>
                  <a:pt x="2680643" y="2403089"/>
                  <a:pt x="2685438" y="2400692"/>
                </a:cubicBezTo>
                <a:cubicBezTo>
                  <a:pt x="2690232" y="2398295"/>
                  <a:pt x="2690831" y="2400092"/>
                  <a:pt x="2687236" y="2403688"/>
                </a:cubicBezTo>
                <a:cubicBezTo>
                  <a:pt x="2683041" y="2407284"/>
                  <a:pt x="2675849" y="2413276"/>
                  <a:pt x="2672254" y="2413876"/>
                </a:cubicBezTo>
                <a:cubicBezTo>
                  <a:pt x="2668059" y="2414475"/>
                  <a:pt x="2666860" y="2415074"/>
                  <a:pt x="2666860" y="2418670"/>
                </a:cubicBezTo>
                <a:cubicBezTo>
                  <a:pt x="2666860" y="2422265"/>
                  <a:pt x="2666261" y="2424063"/>
                  <a:pt x="2662665" y="2424663"/>
                </a:cubicBezTo>
                <a:cubicBezTo>
                  <a:pt x="2659669" y="2425262"/>
                  <a:pt x="2654875" y="2434251"/>
                  <a:pt x="2652478" y="2438446"/>
                </a:cubicBezTo>
                <a:cubicBezTo>
                  <a:pt x="2650080" y="2442641"/>
                  <a:pt x="2647084" y="2445637"/>
                  <a:pt x="2644088" y="2446236"/>
                </a:cubicBezTo>
                <a:cubicBezTo>
                  <a:pt x="2641091" y="2446836"/>
                  <a:pt x="2635698" y="2450431"/>
                  <a:pt x="2632102" y="2456424"/>
                </a:cubicBezTo>
                <a:cubicBezTo>
                  <a:pt x="2629106" y="2461818"/>
                  <a:pt x="2624312" y="2466012"/>
                  <a:pt x="2618918" y="2467211"/>
                </a:cubicBezTo>
                <a:cubicBezTo>
                  <a:pt x="2613525" y="2468409"/>
                  <a:pt x="2602139" y="2474402"/>
                  <a:pt x="2597344" y="2480395"/>
                </a:cubicBezTo>
                <a:cubicBezTo>
                  <a:pt x="2591951" y="2485789"/>
                  <a:pt x="2590153" y="2488186"/>
                  <a:pt x="2593149" y="2488785"/>
                </a:cubicBezTo>
                <a:cubicBezTo>
                  <a:pt x="2595547" y="2489384"/>
                  <a:pt x="2594947" y="2495377"/>
                  <a:pt x="2591951" y="2499572"/>
                </a:cubicBezTo>
                <a:cubicBezTo>
                  <a:pt x="2588955" y="2503767"/>
                  <a:pt x="2585359" y="2516351"/>
                  <a:pt x="2575171" y="2516351"/>
                </a:cubicBezTo>
                <a:cubicBezTo>
                  <a:pt x="2564984" y="2516951"/>
                  <a:pt x="2560189" y="2513954"/>
                  <a:pt x="2557792" y="2519348"/>
                </a:cubicBezTo>
                <a:cubicBezTo>
                  <a:pt x="2555395" y="2524741"/>
                  <a:pt x="2551200" y="2533131"/>
                  <a:pt x="2545208" y="2530135"/>
                </a:cubicBezTo>
                <a:cubicBezTo>
                  <a:pt x="2539215" y="2527138"/>
                  <a:pt x="2529027" y="2530135"/>
                  <a:pt x="2527229" y="2540922"/>
                </a:cubicBezTo>
                <a:cubicBezTo>
                  <a:pt x="2525432" y="2551709"/>
                  <a:pt x="2522435" y="2567889"/>
                  <a:pt x="2521836" y="2573282"/>
                </a:cubicBezTo>
                <a:cubicBezTo>
                  <a:pt x="2521237" y="2578676"/>
                  <a:pt x="2516442" y="2590062"/>
                  <a:pt x="2518840" y="2593059"/>
                </a:cubicBezTo>
                <a:cubicBezTo>
                  <a:pt x="2521237" y="2596055"/>
                  <a:pt x="2522435" y="2603246"/>
                  <a:pt x="2520038" y="2603845"/>
                </a:cubicBezTo>
                <a:cubicBezTo>
                  <a:pt x="2517641" y="2604445"/>
                  <a:pt x="2517641" y="2603246"/>
                  <a:pt x="2515843" y="2600250"/>
                </a:cubicBezTo>
                <a:cubicBezTo>
                  <a:pt x="2514645" y="2597853"/>
                  <a:pt x="2511648" y="2597853"/>
                  <a:pt x="2513446" y="2603246"/>
                </a:cubicBezTo>
                <a:cubicBezTo>
                  <a:pt x="2515244" y="2608640"/>
                  <a:pt x="2518840" y="2610437"/>
                  <a:pt x="2521237" y="2612235"/>
                </a:cubicBezTo>
                <a:cubicBezTo>
                  <a:pt x="2523634" y="2614033"/>
                  <a:pt x="2531424" y="2624221"/>
                  <a:pt x="2522435" y="2630213"/>
                </a:cubicBezTo>
                <a:cubicBezTo>
                  <a:pt x="2513446" y="2636206"/>
                  <a:pt x="2509251" y="2646993"/>
                  <a:pt x="2505656" y="2654784"/>
                </a:cubicBezTo>
                <a:cubicBezTo>
                  <a:pt x="2502060" y="2663173"/>
                  <a:pt x="2496666" y="2670964"/>
                  <a:pt x="2497266" y="2684747"/>
                </a:cubicBezTo>
                <a:cubicBezTo>
                  <a:pt x="2497865" y="2698531"/>
                  <a:pt x="2499663" y="2702726"/>
                  <a:pt x="2496666" y="2706921"/>
                </a:cubicBezTo>
                <a:cubicBezTo>
                  <a:pt x="2493670" y="2711115"/>
                  <a:pt x="2494869" y="2716509"/>
                  <a:pt x="2494269" y="2720105"/>
                </a:cubicBezTo>
                <a:cubicBezTo>
                  <a:pt x="2493670" y="2724300"/>
                  <a:pt x="2491872" y="2726697"/>
                  <a:pt x="2485879" y="2724300"/>
                </a:cubicBezTo>
                <a:cubicBezTo>
                  <a:pt x="2479887" y="2721902"/>
                  <a:pt x="2477490" y="2726697"/>
                  <a:pt x="2475692" y="2735686"/>
                </a:cubicBezTo>
                <a:cubicBezTo>
                  <a:pt x="2473894" y="2744675"/>
                  <a:pt x="2470298" y="2750668"/>
                  <a:pt x="2473894" y="2753664"/>
                </a:cubicBezTo>
                <a:cubicBezTo>
                  <a:pt x="2477490" y="2757260"/>
                  <a:pt x="2479887" y="2765050"/>
                  <a:pt x="2474493" y="2762054"/>
                </a:cubicBezTo>
                <a:cubicBezTo>
                  <a:pt x="2469100" y="2759057"/>
                  <a:pt x="2466103" y="2756660"/>
                  <a:pt x="2459511" y="2759657"/>
                </a:cubicBezTo>
                <a:cubicBezTo>
                  <a:pt x="2453519" y="2763252"/>
                  <a:pt x="2447526" y="2765649"/>
                  <a:pt x="2446327" y="2772841"/>
                </a:cubicBezTo>
                <a:cubicBezTo>
                  <a:pt x="2445728" y="2780032"/>
                  <a:pt x="2443930" y="2783628"/>
                  <a:pt x="2438537" y="2789620"/>
                </a:cubicBezTo>
                <a:cubicBezTo>
                  <a:pt x="2433143" y="2795014"/>
                  <a:pt x="2421757" y="2801007"/>
                  <a:pt x="2417562" y="2795613"/>
                </a:cubicBezTo>
                <a:cubicBezTo>
                  <a:pt x="2413367" y="2790220"/>
                  <a:pt x="2400183" y="2777036"/>
                  <a:pt x="2403779" y="2772241"/>
                </a:cubicBezTo>
                <a:cubicBezTo>
                  <a:pt x="2407375" y="2767447"/>
                  <a:pt x="2406775" y="2766848"/>
                  <a:pt x="2401981" y="2766848"/>
                </a:cubicBezTo>
                <a:cubicBezTo>
                  <a:pt x="2397187" y="2767447"/>
                  <a:pt x="2395988" y="2767447"/>
                  <a:pt x="2397187" y="2758458"/>
                </a:cubicBezTo>
                <a:cubicBezTo>
                  <a:pt x="2398385" y="2748870"/>
                  <a:pt x="2391794" y="2715310"/>
                  <a:pt x="2390595" y="2703924"/>
                </a:cubicBezTo>
                <a:cubicBezTo>
                  <a:pt x="2389396" y="2691939"/>
                  <a:pt x="2387599" y="2685946"/>
                  <a:pt x="2385201" y="2679354"/>
                </a:cubicBezTo>
                <a:cubicBezTo>
                  <a:pt x="2382804" y="2672163"/>
                  <a:pt x="2381007" y="2664372"/>
                  <a:pt x="2379808" y="2657181"/>
                </a:cubicBezTo>
                <a:cubicBezTo>
                  <a:pt x="2378609" y="2649990"/>
                  <a:pt x="2372017" y="2643398"/>
                  <a:pt x="2370819" y="2632611"/>
                </a:cubicBezTo>
                <a:cubicBezTo>
                  <a:pt x="2369620" y="2621824"/>
                  <a:pt x="2366624" y="2601448"/>
                  <a:pt x="2370220" y="2599051"/>
                </a:cubicBezTo>
                <a:cubicBezTo>
                  <a:pt x="2373216" y="2596654"/>
                  <a:pt x="2370819" y="2594856"/>
                  <a:pt x="2370819" y="2591860"/>
                </a:cubicBezTo>
                <a:cubicBezTo>
                  <a:pt x="2370220" y="2588864"/>
                  <a:pt x="2369021" y="2569687"/>
                  <a:pt x="2367223" y="2565492"/>
                </a:cubicBezTo>
                <a:cubicBezTo>
                  <a:pt x="2365425" y="2561297"/>
                  <a:pt x="2366624" y="2546315"/>
                  <a:pt x="2360631" y="2540322"/>
                </a:cubicBezTo>
                <a:cubicBezTo>
                  <a:pt x="2355837" y="2534929"/>
                  <a:pt x="2349844" y="2507362"/>
                  <a:pt x="2350443" y="2495976"/>
                </a:cubicBezTo>
                <a:cubicBezTo>
                  <a:pt x="2351043" y="2484590"/>
                  <a:pt x="2354638" y="2454626"/>
                  <a:pt x="2353440" y="2449832"/>
                </a:cubicBezTo>
                <a:cubicBezTo>
                  <a:pt x="2352841" y="2445038"/>
                  <a:pt x="2350443" y="2436049"/>
                  <a:pt x="2354039" y="2434850"/>
                </a:cubicBezTo>
                <a:cubicBezTo>
                  <a:pt x="2357635" y="2434251"/>
                  <a:pt x="2353440" y="2430655"/>
                  <a:pt x="2352241" y="2427659"/>
                </a:cubicBezTo>
                <a:cubicBezTo>
                  <a:pt x="2351043" y="2424663"/>
                  <a:pt x="2349844" y="2420468"/>
                  <a:pt x="2353440" y="2420468"/>
                </a:cubicBezTo>
                <a:cubicBezTo>
                  <a:pt x="2357635" y="2420468"/>
                  <a:pt x="2356436" y="2417471"/>
                  <a:pt x="2355238" y="2415673"/>
                </a:cubicBezTo>
                <a:cubicBezTo>
                  <a:pt x="2354039" y="2413876"/>
                  <a:pt x="2337260" y="2410280"/>
                  <a:pt x="2340256" y="2403688"/>
                </a:cubicBezTo>
                <a:cubicBezTo>
                  <a:pt x="2343252" y="2396497"/>
                  <a:pt x="2342653" y="2395298"/>
                  <a:pt x="2348646" y="2394100"/>
                </a:cubicBezTo>
                <a:cubicBezTo>
                  <a:pt x="2355238" y="2393500"/>
                  <a:pt x="2357036" y="2390504"/>
                  <a:pt x="2355837" y="2386908"/>
                </a:cubicBezTo>
                <a:cubicBezTo>
                  <a:pt x="2354039" y="2383313"/>
                  <a:pt x="2354039" y="2377320"/>
                  <a:pt x="2356436" y="2375522"/>
                </a:cubicBezTo>
                <a:cubicBezTo>
                  <a:pt x="2358833" y="2373724"/>
                  <a:pt x="2357635" y="2367732"/>
                  <a:pt x="2357635" y="2362937"/>
                </a:cubicBezTo>
                <a:cubicBezTo>
                  <a:pt x="2357635" y="2358143"/>
                  <a:pt x="2356436" y="2358143"/>
                  <a:pt x="2359433" y="2354547"/>
                </a:cubicBezTo>
                <a:cubicBezTo>
                  <a:pt x="2362429" y="2350952"/>
                  <a:pt x="2362429" y="2347956"/>
                  <a:pt x="2363628" y="2343161"/>
                </a:cubicBezTo>
                <a:cubicBezTo>
                  <a:pt x="2364227" y="2338367"/>
                  <a:pt x="2365425" y="2333573"/>
                  <a:pt x="2364227" y="2327580"/>
                </a:cubicBezTo>
                <a:cubicBezTo>
                  <a:pt x="2363628" y="2321587"/>
                  <a:pt x="2363028" y="2316793"/>
                  <a:pt x="2366624" y="2310800"/>
                </a:cubicBezTo>
                <a:cubicBezTo>
                  <a:pt x="2370819" y="2305407"/>
                  <a:pt x="2367223" y="2304208"/>
                  <a:pt x="2367823" y="2301212"/>
                </a:cubicBezTo>
                <a:cubicBezTo>
                  <a:pt x="2368422" y="2298216"/>
                  <a:pt x="2364227" y="2294021"/>
                  <a:pt x="2368422" y="2289227"/>
                </a:cubicBezTo>
                <a:cubicBezTo>
                  <a:pt x="2372617" y="2285032"/>
                  <a:pt x="2375613" y="2283833"/>
                  <a:pt x="2370819" y="2279638"/>
                </a:cubicBezTo>
                <a:cubicBezTo>
                  <a:pt x="2366624" y="2275443"/>
                  <a:pt x="2362429" y="2270649"/>
                  <a:pt x="2360631" y="2277840"/>
                </a:cubicBezTo>
                <a:cubicBezTo>
                  <a:pt x="2359433" y="2285032"/>
                  <a:pt x="2356436" y="2286230"/>
                  <a:pt x="2356436" y="2292822"/>
                </a:cubicBezTo>
                <a:cubicBezTo>
                  <a:pt x="2357036" y="2299414"/>
                  <a:pt x="2354039" y="2309003"/>
                  <a:pt x="2351043" y="2313198"/>
                </a:cubicBezTo>
                <a:cubicBezTo>
                  <a:pt x="2348646" y="2317393"/>
                  <a:pt x="2342653" y="2324584"/>
                  <a:pt x="2332465" y="2330576"/>
                </a:cubicBezTo>
                <a:cubicBezTo>
                  <a:pt x="2322278" y="2336569"/>
                  <a:pt x="2314487" y="2350353"/>
                  <a:pt x="2303101" y="2334771"/>
                </a:cubicBezTo>
                <a:cubicBezTo>
                  <a:pt x="2291715" y="2319190"/>
                  <a:pt x="2286321" y="2310800"/>
                  <a:pt x="2283924" y="2303010"/>
                </a:cubicBezTo>
                <a:cubicBezTo>
                  <a:pt x="2281527" y="2295219"/>
                  <a:pt x="2278531" y="2291624"/>
                  <a:pt x="2274935" y="2285631"/>
                </a:cubicBezTo>
                <a:cubicBezTo>
                  <a:pt x="2270740" y="2279638"/>
                  <a:pt x="2267744" y="2277241"/>
                  <a:pt x="2273737" y="2275443"/>
                </a:cubicBezTo>
                <a:cubicBezTo>
                  <a:pt x="2279130" y="2274245"/>
                  <a:pt x="2279729" y="2277840"/>
                  <a:pt x="2280928" y="2279638"/>
                </a:cubicBezTo>
                <a:cubicBezTo>
                  <a:pt x="2281527" y="2282035"/>
                  <a:pt x="2286321" y="2282635"/>
                  <a:pt x="2288718" y="2279039"/>
                </a:cubicBezTo>
                <a:cubicBezTo>
                  <a:pt x="2291115" y="2275443"/>
                  <a:pt x="2290516" y="2273046"/>
                  <a:pt x="2294112" y="2273645"/>
                </a:cubicBezTo>
                <a:cubicBezTo>
                  <a:pt x="2298307" y="2274245"/>
                  <a:pt x="2299505" y="2273046"/>
                  <a:pt x="2303101" y="2270050"/>
                </a:cubicBezTo>
                <a:cubicBezTo>
                  <a:pt x="2307296" y="2267054"/>
                  <a:pt x="2308494" y="2268252"/>
                  <a:pt x="2310892" y="2267653"/>
                </a:cubicBezTo>
                <a:cubicBezTo>
                  <a:pt x="2313289" y="2267054"/>
                  <a:pt x="2315086" y="2265256"/>
                  <a:pt x="2316285" y="2260462"/>
                </a:cubicBezTo>
                <a:cubicBezTo>
                  <a:pt x="2318083" y="2255068"/>
                  <a:pt x="2319281" y="2257465"/>
                  <a:pt x="2321678" y="2256267"/>
                </a:cubicBezTo>
                <a:cubicBezTo>
                  <a:pt x="2324075" y="2255667"/>
                  <a:pt x="2323476" y="2250274"/>
                  <a:pt x="2318083" y="2252072"/>
                </a:cubicBezTo>
                <a:cubicBezTo>
                  <a:pt x="2312689" y="2253869"/>
                  <a:pt x="2294112" y="2262259"/>
                  <a:pt x="2285722" y="2254469"/>
                </a:cubicBezTo>
                <a:cubicBezTo>
                  <a:pt x="2277332" y="2246079"/>
                  <a:pt x="2267144" y="2239487"/>
                  <a:pt x="2273737" y="2232296"/>
                </a:cubicBezTo>
                <a:cubicBezTo>
                  <a:pt x="2280329" y="2225104"/>
                  <a:pt x="2282126" y="2220310"/>
                  <a:pt x="2274935" y="2224505"/>
                </a:cubicBezTo>
                <a:cubicBezTo>
                  <a:pt x="2267744" y="2228700"/>
                  <a:pt x="2267144" y="2228700"/>
                  <a:pt x="2266545" y="2225104"/>
                </a:cubicBezTo>
                <a:cubicBezTo>
                  <a:pt x="2266545" y="2224505"/>
                  <a:pt x="2265946" y="2223306"/>
                  <a:pt x="2264747" y="2222707"/>
                </a:cubicBezTo>
                <a:cubicBezTo>
                  <a:pt x="2264747" y="2222707"/>
                  <a:pt x="2264747" y="2222707"/>
                  <a:pt x="2264747" y="2222707"/>
                </a:cubicBezTo>
                <a:cubicBezTo>
                  <a:pt x="2264148" y="2222108"/>
                  <a:pt x="2264148" y="2222108"/>
                  <a:pt x="2263549" y="2221509"/>
                </a:cubicBezTo>
                <a:cubicBezTo>
                  <a:pt x="2261751" y="2220310"/>
                  <a:pt x="2259953" y="2219112"/>
                  <a:pt x="2258755" y="2217913"/>
                </a:cubicBezTo>
                <a:cubicBezTo>
                  <a:pt x="2258755" y="2217913"/>
                  <a:pt x="2258755" y="2217913"/>
                  <a:pt x="2258755" y="2217314"/>
                </a:cubicBezTo>
                <a:cubicBezTo>
                  <a:pt x="2255758" y="2214917"/>
                  <a:pt x="2253361" y="2213119"/>
                  <a:pt x="2252163" y="2215516"/>
                </a:cubicBezTo>
                <a:cubicBezTo>
                  <a:pt x="2249766" y="2219711"/>
                  <a:pt x="2248567" y="2216115"/>
                  <a:pt x="2247968" y="2211321"/>
                </a:cubicBezTo>
                <a:cubicBezTo>
                  <a:pt x="2247368" y="2207126"/>
                  <a:pt x="2247368" y="2202931"/>
                  <a:pt x="2248567" y="2195740"/>
                </a:cubicBezTo>
                <a:cubicBezTo>
                  <a:pt x="2250365" y="2188549"/>
                  <a:pt x="2252163" y="2186152"/>
                  <a:pt x="2244971" y="2184953"/>
                </a:cubicBezTo>
                <a:cubicBezTo>
                  <a:pt x="2237780" y="2183754"/>
                  <a:pt x="2237780" y="2182556"/>
                  <a:pt x="2239578" y="2177762"/>
                </a:cubicBezTo>
                <a:cubicBezTo>
                  <a:pt x="2241376" y="2172967"/>
                  <a:pt x="2241975" y="2166975"/>
                  <a:pt x="2236581" y="2165776"/>
                </a:cubicBezTo>
                <a:cubicBezTo>
                  <a:pt x="2231188" y="2165177"/>
                  <a:pt x="2223997" y="2161581"/>
                  <a:pt x="2218603" y="2162780"/>
                </a:cubicBezTo>
                <a:cubicBezTo>
                  <a:pt x="2213210" y="2163379"/>
                  <a:pt x="2201824" y="2158585"/>
                  <a:pt x="2195831" y="2160982"/>
                </a:cubicBezTo>
                <a:cubicBezTo>
                  <a:pt x="2189838" y="2163379"/>
                  <a:pt x="2180849" y="2163978"/>
                  <a:pt x="2177853" y="2162181"/>
                </a:cubicBezTo>
                <a:cubicBezTo>
                  <a:pt x="2175456" y="2160383"/>
                  <a:pt x="2173658" y="2159783"/>
                  <a:pt x="2170661" y="2162181"/>
                </a:cubicBezTo>
                <a:cubicBezTo>
                  <a:pt x="2167665" y="2164578"/>
                  <a:pt x="2147889" y="2164578"/>
                  <a:pt x="2141896" y="2162780"/>
                </a:cubicBezTo>
                <a:cubicBezTo>
                  <a:pt x="2135904" y="2160982"/>
                  <a:pt x="2129911" y="2160383"/>
                  <a:pt x="2124517" y="2163379"/>
                </a:cubicBezTo>
                <a:cubicBezTo>
                  <a:pt x="2119124" y="2166375"/>
                  <a:pt x="2115528" y="2163978"/>
                  <a:pt x="2114330" y="2160383"/>
                </a:cubicBezTo>
                <a:cubicBezTo>
                  <a:pt x="2113730" y="2158585"/>
                  <a:pt x="2112532" y="2157986"/>
                  <a:pt x="2111933" y="2157386"/>
                </a:cubicBezTo>
                <a:lnTo>
                  <a:pt x="2106539" y="2158585"/>
                </a:lnTo>
                <a:cubicBezTo>
                  <a:pt x="2102943" y="2160982"/>
                  <a:pt x="2099348" y="2160383"/>
                  <a:pt x="2096351" y="2157986"/>
                </a:cubicBezTo>
                <a:cubicBezTo>
                  <a:pt x="2093355" y="2155589"/>
                  <a:pt x="2086164" y="2154989"/>
                  <a:pt x="2084366" y="2152592"/>
                </a:cubicBezTo>
                <a:cubicBezTo>
                  <a:pt x="2082568" y="2150195"/>
                  <a:pt x="2080770" y="2150195"/>
                  <a:pt x="2077175" y="2152592"/>
                </a:cubicBezTo>
                <a:cubicBezTo>
                  <a:pt x="2073579" y="2154989"/>
                  <a:pt x="2066987" y="2153192"/>
                  <a:pt x="2062193" y="2150195"/>
                </a:cubicBezTo>
                <a:cubicBezTo>
                  <a:pt x="2057998" y="2147199"/>
                  <a:pt x="2052005" y="2145401"/>
                  <a:pt x="2047810" y="2146000"/>
                </a:cubicBezTo>
                <a:cubicBezTo>
                  <a:pt x="2043615" y="2146599"/>
                  <a:pt x="2043615" y="2146599"/>
                  <a:pt x="2041817" y="2143603"/>
                </a:cubicBezTo>
                <a:cubicBezTo>
                  <a:pt x="2040020" y="2141206"/>
                  <a:pt x="2034027" y="2138809"/>
                  <a:pt x="2028633" y="2135213"/>
                </a:cubicBezTo>
                <a:cubicBezTo>
                  <a:pt x="2023240" y="2131618"/>
                  <a:pt x="2019045" y="2129820"/>
                  <a:pt x="2016648" y="2132217"/>
                </a:cubicBezTo>
                <a:cubicBezTo>
                  <a:pt x="2014251" y="2134614"/>
                  <a:pt x="2013652" y="2135812"/>
                  <a:pt x="2010056" y="2129221"/>
                </a:cubicBezTo>
                <a:cubicBezTo>
                  <a:pt x="2006460" y="2122629"/>
                  <a:pt x="2005262" y="2116036"/>
                  <a:pt x="2007659" y="2102852"/>
                </a:cubicBezTo>
                <a:cubicBezTo>
                  <a:pt x="2010056" y="2089668"/>
                  <a:pt x="2014850" y="2083076"/>
                  <a:pt x="2008258" y="2078881"/>
                </a:cubicBezTo>
                <a:cubicBezTo>
                  <a:pt x="2001067" y="2074687"/>
                  <a:pt x="1999868" y="2078282"/>
                  <a:pt x="1996273" y="2078282"/>
                </a:cubicBezTo>
                <a:cubicBezTo>
                  <a:pt x="1992078" y="2078282"/>
                  <a:pt x="1987883" y="2075286"/>
                  <a:pt x="1978294" y="2078282"/>
                </a:cubicBezTo>
                <a:cubicBezTo>
                  <a:pt x="1968706" y="2081279"/>
                  <a:pt x="1961515" y="2084275"/>
                  <a:pt x="1957320" y="2086672"/>
                </a:cubicBezTo>
                <a:cubicBezTo>
                  <a:pt x="1953125" y="2089069"/>
                  <a:pt x="1947132" y="2089069"/>
                  <a:pt x="1942937" y="2086073"/>
                </a:cubicBezTo>
                <a:cubicBezTo>
                  <a:pt x="1938742" y="2082477"/>
                  <a:pt x="1930353" y="2083076"/>
                  <a:pt x="1924959" y="2081878"/>
                </a:cubicBezTo>
                <a:cubicBezTo>
                  <a:pt x="1919566" y="2081279"/>
                  <a:pt x="1917768" y="2075885"/>
                  <a:pt x="1912374" y="2069892"/>
                </a:cubicBezTo>
                <a:cubicBezTo>
                  <a:pt x="1906981" y="2064499"/>
                  <a:pt x="1899190" y="2056708"/>
                  <a:pt x="1903984" y="2056708"/>
                </a:cubicBezTo>
                <a:cubicBezTo>
                  <a:pt x="1908779" y="2056708"/>
                  <a:pt x="1906981" y="2055510"/>
                  <a:pt x="1903385" y="2050116"/>
                </a:cubicBezTo>
                <a:cubicBezTo>
                  <a:pt x="1899190" y="2044723"/>
                  <a:pt x="1894396" y="2038131"/>
                  <a:pt x="1889602" y="2038131"/>
                </a:cubicBezTo>
                <a:cubicBezTo>
                  <a:pt x="1884808" y="2038131"/>
                  <a:pt x="1881212" y="2037531"/>
                  <a:pt x="1879414" y="2030340"/>
                </a:cubicBezTo>
                <a:cubicBezTo>
                  <a:pt x="1877017" y="2023149"/>
                  <a:pt x="1877616" y="2020153"/>
                  <a:pt x="1878815" y="2015358"/>
                </a:cubicBezTo>
                <a:cubicBezTo>
                  <a:pt x="1880013" y="2009965"/>
                  <a:pt x="1880013" y="2005171"/>
                  <a:pt x="1880013" y="2002174"/>
                </a:cubicBezTo>
                <a:cubicBezTo>
                  <a:pt x="1880013" y="1998579"/>
                  <a:pt x="1877017" y="1996781"/>
                  <a:pt x="1877616" y="1993185"/>
                </a:cubicBezTo>
                <a:cubicBezTo>
                  <a:pt x="1878216" y="1988990"/>
                  <a:pt x="1877616" y="1988391"/>
                  <a:pt x="1874620" y="1987192"/>
                </a:cubicBezTo>
                <a:cubicBezTo>
                  <a:pt x="1871624" y="1985994"/>
                  <a:pt x="1872223" y="1985395"/>
                  <a:pt x="1873422" y="1982398"/>
                </a:cubicBezTo>
                <a:cubicBezTo>
                  <a:pt x="1874620" y="1979402"/>
                  <a:pt x="1875819" y="1974008"/>
                  <a:pt x="1874021" y="1967417"/>
                </a:cubicBezTo>
                <a:cubicBezTo>
                  <a:pt x="1872223" y="1960824"/>
                  <a:pt x="1871024" y="1959027"/>
                  <a:pt x="1871624" y="1955431"/>
                </a:cubicBezTo>
                <a:cubicBezTo>
                  <a:pt x="1872223" y="1951236"/>
                  <a:pt x="1871024" y="1950637"/>
                  <a:pt x="1867429" y="1949438"/>
                </a:cubicBezTo>
                <a:cubicBezTo>
                  <a:pt x="1863234" y="1948240"/>
                  <a:pt x="1855443" y="1946442"/>
                  <a:pt x="1857241" y="1942846"/>
                </a:cubicBezTo>
                <a:cubicBezTo>
                  <a:pt x="1859638" y="1939251"/>
                  <a:pt x="1854844" y="1930861"/>
                  <a:pt x="1853645" y="1938052"/>
                </a:cubicBezTo>
                <a:cubicBezTo>
                  <a:pt x="1852447" y="1945243"/>
                  <a:pt x="1852447" y="1947041"/>
                  <a:pt x="1848851" y="1950637"/>
                </a:cubicBezTo>
                <a:cubicBezTo>
                  <a:pt x="1845256" y="1954232"/>
                  <a:pt x="1841660" y="1954832"/>
                  <a:pt x="1836866" y="1953633"/>
                </a:cubicBezTo>
                <a:cubicBezTo>
                  <a:pt x="1835068" y="1953034"/>
                  <a:pt x="1833869" y="1953034"/>
                  <a:pt x="1832671" y="1953633"/>
                </a:cubicBezTo>
                <a:lnTo>
                  <a:pt x="1830873" y="1954232"/>
                </a:lnTo>
                <a:cubicBezTo>
                  <a:pt x="1829674" y="1954832"/>
                  <a:pt x="1828476" y="1956030"/>
                  <a:pt x="1828476" y="1956629"/>
                </a:cubicBezTo>
                <a:cubicBezTo>
                  <a:pt x="1827877" y="1959027"/>
                  <a:pt x="1823682" y="1959027"/>
                  <a:pt x="1824281" y="1956030"/>
                </a:cubicBezTo>
                <a:cubicBezTo>
                  <a:pt x="1824281" y="1954232"/>
                  <a:pt x="1824880" y="1953034"/>
                  <a:pt x="1824880" y="1951835"/>
                </a:cubicBezTo>
                <a:cubicBezTo>
                  <a:pt x="1824880" y="1951835"/>
                  <a:pt x="1824880" y="1951236"/>
                  <a:pt x="1824281" y="1951236"/>
                </a:cubicBezTo>
                <a:cubicBezTo>
                  <a:pt x="1823682" y="1950637"/>
                  <a:pt x="1823082" y="1950637"/>
                  <a:pt x="1821884" y="1950637"/>
                </a:cubicBezTo>
                <a:cubicBezTo>
                  <a:pt x="1817689" y="1951236"/>
                  <a:pt x="1820086" y="1953633"/>
                  <a:pt x="1820086" y="1956629"/>
                </a:cubicBezTo>
                <a:cubicBezTo>
                  <a:pt x="1820086" y="1959626"/>
                  <a:pt x="1819487" y="1963222"/>
                  <a:pt x="1813494" y="1961424"/>
                </a:cubicBezTo>
                <a:cubicBezTo>
                  <a:pt x="1808101" y="1959626"/>
                  <a:pt x="1805104" y="1962622"/>
                  <a:pt x="1811097" y="1964420"/>
                </a:cubicBezTo>
                <a:cubicBezTo>
                  <a:pt x="1817090" y="1966218"/>
                  <a:pt x="1818288" y="1966218"/>
                  <a:pt x="1816491" y="1979402"/>
                </a:cubicBezTo>
                <a:cubicBezTo>
                  <a:pt x="1815292" y="1992586"/>
                  <a:pt x="1813494" y="1997380"/>
                  <a:pt x="1813494" y="2002174"/>
                </a:cubicBezTo>
                <a:cubicBezTo>
                  <a:pt x="1813494" y="2003373"/>
                  <a:pt x="1812296" y="2005171"/>
                  <a:pt x="1811696" y="2006369"/>
                </a:cubicBezTo>
                <a:lnTo>
                  <a:pt x="1812296" y="2006968"/>
                </a:lnTo>
                <a:cubicBezTo>
                  <a:pt x="1811097" y="2009965"/>
                  <a:pt x="1809898" y="2012961"/>
                  <a:pt x="1811696" y="2015358"/>
                </a:cubicBezTo>
                <a:cubicBezTo>
                  <a:pt x="1814093" y="2019553"/>
                  <a:pt x="1815292" y="2025546"/>
                  <a:pt x="1812296" y="2028542"/>
                </a:cubicBezTo>
                <a:cubicBezTo>
                  <a:pt x="1809898" y="2032138"/>
                  <a:pt x="1808101" y="2036333"/>
                  <a:pt x="1814693" y="2038730"/>
                </a:cubicBezTo>
                <a:cubicBezTo>
                  <a:pt x="1821285" y="2041127"/>
                  <a:pt x="1827277" y="2042326"/>
                  <a:pt x="1824281" y="2045322"/>
                </a:cubicBezTo>
                <a:cubicBezTo>
                  <a:pt x="1821285" y="2048319"/>
                  <a:pt x="1822483" y="2050116"/>
                  <a:pt x="1824281" y="2052513"/>
                </a:cubicBezTo>
                <a:cubicBezTo>
                  <a:pt x="1826079" y="2054910"/>
                  <a:pt x="1824281" y="2059705"/>
                  <a:pt x="1827877" y="2062701"/>
                </a:cubicBezTo>
                <a:cubicBezTo>
                  <a:pt x="1831472" y="2065697"/>
                  <a:pt x="1827877" y="2069892"/>
                  <a:pt x="1830873" y="2072889"/>
                </a:cubicBezTo>
                <a:cubicBezTo>
                  <a:pt x="1833869" y="2075885"/>
                  <a:pt x="1827277" y="2074087"/>
                  <a:pt x="1830274" y="2080080"/>
                </a:cubicBezTo>
                <a:cubicBezTo>
                  <a:pt x="1833270" y="2085473"/>
                  <a:pt x="1832071" y="2098658"/>
                  <a:pt x="1827877" y="2095661"/>
                </a:cubicBezTo>
                <a:cubicBezTo>
                  <a:pt x="1823682" y="2092665"/>
                  <a:pt x="1824880" y="2098058"/>
                  <a:pt x="1825480" y="2102253"/>
                </a:cubicBezTo>
                <a:cubicBezTo>
                  <a:pt x="1826079" y="2106448"/>
                  <a:pt x="1826079" y="2111242"/>
                  <a:pt x="1823682" y="2110643"/>
                </a:cubicBezTo>
                <a:cubicBezTo>
                  <a:pt x="1821285" y="2110044"/>
                  <a:pt x="1821285" y="2111242"/>
                  <a:pt x="1824281" y="2114239"/>
                </a:cubicBezTo>
                <a:cubicBezTo>
                  <a:pt x="1826678" y="2116636"/>
                  <a:pt x="1828476" y="2119632"/>
                  <a:pt x="1828476" y="2124426"/>
                </a:cubicBezTo>
                <a:cubicBezTo>
                  <a:pt x="1828476" y="2129221"/>
                  <a:pt x="1828476" y="2131618"/>
                  <a:pt x="1829075" y="2134015"/>
                </a:cubicBezTo>
                <a:cubicBezTo>
                  <a:pt x="1829674" y="2136412"/>
                  <a:pt x="1830274" y="2140007"/>
                  <a:pt x="1829674" y="2143603"/>
                </a:cubicBezTo>
                <a:cubicBezTo>
                  <a:pt x="1829674" y="2144802"/>
                  <a:pt x="1829674" y="2146599"/>
                  <a:pt x="1829674" y="2147199"/>
                </a:cubicBezTo>
                <a:lnTo>
                  <a:pt x="1832671" y="2146599"/>
                </a:lnTo>
                <a:cubicBezTo>
                  <a:pt x="1835068" y="2142404"/>
                  <a:pt x="1832071" y="2135213"/>
                  <a:pt x="1833270" y="2129820"/>
                </a:cubicBezTo>
                <a:cubicBezTo>
                  <a:pt x="1833869" y="2124426"/>
                  <a:pt x="1836866" y="2113639"/>
                  <a:pt x="1841061" y="2110643"/>
                </a:cubicBezTo>
                <a:cubicBezTo>
                  <a:pt x="1845256" y="2107647"/>
                  <a:pt x="1849451" y="2101055"/>
                  <a:pt x="1854245" y="2101654"/>
                </a:cubicBezTo>
                <a:cubicBezTo>
                  <a:pt x="1859638" y="2102253"/>
                  <a:pt x="1861436" y="2107047"/>
                  <a:pt x="1861436" y="2111841"/>
                </a:cubicBezTo>
                <a:cubicBezTo>
                  <a:pt x="1860837" y="2116636"/>
                  <a:pt x="1858440" y="2118434"/>
                  <a:pt x="1857241" y="2122629"/>
                </a:cubicBezTo>
                <a:cubicBezTo>
                  <a:pt x="1856042" y="2126823"/>
                  <a:pt x="1856642" y="2126823"/>
                  <a:pt x="1856642" y="2131018"/>
                </a:cubicBezTo>
                <a:cubicBezTo>
                  <a:pt x="1856642" y="2135213"/>
                  <a:pt x="1852447" y="2139408"/>
                  <a:pt x="1850649" y="2144202"/>
                </a:cubicBezTo>
                <a:cubicBezTo>
                  <a:pt x="1848252" y="2148997"/>
                  <a:pt x="1838664" y="2156188"/>
                  <a:pt x="1841061" y="2157386"/>
                </a:cubicBezTo>
                <a:cubicBezTo>
                  <a:pt x="1843458" y="2158585"/>
                  <a:pt x="1843458" y="2159783"/>
                  <a:pt x="1841061" y="2162780"/>
                </a:cubicBezTo>
                <a:cubicBezTo>
                  <a:pt x="1838664" y="2165776"/>
                  <a:pt x="1834469" y="2170570"/>
                  <a:pt x="1839263" y="2169971"/>
                </a:cubicBezTo>
                <a:cubicBezTo>
                  <a:pt x="1844057" y="2169372"/>
                  <a:pt x="1845855" y="2169372"/>
                  <a:pt x="1845855" y="2174166"/>
                </a:cubicBezTo>
                <a:cubicBezTo>
                  <a:pt x="1845855" y="2178960"/>
                  <a:pt x="1847053" y="2178960"/>
                  <a:pt x="1850649" y="2179560"/>
                </a:cubicBezTo>
                <a:cubicBezTo>
                  <a:pt x="1854245" y="2180159"/>
                  <a:pt x="1862035" y="2182556"/>
                  <a:pt x="1865032" y="2179560"/>
                </a:cubicBezTo>
                <a:cubicBezTo>
                  <a:pt x="1868028" y="2176563"/>
                  <a:pt x="1870425" y="2174166"/>
                  <a:pt x="1874620" y="2175964"/>
                </a:cubicBezTo>
                <a:cubicBezTo>
                  <a:pt x="1878815" y="2178361"/>
                  <a:pt x="1880013" y="2177162"/>
                  <a:pt x="1881811" y="2175365"/>
                </a:cubicBezTo>
                <a:cubicBezTo>
                  <a:pt x="1884208" y="2173567"/>
                  <a:pt x="1886605" y="2174765"/>
                  <a:pt x="1889602" y="2177762"/>
                </a:cubicBezTo>
                <a:cubicBezTo>
                  <a:pt x="1892598" y="2180159"/>
                  <a:pt x="1899790" y="2180159"/>
                  <a:pt x="1903385" y="2179560"/>
                </a:cubicBezTo>
                <a:cubicBezTo>
                  <a:pt x="1907580" y="2178960"/>
                  <a:pt x="1907580" y="2175964"/>
                  <a:pt x="1909977" y="2178960"/>
                </a:cubicBezTo>
                <a:cubicBezTo>
                  <a:pt x="1912374" y="2181357"/>
                  <a:pt x="1911775" y="2180159"/>
                  <a:pt x="1912374" y="2177162"/>
                </a:cubicBezTo>
                <a:cubicBezTo>
                  <a:pt x="1912973" y="2174166"/>
                  <a:pt x="1914771" y="2173567"/>
                  <a:pt x="1917768" y="2175365"/>
                </a:cubicBezTo>
                <a:cubicBezTo>
                  <a:pt x="1920165" y="2177162"/>
                  <a:pt x="1921363" y="2172967"/>
                  <a:pt x="1921363" y="2172967"/>
                </a:cubicBezTo>
                <a:cubicBezTo>
                  <a:pt x="1921363" y="2172967"/>
                  <a:pt x="1917768" y="2169372"/>
                  <a:pt x="1927955" y="2160982"/>
                </a:cubicBezTo>
                <a:cubicBezTo>
                  <a:pt x="1938143" y="2152592"/>
                  <a:pt x="1953724" y="2132217"/>
                  <a:pt x="1960316" y="2130419"/>
                </a:cubicBezTo>
                <a:cubicBezTo>
                  <a:pt x="1966908" y="2129221"/>
                  <a:pt x="1967507" y="2129820"/>
                  <a:pt x="1973500" y="2118434"/>
                </a:cubicBezTo>
                <a:cubicBezTo>
                  <a:pt x="1974099" y="2116636"/>
                  <a:pt x="1975298" y="2115437"/>
                  <a:pt x="1975897" y="2114239"/>
                </a:cubicBezTo>
                <a:lnTo>
                  <a:pt x="1975897" y="2114838"/>
                </a:lnTo>
                <a:cubicBezTo>
                  <a:pt x="1980092" y="2107647"/>
                  <a:pt x="1981890" y="2104051"/>
                  <a:pt x="1985486" y="2104051"/>
                </a:cubicBezTo>
                <a:cubicBezTo>
                  <a:pt x="1989681" y="2104051"/>
                  <a:pt x="1990280" y="2105849"/>
                  <a:pt x="1987883" y="2108246"/>
                </a:cubicBezTo>
                <a:cubicBezTo>
                  <a:pt x="1985486" y="2110643"/>
                  <a:pt x="1982489" y="2115437"/>
                  <a:pt x="1980092" y="2126224"/>
                </a:cubicBezTo>
                <a:cubicBezTo>
                  <a:pt x="1979493" y="2128022"/>
                  <a:pt x="1979493" y="2129221"/>
                  <a:pt x="1978894" y="2130419"/>
                </a:cubicBezTo>
                <a:lnTo>
                  <a:pt x="1978894" y="2131018"/>
                </a:lnTo>
                <a:cubicBezTo>
                  <a:pt x="1977695" y="2137610"/>
                  <a:pt x="1977096" y="2138210"/>
                  <a:pt x="1975298" y="2143004"/>
                </a:cubicBezTo>
                <a:cubicBezTo>
                  <a:pt x="1973500" y="2146599"/>
                  <a:pt x="1972901" y="2150195"/>
                  <a:pt x="1973500" y="2155589"/>
                </a:cubicBezTo>
                <a:cubicBezTo>
                  <a:pt x="1973500" y="2159184"/>
                  <a:pt x="1974699" y="2163978"/>
                  <a:pt x="1975897" y="2169971"/>
                </a:cubicBezTo>
                <a:cubicBezTo>
                  <a:pt x="1979493" y="2184953"/>
                  <a:pt x="1978294" y="2199935"/>
                  <a:pt x="1992677" y="2200534"/>
                </a:cubicBezTo>
                <a:cubicBezTo>
                  <a:pt x="2006460" y="2201133"/>
                  <a:pt x="2020244" y="2200534"/>
                  <a:pt x="2020244" y="2212520"/>
                </a:cubicBezTo>
                <a:cubicBezTo>
                  <a:pt x="2020244" y="2224505"/>
                  <a:pt x="2024438" y="2241285"/>
                  <a:pt x="2030431" y="2244880"/>
                </a:cubicBezTo>
                <a:cubicBezTo>
                  <a:pt x="2036424" y="2248476"/>
                  <a:pt x="2040020" y="2249075"/>
                  <a:pt x="2035825" y="2256267"/>
                </a:cubicBezTo>
                <a:cubicBezTo>
                  <a:pt x="2031630" y="2263458"/>
                  <a:pt x="2029233" y="2270649"/>
                  <a:pt x="2026836" y="2274844"/>
                </a:cubicBezTo>
                <a:cubicBezTo>
                  <a:pt x="2024438" y="2279039"/>
                  <a:pt x="2011255" y="2290425"/>
                  <a:pt x="2005861" y="2294620"/>
                </a:cubicBezTo>
                <a:cubicBezTo>
                  <a:pt x="2000468" y="2298815"/>
                  <a:pt x="1996872" y="2303609"/>
                  <a:pt x="1995673" y="2307804"/>
                </a:cubicBezTo>
                <a:cubicBezTo>
                  <a:pt x="1995074" y="2311999"/>
                  <a:pt x="1992078" y="2314995"/>
                  <a:pt x="1989081" y="2316793"/>
                </a:cubicBezTo>
                <a:cubicBezTo>
                  <a:pt x="1986085" y="2319190"/>
                  <a:pt x="1984287" y="2321587"/>
                  <a:pt x="1983688" y="2323985"/>
                </a:cubicBezTo>
                <a:cubicBezTo>
                  <a:pt x="1983089" y="2326382"/>
                  <a:pt x="1974099" y="2328179"/>
                  <a:pt x="1976497" y="2323985"/>
                </a:cubicBezTo>
                <a:cubicBezTo>
                  <a:pt x="1978894" y="2319790"/>
                  <a:pt x="1978894" y="2316793"/>
                  <a:pt x="1974699" y="2318591"/>
                </a:cubicBezTo>
                <a:cubicBezTo>
                  <a:pt x="1970504" y="2320389"/>
                  <a:pt x="1969904" y="2322786"/>
                  <a:pt x="1969904" y="2326981"/>
                </a:cubicBezTo>
                <a:cubicBezTo>
                  <a:pt x="1969904" y="2331176"/>
                  <a:pt x="1967507" y="2333573"/>
                  <a:pt x="1965710" y="2335371"/>
                </a:cubicBezTo>
                <a:cubicBezTo>
                  <a:pt x="1963313" y="2337169"/>
                  <a:pt x="1958518" y="2349154"/>
                  <a:pt x="1958518" y="2353349"/>
                </a:cubicBezTo>
                <a:cubicBezTo>
                  <a:pt x="1959118" y="2357544"/>
                  <a:pt x="1957320" y="2364136"/>
                  <a:pt x="1954923" y="2366533"/>
                </a:cubicBezTo>
                <a:cubicBezTo>
                  <a:pt x="1952526" y="2368930"/>
                  <a:pt x="1954324" y="2370728"/>
                  <a:pt x="1954923" y="2373724"/>
                </a:cubicBezTo>
                <a:cubicBezTo>
                  <a:pt x="1955522" y="2376721"/>
                  <a:pt x="1954324" y="2379717"/>
                  <a:pt x="1948331" y="2380916"/>
                </a:cubicBezTo>
                <a:cubicBezTo>
                  <a:pt x="1942338" y="2381515"/>
                  <a:pt x="1917168" y="2386309"/>
                  <a:pt x="1917768" y="2397096"/>
                </a:cubicBezTo>
                <a:cubicBezTo>
                  <a:pt x="1918367" y="2407883"/>
                  <a:pt x="1918367" y="2410280"/>
                  <a:pt x="1914771" y="2412677"/>
                </a:cubicBezTo>
                <a:cubicBezTo>
                  <a:pt x="1911176" y="2415074"/>
                  <a:pt x="1911176" y="2421666"/>
                  <a:pt x="1905782" y="2420468"/>
                </a:cubicBezTo>
                <a:cubicBezTo>
                  <a:pt x="1900389" y="2419269"/>
                  <a:pt x="1887205" y="2413876"/>
                  <a:pt x="1881212" y="2419868"/>
                </a:cubicBezTo>
                <a:cubicBezTo>
                  <a:pt x="1875819" y="2425861"/>
                  <a:pt x="1871624" y="2427060"/>
                  <a:pt x="1871624" y="2433052"/>
                </a:cubicBezTo>
                <a:cubicBezTo>
                  <a:pt x="1871624" y="2439045"/>
                  <a:pt x="1869826" y="2440843"/>
                  <a:pt x="1867429" y="2443839"/>
                </a:cubicBezTo>
                <a:cubicBezTo>
                  <a:pt x="1865032" y="2446836"/>
                  <a:pt x="1862635" y="2451630"/>
                  <a:pt x="1857840" y="2451031"/>
                </a:cubicBezTo>
                <a:cubicBezTo>
                  <a:pt x="1853046" y="2450431"/>
                  <a:pt x="1845256" y="2448034"/>
                  <a:pt x="1842259" y="2451630"/>
                </a:cubicBezTo>
                <a:cubicBezTo>
                  <a:pt x="1839263" y="2455226"/>
                  <a:pt x="1835667" y="2455825"/>
                  <a:pt x="1832071" y="2455226"/>
                </a:cubicBezTo>
                <a:cubicBezTo>
                  <a:pt x="1828476" y="2454626"/>
                  <a:pt x="1826678" y="2457023"/>
                  <a:pt x="1823682" y="2458821"/>
                </a:cubicBezTo>
                <a:cubicBezTo>
                  <a:pt x="1821884" y="2460020"/>
                  <a:pt x="1818888" y="2459420"/>
                  <a:pt x="1815292" y="2460020"/>
                </a:cubicBezTo>
                <a:cubicBezTo>
                  <a:pt x="1813494" y="2460020"/>
                  <a:pt x="1811097" y="2460619"/>
                  <a:pt x="1808700" y="2461218"/>
                </a:cubicBezTo>
                <a:cubicBezTo>
                  <a:pt x="1802108" y="2463615"/>
                  <a:pt x="1790722" y="2467211"/>
                  <a:pt x="1787725" y="2472604"/>
                </a:cubicBezTo>
                <a:cubicBezTo>
                  <a:pt x="1785328" y="2477998"/>
                  <a:pt x="1782332" y="2482792"/>
                  <a:pt x="1783530" y="2486388"/>
                </a:cubicBezTo>
                <a:cubicBezTo>
                  <a:pt x="1784130" y="2490583"/>
                  <a:pt x="1788325" y="2500770"/>
                  <a:pt x="1783530" y="2501370"/>
                </a:cubicBezTo>
                <a:cubicBezTo>
                  <a:pt x="1778736" y="2501969"/>
                  <a:pt x="1773942" y="2502568"/>
                  <a:pt x="1767949" y="2506763"/>
                </a:cubicBezTo>
                <a:cubicBezTo>
                  <a:pt x="1761957" y="2510958"/>
                  <a:pt x="1755964" y="2514554"/>
                  <a:pt x="1749372" y="2516951"/>
                </a:cubicBezTo>
                <a:cubicBezTo>
                  <a:pt x="1742780" y="2519348"/>
                  <a:pt x="1733191" y="2524142"/>
                  <a:pt x="1726599" y="2521745"/>
                </a:cubicBezTo>
                <a:cubicBezTo>
                  <a:pt x="1726599" y="2521745"/>
                  <a:pt x="1719408" y="2523543"/>
                  <a:pt x="1710419" y="2526539"/>
                </a:cubicBezTo>
                <a:cubicBezTo>
                  <a:pt x="1702029" y="2529535"/>
                  <a:pt x="1687647" y="2536128"/>
                  <a:pt x="1682852" y="2544517"/>
                </a:cubicBezTo>
                <a:cubicBezTo>
                  <a:pt x="1678058" y="2552907"/>
                  <a:pt x="1674463" y="2557102"/>
                  <a:pt x="1668470" y="2555304"/>
                </a:cubicBezTo>
                <a:cubicBezTo>
                  <a:pt x="1662477" y="2553506"/>
                  <a:pt x="1663676" y="2557102"/>
                  <a:pt x="1656484" y="2555304"/>
                </a:cubicBezTo>
                <a:cubicBezTo>
                  <a:pt x="1649293" y="2553506"/>
                  <a:pt x="1645697" y="2554705"/>
                  <a:pt x="1640903" y="2562496"/>
                </a:cubicBezTo>
                <a:cubicBezTo>
                  <a:pt x="1636109" y="2570286"/>
                  <a:pt x="1628318" y="2571485"/>
                  <a:pt x="1618131" y="2574481"/>
                </a:cubicBezTo>
                <a:cubicBezTo>
                  <a:pt x="1607943" y="2577477"/>
                  <a:pt x="1600153" y="2573882"/>
                  <a:pt x="1592362" y="2576878"/>
                </a:cubicBezTo>
                <a:cubicBezTo>
                  <a:pt x="1585171" y="2579874"/>
                  <a:pt x="1580976" y="2581672"/>
                  <a:pt x="1576182" y="2588864"/>
                </a:cubicBezTo>
                <a:cubicBezTo>
                  <a:pt x="1571387" y="2596055"/>
                  <a:pt x="1567792" y="2600849"/>
                  <a:pt x="1562398" y="2599051"/>
                </a:cubicBezTo>
                <a:cubicBezTo>
                  <a:pt x="1557005" y="2597853"/>
                  <a:pt x="1557005" y="2596654"/>
                  <a:pt x="1552810" y="2599651"/>
                </a:cubicBezTo>
                <a:cubicBezTo>
                  <a:pt x="1548615" y="2602647"/>
                  <a:pt x="1544420" y="2601448"/>
                  <a:pt x="1535431" y="2599051"/>
                </a:cubicBezTo>
                <a:cubicBezTo>
                  <a:pt x="1527041" y="2596654"/>
                  <a:pt x="1526442" y="2594856"/>
                  <a:pt x="1527041" y="2589463"/>
                </a:cubicBezTo>
                <a:cubicBezTo>
                  <a:pt x="1527640" y="2584069"/>
                  <a:pt x="1525843" y="2584069"/>
                  <a:pt x="1524644" y="2577477"/>
                </a:cubicBezTo>
                <a:cubicBezTo>
                  <a:pt x="1524045" y="2570885"/>
                  <a:pt x="1525843" y="2571485"/>
                  <a:pt x="1527041" y="2564293"/>
                </a:cubicBezTo>
                <a:cubicBezTo>
                  <a:pt x="1527640" y="2557102"/>
                  <a:pt x="1529438" y="2554106"/>
                  <a:pt x="1526442" y="2548712"/>
                </a:cubicBezTo>
                <a:cubicBezTo>
                  <a:pt x="1522846" y="2543319"/>
                  <a:pt x="1522247" y="2543319"/>
                  <a:pt x="1522247" y="2539124"/>
                </a:cubicBezTo>
                <a:cubicBezTo>
                  <a:pt x="1522247" y="2534929"/>
                  <a:pt x="1521648" y="2531933"/>
                  <a:pt x="1524644" y="2531333"/>
                </a:cubicBezTo>
                <a:cubicBezTo>
                  <a:pt x="1527041" y="2530734"/>
                  <a:pt x="1526442" y="2530734"/>
                  <a:pt x="1527041" y="2524142"/>
                </a:cubicBezTo>
                <a:cubicBezTo>
                  <a:pt x="1527640" y="2517550"/>
                  <a:pt x="1527640" y="2513954"/>
                  <a:pt x="1527640" y="2509760"/>
                </a:cubicBezTo>
                <a:cubicBezTo>
                  <a:pt x="1528240" y="2505565"/>
                  <a:pt x="1533034" y="2505565"/>
                  <a:pt x="1529438" y="2501969"/>
                </a:cubicBezTo>
                <a:cubicBezTo>
                  <a:pt x="1525243" y="2498373"/>
                  <a:pt x="1523446" y="2497774"/>
                  <a:pt x="1527041" y="2497774"/>
                </a:cubicBezTo>
                <a:cubicBezTo>
                  <a:pt x="1530637" y="2497774"/>
                  <a:pt x="1530037" y="2498373"/>
                  <a:pt x="1529438" y="2494778"/>
                </a:cubicBezTo>
                <a:cubicBezTo>
                  <a:pt x="1528839" y="2490583"/>
                  <a:pt x="1532435" y="2488785"/>
                  <a:pt x="1533633" y="2484590"/>
                </a:cubicBezTo>
                <a:cubicBezTo>
                  <a:pt x="1534232" y="2480395"/>
                  <a:pt x="1531236" y="2479197"/>
                  <a:pt x="1534232" y="2476200"/>
                </a:cubicBezTo>
                <a:cubicBezTo>
                  <a:pt x="1537229" y="2473204"/>
                  <a:pt x="1536630" y="2469009"/>
                  <a:pt x="1538427" y="2461218"/>
                </a:cubicBezTo>
                <a:cubicBezTo>
                  <a:pt x="1539027" y="2455825"/>
                  <a:pt x="1539626" y="2452828"/>
                  <a:pt x="1539027" y="2448633"/>
                </a:cubicBezTo>
                <a:cubicBezTo>
                  <a:pt x="1539027" y="2446236"/>
                  <a:pt x="1538427" y="2444439"/>
                  <a:pt x="1537828" y="2441442"/>
                </a:cubicBezTo>
                <a:cubicBezTo>
                  <a:pt x="1536030" y="2434251"/>
                  <a:pt x="1538427" y="2428858"/>
                  <a:pt x="1534232" y="2424063"/>
                </a:cubicBezTo>
                <a:cubicBezTo>
                  <a:pt x="1530037" y="2419269"/>
                  <a:pt x="1530037" y="2418670"/>
                  <a:pt x="1530037" y="2411478"/>
                </a:cubicBezTo>
                <a:cubicBezTo>
                  <a:pt x="1530037" y="2404287"/>
                  <a:pt x="1530637" y="2405486"/>
                  <a:pt x="1528240" y="2400092"/>
                </a:cubicBezTo>
                <a:cubicBezTo>
                  <a:pt x="1525843" y="2394699"/>
                  <a:pt x="1524045" y="2389305"/>
                  <a:pt x="1521048" y="2381515"/>
                </a:cubicBezTo>
                <a:cubicBezTo>
                  <a:pt x="1518052" y="2373724"/>
                  <a:pt x="1518052" y="2366533"/>
                  <a:pt x="1516853" y="2349154"/>
                </a:cubicBezTo>
                <a:cubicBezTo>
                  <a:pt x="1516254" y="2331775"/>
                  <a:pt x="1514456" y="2325782"/>
                  <a:pt x="1515056" y="2319190"/>
                </a:cubicBezTo>
                <a:cubicBezTo>
                  <a:pt x="1515655" y="2312598"/>
                  <a:pt x="1511460" y="2311400"/>
                  <a:pt x="1509662" y="2306605"/>
                </a:cubicBezTo>
                <a:cubicBezTo>
                  <a:pt x="1507265" y="2301811"/>
                  <a:pt x="1508464" y="2301212"/>
                  <a:pt x="1502471" y="2295819"/>
                </a:cubicBezTo>
                <a:cubicBezTo>
                  <a:pt x="1497077" y="2290425"/>
                  <a:pt x="1495280" y="2285631"/>
                  <a:pt x="1495280" y="2280837"/>
                </a:cubicBezTo>
                <a:cubicBezTo>
                  <a:pt x="1495280" y="2276043"/>
                  <a:pt x="1494081" y="2272447"/>
                  <a:pt x="1492283" y="2266454"/>
                </a:cubicBezTo>
                <a:cubicBezTo>
                  <a:pt x="1490485" y="2261061"/>
                  <a:pt x="1491085" y="2256267"/>
                  <a:pt x="1493482" y="2253869"/>
                </a:cubicBezTo>
                <a:cubicBezTo>
                  <a:pt x="1495879" y="2251472"/>
                  <a:pt x="1496478" y="2240086"/>
                  <a:pt x="1496478" y="2234693"/>
                </a:cubicBezTo>
                <a:cubicBezTo>
                  <a:pt x="1496478" y="2229299"/>
                  <a:pt x="1495280" y="2226303"/>
                  <a:pt x="1497077" y="2222707"/>
                </a:cubicBezTo>
                <a:cubicBezTo>
                  <a:pt x="1498875" y="2219112"/>
                  <a:pt x="1499475" y="2210722"/>
                  <a:pt x="1499475" y="2202332"/>
                </a:cubicBezTo>
                <a:cubicBezTo>
                  <a:pt x="1500074" y="2193942"/>
                  <a:pt x="1497677" y="2189148"/>
                  <a:pt x="1500673" y="2185552"/>
                </a:cubicBezTo>
                <a:cubicBezTo>
                  <a:pt x="1503669" y="2181957"/>
                  <a:pt x="1502471" y="2180159"/>
                  <a:pt x="1501872" y="2170570"/>
                </a:cubicBezTo>
                <a:cubicBezTo>
                  <a:pt x="1501272" y="2160982"/>
                  <a:pt x="1498875" y="2163978"/>
                  <a:pt x="1497677" y="2160383"/>
                </a:cubicBezTo>
                <a:cubicBezTo>
                  <a:pt x="1496478" y="2156188"/>
                  <a:pt x="1495879" y="2154390"/>
                  <a:pt x="1495879" y="2148397"/>
                </a:cubicBezTo>
                <a:cubicBezTo>
                  <a:pt x="1495879" y="2143004"/>
                  <a:pt x="1492283" y="2140007"/>
                  <a:pt x="1488088" y="2135812"/>
                </a:cubicBezTo>
                <a:cubicBezTo>
                  <a:pt x="1483893" y="2131618"/>
                  <a:pt x="1480897" y="2129221"/>
                  <a:pt x="1480897" y="2125625"/>
                </a:cubicBezTo>
                <a:cubicBezTo>
                  <a:pt x="1480897" y="2121430"/>
                  <a:pt x="1479699" y="2114838"/>
                  <a:pt x="1483893" y="2107647"/>
                </a:cubicBezTo>
                <a:cubicBezTo>
                  <a:pt x="1488088" y="2100455"/>
                  <a:pt x="1483294" y="2091466"/>
                  <a:pt x="1482096" y="2087870"/>
                </a:cubicBezTo>
                <a:cubicBezTo>
                  <a:pt x="1480897" y="2084275"/>
                  <a:pt x="1480897" y="2077683"/>
                  <a:pt x="1480298" y="2071690"/>
                </a:cubicBezTo>
                <a:cubicBezTo>
                  <a:pt x="1479699" y="2065697"/>
                  <a:pt x="1482695" y="2065697"/>
                  <a:pt x="1480298" y="2062701"/>
                </a:cubicBezTo>
                <a:cubicBezTo>
                  <a:pt x="1477901" y="2059705"/>
                  <a:pt x="1477901" y="2060304"/>
                  <a:pt x="1477901" y="2055510"/>
                </a:cubicBezTo>
                <a:cubicBezTo>
                  <a:pt x="1477901" y="2050716"/>
                  <a:pt x="1476103" y="2053113"/>
                  <a:pt x="1478500" y="2049517"/>
                </a:cubicBezTo>
                <a:cubicBezTo>
                  <a:pt x="1480897" y="2045921"/>
                  <a:pt x="1479099" y="2043524"/>
                  <a:pt x="1477901" y="2039929"/>
                </a:cubicBezTo>
                <a:cubicBezTo>
                  <a:pt x="1476702" y="2036333"/>
                  <a:pt x="1478500" y="2035734"/>
                  <a:pt x="1477301" y="2032138"/>
                </a:cubicBezTo>
                <a:cubicBezTo>
                  <a:pt x="1476103" y="2027943"/>
                  <a:pt x="1475504" y="2028542"/>
                  <a:pt x="1477301" y="2023748"/>
                </a:cubicBezTo>
                <a:cubicBezTo>
                  <a:pt x="1479099" y="2018954"/>
                  <a:pt x="1477901" y="2015358"/>
                  <a:pt x="1477301" y="2007568"/>
                </a:cubicBezTo>
                <a:cubicBezTo>
                  <a:pt x="1476702" y="2000377"/>
                  <a:pt x="1473106" y="1994384"/>
                  <a:pt x="1474904" y="1989590"/>
                </a:cubicBezTo>
                <a:cubicBezTo>
                  <a:pt x="1477301" y="1984795"/>
                  <a:pt x="1472507" y="1986593"/>
                  <a:pt x="1469511" y="1985395"/>
                </a:cubicBezTo>
                <a:cubicBezTo>
                  <a:pt x="1466514" y="1984795"/>
                  <a:pt x="1467114" y="1982997"/>
                  <a:pt x="1464117" y="1982997"/>
                </a:cubicBezTo>
                <a:cubicBezTo>
                  <a:pt x="1461121" y="1982997"/>
                  <a:pt x="1459922" y="1981799"/>
                  <a:pt x="1462320" y="1979402"/>
                </a:cubicBezTo>
                <a:cubicBezTo>
                  <a:pt x="1464717" y="1977005"/>
                  <a:pt x="1464717" y="1976406"/>
                  <a:pt x="1467713" y="1967417"/>
                </a:cubicBezTo>
                <a:cubicBezTo>
                  <a:pt x="1470110" y="1959027"/>
                  <a:pt x="1476702" y="1948240"/>
                  <a:pt x="1484493" y="1936854"/>
                </a:cubicBezTo>
                <a:cubicBezTo>
                  <a:pt x="1487489" y="1932659"/>
                  <a:pt x="1488088" y="1929662"/>
                  <a:pt x="1488688" y="1928464"/>
                </a:cubicBezTo>
                <a:lnTo>
                  <a:pt x="1488688" y="1927265"/>
                </a:lnTo>
                <a:lnTo>
                  <a:pt x="1488688" y="1927265"/>
                </a:lnTo>
                <a:cubicBezTo>
                  <a:pt x="1488688" y="1927265"/>
                  <a:pt x="1488688" y="1927265"/>
                  <a:pt x="1488688" y="1927265"/>
                </a:cubicBezTo>
                <a:lnTo>
                  <a:pt x="1489287" y="1927265"/>
                </a:lnTo>
                <a:lnTo>
                  <a:pt x="1492283" y="1922471"/>
                </a:lnTo>
                <a:lnTo>
                  <a:pt x="1486890" y="1927265"/>
                </a:lnTo>
                <a:lnTo>
                  <a:pt x="1486890" y="1928464"/>
                </a:lnTo>
                <a:cubicBezTo>
                  <a:pt x="1486291" y="1930861"/>
                  <a:pt x="1486291" y="1930861"/>
                  <a:pt x="1478500" y="1938651"/>
                </a:cubicBezTo>
                <a:cubicBezTo>
                  <a:pt x="1471309" y="1947041"/>
                  <a:pt x="1467713" y="1953034"/>
                  <a:pt x="1465316" y="1959027"/>
                </a:cubicBezTo>
                <a:cubicBezTo>
                  <a:pt x="1462919" y="1965019"/>
                  <a:pt x="1464717" y="1967417"/>
                  <a:pt x="1461121" y="1972211"/>
                </a:cubicBezTo>
                <a:cubicBezTo>
                  <a:pt x="1457525" y="1977604"/>
                  <a:pt x="1455728" y="1979402"/>
                  <a:pt x="1453930" y="1985395"/>
                </a:cubicBezTo>
                <a:cubicBezTo>
                  <a:pt x="1451533" y="1990788"/>
                  <a:pt x="1446738" y="1995582"/>
                  <a:pt x="1444941" y="1991387"/>
                </a:cubicBezTo>
                <a:cubicBezTo>
                  <a:pt x="1442544" y="1987192"/>
                  <a:pt x="1440746" y="1984196"/>
                  <a:pt x="1440746" y="1976406"/>
                </a:cubicBezTo>
                <a:cubicBezTo>
                  <a:pt x="1440746" y="1968615"/>
                  <a:pt x="1437749" y="1963821"/>
                  <a:pt x="1437749" y="1956629"/>
                </a:cubicBezTo>
                <a:cubicBezTo>
                  <a:pt x="1437749" y="1949438"/>
                  <a:pt x="1439547" y="1938052"/>
                  <a:pt x="1438349" y="1933857"/>
                </a:cubicBezTo>
                <a:cubicBezTo>
                  <a:pt x="1437150" y="1929662"/>
                  <a:pt x="1433554" y="1926066"/>
                  <a:pt x="1433554" y="1923070"/>
                </a:cubicBezTo>
                <a:cubicBezTo>
                  <a:pt x="1433554" y="1920074"/>
                  <a:pt x="1438349" y="1912883"/>
                  <a:pt x="1438948" y="1909886"/>
                </a:cubicBezTo>
                <a:cubicBezTo>
                  <a:pt x="1439547" y="1906890"/>
                  <a:pt x="1437749" y="1899698"/>
                  <a:pt x="1441345" y="1888912"/>
                </a:cubicBezTo>
                <a:cubicBezTo>
                  <a:pt x="1444941" y="1878125"/>
                  <a:pt x="1434154" y="1889511"/>
                  <a:pt x="1434154" y="1897301"/>
                </a:cubicBezTo>
                <a:cubicBezTo>
                  <a:pt x="1433554" y="1905092"/>
                  <a:pt x="1432356" y="1912283"/>
                  <a:pt x="1429959" y="1917077"/>
                </a:cubicBezTo>
                <a:cubicBezTo>
                  <a:pt x="1427562" y="1921872"/>
                  <a:pt x="1427562" y="1921272"/>
                  <a:pt x="1427562" y="1925467"/>
                </a:cubicBezTo>
                <a:cubicBezTo>
                  <a:pt x="1427562" y="1929662"/>
                  <a:pt x="1428760" y="1935655"/>
                  <a:pt x="1428161" y="1942247"/>
                </a:cubicBezTo>
                <a:cubicBezTo>
                  <a:pt x="1427562" y="1948240"/>
                  <a:pt x="1423966" y="1950637"/>
                  <a:pt x="1425165" y="1959027"/>
                </a:cubicBezTo>
                <a:cubicBezTo>
                  <a:pt x="1425764" y="1966817"/>
                  <a:pt x="1428161" y="1974008"/>
                  <a:pt x="1432356" y="1980001"/>
                </a:cubicBezTo>
                <a:cubicBezTo>
                  <a:pt x="1436551" y="1986593"/>
                  <a:pt x="1432955" y="1988391"/>
                  <a:pt x="1431757" y="1988391"/>
                </a:cubicBezTo>
                <a:cubicBezTo>
                  <a:pt x="1429959" y="1988391"/>
                  <a:pt x="1428760" y="1988391"/>
                  <a:pt x="1429360" y="1990788"/>
                </a:cubicBezTo>
                <a:cubicBezTo>
                  <a:pt x="1429959" y="1993185"/>
                  <a:pt x="1431757" y="1996781"/>
                  <a:pt x="1428760" y="1996182"/>
                </a:cubicBezTo>
                <a:cubicBezTo>
                  <a:pt x="1426363" y="1995582"/>
                  <a:pt x="1426363" y="1995582"/>
                  <a:pt x="1428760" y="2000976"/>
                </a:cubicBezTo>
                <a:cubicBezTo>
                  <a:pt x="1431157" y="2006369"/>
                  <a:pt x="1430558" y="2005770"/>
                  <a:pt x="1430558" y="2012362"/>
                </a:cubicBezTo>
                <a:cubicBezTo>
                  <a:pt x="1430558" y="2018954"/>
                  <a:pt x="1431157" y="2025546"/>
                  <a:pt x="1428161" y="2029741"/>
                </a:cubicBezTo>
                <a:cubicBezTo>
                  <a:pt x="1425165" y="2033936"/>
                  <a:pt x="1426363" y="2039329"/>
                  <a:pt x="1427562" y="2045921"/>
                </a:cubicBezTo>
                <a:cubicBezTo>
                  <a:pt x="1428161" y="2052513"/>
                  <a:pt x="1426962" y="2057907"/>
                  <a:pt x="1428161" y="2062701"/>
                </a:cubicBezTo>
                <a:cubicBezTo>
                  <a:pt x="1429959" y="2067495"/>
                  <a:pt x="1430558" y="2080080"/>
                  <a:pt x="1429959" y="2090268"/>
                </a:cubicBezTo>
                <a:cubicBezTo>
                  <a:pt x="1429360" y="2100455"/>
                  <a:pt x="1431157" y="2117235"/>
                  <a:pt x="1429360" y="2123827"/>
                </a:cubicBezTo>
                <a:cubicBezTo>
                  <a:pt x="1427562" y="2131018"/>
                  <a:pt x="1427562" y="2132217"/>
                  <a:pt x="1429959" y="2132217"/>
                </a:cubicBezTo>
                <a:cubicBezTo>
                  <a:pt x="1432356" y="2132816"/>
                  <a:pt x="1432955" y="2134614"/>
                  <a:pt x="1432955" y="2139408"/>
                </a:cubicBezTo>
                <a:cubicBezTo>
                  <a:pt x="1432955" y="2144202"/>
                  <a:pt x="1433554" y="2144802"/>
                  <a:pt x="1430558" y="2143603"/>
                </a:cubicBezTo>
                <a:cubicBezTo>
                  <a:pt x="1427562" y="2143004"/>
                  <a:pt x="1425764" y="2143004"/>
                  <a:pt x="1425764" y="2148997"/>
                </a:cubicBezTo>
                <a:cubicBezTo>
                  <a:pt x="1425764" y="2154989"/>
                  <a:pt x="1423367" y="2163978"/>
                  <a:pt x="1423367" y="2174765"/>
                </a:cubicBezTo>
                <a:cubicBezTo>
                  <a:pt x="1422767" y="2184953"/>
                  <a:pt x="1424565" y="2189747"/>
                  <a:pt x="1428760" y="2192144"/>
                </a:cubicBezTo>
                <a:cubicBezTo>
                  <a:pt x="1432955" y="2194541"/>
                  <a:pt x="1435951" y="2197538"/>
                  <a:pt x="1435951" y="2201133"/>
                </a:cubicBezTo>
                <a:cubicBezTo>
                  <a:pt x="1435951" y="2205328"/>
                  <a:pt x="1435352" y="2209523"/>
                  <a:pt x="1436551" y="2213119"/>
                </a:cubicBezTo>
                <a:cubicBezTo>
                  <a:pt x="1437749" y="2216714"/>
                  <a:pt x="1439547" y="2217913"/>
                  <a:pt x="1438349" y="2225104"/>
                </a:cubicBezTo>
                <a:cubicBezTo>
                  <a:pt x="1437150" y="2232296"/>
                  <a:pt x="1437749" y="2241884"/>
                  <a:pt x="1438948" y="2250873"/>
                </a:cubicBezTo>
                <a:cubicBezTo>
                  <a:pt x="1440146" y="2260462"/>
                  <a:pt x="1440746" y="2258064"/>
                  <a:pt x="1436551" y="2255667"/>
                </a:cubicBezTo>
                <a:cubicBezTo>
                  <a:pt x="1432356" y="2253270"/>
                  <a:pt x="1435951" y="2259862"/>
                  <a:pt x="1435352" y="2270649"/>
                </a:cubicBezTo>
                <a:cubicBezTo>
                  <a:pt x="1434753" y="2281436"/>
                  <a:pt x="1435352" y="2282635"/>
                  <a:pt x="1431757" y="2287429"/>
                </a:cubicBezTo>
                <a:cubicBezTo>
                  <a:pt x="1428161" y="2292822"/>
                  <a:pt x="1427562" y="2296418"/>
                  <a:pt x="1428760" y="2303609"/>
                </a:cubicBezTo>
                <a:cubicBezTo>
                  <a:pt x="1429360" y="2310800"/>
                  <a:pt x="1428760" y="2319190"/>
                  <a:pt x="1426962" y="2328179"/>
                </a:cubicBezTo>
                <a:cubicBezTo>
                  <a:pt x="1425165" y="2337169"/>
                  <a:pt x="1425165" y="2341363"/>
                  <a:pt x="1427562" y="2345558"/>
                </a:cubicBezTo>
                <a:cubicBezTo>
                  <a:pt x="1429959" y="2349753"/>
                  <a:pt x="1431757" y="2351551"/>
                  <a:pt x="1431757" y="2356945"/>
                </a:cubicBezTo>
                <a:cubicBezTo>
                  <a:pt x="1431157" y="2362338"/>
                  <a:pt x="1434154" y="2365934"/>
                  <a:pt x="1438948" y="2369529"/>
                </a:cubicBezTo>
                <a:cubicBezTo>
                  <a:pt x="1440746" y="2370728"/>
                  <a:pt x="1441944" y="2373125"/>
                  <a:pt x="1443143" y="2375522"/>
                </a:cubicBezTo>
                <a:lnTo>
                  <a:pt x="1443143" y="2375522"/>
                </a:lnTo>
                <a:cubicBezTo>
                  <a:pt x="1444941" y="2379717"/>
                  <a:pt x="1446738" y="2385710"/>
                  <a:pt x="1446738" y="2389305"/>
                </a:cubicBezTo>
                <a:cubicBezTo>
                  <a:pt x="1447338" y="2394699"/>
                  <a:pt x="1444341" y="2406085"/>
                  <a:pt x="1446139" y="2415673"/>
                </a:cubicBezTo>
                <a:cubicBezTo>
                  <a:pt x="1447937" y="2425262"/>
                  <a:pt x="1447937" y="2440843"/>
                  <a:pt x="1446738" y="2446236"/>
                </a:cubicBezTo>
                <a:cubicBezTo>
                  <a:pt x="1446139" y="2451630"/>
                  <a:pt x="1443742" y="2457623"/>
                  <a:pt x="1444341" y="2463615"/>
                </a:cubicBezTo>
                <a:cubicBezTo>
                  <a:pt x="1444941" y="2469608"/>
                  <a:pt x="1443742" y="2476799"/>
                  <a:pt x="1443742" y="2476799"/>
                </a:cubicBezTo>
                <a:cubicBezTo>
                  <a:pt x="1446738" y="2473803"/>
                  <a:pt x="1447937" y="2476799"/>
                  <a:pt x="1447937" y="2486987"/>
                </a:cubicBezTo>
                <a:cubicBezTo>
                  <a:pt x="1448536" y="2497175"/>
                  <a:pt x="1452731" y="2492380"/>
                  <a:pt x="1452731" y="2488785"/>
                </a:cubicBezTo>
                <a:cubicBezTo>
                  <a:pt x="1452731" y="2484590"/>
                  <a:pt x="1452132" y="2483391"/>
                  <a:pt x="1455128" y="2483391"/>
                </a:cubicBezTo>
                <a:cubicBezTo>
                  <a:pt x="1458125" y="2483991"/>
                  <a:pt x="1459323" y="2485789"/>
                  <a:pt x="1459323" y="2495377"/>
                </a:cubicBezTo>
                <a:cubicBezTo>
                  <a:pt x="1458724" y="2504366"/>
                  <a:pt x="1461720" y="2504965"/>
                  <a:pt x="1468312" y="2506763"/>
                </a:cubicBezTo>
                <a:cubicBezTo>
                  <a:pt x="1474904" y="2508561"/>
                  <a:pt x="1472507" y="2513355"/>
                  <a:pt x="1475504" y="2516951"/>
                </a:cubicBezTo>
                <a:cubicBezTo>
                  <a:pt x="1479099" y="2521146"/>
                  <a:pt x="1480298" y="2522943"/>
                  <a:pt x="1480897" y="2525340"/>
                </a:cubicBezTo>
                <a:cubicBezTo>
                  <a:pt x="1481496" y="2527738"/>
                  <a:pt x="1481496" y="2532532"/>
                  <a:pt x="1485092" y="2539124"/>
                </a:cubicBezTo>
                <a:cubicBezTo>
                  <a:pt x="1489287" y="2545716"/>
                  <a:pt x="1493482" y="2555304"/>
                  <a:pt x="1497677" y="2556503"/>
                </a:cubicBezTo>
                <a:cubicBezTo>
                  <a:pt x="1501872" y="2557701"/>
                  <a:pt x="1500074" y="2558900"/>
                  <a:pt x="1500673" y="2567290"/>
                </a:cubicBezTo>
                <a:cubicBezTo>
                  <a:pt x="1501272" y="2575680"/>
                  <a:pt x="1501272" y="2579874"/>
                  <a:pt x="1504868" y="2580474"/>
                </a:cubicBezTo>
                <a:cubicBezTo>
                  <a:pt x="1508464" y="2581073"/>
                  <a:pt x="1507265" y="2581073"/>
                  <a:pt x="1509662" y="2584669"/>
                </a:cubicBezTo>
                <a:cubicBezTo>
                  <a:pt x="1512059" y="2588264"/>
                  <a:pt x="1515056" y="2591261"/>
                  <a:pt x="1516853" y="2595456"/>
                </a:cubicBezTo>
                <a:cubicBezTo>
                  <a:pt x="1517453" y="2597253"/>
                  <a:pt x="1519251" y="2599051"/>
                  <a:pt x="1520449" y="2602048"/>
                </a:cubicBezTo>
                <a:cubicBezTo>
                  <a:pt x="1521648" y="2605044"/>
                  <a:pt x="1522846" y="2608640"/>
                  <a:pt x="1522846" y="2614632"/>
                </a:cubicBezTo>
                <a:cubicBezTo>
                  <a:pt x="1523446" y="2626618"/>
                  <a:pt x="1517453" y="2627816"/>
                  <a:pt x="1514456" y="2631412"/>
                </a:cubicBezTo>
                <a:cubicBezTo>
                  <a:pt x="1511460" y="2635607"/>
                  <a:pt x="1502471" y="2632011"/>
                  <a:pt x="1497677" y="2637405"/>
                </a:cubicBezTo>
                <a:cubicBezTo>
                  <a:pt x="1492283" y="2642798"/>
                  <a:pt x="1496478" y="2641600"/>
                  <a:pt x="1504269" y="2639203"/>
                </a:cubicBezTo>
                <a:cubicBezTo>
                  <a:pt x="1512059" y="2636805"/>
                  <a:pt x="1514456" y="2636805"/>
                  <a:pt x="1516853" y="2639802"/>
                </a:cubicBezTo>
                <a:cubicBezTo>
                  <a:pt x="1519251" y="2642199"/>
                  <a:pt x="1518651" y="2644596"/>
                  <a:pt x="1518651" y="2647593"/>
                </a:cubicBezTo>
                <a:cubicBezTo>
                  <a:pt x="1518651" y="2648192"/>
                  <a:pt x="1518651" y="2648791"/>
                  <a:pt x="1518651" y="2648791"/>
                </a:cubicBezTo>
                <a:cubicBezTo>
                  <a:pt x="1519251" y="2652387"/>
                  <a:pt x="1518651" y="2655982"/>
                  <a:pt x="1521048" y="2658979"/>
                </a:cubicBezTo>
                <a:cubicBezTo>
                  <a:pt x="1523446" y="2661376"/>
                  <a:pt x="1523446" y="2663773"/>
                  <a:pt x="1527640" y="2676358"/>
                </a:cubicBezTo>
                <a:cubicBezTo>
                  <a:pt x="1531835" y="2688942"/>
                  <a:pt x="1539626" y="2688343"/>
                  <a:pt x="1546817" y="2688942"/>
                </a:cubicBezTo>
                <a:cubicBezTo>
                  <a:pt x="1554008" y="2689542"/>
                  <a:pt x="1554608" y="2690740"/>
                  <a:pt x="1555207" y="2688343"/>
                </a:cubicBezTo>
                <a:cubicBezTo>
                  <a:pt x="1555806" y="2685946"/>
                  <a:pt x="1559402" y="2684148"/>
                  <a:pt x="1563597" y="2682950"/>
                </a:cubicBezTo>
                <a:cubicBezTo>
                  <a:pt x="1567792" y="2681751"/>
                  <a:pt x="1568990" y="2683549"/>
                  <a:pt x="1570788" y="2680553"/>
                </a:cubicBezTo>
                <a:cubicBezTo>
                  <a:pt x="1572586" y="2678155"/>
                  <a:pt x="1579777" y="2675159"/>
                  <a:pt x="1582774" y="2678155"/>
                </a:cubicBezTo>
                <a:cubicBezTo>
                  <a:pt x="1585171" y="2681751"/>
                  <a:pt x="1586968" y="2682350"/>
                  <a:pt x="1589965" y="2682350"/>
                </a:cubicBezTo>
                <a:cubicBezTo>
                  <a:pt x="1593561" y="2681751"/>
                  <a:pt x="1598355" y="2680553"/>
                  <a:pt x="1603149" y="2675159"/>
                </a:cubicBezTo>
                <a:cubicBezTo>
                  <a:pt x="1608542" y="2669766"/>
                  <a:pt x="1612737" y="2661975"/>
                  <a:pt x="1622925" y="2662574"/>
                </a:cubicBezTo>
                <a:cubicBezTo>
                  <a:pt x="1633113" y="2663173"/>
                  <a:pt x="1634910" y="2666769"/>
                  <a:pt x="1641502" y="2664971"/>
                </a:cubicBezTo>
                <a:cubicBezTo>
                  <a:pt x="1648095" y="2663173"/>
                  <a:pt x="1648694" y="2661975"/>
                  <a:pt x="1656484" y="2661975"/>
                </a:cubicBezTo>
                <a:cubicBezTo>
                  <a:pt x="1664275" y="2661975"/>
                  <a:pt x="1672665" y="2663773"/>
                  <a:pt x="1676260" y="2660776"/>
                </a:cubicBezTo>
                <a:cubicBezTo>
                  <a:pt x="1679856" y="2657780"/>
                  <a:pt x="1683452" y="2658979"/>
                  <a:pt x="1691242" y="2656582"/>
                </a:cubicBezTo>
                <a:cubicBezTo>
                  <a:pt x="1698433" y="2654184"/>
                  <a:pt x="1704426" y="2654184"/>
                  <a:pt x="1708022" y="2646394"/>
                </a:cubicBezTo>
                <a:cubicBezTo>
                  <a:pt x="1712217" y="2639203"/>
                  <a:pt x="1713415" y="2638603"/>
                  <a:pt x="1721206" y="2638603"/>
                </a:cubicBezTo>
                <a:cubicBezTo>
                  <a:pt x="1728996" y="2638603"/>
                  <a:pt x="1727798" y="2639203"/>
                  <a:pt x="1727798" y="2639203"/>
                </a:cubicBezTo>
                <a:lnTo>
                  <a:pt x="1733191" y="2642798"/>
                </a:lnTo>
                <a:cubicBezTo>
                  <a:pt x="1733191" y="2646394"/>
                  <a:pt x="1725401" y="2658379"/>
                  <a:pt x="1725401" y="2662574"/>
                </a:cubicBezTo>
                <a:cubicBezTo>
                  <a:pt x="1725401" y="2666769"/>
                  <a:pt x="1727798" y="2666769"/>
                  <a:pt x="1727798" y="2669766"/>
                </a:cubicBezTo>
                <a:cubicBezTo>
                  <a:pt x="1727798" y="2672762"/>
                  <a:pt x="1727798" y="2676957"/>
                  <a:pt x="1724801" y="2682350"/>
                </a:cubicBezTo>
                <a:cubicBezTo>
                  <a:pt x="1721805" y="2687744"/>
                  <a:pt x="1725401" y="2687744"/>
                  <a:pt x="1725401" y="2687744"/>
                </a:cubicBezTo>
                <a:cubicBezTo>
                  <a:pt x="1725401" y="2687744"/>
                  <a:pt x="1724801" y="2691939"/>
                  <a:pt x="1718209" y="2693137"/>
                </a:cubicBezTo>
                <a:cubicBezTo>
                  <a:pt x="1711018" y="2693737"/>
                  <a:pt x="1711018" y="2700329"/>
                  <a:pt x="1711018" y="2706321"/>
                </a:cubicBezTo>
                <a:cubicBezTo>
                  <a:pt x="1711018" y="2712314"/>
                  <a:pt x="1708621" y="2717707"/>
                  <a:pt x="1708022" y="2723700"/>
                </a:cubicBezTo>
                <a:cubicBezTo>
                  <a:pt x="1707423" y="2729693"/>
                  <a:pt x="1709220" y="2730292"/>
                  <a:pt x="1705026" y="2736884"/>
                </a:cubicBezTo>
                <a:cubicBezTo>
                  <a:pt x="1700831" y="2744075"/>
                  <a:pt x="1699632" y="2747671"/>
                  <a:pt x="1694238" y="2754263"/>
                </a:cubicBezTo>
                <a:cubicBezTo>
                  <a:pt x="1688845" y="2760855"/>
                  <a:pt x="1690643" y="2766249"/>
                  <a:pt x="1685849" y="2770444"/>
                </a:cubicBezTo>
                <a:cubicBezTo>
                  <a:pt x="1681055" y="2774638"/>
                  <a:pt x="1681055" y="2777635"/>
                  <a:pt x="1678658" y="2780631"/>
                </a:cubicBezTo>
                <a:cubicBezTo>
                  <a:pt x="1676260" y="2783628"/>
                  <a:pt x="1673863" y="2786025"/>
                  <a:pt x="1673863" y="2791418"/>
                </a:cubicBezTo>
                <a:cubicBezTo>
                  <a:pt x="1673863" y="2796812"/>
                  <a:pt x="1674463" y="2797411"/>
                  <a:pt x="1671466" y="2798609"/>
                </a:cubicBezTo>
                <a:cubicBezTo>
                  <a:pt x="1668470" y="2799808"/>
                  <a:pt x="1667271" y="2807599"/>
                  <a:pt x="1665473" y="2808797"/>
                </a:cubicBezTo>
                <a:cubicBezTo>
                  <a:pt x="1663076" y="2809396"/>
                  <a:pt x="1661278" y="2814191"/>
                  <a:pt x="1655286" y="2823180"/>
                </a:cubicBezTo>
                <a:cubicBezTo>
                  <a:pt x="1649293" y="2832169"/>
                  <a:pt x="1646896" y="2844154"/>
                  <a:pt x="1646896" y="2848948"/>
                </a:cubicBezTo>
                <a:cubicBezTo>
                  <a:pt x="1646297" y="2853143"/>
                  <a:pt x="1647495" y="2855540"/>
                  <a:pt x="1644499" y="2860335"/>
                </a:cubicBezTo>
                <a:cubicBezTo>
                  <a:pt x="1640903" y="2865129"/>
                  <a:pt x="1640304" y="2868725"/>
                  <a:pt x="1639705" y="2876515"/>
                </a:cubicBezTo>
                <a:cubicBezTo>
                  <a:pt x="1639105" y="2884306"/>
                  <a:pt x="1636708" y="2888501"/>
                  <a:pt x="1628918" y="2897490"/>
                </a:cubicBezTo>
                <a:cubicBezTo>
                  <a:pt x="1621127" y="2907078"/>
                  <a:pt x="1618131" y="2917865"/>
                  <a:pt x="1610939" y="2926255"/>
                </a:cubicBezTo>
                <a:cubicBezTo>
                  <a:pt x="1603748" y="2934645"/>
                  <a:pt x="1594160" y="2950825"/>
                  <a:pt x="1588167" y="2965208"/>
                </a:cubicBezTo>
                <a:cubicBezTo>
                  <a:pt x="1582174" y="2979590"/>
                  <a:pt x="1568990" y="2989778"/>
                  <a:pt x="1561799" y="2997568"/>
                </a:cubicBezTo>
                <a:cubicBezTo>
                  <a:pt x="1554608" y="3005359"/>
                  <a:pt x="1538427" y="3016146"/>
                  <a:pt x="1531835" y="3017944"/>
                </a:cubicBezTo>
                <a:cubicBezTo>
                  <a:pt x="1525243" y="3019741"/>
                  <a:pt x="1516853" y="3033525"/>
                  <a:pt x="1513857" y="3038918"/>
                </a:cubicBezTo>
                <a:cubicBezTo>
                  <a:pt x="1510262" y="3044312"/>
                  <a:pt x="1499475" y="3053900"/>
                  <a:pt x="1495280" y="3058694"/>
                </a:cubicBezTo>
                <a:cubicBezTo>
                  <a:pt x="1491085" y="3063489"/>
                  <a:pt x="1485691" y="3074276"/>
                  <a:pt x="1479699" y="3084463"/>
                </a:cubicBezTo>
                <a:cubicBezTo>
                  <a:pt x="1473706" y="3094651"/>
                  <a:pt x="1467713" y="3101842"/>
                  <a:pt x="1465316" y="3101842"/>
                </a:cubicBezTo>
                <a:cubicBezTo>
                  <a:pt x="1462919" y="3101842"/>
                  <a:pt x="1461121" y="3101243"/>
                  <a:pt x="1460522" y="3106636"/>
                </a:cubicBezTo>
                <a:cubicBezTo>
                  <a:pt x="1459922" y="3112030"/>
                  <a:pt x="1459323" y="3114427"/>
                  <a:pt x="1453330" y="3123416"/>
                </a:cubicBezTo>
                <a:cubicBezTo>
                  <a:pt x="1447338" y="3131806"/>
                  <a:pt x="1448536" y="3137799"/>
                  <a:pt x="1446139" y="3138398"/>
                </a:cubicBezTo>
                <a:cubicBezTo>
                  <a:pt x="1443742" y="3138997"/>
                  <a:pt x="1441944" y="3138997"/>
                  <a:pt x="1441944" y="3142593"/>
                </a:cubicBezTo>
                <a:cubicBezTo>
                  <a:pt x="1441944" y="3146189"/>
                  <a:pt x="1443143" y="3144990"/>
                  <a:pt x="1438349" y="3158174"/>
                </a:cubicBezTo>
                <a:cubicBezTo>
                  <a:pt x="1433554" y="3171358"/>
                  <a:pt x="1425764" y="3177950"/>
                  <a:pt x="1421569" y="3174954"/>
                </a:cubicBezTo>
                <a:cubicBezTo>
                  <a:pt x="1417374" y="3172556"/>
                  <a:pt x="1416175" y="3170759"/>
                  <a:pt x="1417374" y="3181545"/>
                </a:cubicBezTo>
                <a:cubicBezTo>
                  <a:pt x="1418573" y="3191733"/>
                  <a:pt x="1414378" y="3195928"/>
                  <a:pt x="1411981" y="3196527"/>
                </a:cubicBezTo>
                <a:cubicBezTo>
                  <a:pt x="1409583" y="3197127"/>
                  <a:pt x="1404789" y="3199524"/>
                  <a:pt x="1404789" y="3199524"/>
                </a:cubicBezTo>
                <a:cubicBezTo>
                  <a:pt x="1404789" y="3199524"/>
                  <a:pt x="1399995" y="3203719"/>
                  <a:pt x="1401194" y="3207314"/>
                </a:cubicBezTo>
                <a:cubicBezTo>
                  <a:pt x="1402392" y="3210910"/>
                  <a:pt x="1403591" y="3209711"/>
                  <a:pt x="1401793" y="3214506"/>
                </a:cubicBezTo>
                <a:cubicBezTo>
                  <a:pt x="1399396" y="3219300"/>
                  <a:pt x="1397598" y="3222896"/>
                  <a:pt x="1397598" y="3222896"/>
                </a:cubicBezTo>
                <a:cubicBezTo>
                  <a:pt x="1397598" y="3222896"/>
                  <a:pt x="1393403" y="3222296"/>
                  <a:pt x="1393403" y="3228888"/>
                </a:cubicBezTo>
                <a:cubicBezTo>
                  <a:pt x="1393403" y="3235480"/>
                  <a:pt x="1392204" y="3241473"/>
                  <a:pt x="1389208" y="3257653"/>
                </a:cubicBezTo>
                <a:cubicBezTo>
                  <a:pt x="1386212" y="3273834"/>
                  <a:pt x="1388609" y="3274433"/>
                  <a:pt x="1385013" y="3275032"/>
                </a:cubicBezTo>
                <a:cubicBezTo>
                  <a:pt x="1381418" y="3275632"/>
                  <a:pt x="1380818" y="3275632"/>
                  <a:pt x="1380219" y="3282223"/>
                </a:cubicBezTo>
                <a:lnTo>
                  <a:pt x="1379020" y="3281025"/>
                </a:lnTo>
                <a:cubicBezTo>
                  <a:pt x="1378421" y="3286418"/>
                  <a:pt x="1377223" y="3286418"/>
                  <a:pt x="1377822" y="3296606"/>
                </a:cubicBezTo>
                <a:cubicBezTo>
                  <a:pt x="1378421" y="3307393"/>
                  <a:pt x="1375425" y="3313386"/>
                  <a:pt x="1372429" y="3331364"/>
                </a:cubicBezTo>
                <a:cubicBezTo>
                  <a:pt x="1368833" y="3349342"/>
                  <a:pt x="1382017" y="3354736"/>
                  <a:pt x="1390407" y="3361328"/>
                </a:cubicBezTo>
                <a:cubicBezTo>
                  <a:pt x="1398797" y="3368519"/>
                  <a:pt x="1399396" y="3371515"/>
                  <a:pt x="1395800" y="3379306"/>
                </a:cubicBezTo>
                <a:cubicBezTo>
                  <a:pt x="1392204" y="3387096"/>
                  <a:pt x="1398197" y="3388295"/>
                  <a:pt x="1395201" y="3397284"/>
                </a:cubicBezTo>
                <a:cubicBezTo>
                  <a:pt x="1392804" y="3406273"/>
                  <a:pt x="1394002" y="3405075"/>
                  <a:pt x="1396399" y="3408071"/>
                </a:cubicBezTo>
                <a:cubicBezTo>
                  <a:pt x="1398797" y="3411067"/>
                  <a:pt x="1399995" y="3414663"/>
                  <a:pt x="1396999" y="3415262"/>
                </a:cubicBezTo>
                <a:cubicBezTo>
                  <a:pt x="1394002" y="3415862"/>
                  <a:pt x="1397598" y="3417660"/>
                  <a:pt x="1396999" y="3423652"/>
                </a:cubicBezTo>
                <a:cubicBezTo>
                  <a:pt x="1396399" y="3429046"/>
                  <a:pt x="1399396" y="3432641"/>
                  <a:pt x="1404190" y="3439233"/>
                </a:cubicBezTo>
                <a:cubicBezTo>
                  <a:pt x="1408984" y="3445825"/>
                  <a:pt x="1408984" y="3448222"/>
                  <a:pt x="1405389" y="3448822"/>
                </a:cubicBezTo>
                <a:cubicBezTo>
                  <a:pt x="1401793" y="3449421"/>
                  <a:pt x="1401194" y="3450620"/>
                  <a:pt x="1405389" y="3454215"/>
                </a:cubicBezTo>
                <a:cubicBezTo>
                  <a:pt x="1409583" y="3458410"/>
                  <a:pt x="1412580" y="3459609"/>
                  <a:pt x="1411381" y="3465002"/>
                </a:cubicBezTo>
                <a:cubicBezTo>
                  <a:pt x="1410183" y="3470396"/>
                  <a:pt x="1408385" y="3467399"/>
                  <a:pt x="1410782" y="3470396"/>
                </a:cubicBezTo>
                <a:cubicBezTo>
                  <a:pt x="1413179" y="3473392"/>
                  <a:pt x="1417374" y="3472793"/>
                  <a:pt x="1413179" y="3483580"/>
                </a:cubicBezTo>
                <a:cubicBezTo>
                  <a:pt x="1409583" y="3493767"/>
                  <a:pt x="1416775" y="3490771"/>
                  <a:pt x="1421569" y="3495565"/>
                </a:cubicBezTo>
                <a:cubicBezTo>
                  <a:pt x="1425764" y="3499760"/>
                  <a:pt x="1426962" y="3502157"/>
                  <a:pt x="1431157" y="3502157"/>
                </a:cubicBezTo>
                <a:cubicBezTo>
                  <a:pt x="1435352" y="3502157"/>
                  <a:pt x="1437150" y="3501558"/>
                  <a:pt x="1437150" y="3504554"/>
                </a:cubicBezTo>
                <a:cubicBezTo>
                  <a:pt x="1437150" y="3507551"/>
                  <a:pt x="1438948" y="3511146"/>
                  <a:pt x="1438948" y="3511146"/>
                </a:cubicBezTo>
                <a:lnTo>
                  <a:pt x="1439547" y="3515341"/>
                </a:lnTo>
                <a:lnTo>
                  <a:pt x="1436551" y="3518937"/>
                </a:lnTo>
                <a:cubicBezTo>
                  <a:pt x="1436551" y="3518937"/>
                  <a:pt x="1431157" y="3521334"/>
                  <a:pt x="1428161" y="3527327"/>
                </a:cubicBezTo>
                <a:cubicBezTo>
                  <a:pt x="1431157" y="3521933"/>
                  <a:pt x="1436551" y="3518937"/>
                  <a:pt x="1436551" y="3518937"/>
                </a:cubicBezTo>
                <a:lnTo>
                  <a:pt x="1440746" y="3515940"/>
                </a:lnTo>
                <a:cubicBezTo>
                  <a:pt x="1440746" y="3515940"/>
                  <a:pt x="1438948" y="3518937"/>
                  <a:pt x="1441345" y="3523132"/>
                </a:cubicBezTo>
                <a:cubicBezTo>
                  <a:pt x="1443742" y="3527327"/>
                  <a:pt x="1445540" y="3524330"/>
                  <a:pt x="1445540" y="3532121"/>
                </a:cubicBezTo>
                <a:cubicBezTo>
                  <a:pt x="1444941" y="3539911"/>
                  <a:pt x="1447937" y="3542908"/>
                  <a:pt x="1444341" y="3543507"/>
                </a:cubicBezTo>
                <a:cubicBezTo>
                  <a:pt x="1440146" y="3544106"/>
                  <a:pt x="1439547" y="3545904"/>
                  <a:pt x="1442544" y="3546503"/>
                </a:cubicBezTo>
                <a:cubicBezTo>
                  <a:pt x="1445540" y="3547103"/>
                  <a:pt x="1446738" y="3547702"/>
                  <a:pt x="1447937" y="3559688"/>
                </a:cubicBezTo>
                <a:cubicBezTo>
                  <a:pt x="1448536" y="3571673"/>
                  <a:pt x="1452132" y="3568077"/>
                  <a:pt x="1450334" y="3575868"/>
                </a:cubicBezTo>
                <a:cubicBezTo>
                  <a:pt x="1448536" y="3583059"/>
                  <a:pt x="1450334" y="3583059"/>
                  <a:pt x="1450334" y="3583059"/>
                </a:cubicBezTo>
                <a:cubicBezTo>
                  <a:pt x="1450334" y="3583059"/>
                  <a:pt x="1453930" y="3581860"/>
                  <a:pt x="1453930" y="3584857"/>
                </a:cubicBezTo>
                <a:cubicBezTo>
                  <a:pt x="1453930" y="3587853"/>
                  <a:pt x="1454529" y="3590250"/>
                  <a:pt x="1456327" y="3594445"/>
                </a:cubicBezTo>
                <a:cubicBezTo>
                  <a:pt x="1458724" y="3598640"/>
                  <a:pt x="1458125" y="3599839"/>
                  <a:pt x="1453930" y="3599839"/>
                </a:cubicBezTo>
                <a:cubicBezTo>
                  <a:pt x="1449735" y="3600438"/>
                  <a:pt x="1449735" y="3602835"/>
                  <a:pt x="1453330" y="3605232"/>
                </a:cubicBezTo>
                <a:cubicBezTo>
                  <a:pt x="1456926" y="3607629"/>
                  <a:pt x="1457525" y="3609427"/>
                  <a:pt x="1459323" y="3619015"/>
                </a:cubicBezTo>
                <a:cubicBezTo>
                  <a:pt x="1461720" y="3629203"/>
                  <a:pt x="1459323" y="3635196"/>
                  <a:pt x="1464117" y="3641788"/>
                </a:cubicBezTo>
                <a:cubicBezTo>
                  <a:pt x="1468912" y="3648979"/>
                  <a:pt x="1469511" y="3653773"/>
                  <a:pt x="1466514" y="3653773"/>
                </a:cubicBezTo>
                <a:cubicBezTo>
                  <a:pt x="1462919" y="3653773"/>
                  <a:pt x="1462320" y="3654373"/>
                  <a:pt x="1467713" y="3657968"/>
                </a:cubicBezTo>
                <a:cubicBezTo>
                  <a:pt x="1473106" y="3660965"/>
                  <a:pt x="1474904" y="3660365"/>
                  <a:pt x="1474904" y="3668156"/>
                </a:cubicBezTo>
                <a:cubicBezTo>
                  <a:pt x="1475504" y="3675347"/>
                  <a:pt x="1475504" y="3681340"/>
                  <a:pt x="1472507" y="3678344"/>
                </a:cubicBezTo>
                <a:cubicBezTo>
                  <a:pt x="1468912" y="3675347"/>
                  <a:pt x="1470110" y="3674748"/>
                  <a:pt x="1469511" y="3682539"/>
                </a:cubicBezTo>
                <a:cubicBezTo>
                  <a:pt x="1468912" y="3689730"/>
                  <a:pt x="1467114" y="3699917"/>
                  <a:pt x="1472507" y="3695123"/>
                </a:cubicBezTo>
                <a:cubicBezTo>
                  <a:pt x="1477901" y="3690329"/>
                  <a:pt x="1477901" y="3701116"/>
                  <a:pt x="1476702" y="3712502"/>
                </a:cubicBezTo>
                <a:cubicBezTo>
                  <a:pt x="1474904" y="3723888"/>
                  <a:pt x="1474305" y="3732278"/>
                  <a:pt x="1470709" y="3735874"/>
                </a:cubicBezTo>
                <a:cubicBezTo>
                  <a:pt x="1466514" y="3740069"/>
                  <a:pt x="1465316" y="3738271"/>
                  <a:pt x="1467114" y="3741867"/>
                </a:cubicBezTo>
                <a:cubicBezTo>
                  <a:pt x="1468912" y="3746062"/>
                  <a:pt x="1468912" y="3746062"/>
                  <a:pt x="1465915" y="3750856"/>
                </a:cubicBezTo>
                <a:cubicBezTo>
                  <a:pt x="1462919" y="3756249"/>
                  <a:pt x="1459323" y="3756848"/>
                  <a:pt x="1457525" y="3766437"/>
                </a:cubicBezTo>
                <a:cubicBezTo>
                  <a:pt x="1455728" y="3776025"/>
                  <a:pt x="1453330" y="3775426"/>
                  <a:pt x="1446738" y="3774827"/>
                </a:cubicBezTo>
                <a:cubicBezTo>
                  <a:pt x="1440146" y="3774228"/>
                  <a:pt x="1438948" y="3782018"/>
                  <a:pt x="1434753" y="3780220"/>
                </a:cubicBezTo>
                <a:cubicBezTo>
                  <a:pt x="1430558" y="3779022"/>
                  <a:pt x="1431157" y="3776624"/>
                  <a:pt x="1431157" y="3780819"/>
                </a:cubicBezTo>
                <a:cubicBezTo>
                  <a:pt x="1431157" y="3785014"/>
                  <a:pt x="1431157" y="3786213"/>
                  <a:pt x="1431157" y="3786213"/>
                </a:cubicBezTo>
                <a:cubicBezTo>
                  <a:pt x="1431157" y="3786213"/>
                  <a:pt x="1431157" y="3786213"/>
                  <a:pt x="1425764" y="3789209"/>
                </a:cubicBezTo>
                <a:cubicBezTo>
                  <a:pt x="1420370" y="3792206"/>
                  <a:pt x="1417374" y="3796401"/>
                  <a:pt x="1413778" y="3802993"/>
                </a:cubicBezTo>
                <a:cubicBezTo>
                  <a:pt x="1410183" y="3809584"/>
                  <a:pt x="1410782" y="3811982"/>
                  <a:pt x="1407786" y="3807787"/>
                </a:cubicBezTo>
                <a:cubicBezTo>
                  <a:pt x="1404789" y="3803592"/>
                  <a:pt x="1405389" y="3810184"/>
                  <a:pt x="1404190" y="3816776"/>
                </a:cubicBezTo>
                <a:cubicBezTo>
                  <a:pt x="1402991" y="3823368"/>
                  <a:pt x="1399995" y="3828761"/>
                  <a:pt x="1399995" y="3834754"/>
                </a:cubicBezTo>
                <a:cubicBezTo>
                  <a:pt x="1400594" y="3840747"/>
                  <a:pt x="1402392" y="3844942"/>
                  <a:pt x="1398797" y="3846740"/>
                </a:cubicBezTo>
                <a:cubicBezTo>
                  <a:pt x="1394602" y="3848537"/>
                  <a:pt x="1391605" y="3849736"/>
                  <a:pt x="1390407" y="3856927"/>
                </a:cubicBezTo>
                <a:cubicBezTo>
                  <a:pt x="1389208" y="3864119"/>
                  <a:pt x="1388010" y="3871310"/>
                  <a:pt x="1383215" y="3880898"/>
                </a:cubicBezTo>
                <a:cubicBezTo>
                  <a:pt x="1377822" y="3890486"/>
                  <a:pt x="1375425" y="3896479"/>
                  <a:pt x="1376024" y="3901873"/>
                </a:cubicBezTo>
                <a:cubicBezTo>
                  <a:pt x="1376623" y="3907266"/>
                  <a:pt x="1377822" y="3909663"/>
                  <a:pt x="1376623" y="3912061"/>
                </a:cubicBezTo>
                <a:cubicBezTo>
                  <a:pt x="1376024" y="3914457"/>
                  <a:pt x="1376623" y="3920450"/>
                  <a:pt x="1382017" y="3924046"/>
                </a:cubicBezTo>
                <a:cubicBezTo>
                  <a:pt x="1387410" y="3927642"/>
                  <a:pt x="1390407" y="3926443"/>
                  <a:pt x="1390407" y="3930638"/>
                </a:cubicBezTo>
                <a:cubicBezTo>
                  <a:pt x="1390407" y="3934833"/>
                  <a:pt x="1390407" y="3937829"/>
                  <a:pt x="1395800" y="3939028"/>
                </a:cubicBezTo>
                <a:cubicBezTo>
                  <a:pt x="1401194" y="3940826"/>
                  <a:pt x="1400594" y="3944421"/>
                  <a:pt x="1402991" y="3954010"/>
                </a:cubicBezTo>
                <a:cubicBezTo>
                  <a:pt x="1405389" y="3964197"/>
                  <a:pt x="1409583" y="3963598"/>
                  <a:pt x="1410183" y="3974385"/>
                </a:cubicBezTo>
                <a:cubicBezTo>
                  <a:pt x="1410782" y="3985172"/>
                  <a:pt x="1414378" y="3986370"/>
                  <a:pt x="1414977" y="3979778"/>
                </a:cubicBezTo>
                <a:cubicBezTo>
                  <a:pt x="1415576" y="3972587"/>
                  <a:pt x="1420370" y="3977981"/>
                  <a:pt x="1419771" y="3985172"/>
                </a:cubicBezTo>
                <a:cubicBezTo>
                  <a:pt x="1419172" y="3992363"/>
                  <a:pt x="1426962" y="3998356"/>
                  <a:pt x="1426363" y="4007944"/>
                </a:cubicBezTo>
                <a:cubicBezTo>
                  <a:pt x="1425764" y="4018132"/>
                  <a:pt x="1426363" y="4021728"/>
                  <a:pt x="1428760" y="4027121"/>
                </a:cubicBezTo>
                <a:cubicBezTo>
                  <a:pt x="1431157" y="4032514"/>
                  <a:pt x="1435951" y="4039107"/>
                  <a:pt x="1433554" y="4039107"/>
                </a:cubicBezTo>
                <a:cubicBezTo>
                  <a:pt x="1431157" y="4039107"/>
                  <a:pt x="1428161" y="4037309"/>
                  <a:pt x="1431157" y="4040904"/>
                </a:cubicBezTo>
                <a:cubicBezTo>
                  <a:pt x="1434154" y="4044500"/>
                  <a:pt x="1433554" y="4046897"/>
                  <a:pt x="1436551" y="4049294"/>
                </a:cubicBezTo>
                <a:cubicBezTo>
                  <a:pt x="1438948" y="4051691"/>
                  <a:pt x="1442544" y="4052290"/>
                  <a:pt x="1436551" y="4071467"/>
                </a:cubicBezTo>
                <a:cubicBezTo>
                  <a:pt x="1430558" y="4090644"/>
                  <a:pt x="1420370" y="4091843"/>
                  <a:pt x="1410183" y="4097236"/>
                </a:cubicBezTo>
                <a:cubicBezTo>
                  <a:pt x="1399995" y="4102630"/>
                  <a:pt x="1394602" y="4103828"/>
                  <a:pt x="1393403" y="4114016"/>
                </a:cubicBezTo>
                <a:cubicBezTo>
                  <a:pt x="1392804" y="4124203"/>
                  <a:pt x="1391006" y="4130796"/>
                  <a:pt x="1392804" y="4134991"/>
                </a:cubicBezTo>
                <a:cubicBezTo>
                  <a:pt x="1394602" y="4139785"/>
                  <a:pt x="1395201" y="4140983"/>
                  <a:pt x="1398197" y="4137387"/>
                </a:cubicBezTo>
                <a:cubicBezTo>
                  <a:pt x="1401194" y="4133792"/>
                  <a:pt x="1402392" y="4135590"/>
                  <a:pt x="1403591" y="4142182"/>
                </a:cubicBezTo>
                <a:cubicBezTo>
                  <a:pt x="1404789" y="4147575"/>
                  <a:pt x="1406587" y="4152969"/>
                  <a:pt x="1408385" y="4158962"/>
                </a:cubicBezTo>
                <a:cubicBezTo>
                  <a:pt x="1408385" y="4158962"/>
                  <a:pt x="1408984" y="4158962"/>
                  <a:pt x="1408984" y="4158962"/>
                </a:cubicBezTo>
                <a:cubicBezTo>
                  <a:pt x="1408984" y="4160160"/>
                  <a:pt x="1409583" y="4161358"/>
                  <a:pt x="1409583" y="4161958"/>
                </a:cubicBezTo>
                <a:cubicBezTo>
                  <a:pt x="1410782" y="4169149"/>
                  <a:pt x="1405988" y="4167351"/>
                  <a:pt x="1408984" y="4170347"/>
                </a:cubicBezTo>
                <a:cubicBezTo>
                  <a:pt x="1411981" y="4173344"/>
                  <a:pt x="1413179" y="4169748"/>
                  <a:pt x="1413179" y="4178138"/>
                </a:cubicBezTo>
                <a:cubicBezTo>
                  <a:pt x="1412580" y="4186528"/>
                  <a:pt x="1417374" y="4185329"/>
                  <a:pt x="1417973" y="4197914"/>
                </a:cubicBezTo>
                <a:cubicBezTo>
                  <a:pt x="1418573" y="4210499"/>
                  <a:pt x="1422767" y="4203308"/>
                  <a:pt x="1423367" y="4217690"/>
                </a:cubicBezTo>
                <a:cubicBezTo>
                  <a:pt x="1423966" y="4232073"/>
                  <a:pt x="1420970" y="4220087"/>
                  <a:pt x="1416775" y="4214095"/>
                </a:cubicBezTo>
                <a:cubicBezTo>
                  <a:pt x="1412580" y="4208102"/>
                  <a:pt x="1412580" y="4208102"/>
                  <a:pt x="1411981" y="4211698"/>
                </a:cubicBezTo>
                <a:cubicBezTo>
                  <a:pt x="1411381" y="4215893"/>
                  <a:pt x="1412580" y="4215893"/>
                  <a:pt x="1418573" y="4224282"/>
                </a:cubicBezTo>
                <a:cubicBezTo>
                  <a:pt x="1423966" y="4232672"/>
                  <a:pt x="1425165" y="4237466"/>
                  <a:pt x="1420370" y="4248253"/>
                </a:cubicBezTo>
                <a:cubicBezTo>
                  <a:pt x="1415576" y="4259040"/>
                  <a:pt x="1415576" y="4260838"/>
                  <a:pt x="1413778" y="4271026"/>
                </a:cubicBezTo>
                <a:cubicBezTo>
                  <a:pt x="1411981" y="4281213"/>
                  <a:pt x="1410183" y="4297394"/>
                  <a:pt x="1406587" y="4312376"/>
                </a:cubicBezTo>
                <a:cubicBezTo>
                  <a:pt x="1402991" y="4327357"/>
                  <a:pt x="1394602" y="4371704"/>
                  <a:pt x="1390407" y="4385487"/>
                </a:cubicBezTo>
                <a:cubicBezTo>
                  <a:pt x="1386212" y="4398671"/>
                  <a:pt x="1379020" y="4415451"/>
                  <a:pt x="1376623" y="4426837"/>
                </a:cubicBezTo>
                <a:cubicBezTo>
                  <a:pt x="1374226" y="4438822"/>
                  <a:pt x="1368234" y="4448411"/>
                  <a:pt x="1357447" y="4448411"/>
                </a:cubicBezTo>
                <a:cubicBezTo>
                  <a:pt x="1346660" y="4448411"/>
                  <a:pt x="1341865" y="4452006"/>
                  <a:pt x="1343064" y="4457400"/>
                </a:cubicBezTo>
                <a:cubicBezTo>
                  <a:pt x="1344263" y="4462793"/>
                  <a:pt x="1348458" y="4463393"/>
                  <a:pt x="1340667" y="4461595"/>
                </a:cubicBezTo>
                <a:cubicBezTo>
                  <a:pt x="1332876" y="4459797"/>
                  <a:pt x="1328681" y="4457999"/>
                  <a:pt x="1325685" y="4464591"/>
                </a:cubicBezTo>
                <a:cubicBezTo>
                  <a:pt x="1322089" y="4471183"/>
                  <a:pt x="1323887" y="4469985"/>
                  <a:pt x="1317295" y="4468786"/>
                </a:cubicBezTo>
                <a:cubicBezTo>
                  <a:pt x="1310703" y="4467588"/>
                  <a:pt x="1307108" y="4470584"/>
                  <a:pt x="1302913" y="4469385"/>
                </a:cubicBezTo>
                <a:cubicBezTo>
                  <a:pt x="1298718" y="4468786"/>
                  <a:pt x="1289129" y="4465190"/>
                  <a:pt x="1290927" y="4468786"/>
                </a:cubicBezTo>
                <a:cubicBezTo>
                  <a:pt x="1292725" y="4472981"/>
                  <a:pt x="1289729" y="4472382"/>
                  <a:pt x="1281938" y="4472981"/>
                </a:cubicBezTo>
                <a:cubicBezTo>
                  <a:pt x="1274148" y="4473580"/>
                  <a:pt x="1268155" y="4474180"/>
                  <a:pt x="1268155" y="4480172"/>
                </a:cubicBezTo>
                <a:cubicBezTo>
                  <a:pt x="1268155" y="4486165"/>
                  <a:pt x="1266956" y="4485566"/>
                  <a:pt x="1260964" y="4487364"/>
                </a:cubicBezTo>
                <a:cubicBezTo>
                  <a:pt x="1255570" y="4488562"/>
                  <a:pt x="1252574" y="4489161"/>
                  <a:pt x="1245982" y="4491559"/>
                </a:cubicBezTo>
                <a:cubicBezTo>
                  <a:pt x="1239390" y="4493956"/>
                  <a:pt x="1237592" y="4493956"/>
                  <a:pt x="1232198" y="4501746"/>
                </a:cubicBezTo>
                <a:cubicBezTo>
                  <a:pt x="1226805" y="4509537"/>
                  <a:pt x="1228003" y="4510136"/>
                  <a:pt x="1220213" y="4510735"/>
                </a:cubicBezTo>
                <a:cubicBezTo>
                  <a:pt x="1212422" y="4511335"/>
                  <a:pt x="1213022" y="4513132"/>
                  <a:pt x="1209426" y="4511335"/>
                </a:cubicBezTo>
                <a:cubicBezTo>
                  <a:pt x="1205231" y="4508937"/>
                  <a:pt x="1202834" y="4508937"/>
                  <a:pt x="1205830" y="4504143"/>
                </a:cubicBezTo>
                <a:cubicBezTo>
                  <a:pt x="1208827" y="4499349"/>
                  <a:pt x="1205231" y="4495753"/>
                  <a:pt x="1199838" y="4494555"/>
                </a:cubicBezTo>
                <a:cubicBezTo>
                  <a:pt x="1194444" y="4493956"/>
                  <a:pt x="1192646" y="4492158"/>
                  <a:pt x="1189051" y="4495154"/>
                </a:cubicBezTo>
                <a:cubicBezTo>
                  <a:pt x="1184856" y="4497551"/>
                  <a:pt x="1181859" y="4500548"/>
                  <a:pt x="1183657" y="4494555"/>
                </a:cubicBezTo>
                <a:cubicBezTo>
                  <a:pt x="1185455" y="4488562"/>
                  <a:pt x="1185455" y="4489161"/>
                  <a:pt x="1183058" y="4489161"/>
                </a:cubicBezTo>
                <a:cubicBezTo>
                  <a:pt x="1180661" y="4489761"/>
                  <a:pt x="1177664" y="4488562"/>
                  <a:pt x="1176466" y="4494555"/>
                </a:cubicBezTo>
                <a:cubicBezTo>
                  <a:pt x="1175267" y="4500548"/>
                  <a:pt x="1172271" y="4496353"/>
                  <a:pt x="1169874" y="4484966"/>
                </a:cubicBezTo>
                <a:cubicBezTo>
                  <a:pt x="1167477" y="4473580"/>
                  <a:pt x="1161484" y="4469385"/>
                  <a:pt x="1153094" y="4464591"/>
                </a:cubicBezTo>
                <a:cubicBezTo>
                  <a:pt x="1144704" y="4459797"/>
                  <a:pt x="1145903" y="4456800"/>
                  <a:pt x="1150098" y="4459198"/>
                </a:cubicBezTo>
                <a:cubicBezTo>
                  <a:pt x="1154293" y="4461595"/>
                  <a:pt x="1150697" y="4453804"/>
                  <a:pt x="1143506" y="4453205"/>
                </a:cubicBezTo>
                <a:cubicBezTo>
                  <a:pt x="1136315" y="4452606"/>
                  <a:pt x="1136914" y="4446014"/>
                  <a:pt x="1141109" y="4444815"/>
                </a:cubicBezTo>
                <a:cubicBezTo>
                  <a:pt x="1145304" y="4443617"/>
                  <a:pt x="1148300" y="4437025"/>
                  <a:pt x="1143506" y="4428035"/>
                </a:cubicBezTo>
                <a:cubicBezTo>
                  <a:pt x="1138712" y="4419046"/>
                  <a:pt x="1139311" y="4414252"/>
                  <a:pt x="1139311" y="4414252"/>
                </a:cubicBezTo>
                <a:cubicBezTo>
                  <a:pt x="1139311" y="4414252"/>
                  <a:pt x="1135116" y="4411855"/>
                  <a:pt x="1133917" y="4408859"/>
                </a:cubicBezTo>
                <a:cubicBezTo>
                  <a:pt x="1132719" y="4405862"/>
                  <a:pt x="1133318" y="4401668"/>
                  <a:pt x="1120733" y="4391480"/>
                </a:cubicBezTo>
                <a:cubicBezTo>
                  <a:pt x="1108149" y="4381292"/>
                  <a:pt x="1102156" y="4373502"/>
                  <a:pt x="1090770" y="4359119"/>
                </a:cubicBezTo>
                <a:cubicBezTo>
                  <a:pt x="1079384" y="4345336"/>
                  <a:pt x="1072792" y="4326758"/>
                  <a:pt x="1063802" y="4318368"/>
                </a:cubicBezTo>
                <a:cubicBezTo>
                  <a:pt x="1055413" y="4309978"/>
                  <a:pt x="1046423" y="4304585"/>
                  <a:pt x="1041030" y="4296195"/>
                </a:cubicBezTo>
                <a:cubicBezTo>
                  <a:pt x="1035636" y="4287806"/>
                  <a:pt x="1036835" y="4284210"/>
                  <a:pt x="1032041" y="4283011"/>
                </a:cubicBezTo>
                <a:cubicBezTo>
                  <a:pt x="1026647" y="4281813"/>
                  <a:pt x="1020055" y="4277618"/>
                  <a:pt x="1011066" y="4269827"/>
                </a:cubicBezTo>
                <a:cubicBezTo>
                  <a:pt x="1002077" y="4261437"/>
                  <a:pt x="992489" y="4241661"/>
                  <a:pt x="987095" y="4232073"/>
                </a:cubicBezTo>
                <a:cubicBezTo>
                  <a:pt x="981702" y="4222485"/>
                  <a:pt x="971514" y="4216492"/>
                  <a:pt x="973911" y="4211698"/>
                </a:cubicBezTo>
                <a:cubicBezTo>
                  <a:pt x="976308" y="4206904"/>
                  <a:pt x="975709" y="4206304"/>
                  <a:pt x="968518" y="4199712"/>
                </a:cubicBezTo>
                <a:cubicBezTo>
                  <a:pt x="961327" y="4193120"/>
                  <a:pt x="956532" y="4191322"/>
                  <a:pt x="953536" y="4181734"/>
                </a:cubicBezTo>
                <a:cubicBezTo>
                  <a:pt x="949940" y="4172745"/>
                  <a:pt x="948742" y="4170347"/>
                  <a:pt x="943348" y="4157763"/>
                </a:cubicBezTo>
                <a:cubicBezTo>
                  <a:pt x="937955" y="4145178"/>
                  <a:pt x="937955" y="4143380"/>
                  <a:pt x="934959" y="4136189"/>
                </a:cubicBezTo>
                <a:cubicBezTo>
                  <a:pt x="931962" y="4128998"/>
                  <a:pt x="929565" y="4130196"/>
                  <a:pt x="927767" y="4125402"/>
                </a:cubicBezTo>
                <a:cubicBezTo>
                  <a:pt x="926569" y="4120608"/>
                  <a:pt x="925969" y="4118211"/>
                  <a:pt x="922374" y="4113416"/>
                </a:cubicBezTo>
                <a:cubicBezTo>
                  <a:pt x="918179" y="4108023"/>
                  <a:pt x="916381" y="4105626"/>
                  <a:pt x="915782" y="4100232"/>
                </a:cubicBezTo>
                <a:cubicBezTo>
                  <a:pt x="915182" y="4094839"/>
                  <a:pt x="912785" y="4087049"/>
                  <a:pt x="906193" y="4074464"/>
                </a:cubicBezTo>
                <a:cubicBezTo>
                  <a:pt x="899601" y="4061879"/>
                  <a:pt x="901399" y="4061280"/>
                  <a:pt x="903796" y="4063078"/>
                </a:cubicBezTo>
                <a:cubicBezTo>
                  <a:pt x="906193" y="4065475"/>
                  <a:pt x="907392" y="4063078"/>
                  <a:pt x="905594" y="4057684"/>
                </a:cubicBezTo>
                <a:cubicBezTo>
                  <a:pt x="903796" y="4052290"/>
                  <a:pt x="901998" y="4049294"/>
                  <a:pt x="895406" y="4040904"/>
                </a:cubicBezTo>
                <a:cubicBezTo>
                  <a:pt x="888814" y="4032514"/>
                  <a:pt x="883421" y="4022327"/>
                  <a:pt x="875031" y="4013338"/>
                </a:cubicBezTo>
                <a:cubicBezTo>
                  <a:pt x="866641" y="4004948"/>
                  <a:pt x="858851" y="4000154"/>
                  <a:pt x="855854" y="3992963"/>
                </a:cubicBezTo>
                <a:cubicBezTo>
                  <a:pt x="852858" y="3985771"/>
                  <a:pt x="847464" y="3980977"/>
                  <a:pt x="843869" y="3972587"/>
                </a:cubicBezTo>
                <a:cubicBezTo>
                  <a:pt x="840273" y="3964197"/>
                  <a:pt x="841472" y="3961800"/>
                  <a:pt x="835479" y="3957605"/>
                </a:cubicBezTo>
                <a:cubicBezTo>
                  <a:pt x="828887" y="3953410"/>
                  <a:pt x="825291" y="3946219"/>
                  <a:pt x="820497" y="3941425"/>
                </a:cubicBezTo>
                <a:cubicBezTo>
                  <a:pt x="816302" y="3936631"/>
                  <a:pt x="811508" y="3926443"/>
                  <a:pt x="811508" y="3926443"/>
                </a:cubicBezTo>
                <a:cubicBezTo>
                  <a:pt x="811508" y="3926443"/>
                  <a:pt x="810909" y="3918652"/>
                  <a:pt x="805515" y="3914457"/>
                </a:cubicBezTo>
                <a:cubicBezTo>
                  <a:pt x="800122" y="3910263"/>
                  <a:pt x="789335" y="3900674"/>
                  <a:pt x="781544" y="3892285"/>
                </a:cubicBezTo>
                <a:cubicBezTo>
                  <a:pt x="773754" y="3883895"/>
                  <a:pt x="763566" y="3868913"/>
                  <a:pt x="760570" y="3860523"/>
                </a:cubicBezTo>
                <a:cubicBezTo>
                  <a:pt x="758173" y="3853931"/>
                  <a:pt x="755176" y="3843743"/>
                  <a:pt x="753978" y="3836552"/>
                </a:cubicBezTo>
                <a:cubicBezTo>
                  <a:pt x="753978" y="3834754"/>
                  <a:pt x="753378" y="3832956"/>
                  <a:pt x="753378" y="3831758"/>
                </a:cubicBezTo>
                <a:cubicBezTo>
                  <a:pt x="752779" y="3825166"/>
                  <a:pt x="750981" y="3820372"/>
                  <a:pt x="746187" y="3814978"/>
                </a:cubicBezTo>
                <a:cubicBezTo>
                  <a:pt x="741393" y="3809584"/>
                  <a:pt x="741393" y="3805390"/>
                  <a:pt x="746786" y="3810184"/>
                </a:cubicBezTo>
                <a:cubicBezTo>
                  <a:pt x="752180" y="3814978"/>
                  <a:pt x="750382" y="3804191"/>
                  <a:pt x="747386" y="3796401"/>
                </a:cubicBezTo>
                <a:cubicBezTo>
                  <a:pt x="744989" y="3788610"/>
                  <a:pt x="747386" y="3788011"/>
                  <a:pt x="744989" y="3786213"/>
                </a:cubicBezTo>
                <a:cubicBezTo>
                  <a:pt x="742592" y="3783816"/>
                  <a:pt x="740794" y="3781419"/>
                  <a:pt x="739595" y="3776025"/>
                </a:cubicBezTo>
                <a:cubicBezTo>
                  <a:pt x="738996" y="3770632"/>
                  <a:pt x="739595" y="3767635"/>
                  <a:pt x="741393" y="3770033"/>
                </a:cubicBezTo>
                <a:cubicBezTo>
                  <a:pt x="743191" y="3772430"/>
                  <a:pt x="743191" y="3772430"/>
                  <a:pt x="745588" y="3767635"/>
                </a:cubicBezTo>
                <a:cubicBezTo>
                  <a:pt x="747985" y="3762242"/>
                  <a:pt x="750382" y="3760444"/>
                  <a:pt x="746786" y="3755650"/>
                </a:cubicBezTo>
                <a:cubicBezTo>
                  <a:pt x="743191" y="3750257"/>
                  <a:pt x="741393" y="3750257"/>
                  <a:pt x="741393" y="3746062"/>
                </a:cubicBezTo>
                <a:cubicBezTo>
                  <a:pt x="740794" y="3741867"/>
                  <a:pt x="743790" y="3735275"/>
                  <a:pt x="741992" y="3720892"/>
                </a:cubicBezTo>
                <a:cubicBezTo>
                  <a:pt x="740194" y="3706510"/>
                  <a:pt x="736000" y="3702914"/>
                  <a:pt x="738996" y="3698719"/>
                </a:cubicBezTo>
                <a:cubicBezTo>
                  <a:pt x="741992" y="3694524"/>
                  <a:pt x="739595" y="3687932"/>
                  <a:pt x="739595" y="3678943"/>
                </a:cubicBezTo>
                <a:cubicBezTo>
                  <a:pt x="738996" y="3669954"/>
                  <a:pt x="740194" y="3668156"/>
                  <a:pt x="741992" y="3662762"/>
                </a:cubicBezTo>
                <a:cubicBezTo>
                  <a:pt x="743191" y="3657369"/>
                  <a:pt x="744989" y="3651976"/>
                  <a:pt x="743191" y="3646582"/>
                </a:cubicBezTo>
                <a:cubicBezTo>
                  <a:pt x="741393" y="3641189"/>
                  <a:pt x="744389" y="3641189"/>
                  <a:pt x="749783" y="3638192"/>
                </a:cubicBezTo>
                <a:cubicBezTo>
                  <a:pt x="755176" y="3635795"/>
                  <a:pt x="755176" y="3632799"/>
                  <a:pt x="758173" y="3626207"/>
                </a:cubicBezTo>
                <a:cubicBezTo>
                  <a:pt x="760570" y="3620214"/>
                  <a:pt x="759371" y="3617817"/>
                  <a:pt x="756974" y="3610026"/>
                </a:cubicBezTo>
                <a:cubicBezTo>
                  <a:pt x="754577" y="3602835"/>
                  <a:pt x="753978" y="3598640"/>
                  <a:pt x="753378" y="3587254"/>
                </a:cubicBezTo>
                <a:cubicBezTo>
                  <a:pt x="752779" y="3575868"/>
                  <a:pt x="750382" y="3561485"/>
                  <a:pt x="744389" y="3549500"/>
                </a:cubicBezTo>
                <a:cubicBezTo>
                  <a:pt x="738397" y="3537514"/>
                  <a:pt x="737797" y="3544106"/>
                  <a:pt x="736000" y="3537514"/>
                </a:cubicBezTo>
                <a:cubicBezTo>
                  <a:pt x="734202" y="3530323"/>
                  <a:pt x="733003" y="3529124"/>
                  <a:pt x="731805" y="3522532"/>
                </a:cubicBezTo>
                <a:cubicBezTo>
                  <a:pt x="730606" y="3515940"/>
                  <a:pt x="731205" y="3514143"/>
                  <a:pt x="729408" y="3508150"/>
                </a:cubicBezTo>
                <a:cubicBezTo>
                  <a:pt x="727010" y="3502157"/>
                  <a:pt x="728209" y="3499161"/>
                  <a:pt x="723415" y="3493767"/>
                </a:cubicBezTo>
                <a:cubicBezTo>
                  <a:pt x="718621" y="3488374"/>
                  <a:pt x="715025" y="3485377"/>
                  <a:pt x="713227" y="3481182"/>
                </a:cubicBezTo>
                <a:cubicBezTo>
                  <a:pt x="711429" y="3476987"/>
                  <a:pt x="712628" y="3471594"/>
                  <a:pt x="713826" y="3473991"/>
                </a:cubicBezTo>
                <a:cubicBezTo>
                  <a:pt x="715624" y="3476388"/>
                  <a:pt x="716223" y="3476388"/>
                  <a:pt x="719819" y="3473991"/>
                </a:cubicBezTo>
                <a:cubicBezTo>
                  <a:pt x="723415" y="3471594"/>
                  <a:pt x="722216" y="3465002"/>
                  <a:pt x="720418" y="3462006"/>
                </a:cubicBezTo>
                <a:cubicBezTo>
                  <a:pt x="718621" y="3459009"/>
                  <a:pt x="719220" y="3453616"/>
                  <a:pt x="715025" y="3444627"/>
                </a:cubicBezTo>
                <a:cubicBezTo>
                  <a:pt x="710830" y="3436237"/>
                  <a:pt x="709032" y="3432641"/>
                  <a:pt x="706635" y="3424851"/>
                </a:cubicBezTo>
                <a:cubicBezTo>
                  <a:pt x="704238" y="3417060"/>
                  <a:pt x="705437" y="3416461"/>
                  <a:pt x="704238" y="3412865"/>
                </a:cubicBezTo>
                <a:cubicBezTo>
                  <a:pt x="703039" y="3409270"/>
                  <a:pt x="699444" y="3405674"/>
                  <a:pt x="700043" y="3399681"/>
                </a:cubicBezTo>
                <a:cubicBezTo>
                  <a:pt x="700642" y="3394288"/>
                  <a:pt x="698845" y="3389494"/>
                  <a:pt x="696447" y="3386497"/>
                </a:cubicBezTo>
                <a:cubicBezTo>
                  <a:pt x="694050" y="3382902"/>
                  <a:pt x="689256" y="3378107"/>
                  <a:pt x="683263" y="3368519"/>
                </a:cubicBezTo>
                <a:cubicBezTo>
                  <a:pt x="677870" y="3358931"/>
                  <a:pt x="677271" y="3355335"/>
                  <a:pt x="682065" y="3357732"/>
                </a:cubicBezTo>
                <a:cubicBezTo>
                  <a:pt x="686859" y="3360129"/>
                  <a:pt x="686260" y="3360129"/>
                  <a:pt x="687458" y="3358331"/>
                </a:cubicBezTo>
                <a:cubicBezTo>
                  <a:pt x="689256" y="3356534"/>
                  <a:pt x="690455" y="3354736"/>
                  <a:pt x="698845" y="3354136"/>
                </a:cubicBezTo>
                <a:cubicBezTo>
                  <a:pt x="702440" y="3354136"/>
                  <a:pt x="703639" y="3352938"/>
                  <a:pt x="702440" y="3351140"/>
                </a:cubicBezTo>
                <a:cubicBezTo>
                  <a:pt x="701242" y="3349942"/>
                  <a:pt x="697646" y="3348144"/>
                  <a:pt x="692852" y="3348144"/>
                </a:cubicBezTo>
                <a:cubicBezTo>
                  <a:pt x="684462" y="3347544"/>
                  <a:pt x="683863" y="3347544"/>
                  <a:pt x="680267" y="3343949"/>
                </a:cubicBezTo>
                <a:cubicBezTo>
                  <a:pt x="676671" y="3339754"/>
                  <a:pt x="674874" y="3335559"/>
                  <a:pt x="674274" y="3328967"/>
                </a:cubicBezTo>
                <a:cubicBezTo>
                  <a:pt x="673675" y="3322375"/>
                  <a:pt x="675473" y="3321776"/>
                  <a:pt x="671877" y="3316982"/>
                </a:cubicBezTo>
                <a:cubicBezTo>
                  <a:pt x="667682" y="3311588"/>
                  <a:pt x="666484" y="3306794"/>
                  <a:pt x="663487" y="3301400"/>
                </a:cubicBezTo>
                <a:cubicBezTo>
                  <a:pt x="660491" y="3296007"/>
                  <a:pt x="657495" y="3296007"/>
                  <a:pt x="658094" y="3292411"/>
                </a:cubicBezTo>
                <a:cubicBezTo>
                  <a:pt x="658693" y="3288216"/>
                  <a:pt x="655697" y="3285220"/>
                  <a:pt x="652700" y="3280426"/>
                </a:cubicBezTo>
                <a:cubicBezTo>
                  <a:pt x="650303" y="3276830"/>
                  <a:pt x="647307" y="3271437"/>
                  <a:pt x="644311" y="3266642"/>
                </a:cubicBezTo>
                <a:lnTo>
                  <a:pt x="644311" y="3265444"/>
                </a:lnTo>
                <a:cubicBezTo>
                  <a:pt x="643112" y="3264245"/>
                  <a:pt x="641914" y="3263047"/>
                  <a:pt x="640715" y="3261848"/>
                </a:cubicBezTo>
                <a:cubicBezTo>
                  <a:pt x="636520" y="3257653"/>
                  <a:pt x="633524" y="3260051"/>
                  <a:pt x="635322" y="3257653"/>
                </a:cubicBezTo>
                <a:cubicBezTo>
                  <a:pt x="636520" y="3255256"/>
                  <a:pt x="635921" y="3254058"/>
                  <a:pt x="629329" y="3242072"/>
                </a:cubicBezTo>
                <a:cubicBezTo>
                  <a:pt x="622137" y="3230087"/>
                  <a:pt x="612549" y="3221697"/>
                  <a:pt x="606556" y="3215704"/>
                </a:cubicBezTo>
                <a:cubicBezTo>
                  <a:pt x="600564" y="3209711"/>
                  <a:pt x="601762" y="3207314"/>
                  <a:pt x="607156" y="3207314"/>
                </a:cubicBezTo>
                <a:cubicBezTo>
                  <a:pt x="612549" y="3207914"/>
                  <a:pt x="611950" y="3209112"/>
                  <a:pt x="610751" y="3206116"/>
                </a:cubicBezTo>
                <a:cubicBezTo>
                  <a:pt x="609553" y="3203120"/>
                  <a:pt x="604759" y="3201921"/>
                  <a:pt x="600564" y="3199524"/>
                </a:cubicBezTo>
                <a:cubicBezTo>
                  <a:pt x="596369" y="3197127"/>
                  <a:pt x="597567" y="3194130"/>
                  <a:pt x="595170" y="3187538"/>
                </a:cubicBezTo>
                <a:cubicBezTo>
                  <a:pt x="592773" y="3180946"/>
                  <a:pt x="594571" y="3181545"/>
                  <a:pt x="599365" y="3182145"/>
                </a:cubicBezTo>
                <a:cubicBezTo>
                  <a:pt x="604159" y="3182744"/>
                  <a:pt x="599964" y="3179149"/>
                  <a:pt x="596968" y="3176751"/>
                </a:cubicBezTo>
                <a:cubicBezTo>
                  <a:pt x="593972" y="3174354"/>
                  <a:pt x="586780" y="3177350"/>
                  <a:pt x="583784" y="3162369"/>
                </a:cubicBezTo>
                <a:cubicBezTo>
                  <a:pt x="580788" y="3147387"/>
                  <a:pt x="583784" y="3152181"/>
                  <a:pt x="586780" y="3158174"/>
                </a:cubicBezTo>
                <a:cubicBezTo>
                  <a:pt x="589777" y="3163567"/>
                  <a:pt x="591575" y="3165365"/>
                  <a:pt x="596369" y="3165964"/>
                </a:cubicBezTo>
                <a:cubicBezTo>
                  <a:pt x="601163" y="3166564"/>
                  <a:pt x="601762" y="3161170"/>
                  <a:pt x="596968" y="3161170"/>
                </a:cubicBezTo>
                <a:cubicBezTo>
                  <a:pt x="592174" y="3161170"/>
                  <a:pt x="592174" y="3160571"/>
                  <a:pt x="589777" y="3155777"/>
                </a:cubicBezTo>
                <a:cubicBezTo>
                  <a:pt x="587380" y="3151582"/>
                  <a:pt x="585582" y="3150383"/>
                  <a:pt x="580188" y="3146189"/>
                </a:cubicBezTo>
                <a:cubicBezTo>
                  <a:pt x="574795" y="3141994"/>
                  <a:pt x="577791" y="3140795"/>
                  <a:pt x="578390" y="3136001"/>
                </a:cubicBezTo>
                <a:cubicBezTo>
                  <a:pt x="578990" y="3130607"/>
                  <a:pt x="578990" y="3125813"/>
                  <a:pt x="582585" y="3124015"/>
                </a:cubicBezTo>
                <a:cubicBezTo>
                  <a:pt x="585582" y="3121618"/>
                  <a:pt x="587979" y="3119221"/>
                  <a:pt x="589777" y="3113228"/>
                </a:cubicBezTo>
                <a:cubicBezTo>
                  <a:pt x="591575" y="3107236"/>
                  <a:pt x="590376" y="3088658"/>
                  <a:pt x="589777" y="3080868"/>
                </a:cubicBezTo>
                <a:cubicBezTo>
                  <a:pt x="589177" y="3072478"/>
                  <a:pt x="589777" y="3070680"/>
                  <a:pt x="592773" y="3071279"/>
                </a:cubicBezTo>
                <a:cubicBezTo>
                  <a:pt x="595769" y="3071878"/>
                  <a:pt x="596369" y="3073676"/>
                  <a:pt x="596369" y="3068882"/>
                </a:cubicBezTo>
                <a:cubicBezTo>
                  <a:pt x="596369" y="3064088"/>
                  <a:pt x="593972" y="3059294"/>
                  <a:pt x="595769" y="3055698"/>
                </a:cubicBezTo>
                <a:cubicBezTo>
                  <a:pt x="596369" y="3054499"/>
                  <a:pt x="596968" y="3053301"/>
                  <a:pt x="598167" y="3051503"/>
                </a:cubicBezTo>
                <a:lnTo>
                  <a:pt x="595769" y="3050305"/>
                </a:lnTo>
                <a:cubicBezTo>
                  <a:pt x="591575" y="3049106"/>
                  <a:pt x="593372" y="3044911"/>
                  <a:pt x="593372" y="3044911"/>
                </a:cubicBezTo>
                <a:cubicBezTo>
                  <a:pt x="593372" y="3044911"/>
                  <a:pt x="594571" y="3042514"/>
                  <a:pt x="594571" y="3037121"/>
                </a:cubicBezTo>
                <a:cubicBezTo>
                  <a:pt x="594571" y="3031727"/>
                  <a:pt x="595170" y="3029929"/>
                  <a:pt x="597567" y="3025135"/>
                </a:cubicBezTo>
                <a:cubicBezTo>
                  <a:pt x="599964" y="3019741"/>
                  <a:pt x="599964" y="3014348"/>
                  <a:pt x="600564" y="3005958"/>
                </a:cubicBezTo>
                <a:cubicBezTo>
                  <a:pt x="600564" y="3001164"/>
                  <a:pt x="601762" y="2998767"/>
                  <a:pt x="602361" y="2996969"/>
                </a:cubicBezTo>
                <a:cubicBezTo>
                  <a:pt x="602361" y="2996969"/>
                  <a:pt x="602361" y="2996969"/>
                  <a:pt x="602961" y="2996969"/>
                </a:cubicBezTo>
                <a:cubicBezTo>
                  <a:pt x="603560" y="2995171"/>
                  <a:pt x="603560" y="2993373"/>
                  <a:pt x="603560" y="2990976"/>
                </a:cubicBezTo>
                <a:cubicBezTo>
                  <a:pt x="602961" y="2986182"/>
                  <a:pt x="602361" y="2977792"/>
                  <a:pt x="603560" y="2974197"/>
                </a:cubicBezTo>
                <a:cubicBezTo>
                  <a:pt x="604759" y="2970002"/>
                  <a:pt x="605957" y="2968204"/>
                  <a:pt x="605957" y="2962810"/>
                </a:cubicBezTo>
                <a:cubicBezTo>
                  <a:pt x="605358" y="2957417"/>
                  <a:pt x="604759" y="2952024"/>
                  <a:pt x="604159" y="2947229"/>
                </a:cubicBezTo>
                <a:cubicBezTo>
                  <a:pt x="603560" y="2942435"/>
                  <a:pt x="603560" y="2938840"/>
                  <a:pt x="601762" y="2934645"/>
                </a:cubicBezTo>
                <a:cubicBezTo>
                  <a:pt x="599964" y="2930450"/>
                  <a:pt x="600564" y="2927453"/>
                  <a:pt x="602361" y="2928053"/>
                </a:cubicBezTo>
                <a:cubicBezTo>
                  <a:pt x="604759" y="2928652"/>
                  <a:pt x="605358" y="2928053"/>
                  <a:pt x="605957" y="2925656"/>
                </a:cubicBezTo>
                <a:cubicBezTo>
                  <a:pt x="606556" y="2923259"/>
                  <a:pt x="606556" y="2922060"/>
                  <a:pt x="601762" y="2920262"/>
                </a:cubicBezTo>
                <a:cubicBezTo>
                  <a:pt x="596968" y="2918464"/>
                  <a:pt x="594571" y="2917865"/>
                  <a:pt x="591575" y="2914869"/>
                </a:cubicBezTo>
                <a:cubicBezTo>
                  <a:pt x="588578" y="2911273"/>
                  <a:pt x="590975" y="2907677"/>
                  <a:pt x="587979" y="2903482"/>
                </a:cubicBezTo>
                <a:cubicBezTo>
                  <a:pt x="584982" y="2899288"/>
                  <a:pt x="584982" y="2898089"/>
                  <a:pt x="586780" y="2895093"/>
                </a:cubicBezTo>
                <a:cubicBezTo>
                  <a:pt x="588578" y="2891497"/>
                  <a:pt x="587380" y="2890898"/>
                  <a:pt x="582585" y="2890898"/>
                </a:cubicBezTo>
                <a:cubicBezTo>
                  <a:pt x="579589" y="2890898"/>
                  <a:pt x="578390" y="2890898"/>
                  <a:pt x="577791" y="2889699"/>
                </a:cubicBezTo>
                <a:cubicBezTo>
                  <a:pt x="577192" y="2888501"/>
                  <a:pt x="576593" y="2886703"/>
                  <a:pt x="575993" y="2883706"/>
                </a:cubicBezTo>
                <a:cubicBezTo>
                  <a:pt x="574196" y="2875916"/>
                  <a:pt x="574795" y="2875317"/>
                  <a:pt x="572398" y="2883107"/>
                </a:cubicBezTo>
                <a:cubicBezTo>
                  <a:pt x="570001" y="2890298"/>
                  <a:pt x="572997" y="2891497"/>
                  <a:pt x="568203" y="2891497"/>
                </a:cubicBezTo>
                <a:cubicBezTo>
                  <a:pt x="563409" y="2891497"/>
                  <a:pt x="561611" y="2893295"/>
                  <a:pt x="556217" y="2895692"/>
                </a:cubicBezTo>
                <a:cubicBezTo>
                  <a:pt x="550824" y="2898089"/>
                  <a:pt x="547828" y="2899887"/>
                  <a:pt x="547228" y="2895093"/>
                </a:cubicBezTo>
                <a:cubicBezTo>
                  <a:pt x="546629" y="2890298"/>
                  <a:pt x="547828" y="2889699"/>
                  <a:pt x="542434" y="2894493"/>
                </a:cubicBezTo>
                <a:cubicBezTo>
                  <a:pt x="537041" y="2899288"/>
                  <a:pt x="538239" y="2899887"/>
                  <a:pt x="530449" y="2898688"/>
                </a:cubicBezTo>
                <a:cubicBezTo>
                  <a:pt x="522658" y="2897490"/>
                  <a:pt x="517265" y="2899887"/>
                  <a:pt x="510073" y="2895692"/>
                </a:cubicBezTo>
                <a:cubicBezTo>
                  <a:pt x="502882" y="2891497"/>
                  <a:pt x="501683" y="2887302"/>
                  <a:pt x="502882" y="2881908"/>
                </a:cubicBezTo>
                <a:cubicBezTo>
                  <a:pt x="504080" y="2876515"/>
                  <a:pt x="501683" y="2873519"/>
                  <a:pt x="499886" y="2866328"/>
                </a:cubicBezTo>
                <a:cubicBezTo>
                  <a:pt x="498088" y="2859136"/>
                  <a:pt x="499286" y="2858537"/>
                  <a:pt x="504080" y="2857938"/>
                </a:cubicBezTo>
                <a:cubicBezTo>
                  <a:pt x="509474" y="2857338"/>
                  <a:pt x="508875" y="2858537"/>
                  <a:pt x="508875" y="2854941"/>
                </a:cubicBezTo>
                <a:cubicBezTo>
                  <a:pt x="508875" y="2851346"/>
                  <a:pt x="508875" y="2851945"/>
                  <a:pt x="503481" y="2852544"/>
                </a:cubicBezTo>
                <a:cubicBezTo>
                  <a:pt x="498088" y="2853143"/>
                  <a:pt x="499286" y="2851945"/>
                  <a:pt x="498088" y="2845952"/>
                </a:cubicBezTo>
                <a:cubicBezTo>
                  <a:pt x="497488" y="2840559"/>
                  <a:pt x="498088" y="2841158"/>
                  <a:pt x="498687" y="2837562"/>
                </a:cubicBezTo>
                <a:cubicBezTo>
                  <a:pt x="498687" y="2836963"/>
                  <a:pt x="498687" y="2836364"/>
                  <a:pt x="499286" y="2835765"/>
                </a:cubicBezTo>
                <a:cubicBezTo>
                  <a:pt x="499286" y="2835765"/>
                  <a:pt x="499286" y="2835765"/>
                  <a:pt x="499286" y="2835765"/>
                </a:cubicBezTo>
                <a:lnTo>
                  <a:pt x="493893" y="2829172"/>
                </a:lnTo>
                <a:cubicBezTo>
                  <a:pt x="489099" y="2824977"/>
                  <a:pt x="484904" y="2818985"/>
                  <a:pt x="480709" y="2817786"/>
                </a:cubicBezTo>
                <a:cubicBezTo>
                  <a:pt x="476514" y="2817187"/>
                  <a:pt x="475315" y="2818985"/>
                  <a:pt x="474716" y="2815389"/>
                </a:cubicBezTo>
                <a:cubicBezTo>
                  <a:pt x="474117" y="2811194"/>
                  <a:pt x="481907" y="2813591"/>
                  <a:pt x="481907" y="2809996"/>
                </a:cubicBezTo>
                <a:cubicBezTo>
                  <a:pt x="482507" y="2805801"/>
                  <a:pt x="479510" y="2806400"/>
                  <a:pt x="468124" y="2807599"/>
                </a:cubicBezTo>
                <a:cubicBezTo>
                  <a:pt x="456738" y="2808198"/>
                  <a:pt x="459734" y="2813591"/>
                  <a:pt x="453742" y="2814191"/>
                </a:cubicBezTo>
                <a:cubicBezTo>
                  <a:pt x="447749" y="2814790"/>
                  <a:pt x="445352" y="2813591"/>
                  <a:pt x="440557" y="2814790"/>
                </a:cubicBezTo>
                <a:lnTo>
                  <a:pt x="440557" y="2816588"/>
                </a:lnTo>
                <a:cubicBezTo>
                  <a:pt x="440557" y="2815988"/>
                  <a:pt x="440557" y="2814790"/>
                  <a:pt x="441157" y="2812992"/>
                </a:cubicBezTo>
                <a:cubicBezTo>
                  <a:pt x="441157" y="2815389"/>
                  <a:pt x="440557" y="2817187"/>
                  <a:pt x="440557" y="2817187"/>
                </a:cubicBezTo>
                <a:cubicBezTo>
                  <a:pt x="435164" y="2818386"/>
                  <a:pt x="433366" y="2818985"/>
                  <a:pt x="434565" y="2815389"/>
                </a:cubicBezTo>
                <a:cubicBezTo>
                  <a:pt x="435164" y="2811194"/>
                  <a:pt x="434565" y="2810595"/>
                  <a:pt x="430969" y="2812992"/>
                </a:cubicBezTo>
                <a:cubicBezTo>
                  <a:pt x="427373" y="2815389"/>
                  <a:pt x="421980" y="2817187"/>
                  <a:pt x="412991" y="2819584"/>
                </a:cubicBezTo>
                <a:cubicBezTo>
                  <a:pt x="411792" y="2819584"/>
                  <a:pt x="410594" y="2820183"/>
                  <a:pt x="409395" y="2820183"/>
                </a:cubicBezTo>
                <a:cubicBezTo>
                  <a:pt x="409395" y="2820183"/>
                  <a:pt x="409395" y="2818386"/>
                  <a:pt x="409395" y="2815389"/>
                </a:cubicBezTo>
                <a:cubicBezTo>
                  <a:pt x="408796" y="2818386"/>
                  <a:pt x="408197" y="2820183"/>
                  <a:pt x="408197" y="2820183"/>
                </a:cubicBezTo>
                <a:lnTo>
                  <a:pt x="397410" y="2824378"/>
                </a:lnTo>
                <a:cubicBezTo>
                  <a:pt x="395612" y="2825577"/>
                  <a:pt x="393814" y="2826775"/>
                  <a:pt x="392616" y="2828573"/>
                </a:cubicBezTo>
                <a:cubicBezTo>
                  <a:pt x="387821" y="2833367"/>
                  <a:pt x="387222" y="2832768"/>
                  <a:pt x="388421" y="2827974"/>
                </a:cubicBezTo>
                <a:cubicBezTo>
                  <a:pt x="389619" y="2823180"/>
                  <a:pt x="389020" y="2821382"/>
                  <a:pt x="387222" y="2824977"/>
                </a:cubicBezTo>
                <a:cubicBezTo>
                  <a:pt x="385424" y="2828573"/>
                  <a:pt x="386024" y="2829172"/>
                  <a:pt x="383626" y="2827974"/>
                </a:cubicBezTo>
                <a:cubicBezTo>
                  <a:pt x="381229" y="2827375"/>
                  <a:pt x="381229" y="2823779"/>
                  <a:pt x="380630" y="2827974"/>
                </a:cubicBezTo>
                <a:cubicBezTo>
                  <a:pt x="380031" y="2832169"/>
                  <a:pt x="381829" y="2833367"/>
                  <a:pt x="376435" y="2835165"/>
                </a:cubicBezTo>
                <a:cubicBezTo>
                  <a:pt x="371042" y="2837562"/>
                  <a:pt x="369843" y="2837562"/>
                  <a:pt x="364450" y="2844154"/>
                </a:cubicBezTo>
                <a:cubicBezTo>
                  <a:pt x="359056" y="2850746"/>
                  <a:pt x="351266" y="2856739"/>
                  <a:pt x="344674" y="2856739"/>
                </a:cubicBezTo>
                <a:cubicBezTo>
                  <a:pt x="338082" y="2856739"/>
                  <a:pt x="334486" y="2863331"/>
                  <a:pt x="334486" y="2863331"/>
                </a:cubicBezTo>
                <a:cubicBezTo>
                  <a:pt x="334486" y="2863331"/>
                  <a:pt x="327295" y="2867526"/>
                  <a:pt x="323100" y="2871122"/>
                </a:cubicBezTo>
                <a:cubicBezTo>
                  <a:pt x="318905" y="2875317"/>
                  <a:pt x="310515" y="2875317"/>
                  <a:pt x="306919" y="2873519"/>
                </a:cubicBezTo>
                <a:cubicBezTo>
                  <a:pt x="303324" y="2871721"/>
                  <a:pt x="298530" y="2868125"/>
                  <a:pt x="293735" y="2868125"/>
                </a:cubicBezTo>
                <a:lnTo>
                  <a:pt x="288342" y="2865728"/>
                </a:lnTo>
                <a:lnTo>
                  <a:pt x="281151" y="2869923"/>
                </a:lnTo>
                <a:cubicBezTo>
                  <a:pt x="281151" y="2869923"/>
                  <a:pt x="291938" y="2860934"/>
                  <a:pt x="285346" y="2858537"/>
                </a:cubicBezTo>
                <a:cubicBezTo>
                  <a:pt x="282948" y="2857938"/>
                  <a:pt x="281151" y="2853743"/>
                  <a:pt x="279952" y="2858537"/>
                </a:cubicBezTo>
                <a:cubicBezTo>
                  <a:pt x="278754" y="2863331"/>
                  <a:pt x="279353" y="2863331"/>
                  <a:pt x="275757" y="2862732"/>
                </a:cubicBezTo>
                <a:cubicBezTo>
                  <a:pt x="272761" y="2862133"/>
                  <a:pt x="270963" y="2860335"/>
                  <a:pt x="273360" y="2854941"/>
                </a:cubicBezTo>
                <a:cubicBezTo>
                  <a:pt x="275757" y="2849548"/>
                  <a:pt x="274559" y="2847151"/>
                  <a:pt x="270963" y="2851346"/>
                </a:cubicBezTo>
                <a:cubicBezTo>
                  <a:pt x="267367" y="2855540"/>
                  <a:pt x="263772" y="2853143"/>
                  <a:pt x="252385" y="2853743"/>
                </a:cubicBezTo>
                <a:cubicBezTo>
                  <a:pt x="240999" y="2854342"/>
                  <a:pt x="246393" y="2857938"/>
                  <a:pt x="254783" y="2857938"/>
                </a:cubicBezTo>
                <a:cubicBezTo>
                  <a:pt x="263172" y="2857938"/>
                  <a:pt x="264970" y="2860335"/>
                  <a:pt x="256580" y="2860335"/>
                </a:cubicBezTo>
                <a:cubicBezTo>
                  <a:pt x="248191" y="2860335"/>
                  <a:pt x="248191" y="2862732"/>
                  <a:pt x="244595" y="2860335"/>
                </a:cubicBezTo>
                <a:cubicBezTo>
                  <a:pt x="240400" y="2857938"/>
                  <a:pt x="240999" y="2856739"/>
                  <a:pt x="234407" y="2856140"/>
                </a:cubicBezTo>
                <a:cubicBezTo>
                  <a:pt x="227815" y="2855540"/>
                  <a:pt x="230212" y="2856739"/>
                  <a:pt x="235007" y="2860335"/>
                </a:cubicBezTo>
                <a:cubicBezTo>
                  <a:pt x="239801" y="2863930"/>
                  <a:pt x="237404" y="2863930"/>
                  <a:pt x="230212" y="2863930"/>
                </a:cubicBezTo>
                <a:cubicBezTo>
                  <a:pt x="223021" y="2863930"/>
                  <a:pt x="224819" y="2863331"/>
                  <a:pt x="216429" y="2868125"/>
                </a:cubicBezTo>
                <a:cubicBezTo>
                  <a:pt x="208039" y="2872320"/>
                  <a:pt x="190061" y="2880111"/>
                  <a:pt x="177476" y="2886703"/>
                </a:cubicBezTo>
                <a:cubicBezTo>
                  <a:pt x="175678" y="2887901"/>
                  <a:pt x="173881" y="2888501"/>
                  <a:pt x="172682" y="2889100"/>
                </a:cubicBezTo>
                <a:cubicBezTo>
                  <a:pt x="172682" y="2889100"/>
                  <a:pt x="172083" y="2888501"/>
                  <a:pt x="172083" y="2887901"/>
                </a:cubicBezTo>
                <a:cubicBezTo>
                  <a:pt x="164292" y="2890898"/>
                  <a:pt x="161296" y="2888501"/>
                  <a:pt x="153505" y="2883107"/>
                </a:cubicBezTo>
                <a:cubicBezTo>
                  <a:pt x="143917" y="2875916"/>
                  <a:pt x="135527" y="2862133"/>
                  <a:pt x="128935" y="2851346"/>
                </a:cubicBezTo>
                <a:cubicBezTo>
                  <a:pt x="121744" y="2841158"/>
                  <a:pt x="120545" y="2833367"/>
                  <a:pt x="116950" y="2829172"/>
                </a:cubicBezTo>
                <a:cubicBezTo>
                  <a:pt x="113354" y="2824977"/>
                  <a:pt x="109758" y="2818985"/>
                  <a:pt x="108560" y="2814191"/>
                </a:cubicBezTo>
                <a:cubicBezTo>
                  <a:pt x="106762" y="2809396"/>
                  <a:pt x="109159" y="2806999"/>
                  <a:pt x="106163" y="2807599"/>
                </a:cubicBezTo>
                <a:cubicBezTo>
                  <a:pt x="103166" y="2808198"/>
                  <a:pt x="101968" y="2807599"/>
                  <a:pt x="101368" y="2804003"/>
                </a:cubicBezTo>
                <a:cubicBezTo>
                  <a:pt x="100769" y="2800407"/>
                  <a:pt x="98971" y="2796812"/>
                  <a:pt x="94776" y="2790819"/>
                </a:cubicBezTo>
                <a:cubicBezTo>
                  <a:pt x="90581" y="2784227"/>
                  <a:pt x="88784" y="2786624"/>
                  <a:pt x="88184" y="2783028"/>
                </a:cubicBezTo>
                <a:cubicBezTo>
                  <a:pt x="87585" y="2778833"/>
                  <a:pt x="86986" y="2777036"/>
                  <a:pt x="82791" y="2775238"/>
                </a:cubicBezTo>
                <a:cubicBezTo>
                  <a:pt x="81592" y="2774638"/>
                  <a:pt x="80394" y="2773440"/>
                  <a:pt x="79795" y="2772841"/>
                </a:cubicBezTo>
                <a:cubicBezTo>
                  <a:pt x="78596" y="2770444"/>
                  <a:pt x="78596" y="2767447"/>
                  <a:pt x="76199" y="2764451"/>
                </a:cubicBezTo>
                <a:cubicBezTo>
                  <a:pt x="72603" y="2760256"/>
                  <a:pt x="68408" y="2761455"/>
                  <a:pt x="62416" y="2757859"/>
                </a:cubicBezTo>
                <a:cubicBezTo>
                  <a:pt x="56423" y="2754263"/>
                  <a:pt x="58221" y="2751267"/>
                  <a:pt x="63614" y="2752465"/>
                </a:cubicBezTo>
                <a:cubicBezTo>
                  <a:pt x="69008" y="2753664"/>
                  <a:pt x="71405" y="2754263"/>
                  <a:pt x="65412" y="2748870"/>
                </a:cubicBezTo>
                <a:cubicBezTo>
                  <a:pt x="59419" y="2743476"/>
                  <a:pt x="69607" y="2744675"/>
                  <a:pt x="69607" y="2742877"/>
                </a:cubicBezTo>
                <a:cubicBezTo>
                  <a:pt x="70206" y="2741079"/>
                  <a:pt x="64813" y="2733888"/>
                  <a:pt x="59419" y="2732689"/>
                </a:cubicBezTo>
                <a:cubicBezTo>
                  <a:pt x="54026" y="2731491"/>
                  <a:pt x="54026" y="2729094"/>
                  <a:pt x="55224" y="2727296"/>
                </a:cubicBezTo>
                <a:cubicBezTo>
                  <a:pt x="55824" y="2724899"/>
                  <a:pt x="58820" y="2718307"/>
                  <a:pt x="54625" y="2714112"/>
                </a:cubicBezTo>
                <a:cubicBezTo>
                  <a:pt x="50430" y="2709917"/>
                  <a:pt x="49831" y="2708718"/>
                  <a:pt x="52228" y="2708718"/>
                </a:cubicBezTo>
                <a:cubicBezTo>
                  <a:pt x="54625" y="2708119"/>
                  <a:pt x="57022" y="2703924"/>
                  <a:pt x="58221" y="2698531"/>
                </a:cubicBezTo>
                <a:cubicBezTo>
                  <a:pt x="59419" y="2693137"/>
                  <a:pt x="60019" y="2690141"/>
                  <a:pt x="54625" y="2691339"/>
                </a:cubicBezTo>
                <a:cubicBezTo>
                  <a:pt x="49232" y="2692538"/>
                  <a:pt x="48033" y="2687144"/>
                  <a:pt x="50430" y="2682950"/>
                </a:cubicBezTo>
                <a:cubicBezTo>
                  <a:pt x="52228" y="2680553"/>
                  <a:pt x="51029" y="2678755"/>
                  <a:pt x="51029" y="2676957"/>
                </a:cubicBezTo>
                <a:cubicBezTo>
                  <a:pt x="51029" y="2675159"/>
                  <a:pt x="51029" y="2673361"/>
                  <a:pt x="52827" y="2670964"/>
                </a:cubicBezTo>
                <a:cubicBezTo>
                  <a:pt x="57022" y="2664971"/>
                  <a:pt x="54625" y="2662574"/>
                  <a:pt x="53427" y="2656582"/>
                </a:cubicBezTo>
                <a:cubicBezTo>
                  <a:pt x="52827" y="2650589"/>
                  <a:pt x="52827" y="2644596"/>
                  <a:pt x="51029" y="2638603"/>
                </a:cubicBezTo>
                <a:cubicBezTo>
                  <a:pt x="49232" y="2633210"/>
                  <a:pt x="50430" y="2633210"/>
                  <a:pt x="48033" y="2634408"/>
                </a:cubicBezTo>
                <a:cubicBezTo>
                  <a:pt x="45636" y="2635008"/>
                  <a:pt x="43838" y="2635008"/>
                  <a:pt x="43239" y="2632011"/>
                </a:cubicBezTo>
                <a:cubicBezTo>
                  <a:pt x="42640" y="2628416"/>
                  <a:pt x="43838" y="2625419"/>
                  <a:pt x="40242" y="2626019"/>
                </a:cubicBezTo>
                <a:cubicBezTo>
                  <a:pt x="36048" y="2626618"/>
                  <a:pt x="35448" y="2623622"/>
                  <a:pt x="32452" y="2621824"/>
                </a:cubicBezTo>
                <a:cubicBezTo>
                  <a:pt x="29456" y="2619427"/>
                  <a:pt x="30055" y="2619427"/>
                  <a:pt x="32452" y="2615831"/>
                </a:cubicBezTo>
                <a:cubicBezTo>
                  <a:pt x="34849" y="2612235"/>
                  <a:pt x="32452" y="2610437"/>
                  <a:pt x="34250" y="2605643"/>
                </a:cubicBezTo>
                <a:cubicBezTo>
                  <a:pt x="36048" y="2600250"/>
                  <a:pt x="34849" y="2599651"/>
                  <a:pt x="37246" y="2594257"/>
                </a:cubicBezTo>
                <a:cubicBezTo>
                  <a:pt x="39643" y="2588864"/>
                  <a:pt x="41441" y="2584669"/>
                  <a:pt x="37845" y="2586467"/>
                </a:cubicBezTo>
                <a:cubicBezTo>
                  <a:pt x="34849" y="2588264"/>
                  <a:pt x="32452" y="2590661"/>
                  <a:pt x="33051" y="2588264"/>
                </a:cubicBezTo>
                <a:cubicBezTo>
                  <a:pt x="33650" y="2585867"/>
                  <a:pt x="32452" y="2583470"/>
                  <a:pt x="30055" y="2584069"/>
                </a:cubicBezTo>
                <a:cubicBezTo>
                  <a:pt x="28856" y="2584669"/>
                  <a:pt x="27658" y="2584069"/>
                  <a:pt x="27058" y="2583470"/>
                </a:cubicBezTo>
                <a:cubicBezTo>
                  <a:pt x="27058" y="2583470"/>
                  <a:pt x="27658" y="2582871"/>
                  <a:pt x="28257" y="2581672"/>
                </a:cubicBezTo>
                <a:cubicBezTo>
                  <a:pt x="27658" y="2581073"/>
                  <a:pt x="26459" y="2581073"/>
                  <a:pt x="26459" y="2579275"/>
                </a:cubicBezTo>
                <a:cubicBezTo>
                  <a:pt x="27058" y="2575680"/>
                  <a:pt x="27058" y="2572683"/>
                  <a:pt x="22264" y="2575680"/>
                </a:cubicBezTo>
                <a:cubicBezTo>
                  <a:pt x="17470" y="2578676"/>
                  <a:pt x="17470" y="2573282"/>
                  <a:pt x="18069" y="2565492"/>
                </a:cubicBezTo>
                <a:cubicBezTo>
                  <a:pt x="18669" y="2557701"/>
                  <a:pt x="15672" y="2556503"/>
                  <a:pt x="15073" y="2552308"/>
                </a:cubicBezTo>
                <a:cubicBezTo>
                  <a:pt x="14474" y="2548113"/>
                  <a:pt x="15672" y="2545117"/>
                  <a:pt x="26459" y="2545117"/>
                </a:cubicBezTo>
                <a:cubicBezTo>
                  <a:pt x="37845" y="2544517"/>
                  <a:pt x="30654" y="2539723"/>
                  <a:pt x="19867" y="2542120"/>
                </a:cubicBezTo>
                <a:cubicBezTo>
                  <a:pt x="12077" y="2543918"/>
                  <a:pt x="13275" y="2542720"/>
                  <a:pt x="15672" y="2540322"/>
                </a:cubicBezTo>
                <a:cubicBezTo>
                  <a:pt x="18069" y="2537925"/>
                  <a:pt x="16871" y="2536128"/>
                  <a:pt x="10878" y="2535528"/>
                </a:cubicBezTo>
                <a:cubicBezTo>
                  <a:pt x="4885" y="2534929"/>
                  <a:pt x="3087" y="2528936"/>
                  <a:pt x="11477" y="2527738"/>
                </a:cubicBezTo>
                <a:cubicBezTo>
                  <a:pt x="25261" y="2525940"/>
                  <a:pt x="17470" y="2520546"/>
                  <a:pt x="7282" y="2523543"/>
                </a:cubicBezTo>
                <a:cubicBezTo>
                  <a:pt x="690" y="2525340"/>
                  <a:pt x="690" y="2522344"/>
                  <a:pt x="91" y="2516351"/>
                </a:cubicBezTo>
                <a:cubicBezTo>
                  <a:pt x="-508" y="2510359"/>
                  <a:pt x="1889" y="2509760"/>
                  <a:pt x="6084" y="2509160"/>
                </a:cubicBezTo>
                <a:cubicBezTo>
                  <a:pt x="10279" y="2508561"/>
                  <a:pt x="9080" y="2504965"/>
                  <a:pt x="9080" y="2501969"/>
                </a:cubicBezTo>
                <a:cubicBezTo>
                  <a:pt x="9080" y="2498972"/>
                  <a:pt x="9680" y="2495976"/>
                  <a:pt x="6084" y="2496575"/>
                </a:cubicBezTo>
                <a:cubicBezTo>
                  <a:pt x="2488" y="2497175"/>
                  <a:pt x="2488" y="2494778"/>
                  <a:pt x="4885" y="2491182"/>
                </a:cubicBezTo>
                <a:cubicBezTo>
                  <a:pt x="6084" y="2489384"/>
                  <a:pt x="7282" y="2486388"/>
                  <a:pt x="7882" y="2483391"/>
                </a:cubicBezTo>
                <a:cubicBezTo>
                  <a:pt x="7882" y="2483391"/>
                  <a:pt x="9680" y="2482792"/>
                  <a:pt x="12077" y="2481594"/>
                </a:cubicBezTo>
                <a:cubicBezTo>
                  <a:pt x="9080" y="2481594"/>
                  <a:pt x="7882" y="2483391"/>
                  <a:pt x="7882" y="2483391"/>
                </a:cubicBezTo>
                <a:cubicBezTo>
                  <a:pt x="8481" y="2480994"/>
                  <a:pt x="9080" y="2477998"/>
                  <a:pt x="9680" y="2475601"/>
                </a:cubicBezTo>
                <a:cubicBezTo>
                  <a:pt x="10279" y="2470807"/>
                  <a:pt x="16272" y="2470207"/>
                  <a:pt x="19867" y="2470207"/>
                </a:cubicBezTo>
                <a:cubicBezTo>
                  <a:pt x="24062" y="2469608"/>
                  <a:pt x="25261" y="2466612"/>
                  <a:pt x="19867" y="2462417"/>
                </a:cubicBezTo>
                <a:cubicBezTo>
                  <a:pt x="18669" y="2461818"/>
                  <a:pt x="18669" y="2460619"/>
                  <a:pt x="18669" y="2460020"/>
                </a:cubicBezTo>
                <a:cubicBezTo>
                  <a:pt x="16871" y="2458821"/>
                  <a:pt x="16871" y="2458821"/>
                  <a:pt x="16871" y="2458821"/>
                </a:cubicBezTo>
                <a:cubicBezTo>
                  <a:pt x="15672" y="2456424"/>
                  <a:pt x="17470" y="2454027"/>
                  <a:pt x="19867" y="2451630"/>
                </a:cubicBezTo>
                <a:cubicBezTo>
                  <a:pt x="23463" y="2448034"/>
                  <a:pt x="23463" y="2446236"/>
                  <a:pt x="20466" y="2446236"/>
                </a:cubicBezTo>
                <a:cubicBezTo>
                  <a:pt x="17470" y="2445637"/>
                  <a:pt x="15672" y="2444439"/>
                  <a:pt x="21066" y="2442041"/>
                </a:cubicBezTo>
                <a:cubicBezTo>
                  <a:pt x="26459" y="2439644"/>
                  <a:pt x="25261" y="2437847"/>
                  <a:pt x="21665" y="2437847"/>
                </a:cubicBezTo>
                <a:cubicBezTo>
                  <a:pt x="17470" y="2437847"/>
                  <a:pt x="16272" y="2435449"/>
                  <a:pt x="14474" y="2419868"/>
                </a:cubicBezTo>
                <a:cubicBezTo>
                  <a:pt x="12676" y="2403688"/>
                  <a:pt x="13874" y="2400692"/>
                  <a:pt x="22864" y="2395298"/>
                </a:cubicBezTo>
                <a:cubicBezTo>
                  <a:pt x="31853" y="2389905"/>
                  <a:pt x="36048" y="2385110"/>
                  <a:pt x="38445" y="2374324"/>
                </a:cubicBezTo>
                <a:cubicBezTo>
                  <a:pt x="40842" y="2363537"/>
                  <a:pt x="45037" y="2353948"/>
                  <a:pt x="47434" y="2349753"/>
                </a:cubicBezTo>
                <a:cubicBezTo>
                  <a:pt x="49831" y="2345558"/>
                  <a:pt x="49831" y="2347356"/>
                  <a:pt x="48632" y="2344360"/>
                </a:cubicBezTo>
                <a:cubicBezTo>
                  <a:pt x="47434" y="2341963"/>
                  <a:pt x="47434" y="2340165"/>
                  <a:pt x="48632" y="2335371"/>
                </a:cubicBezTo>
                <a:cubicBezTo>
                  <a:pt x="49831" y="2330576"/>
                  <a:pt x="52827" y="2325183"/>
                  <a:pt x="56423" y="2315595"/>
                </a:cubicBezTo>
                <a:cubicBezTo>
                  <a:pt x="60019" y="2306006"/>
                  <a:pt x="71405" y="2285032"/>
                  <a:pt x="79195" y="2273046"/>
                </a:cubicBezTo>
                <a:cubicBezTo>
                  <a:pt x="86986" y="2261061"/>
                  <a:pt x="88184" y="2245480"/>
                  <a:pt x="89383" y="2233494"/>
                </a:cubicBezTo>
                <a:cubicBezTo>
                  <a:pt x="90581" y="2221509"/>
                  <a:pt x="95975" y="2205928"/>
                  <a:pt x="93578" y="2201733"/>
                </a:cubicBezTo>
                <a:cubicBezTo>
                  <a:pt x="91181" y="2197538"/>
                  <a:pt x="89383" y="2194541"/>
                  <a:pt x="97174" y="2193343"/>
                </a:cubicBezTo>
                <a:cubicBezTo>
                  <a:pt x="104365" y="2192743"/>
                  <a:pt x="105563" y="2189747"/>
                  <a:pt x="101968" y="2189747"/>
                </a:cubicBezTo>
                <a:cubicBezTo>
                  <a:pt x="97773" y="2189747"/>
                  <a:pt x="100170" y="2186152"/>
                  <a:pt x="102567" y="2183754"/>
                </a:cubicBezTo>
                <a:cubicBezTo>
                  <a:pt x="104964" y="2181357"/>
                  <a:pt x="107361" y="2178361"/>
                  <a:pt x="106762" y="2175365"/>
                </a:cubicBezTo>
                <a:cubicBezTo>
                  <a:pt x="106163" y="2171769"/>
                  <a:pt x="104964" y="2169971"/>
                  <a:pt x="110358" y="2162780"/>
                </a:cubicBezTo>
                <a:cubicBezTo>
                  <a:pt x="115751" y="2155589"/>
                  <a:pt x="114552" y="2150794"/>
                  <a:pt x="115751" y="2144202"/>
                </a:cubicBezTo>
                <a:cubicBezTo>
                  <a:pt x="117549" y="2137610"/>
                  <a:pt x="116350" y="2134015"/>
                  <a:pt x="113354" y="2135812"/>
                </a:cubicBezTo>
                <a:cubicBezTo>
                  <a:pt x="110358" y="2137011"/>
                  <a:pt x="109159" y="2135213"/>
                  <a:pt x="107960" y="2129221"/>
                </a:cubicBezTo>
                <a:cubicBezTo>
                  <a:pt x="106762" y="2123228"/>
                  <a:pt x="105563" y="2122029"/>
                  <a:pt x="101968" y="2126823"/>
                </a:cubicBezTo>
                <a:cubicBezTo>
                  <a:pt x="98372" y="2132217"/>
                  <a:pt x="99571" y="2120231"/>
                  <a:pt x="104964" y="2114239"/>
                </a:cubicBezTo>
                <a:cubicBezTo>
                  <a:pt x="104964" y="2114239"/>
                  <a:pt x="116950" y="2110044"/>
                  <a:pt x="127736" y="2107647"/>
                </a:cubicBezTo>
                <a:cubicBezTo>
                  <a:pt x="117549" y="2110044"/>
                  <a:pt x="108560" y="2113040"/>
                  <a:pt x="108560" y="2113040"/>
                </a:cubicBezTo>
                <a:cubicBezTo>
                  <a:pt x="113953" y="2107047"/>
                  <a:pt x="110358" y="2103452"/>
                  <a:pt x="117549" y="2095062"/>
                </a:cubicBezTo>
                <a:cubicBezTo>
                  <a:pt x="124740" y="2086672"/>
                  <a:pt x="121144" y="2085473"/>
                  <a:pt x="124740" y="2078282"/>
                </a:cubicBezTo>
                <a:cubicBezTo>
                  <a:pt x="128935" y="2071091"/>
                  <a:pt x="130733" y="2066297"/>
                  <a:pt x="136126" y="2063899"/>
                </a:cubicBezTo>
                <a:cubicBezTo>
                  <a:pt x="141520" y="2061502"/>
                  <a:pt x="142119" y="2062102"/>
                  <a:pt x="146913" y="2055510"/>
                </a:cubicBezTo>
                <a:cubicBezTo>
                  <a:pt x="151707" y="2048918"/>
                  <a:pt x="154704" y="2048918"/>
                  <a:pt x="155303" y="2041726"/>
                </a:cubicBezTo>
                <a:cubicBezTo>
                  <a:pt x="155902" y="2034535"/>
                  <a:pt x="163094" y="2033936"/>
                  <a:pt x="163693" y="2029142"/>
                </a:cubicBezTo>
                <a:cubicBezTo>
                  <a:pt x="164292" y="2024348"/>
                  <a:pt x="161895" y="2021950"/>
                  <a:pt x="166090" y="2019553"/>
                </a:cubicBezTo>
                <a:cubicBezTo>
                  <a:pt x="170285" y="2017156"/>
                  <a:pt x="175079" y="2011163"/>
                  <a:pt x="182870" y="2002774"/>
                </a:cubicBezTo>
                <a:cubicBezTo>
                  <a:pt x="190660" y="1994983"/>
                  <a:pt x="191260" y="1996781"/>
                  <a:pt x="187065" y="1996781"/>
                </a:cubicBezTo>
                <a:cubicBezTo>
                  <a:pt x="182270" y="1996781"/>
                  <a:pt x="184668" y="1994983"/>
                  <a:pt x="189462" y="1988391"/>
                </a:cubicBezTo>
                <a:cubicBezTo>
                  <a:pt x="194256" y="1981799"/>
                  <a:pt x="200848" y="1974008"/>
                  <a:pt x="208638" y="1970413"/>
                </a:cubicBezTo>
                <a:cubicBezTo>
                  <a:pt x="216429" y="1966218"/>
                  <a:pt x="215230" y="1964420"/>
                  <a:pt x="219425" y="1961424"/>
                </a:cubicBezTo>
                <a:cubicBezTo>
                  <a:pt x="223620" y="1958427"/>
                  <a:pt x="224220" y="1959027"/>
                  <a:pt x="223021" y="1956030"/>
                </a:cubicBezTo>
                <a:cubicBezTo>
                  <a:pt x="221822" y="1953034"/>
                  <a:pt x="223620" y="1950637"/>
                  <a:pt x="228415" y="1947640"/>
                </a:cubicBezTo>
                <a:cubicBezTo>
                  <a:pt x="233209" y="1944045"/>
                  <a:pt x="236804" y="1941048"/>
                  <a:pt x="245194" y="1932059"/>
                </a:cubicBezTo>
                <a:cubicBezTo>
                  <a:pt x="253584" y="1923070"/>
                  <a:pt x="257180" y="1911085"/>
                  <a:pt x="264371" y="1901496"/>
                </a:cubicBezTo>
                <a:cubicBezTo>
                  <a:pt x="271562" y="1891908"/>
                  <a:pt x="282349" y="1890709"/>
                  <a:pt x="287743" y="1887713"/>
                </a:cubicBezTo>
                <a:cubicBezTo>
                  <a:pt x="293136" y="1884717"/>
                  <a:pt x="294934" y="1873330"/>
                  <a:pt x="299129" y="1863143"/>
                </a:cubicBezTo>
                <a:cubicBezTo>
                  <a:pt x="303324" y="1852955"/>
                  <a:pt x="308717" y="1848161"/>
                  <a:pt x="315908" y="1842767"/>
                </a:cubicBezTo>
                <a:lnTo>
                  <a:pt x="365648" y="1849959"/>
                </a:lnTo>
                <a:lnTo>
                  <a:pt x="359056" y="1848161"/>
                </a:lnTo>
                <a:lnTo>
                  <a:pt x="351266" y="1846962"/>
                </a:lnTo>
                <a:lnTo>
                  <a:pt x="315908" y="1842168"/>
                </a:lnTo>
                <a:cubicBezTo>
                  <a:pt x="323100" y="1836775"/>
                  <a:pt x="325497" y="1832580"/>
                  <a:pt x="327295" y="1827786"/>
                </a:cubicBezTo>
                <a:cubicBezTo>
                  <a:pt x="329093" y="1822991"/>
                  <a:pt x="331490" y="1822392"/>
                  <a:pt x="339280" y="1821793"/>
                </a:cubicBezTo>
                <a:cubicBezTo>
                  <a:pt x="346471" y="1821194"/>
                  <a:pt x="351266" y="1821194"/>
                  <a:pt x="357258" y="1816399"/>
                </a:cubicBezTo>
                <a:cubicBezTo>
                  <a:pt x="363850" y="1811006"/>
                  <a:pt x="366847" y="1814002"/>
                  <a:pt x="370442" y="1808609"/>
                </a:cubicBezTo>
                <a:cubicBezTo>
                  <a:pt x="374637" y="1803215"/>
                  <a:pt x="377634" y="1802017"/>
                  <a:pt x="387222" y="1798421"/>
                </a:cubicBezTo>
                <a:cubicBezTo>
                  <a:pt x="396810" y="1794226"/>
                  <a:pt x="400406" y="1791230"/>
                  <a:pt x="406998" y="1784039"/>
                </a:cubicBezTo>
                <a:cubicBezTo>
                  <a:pt x="412991" y="1776847"/>
                  <a:pt x="413590" y="1773252"/>
                  <a:pt x="422579" y="1771454"/>
                </a:cubicBezTo>
                <a:cubicBezTo>
                  <a:pt x="431568" y="1769656"/>
                  <a:pt x="435763" y="1765461"/>
                  <a:pt x="441756" y="1758869"/>
                </a:cubicBezTo>
                <a:cubicBezTo>
                  <a:pt x="447149" y="1752277"/>
                  <a:pt x="449547" y="1746884"/>
                  <a:pt x="449547" y="1739692"/>
                </a:cubicBezTo>
                <a:cubicBezTo>
                  <a:pt x="449547" y="1732501"/>
                  <a:pt x="448947" y="1731302"/>
                  <a:pt x="451944" y="1728905"/>
                </a:cubicBezTo>
                <a:cubicBezTo>
                  <a:pt x="454940" y="1726508"/>
                  <a:pt x="457337" y="1720516"/>
                  <a:pt x="460334" y="1712725"/>
                </a:cubicBezTo>
                <a:cubicBezTo>
                  <a:pt x="463330" y="1705534"/>
                  <a:pt x="464528" y="1704335"/>
                  <a:pt x="465727" y="1695945"/>
                </a:cubicBezTo>
                <a:cubicBezTo>
                  <a:pt x="466926" y="1687556"/>
                  <a:pt x="469922" y="1684559"/>
                  <a:pt x="475315" y="1682761"/>
                </a:cubicBezTo>
                <a:cubicBezTo>
                  <a:pt x="480709" y="1680364"/>
                  <a:pt x="483106" y="1674971"/>
                  <a:pt x="488499" y="1671375"/>
                </a:cubicBezTo>
                <a:cubicBezTo>
                  <a:pt x="493893" y="1667780"/>
                  <a:pt x="493294" y="1664184"/>
                  <a:pt x="493893" y="1658191"/>
                </a:cubicBezTo>
                <a:cubicBezTo>
                  <a:pt x="494492" y="1652198"/>
                  <a:pt x="498088" y="1647404"/>
                  <a:pt x="508875" y="1645007"/>
                </a:cubicBezTo>
                <a:cubicBezTo>
                  <a:pt x="519662" y="1642610"/>
                  <a:pt x="522059" y="1636617"/>
                  <a:pt x="526853" y="1631823"/>
                </a:cubicBezTo>
                <a:cubicBezTo>
                  <a:pt x="531647" y="1627029"/>
                  <a:pt x="537041" y="1624032"/>
                  <a:pt x="543633" y="1623433"/>
                </a:cubicBezTo>
                <a:cubicBezTo>
                  <a:pt x="549625" y="1622834"/>
                  <a:pt x="556817" y="1621036"/>
                  <a:pt x="565806" y="1616242"/>
                </a:cubicBezTo>
                <a:cubicBezTo>
                  <a:pt x="574196" y="1612047"/>
                  <a:pt x="583784" y="1605455"/>
                  <a:pt x="593372" y="1597065"/>
                </a:cubicBezTo>
                <a:cubicBezTo>
                  <a:pt x="602961" y="1588675"/>
                  <a:pt x="603560" y="1580885"/>
                  <a:pt x="610152" y="1572495"/>
                </a:cubicBezTo>
                <a:cubicBezTo>
                  <a:pt x="617343" y="1564105"/>
                  <a:pt x="619740" y="1555715"/>
                  <a:pt x="626932" y="1546127"/>
                </a:cubicBezTo>
                <a:cubicBezTo>
                  <a:pt x="634123" y="1535939"/>
                  <a:pt x="634722" y="1532943"/>
                  <a:pt x="645509" y="1532344"/>
                </a:cubicBezTo>
                <a:cubicBezTo>
                  <a:pt x="656296" y="1531744"/>
                  <a:pt x="656296" y="1532943"/>
                  <a:pt x="652700" y="1537138"/>
                </a:cubicBezTo>
                <a:cubicBezTo>
                  <a:pt x="648506" y="1541333"/>
                  <a:pt x="647906" y="1539535"/>
                  <a:pt x="649105" y="1552719"/>
                </a:cubicBezTo>
                <a:cubicBezTo>
                  <a:pt x="650303" y="1565903"/>
                  <a:pt x="661690" y="1564704"/>
                  <a:pt x="665884" y="1565903"/>
                </a:cubicBezTo>
                <a:cubicBezTo>
                  <a:pt x="670079" y="1567101"/>
                  <a:pt x="674874" y="1565304"/>
                  <a:pt x="679069" y="1567701"/>
                </a:cubicBezTo>
                <a:cubicBezTo>
                  <a:pt x="683263" y="1570098"/>
                  <a:pt x="684462" y="1571296"/>
                  <a:pt x="689855" y="1567701"/>
                </a:cubicBezTo>
                <a:cubicBezTo>
                  <a:pt x="695249" y="1564105"/>
                  <a:pt x="695249" y="1564704"/>
                  <a:pt x="697646" y="1570098"/>
                </a:cubicBezTo>
                <a:cubicBezTo>
                  <a:pt x="700043" y="1575491"/>
                  <a:pt x="705437" y="1576091"/>
                  <a:pt x="712628" y="1577289"/>
                </a:cubicBezTo>
                <a:lnTo>
                  <a:pt x="710231" y="1578488"/>
                </a:lnTo>
                <a:cubicBezTo>
                  <a:pt x="717422" y="1579686"/>
                  <a:pt x="720418" y="1576091"/>
                  <a:pt x="725213" y="1574892"/>
                </a:cubicBezTo>
                <a:cubicBezTo>
                  <a:pt x="730606" y="1574293"/>
                  <a:pt x="734801" y="1572495"/>
                  <a:pt x="736000" y="1567701"/>
                </a:cubicBezTo>
                <a:cubicBezTo>
                  <a:pt x="737198" y="1563506"/>
                  <a:pt x="737198" y="1561109"/>
                  <a:pt x="743790" y="1561109"/>
                </a:cubicBezTo>
                <a:cubicBezTo>
                  <a:pt x="750382" y="1561109"/>
                  <a:pt x="754577" y="1561109"/>
                  <a:pt x="758173" y="1558712"/>
                </a:cubicBezTo>
                <a:cubicBezTo>
                  <a:pt x="761768" y="1556315"/>
                  <a:pt x="762368" y="1554517"/>
                  <a:pt x="765364" y="1558112"/>
                </a:cubicBezTo>
                <a:cubicBezTo>
                  <a:pt x="768960" y="1562307"/>
                  <a:pt x="772555" y="1561109"/>
                  <a:pt x="777349" y="1556914"/>
                </a:cubicBezTo>
                <a:cubicBezTo>
                  <a:pt x="782144" y="1552719"/>
                  <a:pt x="783342" y="1549723"/>
                  <a:pt x="789335" y="1545528"/>
                </a:cubicBezTo>
                <a:cubicBezTo>
                  <a:pt x="794728" y="1541333"/>
                  <a:pt x="798923" y="1539535"/>
                  <a:pt x="809111" y="1537138"/>
                </a:cubicBezTo>
                <a:cubicBezTo>
                  <a:pt x="819299" y="1534741"/>
                  <a:pt x="818100" y="1534141"/>
                  <a:pt x="824692" y="1532943"/>
                </a:cubicBezTo>
                <a:cubicBezTo>
                  <a:pt x="831284" y="1532344"/>
                  <a:pt x="843270" y="1532344"/>
                  <a:pt x="855854" y="1534141"/>
                </a:cubicBezTo>
                <a:cubicBezTo>
                  <a:pt x="868439" y="1535939"/>
                  <a:pt x="869638" y="1536538"/>
                  <a:pt x="873832" y="1534741"/>
                </a:cubicBezTo>
                <a:cubicBezTo>
                  <a:pt x="878027" y="1532344"/>
                  <a:pt x="880425" y="1532344"/>
                  <a:pt x="885818" y="1534141"/>
                </a:cubicBezTo>
                <a:cubicBezTo>
                  <a:pt x="891211" y="1535340"/>
                  <a:pt x="893609" y="1535340"/>
                  <a:pt x="897803" y="1538336"/>
                </a:cubicBezTo>
                <a:cubicBezTo>
                  <a:pt x="901998" y="1541333"/>
                  <a:pt x="913385" y="1547925"/>
                  <a:pt x="918179" y="1546726"/>
                </a:cubicBezTo>
                <a:cubicBezTo>
                  <a:pt x="922973" y="1546127"/>
                  <a:pt x="925969" y="1543730"/>
                  <a:pt x="932561" y="1542531"/>
                </a:cubicBezTo>
                <a:cubicBezTo>
                  <a:pt x="939153" y="1541932"/>
                  <a:pt x="937955" y="1537138"/>
                  <a:pt x="944547" y="1540134"/>
                </a:cubicBezTo>
                <a:cubicBezTo>
                  <a:pt x="951139" y="1542531"/>
                  <a:pt x="945146" y="1545528"/>
                  <a:pt x="956532" y="1546726"/>
                </a:cubicBezTo>
                <a:cubicBezTo>
                  <a:pt x="967319" y="1547925"/>
                  <a:pt x="958929" y="1541333"/>
                  <a:pt x="960727" y="1541333"/>
                </a:cubicBezTo>
                <a:cubicBezTo>
                  <a:pt x="962525" y="1541333"/>
                  <a:pt x="966121" y="1541932"/>
                  <a:pt x="967919" y="1544329"/>
                </a:cubicBezTo>
                <a:cubicBezTo>
                  <a:pt x="969716" y="1546726"/>
                  <a:pt x="972713" y="1551520"/>
                  <a:pt x="979904" y="1548524"/>
                </a:cubicBezTo>
                <a:cubicBezTo>
                  <a:pt x="985897" y="1546127"/>
                  <a:pt x="988294" y="1547925"/>
                  <a:pt x="992489" y="1548524"/>
                </a:cubicBezTo>
                <a:cubicBezTo>
                  <a:pt x="997283" y="1547325"/>
                  <a:pt x="999680" y="1543730"/>
                  <a:pt x="1008070" y="1543130"/>
                </a:cubicBezTo>
                <a:cubicBezTo>
                  <a:pt x="1016460" y="1542531"/>
                  <a:pt x="1022452" y="1542531"/>
                  <a:pt x="1028445" y="1545528"/>
                </a:cubicBezTo>
                <a:cubicBezTo>
                  <a:pt x="1034438" y="1549123"/>
                  <a:pt x="1033239" y="1549723"/>
                  <a:pt x="1029644" y="1555715"/>
                </a:cubicBezTo>
                <a:cubicBezTo>
                  <a:pt x="1026048" y="1561708"/>
                  <a:pt x="1027247" y="1563506"/>
                  <a:pt x="1031442" y="1563506"/>
                </a:cubicBezTo>
                <a:cubicBezTo>
                  <a:pt x="1035636" y="1563506"/>
                  <a:pt x="1038633" y="1561708"/>
                  <a:pt x="1043427" y="1558112"/>
                </a:cubicBezTo>
                <a:cubicBezTo>
                  <a:pt x="1048821" y="1553917"/>
                  <a:pt x="1049420" y="1552719"/>
                  <a:pt x="1049420" y="1557513"/>
                </a:cubicBezTo>
                <a:cubicBezTo>
                  <a:pt x="1049420" y="1562307"/>
                  <a:pt x="1052416" y="1565903"/>
                  <a:pt x="1047622" y="1565903"/>
                </a:cubicBezTo>
                <a:cubicBezTo>
                  <a:pt x="1036835" y="1567101"/>
                  <a:pt x="1040431" y="1571296"/>
                  <a:pt x="1028445" y="1580286"/>
                </a:cubicBezTo>
                <a:cubicBezTo>
                  <a:pt x="1016460" y="1589275"/>
                  <a:pt x="1018258" y="1598264"/>
                  <a:pt x="1023052" y="1605455"/>
                </a:cubicBezTo>
                <a:cubicBezTo>
                  <a:pt x="1027846" y="1612646"/>
                  <a:pt x="1022452" y="1615043"/>
                  <a:pt x="1022452" y="1619838"/>
                </a:cubicBezTo>
                <a:cubicBezTo>
                  <a:pt x="1023052" y="1624632"/>
                  <a:pt x="1021254" y="1627029"/>
                  <a:pt x="1017658" y="1630025"/>
                </a:cubicBezTo>
                <a:cubicBezTo>
                  <a:pt x="1014063" y="1633621"/>
                  <a:pt x="1008669" y="1637217"/>
                  <a:pt x="1004474" y="1645606"/>
                </a:cubicBezTo>
                <a:cubicBezTo>
                  <a:pt x="1000279" y="1653996"/>
                  <a:pt x="988893" y="1657592"/>
                  <a:pt x="979904" y="1659390"/>
                </a:cubicBezTo>
                <a:cubicBezTo>
                  <a:pt x="970915" y="1661187"/>
                  <a:pt x="972713" y="1672574"/>
                  <a:pt x="974511" y="1675570"/>
                </a:cubicBezTo>
                <a:cubicBezTo>
                  <a:pt x="976308" y="1677967"/>
                  <a:pt x="981702" y="1679166"/>
                  <a:pt x="978106" y="1683960"/>
                </a:cubicBezTo>
                <a:cubicBezTo>
                  <a:pt x="974511" y="1689353"/>
                  <a:pt x="973911" y="1692350"/>
                  <a:pt x="983500" y="1689353"/>
                </a:cubicBezTo>
                <a:cubicBezTo>
                  <a:pt x="992489" y="1686357"/>
                  <a:pt x="988893" y="1692350"/>
                  <a:pt x="988294" y="1696545"/>
                </a:cubicBezTo>
                <a:cubicBezTo>
                  <a:pt x="987695" y="1700740"/>
                  <a:pt x="985897" y="1700740"/>
                  <a:pt x="990092" y="1704934"/>
                </a:cubicBezTo>
                <a:cubicBezTo>
                  <a:pt x="994287" y="1709129"/>
                  <a:pt x="997283" y="1710927"/>
                  <a:pt x="999680" y="1716920"/>
                </a:cubicBezTo>
                <a:cubicBezTo>
                  <a:pt x="1002077" y="1722313"/>
                  <a:pt x="1007471" y="1725310"/>
                  <a:pt x="1013463" y="1725310"/>
                </a:cubicBezTo>
                <a:cubicBezTo>
                  <a:pt x="1019456" y="1724711"/>
                  <a:pt x="1023651" y="1724711"/>
                  <a:pt x="1025449" y="1727707"/>
                </a:cubicBezTo>
                <a:cubicBezTo>
                  <a:pt x="1026647" y="1731302"/>
                  <a:pt x="1030842" y="1733100"/>
                  <a:pt x="1033839" y="1734898"/>
                </a:cubicBezTo>
                <a:cubicBezTo>
                  <a:pt x="1037434" y="1736696"/>
                  <a:pt x="1042229" y="1735497"/>
                  <a:pt x="1042828" y="1739093"/>
                </a:cubicBezTo>
                <a:cubicBezTo>
                  <a:pt x="1043427" y="1742689"/>
                  <a:pt x="1046423" y="1747483"/>
                  <a:pt x="1051218" y="1749281"/>
                </a:cubicBezTo>
                <a:cubicBezTo>
                  <a:pt x="1056611" y="1751678"/>
                  <a:pt x="1054813" y="1754674"/>
                  <a:pt x="1052416" y="1754674"/>
                </a:cubicBezTo>
                <a:cubicBezTo>
                  <a:pt x="1050019" y="1754674"/>
                  <a:pt x="1050618" y="1757671"/>
                  <a:pt x="1054214" y="1761865"/>
                </a:cubicBezTo>
                <a:cubicBezTo>
                  <a:pt x="1057810" y="1766060"/>
                  <a:pt x="1056012" y="1769057"/>
                  <a:pt x="1054813" y="1776847"/>
                </a:cubicBezTo>
                <a:cubicBezTo>
                  <a:pt x="1053615" y="1785237"/>
                  <a:pt x="1057210" y="1794826"/>
                  <a:pt x="1062604" y="1797822"/>
                </a:cubicBezTo>
                <a:cubicBezTo>
                  <a:pt x="1067997" y="1800818"/>
                  <a:pt x="1082979" y="1803815"/>
                  <a:pt x="1086575" y="1806212"/>
                </a:cubicBezTo>
                <a:cubicBezTo>
                  <a:pt x="1090170" y="1808609"/>
                  <a:pt x="1103354" y="1819396"/>
                  <a:pt x="1104553" y="1828984"/>
                </a:cubicBezTo>
                <a:cubicBezTo>
                  <a:pt x="1106950" y="1844565"/>
                  <a:pt x="1108748" y="1846962"/>
                  <a:pt x="1120733" y="1849959"/>
                </a:cubicBezTo>
                <a:cubicBezTo>
                  <a:pt x="1132719" y="1852356"/>
                  <a:pt x="1132120" y="1849359"/>
                  <a:pt x="1137513" y="1841569"/>
                </a:cubicBezTo>
                <a:cubicBezTo>
                  <a:pt x="1142907" y="1833778"/>
                  <a:pt x="1147101" y="1828385"/>
                  <a:pt x="1155491" y="1822991"/>
                </a:cubicBezTo>
                <a:cubicBezTo>
                  <a:pt x="1163881" y="1817598"/>
                  <a:pt x="1160885" y="1805013"/>
                  <a:pt x="1160885" y="1793028"/>
                </a:cubicBezTo>
                <a:cubicBezTo>
                  <a:pt x="1161484" y="1781042"/>
                  <a:pt x="1163881" y="1779844"/>
                  <a:pt x="1171072" y="1775050"/>
                </a:cubicBezTo>
                <a:cubicBezTo>
                  <a:pt x="1178264" y="1769656"/>
                  <a:pt x="1181260" y="1766660"/>
                  <a:pt x="1189650" y="1760068"/>
                </a:cubicBezTo>
                <a:cubicBezTo>
                  <a:pt x="1198040" y="1753476"/>
                  <a:pt x="1204632" y="1754674"/>
                  <a:pt x="1214220" y="1754075"/>
                </a:cubicBezTo>
                <a:cubicBezTo>
                  <a:pt x="1223809" y="1753476"/>
                  <a:pt x="1228003" y="1753476"/>
                  <a:pt x="1231000" y="1755873"/>
                </a:cubicBezTo>
                <a:cubicBezTo>
                  <a:pt x="1233397" y="1758270"/>
                  <a:pt x="1238191" y="1760667"/>
                  <a:pt x="1245982" y="1765461"/>
                </a:cubicBezTo>
                <a:cubicBezTo>
                  <a:pt x="1253772" y="1770255"/>
                  <a:pt x="1251974" y="1775649"/>
                  <a:pt x="1246581" y="1775649"/>
                </a:cubicBezTo>
                <a:cubicBezTo>
                  <a:pt x="1241187" y="1775050"/>
                  <a:pt x="1244184" y="1778046"/>
                  <a:pt x="1247780" y="1782840"/>
                </a:cubicBezTo>
                <a:cubicBezTo>
                  <a:pt x="1251974" y="1788233"/>
                  <a:pt x="1251375" y="1790031"/>
                  <a:pt x="1253173" y="1788233"/>
                </a:cubicBezTo>
                <a:cubicBezTo>
                  <a:pt x="1254971" y="1786436"/>
                  <a:pt x="1258566" y="1788833"/>
                  <a:pt x="1259166" y="1791230"/>
                </a:cubicBezTo>
                <a:cubicBezTo>
                  <a:pt x="1259765" y="1793627"/>
                  <a:pt x="1262162" y="1797822"/>
                  <a:pt x="1266956" y="1798421"/>
                </a:cubicBezTo>
                <a:cubicBezTo>
                  <a:pt x="1271750" y="1799021"/>
                  <a:pt x="1272350" y="1798421"/>
                  <a:pt x="1277144" y="1800818"/>
                </a:cubicBezTo>
                <a:cubicBezTo>
                  <a:pt x="1281339" y="1803215"/>
                  <a:pt x="1285534" y="1806212"/>
                  <a:pt x="1285534" y="1811006"/>
                </a:cubicBezTo>
                <a:cubicBezTo>
                  <a:pt x="1285534" y="1816399"/>
                  <a:pt x="1285534" y="1817598"/>
                  <a:pt x="1291527" y="1818796"/>
                </a:cubicBezTo>
                <a:cubicBezTo>
                  <a:pt x="1297519" y="1819995"/>
                  <a:pt x="1299916" y="1821793"/>
                  <a:pt x="1311302" y="1827786"/>
                </a:cubicBezTo>
                <a:cubicBezTo>
                  <a:pt x="1322089" y="1833778"/>
                  <a:pt x="1324487" y="1833778"/>
                  <a:pt x="1324487" y="1837973"/>
                </a:cubicBezTo>
                <a:cubicBezTo>
                  <a:pt x="1325086" y="1842168"/>
                  <a:pt x="1326884" y="1842168"/>
                  <a:pt x="1331079" y="1842767"/>
                </a:cubicBezTo>
                <a:cubicBezTo>
                  <a:pt x="1335273" y="1843367"/>
                  <a:pt x="1336472" y="1840370"/>
                  <a:pt x="1338869" y="1843966"/>
                </a:cubicBezTo>
                <a:cubicBezTo>
                  <a:pt x="1341266" y="1847562"/>
                  <a:pt x="1341266" y="1847562"/>
                  <a:pt x="1349057" y="1848161"/>
                </a:cubicBezTo>
                <a:cubicBezTo>
                  <a:pt x="1357447" y="1848760"/>
                  <a:pt x="1356248" y="1849359"/>
                  <a:pt x="1359844" y="1853554"/>
                </a:cubicBezTo>
                <a:cubicBezTo>
                  <a:pt x="1363439" y="1857749"/>
                  <a:pt x="1368234" y="1860146"/>
                  <a:pt x="1376024" y="1858948"/>
                </a:cubicBezTo>
                <a:cubicBezTo>
                  <a:pt x="1383815" y="1858349"/>
                  <a:pt x="1391006" y="1846363"/>
                  <a:pt x="1394002" y="1843367"/>
                </a:cubicBezTo>
                <a:cubicBezTo>
                  <a:pt x="1397598" y="1840370"/>
                  <a:pt x="1396399" y="1838573"/>
                  <a:pt x="1401194" y="1839172"/>
                </a:cubicBezTo>
                <a:cubicBezTo>
                  <a:pt x="1405988" y="1839771"/>
                  <a:pt x="1405988" y="1836175"/>
                  <a:pt x="1407186" y="1838573"/>
                </a:cubicBezTo>
                <a:cubicBezTo>
                  <a:pt x="1408385" y="1840970"/>
                  <a:pt x="1407786" y="1842168"/>
                  <a:pt x="1411381" y="1842168"/>
                </a:cubicBezTo>
                <a:cubicBezTo>
                  <a:pt x="1414977" y="1842168"/>
                  <a:pt x="1416775" y="1844565"/>
                  <a:pt x="1420370" y="1842168"/>
                </a:cubicBezTo>
                <a:cubicBezTo>
                  <a:pt x="1423966" y="1839771"/>
                  <a:pt x="1423966" y="1839172"/>
                  <a:pt x="1426363" y="1841569"/>
                </a:cubicBezTo>
                <a:cubicBezTo>
                  <a:pt x="1428760" y="1843966"/>
                  <a:pt x="1429959" y="1843966"/>
                  <a:pt x="1434753" y="1842767"/>
                </a:cubicBezTo>
                <a:cubicBezTo>
                  <a:pt x="1440146" y="1842168"/>
                  <a:pt x="1440146" y="1843367"/>
                  <a:pt x="1438948" y="1845164"/>
                </a:cubicBezTo>
                <a:cubicBezTo>
                  <a:pt x="1437150" y="1847562"/>
                  <a:pt x="1437749" y="1846363"/>
                  <a:pt x="1437150" y="1852356"/>
                </a:cubicBezTo>
                <a:cubicBezTo>
                  <a:pt x="1436551" y="1857749"/>
                  <a:pt x="1438349" y="1860746"/>
                  <a:pt x="1442544" y="1857749"/>
                </a:cubicBezTo>
                <a:cubicBezTo>
                  <a:pt x="1446738" y="1854753"/>
                  <a:pt x="1449735" y="1852356"/>
                  <a:pt x="1451533" y="1854753"/>
                </a:cubicBezTo>
                <a:cubicBezTo>
                  <a:pt x="1453330" y="1857150"/>
                  <a:pt x="1456926" y="1860746"/>
                  <a:pt x="1466514" y="1863143"/>
                </a:cubicBezTo>
                <a:cubicBezTo>
                  <a:pt x="1474904" y="1865540"/>
                  <a:pt x="1477901" y="1865540"/>
                  <a:pt x="1489287" y="1859547"/>
                </a:cubicBezTo>
                <a:cubicBezTo>
                  <a:pt x="1491085" y="1857749"/>
                  <a:pt x="1492283" y="1857150"/>
                  <a:pt x="1492283" y="1857150"/>
                </a:cubicBezTo>
                <a:cubicBezTo>
                  <a:pt x="1505467" y="1849959"/>
                  <a:pt x="1508464" y="1840370"/>
                  <a:pt x="1513857" y="1831381"/>
                </a:cubicBezTo>
                <a:cubicBezTo>
                  <a:pt x="1519251" y="1822392"/>
                  <a:pt x="1521048" y="1815201"/>
                  <a:pt x="1525843" y="1811605"/>
                </a:cubicBezTo>
                <a:cubicBezTo>
                  <a:pt x="1530637" y="1807410"/>
                  <a:pt x="1534232" y="1804414"/>
                  <a:pt x="1540225" y="1795425"/>
                </a:cubicBezTo>
                <a:cubicBezTo>
                  <a:pt x="1542023" y="1792428"/>
                  <a:pt x="1544420" y="1789432"/>
                  <a:pt x="1546218" y="1787035"/>
                </a:cubicBezTo>
                <a:lnTo>
                  <a:pt x="1546218" y="1787035"/>
                </a:lnTo>
                <a:cubicBezTo>
                  <a:pt x="1546218" y="1787035"/>
                  <a:pt x="1546218" y="1787035"/>
                  <a:pt x="1546218" y="1787035"/>
                </a:cubicBezTo>
                <a:cubicBezTo>
                  <a:pt x="1546218" y="1787035"/>
                  <a:pt x="1546218" y="1787035"/>
                  <a:pt x="1546218" y="1787035"/>
                </a:cubicBezTo>
                <a:cubicBezTo>
                  <a:pt x="1546218" y="1787035"/>
                  <a:pt x="1546218" y="1787035"/>
                  <a:pt x="1546218" y="1787035"/>
                </a:cubicBezTo>
                <a:cubicBezTo>
                  <a:pt x="1551012" y="1781642"/>
                  <a:pt x="1555806" y="1776847"/>
                  <a:pt x="1560001" y="1772652"/>
                </a:cubicBezTo>
                <a:cubicBezTo>
                  <a:pt x="1565395" y="1766660"/>
                  <a:pt x="1567193" y="1757671"/>
                  <a:pt x="1573185" y="1751079"/>
                </a:cubicBezTo>
                <a:cubicBezTo>
                  <a:pt x="1578579" y="1743887"/>
                  <a:pt x="1580976" y="1741490"/>
                  <a:pt x="1581575" y="1736097"/>
                </a:cubicBezTo>
                <a:cubicBezTo>
                  <a:pt x="1582174" y="1730703"/>
                  <a:pt x="1581575" y="1727707"/>
                  <a:pt x="1587568" y="1722313"/>
                </a:cubicBezTo>
                <a:cubicBezTo>
                  <a:pt x="1593561" y="1716920"/>
                  <a:pt x="1593561" y="1716321"/>
                  <a:pt x="1592362" y="1711526"/>
                </a:cubicBezTo>
                <a:cubicBezTo>
                  <a:pt x="1591163" y="1706732"/>
                  <a:pt x="1592961" y="1701938"/>
                  <a:pt x="1599553" y="1690552"/>
                </a:cubicBezTo>
                <a:cubicBezTo>
                  <a:pt x="1605546" y="1679166"/>
                  <a:pt x="1603149" y="1680364"/>
                  <a:pt x="1616333" y="1671974"/>
                </a:cubicBezTo>
                <a:cubicBezTo>
                  <a:pt x="1629517" y="1663585"/>
                  <a:pt x="1620528" y="1659390"/>
                  <a:pt x="1613936" y="1661187"/>
                </a:cubicBezTo>
                <a:cubicBezTo>
                  <a:pt x="1607344" y="1662985"/>
                  <a:pt x="1603748" y="1660588"/>
                  <a:pt x="1594160" y="1658191"/>
                </a:cubicBezTo>
                <a:cubicBezTo>
                  <a:pt x="1584571" y="1655794"/>
                  <a:pt x="1579178" y="1656393"/>
                  <a:pt x="1572586" y="1667780"/>
                </a:cubicBezTo>
                <a:cubicBezTo>
                  <a:pt x="1565994" y="1679166"/>
                  <a:pt x="1562398" y="1677368"/>
                  <a:pt x="1561799" y="1674971"/>
                </a:cubicBezTo>
                <a:cubicBezTo>
                  <a:pt x="1561200" y="1672574"/>
                  <a:pt x="1558803" y="1671974"/>
                  <a:pt x="1556405" y="1674371"/>
                </a:cubicBezTo>
                <a:cubicBezTo>
                  <a:pt x="1554008" y="1676769"/>
                  <a:pt x="1550413" y="1676769"/>
                  <a:pt x="1540225" y="1674971"/>
                </a:cubicBezTo>
                <a:cubicBezTo>
                  <a:pt x="1530037" y="1673772"/>
                  <a:pt x="1529438" y="1675570"/>
                  <a:pt x="1525243" y="1664783"/>
                </a:cubicBezTo>
                <a:cubicBezTo>
                  <a:pt x="1521048" y="1654595"/>
                  <a:pt x="1512659" y="1651599"/>
                  <a:pt x="1501872" y="1646805"/>
                </a:cubicBezTo>
                <a:cubicBezTo>
                  <a:pt x="1491085" y="1642610"/>
                  <a:pt x="1488088" y="1646805"/>
                  <a:pt x="1483893" y="1655195"/>
                </a:cubicBezTo>
                <a:cubicBezTo>
                  <a:pt x="1479699" y="1663585"/>
                  <a:pt x="1474904" y="1665382"/>
                  <a:pt x="1473706" y="1662386"/>
                </a:cubicBezTo>
                <a:cubicBezTo>
                  <a:pt x="1473106" y="1659390"/>
                  <a:pt x="1473706" y="1658790"/>
                  <a:pt x="1471309" y="1658191"/>
                </a:cubicBezTo>
                <a:cubicBezTo>
                  <a:pt x="1468912" y="1657592"/>
                  <a:pt x="1465915" y="1659390"/>
                  <a:pt x="1460522" y="1658790"/>
                </a:cubicBezTo>
                <a:cubicBezTo>
                  <a:pt x="1455128" y="1658191"/>
                  <a:pt x="1453330" y="1658191"/>
                  <a:pt x="1452731" y="1651000"/>
                </a:cubicBezTo>
                <a:cubicBezTo>
                  <a:pt x="1452132" y="1643809"/>
                  <a:pt x="1450334" y="1642610"/>
                  <a:pt x="1448536" y="1642610"/>
                </a:cubicBezTo>
                <a:cubicBezTo>
                  <a:pt x="1446738" y="1642610"/>
                  <a:pt x="1444941" y="1642011"/>
                  <a:pt x="1443143" y="1640812"/>
                </a:cubicBezTo>
                <a:cubicBezTo>
                  <a:pt x="1440746" y="1639614"/>
                  <a:pt x="1442544" y="1637816"/>
                  <a:pt x="1438349" y="1638415"/>
                </a:cubicBezTo>
                <a:cubicBezTo>
                  <a:pt x="1434154" y="1639014"/>
                  <a:pt x="1434154" y="1639614"/>
                  <a:pt x="1432955" y="1637816"/>
                </a:cubicBezTo>
                <a:cubicBezTo>
                  <a:pt x="1432356" y="1635419"/>
                  <a:pt x="1431157" y="1635419"/>
                  <a:pt x="1424565" y="1633022"/>
                </a:cubicBezTo>
                <a:cubicBezTo>
                  <a:pt x="1417374" y="1630624"/>
                  <a:pt x="1424565" y="1628827"/>
                  <a:pt x="1432955" y="1628227"/>
                </a:cubicBezTo>
                <a:cubicBezTo>
                  <a:pt x="1441345" y="1627628"/>
                  <a:pt x="1438948" y="1624032"/>
                  <a:pt x="1434753" y="1624032"/>
                </a:cubicBezTo>
                <a:cubicBezTo>
                  <a:pt x="1430558" y="1624032"/>
                  <a:pt x="1425165" y="1624632"/>
                  <a:pt x="1419771" y="1623433"/>
                </a:cubicBezTo>
                <a:cubicBezTo>
                  <a:pt x="1414378" y="1622235"/>
                  <a:pt x="1415576" y="1619838"/>
                  <a:pt x="1421569" y="1619238"/>
                </a:cubicBezTo>
                <a:cubicBezTo>
                  <a:pt x="1426962" y="1618639"/>
                  <a:pt x="1425764" y="1616841"/>
                  <a:pt x="1420970" y="1615043"/>
                </a:cubicBezTo>
                <a:cubicBezTo>
                  <a:pt x="1415576" y="1613845"/>
                  <a:pt x="1416775" y="1612646"/>
                  <a:pt x="1420370" y="1609650"/>
                </a:cubicBezTo>
                <a:cubicBezTo>
                  <a:pt x="1423367" y="1606654"/>
                  <a:pt x="1424565" y="1604856"/>
                  <a:pt x="1425764" y="1600061"/>
                </a:cubicBezTo>
                <a:cubicBezTo>
                  <a:pt x="1426962" y="1595267"/>
                  <a:pt x="1425165" y="1595867"/>
                  <a:pt x="1428161" y="1595267"/>
                </a:cubicBezTo>
                <a:cubicBezTo>
                  <a:pt x="1431757" y="1594668"/>
                  <a:pt x="1429360" y="1592271"/>
                  <a:pt x="1428760" y="1588076"/>
                </a:cubicBezTo>
                <a:cubicBezTo>
                  <a:pt x="1428161" y="1583881"/>
                  <a:pt x="1428161" y="1582683"/>
                  <a:pt x="1424565" y="1582683"/>
                </a:cubicBezTo>
                <a:cubicBezTo>
                  <a:pt x="1420970" y="1582083"/>
                  <a:pt x="1421569" y="1581484"/>
                  <a:pt x="1418573" y="1579087"/>
                </a:cubicBezTo>
                <a:cubicBezTo>
                  <a:pt x="1415576" y="1576690"/>
                  <a:pt x="1414977" y="1578488"/>
                  <a:pt x="1414977" y="1575491"/>
                </a:cubicBezTo>
                <a:cubicBezTo>
                  <a:pt x="1414977" y="1573094"/>
                  <a:pt x="1413778" y="1569498"/>
                  <a:pt x="1417374" y="1568300"/>
                </a:cubicBezTo>
                <a:cubicBezTo>
                  <a:pt x="1420970" y="1567101"/>
                  <a:pt x="1419771" y="1565903"/>
                  <a:pt x="1420370" y="1561708"/>
                </a:cubicBezTo>
                <a:cubicBezTo>
                  <a:pt x="1420970" y="1557513"/>
                  <a:pt x="1425764" y="1556315"/>
                  <a:pt x="1426363" y="1562307"/>
                </a:cubicBezTo>
                <a:cubicBezTo>
                  <a:pt x="1426962" y="1568300"/>
                  <a:pt x="1430558" y="1567101"/>
                  <a:pt x="1430558" y="1562907"/>
                </a:cubicBezTo>
                <a:cubicBezTo>
                  <a:pt x="1431157" y="1558712"/>
                  <a:pt x="1429360" y="1557513"/>
                  <a:pt x="1433554" y="1556315"/>
                </a:cubicBezTo>
                <a:cubicBezTo>
                  <a:pt x="1437749" y="1555116"/>
                  <a:pt x="1438349" y="1553318"/>
                  <a:pt x="1438349" y="1550921"/>
                </a:cubicBezTo>
                <a:cubicBezTo>
                  <a:pt x="1438349" y="1548524"/>
                  <a:pt x="1437749" y="1546726"/>
                  <a:pt x="1438948" y="1543730"/>
                </a:cubicBezTo>
                <a:cubicBezTo>
                  <a:pt x="1440746" y="1541333"/>
                  <a:pt x="1443742" y="1538336"/>
                  <a:pt x="1440146" y="1534741"/>
                </a:cubicBezTo>
                <a:cubicBezTo>
                  <a:pt x="1436551" y="1530546"/>
                  <a:pt x="1434753" y="1525152"/>
                  <a:pt x="1434753" y="1517961"/>
                </a:cubicBezTo>
                <a:cubicBezTo>
                  <a:pt x="1434753" y="1510770"/>
                  <a:pt x="1445540" y="1507174"/>
                  <a:pt x="1453930" y="1501781"/>
                </a:cubicBezTo>
                <a:cubicBezTo>
                  <a:pt x="1462320" y="1496387"/>
                  <a:pt x="1468912" y="1497586"/>
                  <a:pt x="1474305" y="1499983"/>
                </a:cubicBezTo>
                <a:cubicBezTo>
                  <a:pt x="1479699" y="1502380"/>
                  <a:pt x="1480897" y="1502380"/>
                  <a:pt x="1481496" y="1499384"/>
                </a:cubicBezTo>
                <a:cubicBezTo>
                  <a:pt x="1482096" y="1496387"/>
                  <a:pt x="1485092" y="1495189"/>
                  <a:pt x="1489287" y="1495189"/>
                </a:cubicBezTo>
                <a:cubicBezTo>
                  <a:pt x="1493482" y="1495788"/>
                  <a:pt x="1492283" y="1499384"/>
                  <a:pt x="1500673" y="1499983"/>
                </a:cubicBezTo>
                <a:cubicBezTo>
                  <a:pt x="1509063" y="1500582"/>
                  <a:pt x="1515655" y="1499983"/>
                  <a:pt x="1510861" y="1496986"/>
                </a:cubicBezTo>
                <a:cubicBezTo>
                  <a:pt x="1506067" y="1493990"/>
                  <a:pt x="1510262" y="1493391"/>
                  <a:pt x="1511460" y="1490394"/>
                </a:cubicBezTo>
                <a:cubicBezTo>
                  <a:pt x="1513258" y="1487398"/>
                  <a:pt x="1521648" y="1489795"/>
                  <a:pt x="1532435" y="1491593"/>
                </a:cubicBezTo>
                <a:cubicBezTo>
                  <a:pt x="1543222" y="1493990"/>
                  <a:pt x="1540825" y="1488597"/>
                  <a:pt x="1533633" y="1487398"/>
                </a:cubicBezTo>
                <a:cubicBezTo>
                  <a:pt x="1526442" y="1486199"/>
                  <a:pt x="1531236" y="1479607"/>
                  <a:pt x="1536030" y="1478409"/>
                </a:cubicBezTo>
                <a:cubicBezTo>
                  <a:pt x="1541424" y="1477210"/>
                  <a:pt x="1544420" y="1478409"/>
                  <a:pt x="1552810" y="1477810"/>
                </a:cubicBezTo>
                <a:cubicBezTo>
                  <a:pt x="1560600" y="1477210"/>
                  <a:pt x="1564196" y="1477810"/>
                  <a:pt x="1568990" y="1480207"/>
                </a:cubicBezTo>
                <a:cubicBezTo>
                  <a:pt x="1573785" y="1482604"/>
                  <a:pt x="1579178" y="1482604"/>
                  <a:pt x="1580376" y="1479607"/>
                </a:cubicBezTo>
                <a:cubicBezTo>
                  <a:pt x="1581575" y="1477210"/>
                  <a:pt x="1582774" y="1475413"/>
                  <a:pt x="1587568" y="1475413"/>
                </a:cubicBezTo>
                <a:cubicBezTo>
                  <a:pt x="1592362" y="1475413"/>
                  <a:pt x="1596557" y="1472416"/>
                  <a:pt x="1601950" y="1470019"/>
                </a:cubicBezTo>
                <a:cubicBezTo>
                  <a:pt x="1607344" y="1467622"/>
                  <a:pt x="1618131" y="1466423"/>
                  <a:pt x="1631914" y="1461629"/>
                </a:cubicBezTo>
                <a:cubicBezTo>
                  <a:pt x="1645697" y="1456835"/>
                  <a:pt x="1652889" y="1460431"/>
                  <a:pt x="1659481" y="1461629"/>
                </a:cubicBezTo>
                <a:cubicBezTo>
                  <a:pt x="1666073" y="1462828"/>
                  <a:pt x="1676260" y="1463427"/>
                  <a:pt x="1679257" y="1461030"/>
                </a:cubicBezTo>
                <a:cubicBezTo>
                  <a:pt x="1682852" y="1458633"/>
                  <a:pt x="1684650" y="1456835"/>
                  <a:pt x="1687047" y="1460431"/>
                </a:cubicBezTo>
                <a:cubicBezTo>
                  <a:pt x="1689444" y="1464026"/>
                  <a:pt x="1687047" y="1465824"/>
                  <a:pt x="1682852" y="1471218"/>
                </a:cubicBezTo>
                <a:cubicBezTo>
                  <a:pt x="1678658" y="1476611"/>
                  <a:pt x="1687647" y="1480207"/>
                  <a:pt x="1694838" y="1478409"/>
                </a:cubicBezTo>
                <a:cubicBezTo>
                  <a:pt x="1702029" y="1476611"/>
                  <a:pt x="1702029" y="1474813"/>
                  <a:pt x="1702029" y="1479008"/>
                </a:cubicBezTo>
                <a:cubicBezTo>
                  <a:pt x="1702628" y="1483203"/>
                  <a:pt x="1700831" y="1482604"/>
                  <a:pt x="1699632" y="1486799"/>
                </a:cubicBezTo>
                <a:cubicBezTo>
                  <a:pt x="1698433" y="1490994"/>
                  <a:pt x="1700831" y="1498784"/>
                  <a:pt x="1705026" y="1498784"/>
                </a:cubicBezTo>
                <a:cubicBezTo>
                  <a:pt x="1709220" y="1498784"/>
                  <a:pt x="1715812" y="1502380"/>
                  <a:pt x="1720007" y="1505975"/>
                </a:cubicBezTo>
                <a:cubicBezTo>
                  <a:pt x="1724202" y="1510170"/>
                  <a:pt x="1727798" y="1507773"/>
                  <a:pt x="1727798" y="1507773"/>
                </a:cubicBezTo>
                <a:cubicBezTo>
                  <a:pt x="1732592" y="1507174"/>
                  <a:pt x="1733791" y="1508373"/>
                  <a:pt x="1735589" y="1511369"/>
                </a:cubicBezTo>
                <a:cubicBezTo>
                  <a:pt x="1737386" y="1514365"/>
                  <a:pt x="1736787" y="1516163"/>
                  <a:pt x="1739783" y="1516762"/>
                </a:cubicBezTo>
                <a:cubicBezTo>
                  <a:pt x="1742780" y="1517362"/>
                  <a:pt x="1746975" y="1517961"/>
                  <a:pt x="1748772" y="1516163"/>
                </a:cubicBezTo>
                <a:cubicBezTo>
                  <a:pt x="1751170" y="1513766"/>
                  <a:pt x="1752368" y="1512568"/>
                  <a:pt x="1760758" y="1512568"/>
                </a:cubicBezTo>
                <a:cubicBezTo>
                  <a:pt x="1769148" y="1512568"/>
                  <a:pt x="1769148" y="1517961"/>
                  <a:pt x="1772743" y="1519759"/>
                </a:cubicBezTo>
                <a:cubicBezTo>
                  <a:pt x="1776339" y="1521557"/>
                  <a:pt x="1781733" y="1523354"/>
                  <a:pt x="1785928" y="1520957"/>
                </a:cubicBezTo>
                <a:cubicBezTo>
                  <a:pt x="1790122" y="1518560"/>
                  <a:pt x="1799711" y="1516163"/>
                  <a:pt x="1808700" y="1515564"/>
                </a:cubicBezTo>
                <a:cubicBezTo>
                  <a:pt x="1815292" y="1514965"/>
                  <a:pt x="1821285" y="1511369"/>
                  <a:pt x="1824880" y="1506575"/>
                </a:cubicBezTo>
                <a:cubicBezTo>
                  <a:pt x="1824880" y="1506575"/>
                  <a:pt x="1825480" y="1506575"/>
                  <a:pt x="1825480" y="1506575"/>
                </a:cubicBezTo>
                <a:cubicBezTo>
                  <a:pt x="1825480" y="1506575"/>
                  <a:pt x="1824880" y="1506575"/>
                  <a:pt x="1824880" y="1505975"/>
                </a:cubicBezTo>
                <a:cubicBezTo>
                  <a:pt x="1826079" y="1504178"/>
                  <a:pt x="1827277" y="1502380"/>
                  <a:pt x="1827877" y="1499983"/>
                </a:cubicBezTo>
                <a:cubicBezTo>
                  <a:pt x="1830274" y="1491593"/>
                  <a:pt x="1836266" y="1478409"/>
                  <a:pt x="1836866" y="1470019"/>
                </a:cubicBezTo>
                <a:cubicBezTo>
                  <a:pt x="1837465" y="1461629"/>
                  <a:pt x="1832671" y="1453239"/>
                  <a:pt x="1828476" y="1449644"/>
                </a:cubicBezTo>
                <a:cubicBezTo>
                  <a:pt x="1824281" y="1446048"/>
                  <a:pt x="1820685" y="1444850"/>
                  <a:pt x="1818888" y="1440055"/>
                </a:cubicBezTo>
                <a:cubicBezTo>
                  <a:pt x="1817090" y="1435261"/>
                  <a:pt x="1816491" y="1433463"/>
                  <a:pt x="1814093" y="1429868"/>
                </a:cubicBezTo>
                <a:cubicBezTo>
                  <a:pt x="1814093" y="1429868"/>
                  <a:pt x="1814693" y="1429868"/>
                  <a:pt x="1814693" y="1429868"/>
                </a:cubicBezTo>
                <a:cubicBezTo>
                  <a:pt x="1812895" y="1428669"/>
                  <a:pt x="1811696" y="1428070"/>
                  <a:pt x="1811696" y="1428070"/>
                </a:cubicBezTo>
                <a:cubicBezTo>
                  <a:pt x="1809299" y="1424474"/>
                  <a:pt x="1809898" y="1422676"/>
                  <a:pt x="1809299" y="1414886"/>
                </a:cubicBezTo>
                <a:cubicBezTo>
                  <a:pt x="1808700" y="1407695"/>
                  <a:pt x="1805104" y="1404698"/>
                  <a:pt x="1800310" y="1399904"/>
                </a:cubicBezTo>
                <a:cubicBezTo>
                  <a:pt x="1795516" y="1395110"/>
                  <a:pt x="1791920" y="1387919"/>
                  <a:pt x="1787126" y="1381326"/>
                </a:cubicBezTo>
                <a:cubicBezTo>
                  <a:pt x="1782332" y="1374735"/>
                  <a:pt x="1782332" y="1373536"/>
                  <a:pt x="1782931" y="1368142"/>
                </a:cubicBezTo>
                <a:cubicBezTo>
                  <a:pt x="1783530" y="1362749"/>
                  <a:pt x="1783530" y="1358554"/>
                  <a:pt x="1780534" y="1353760"/>
                </a:cubicBezTo>
                <a:cubicBezTo>
                  <a:pt x="1777538" y="1348966"/>
                  <a:pt x="1784130" y="1349565"/>
                  <a:pt x="1786527" y="1347168"/>
                </a:cubicBezTo>
                <a:cubicBezTo>
                  <a:pt x="1788924" y="1344771"/>
                  <a:pt x="1793718" y="1346569"/>
                  <a:pt x="1794317" y="1349565"/>
                </a:cubicBezTo>
                <a:cubicBezTo>
                  <a:pt x="1794917" y="1352561"/>
                  <a:pt x="1794917" y="1352561"/>
                  <a:pt x="1797913" y="1350764"/>
                </a:cubicBezTo>
                <a:cubicBezTo>
                  <a:pt x="1800310" y="1348966"/>
                  <a:pt x="1800310" y="1347767"/>
                  <a:pt x="1805104" y="1347767"/>
                </a:cubicBezTo>
                <a:cubicBezTo>
                  <a:pt x="1809898" y="1347767"/>
                  <a:pt x="1814093" y="1337580"/>
                  <a:pt x="1816491" y="1331587"/>
                </a:cubicBezTo>
                <a:cubicBezTo>
                  <a:pt x="1818888" y="1325594"/>
                  <a:pt x="1826678" y="1324995"/>
                  <a:pt x="1828476" y="1329190"/>
                </a:cubicBezTo>
                <a:cubicBezTo>
                  <a:pt x="1830274" y="1333385"/>
                  <a:pt x="1832071" y="1332785"/>
                  <a:pt x="1832671" y="1328590"/>
                </a:cubicBezTo>
                <a:cubicBezTo>
                  <a:pt x="1833270" y="1324395"/>
                  <a:pt x="1831472" y="1321399"/>
                  <a:pt x="1827277" y="1318403"/>
                </a:cubicBezTo>
                <a:cubicBezTo>
                  <a:pt x="1823082" y="1315406"/>
                  <a:pt x="1824281" y="1316006"/>
                  <a:pt x="1824880" y="1311211"/>
                </a:cubicBezTo>
                <a:cubicBezTo>
                  <a:pt x="1825480" y="1306417"/>
                  <a:pt x="1835667" y="1307616"/>
                  <a:pt x="1837465" y="1310013"/>
                </a:cubicBezTo>
                <a:cubicBezTo>
                  <a:pt x="1839263" y="1312410"/>
                  <a:pt x="1841061" y="1312410"/>
                  <a:pt x="1844057" y="1308814"/>
                </a:cubicBezTo>
                <a:cubicBezTo>
                  <a:pt x="1847053" y="1305219"/>
                  <a:pt x="1856642" y="1304619"/>
                  <a:pt x="1862035" y="1304020"/>
                </a:cubicBezTo>
                <a:cubicBezTo>
                  <a:pt x="1867429" y="1303421"/>
                  <a:pt x="1867429" y="1301024"/>
                  <a:pt x="1866230" y="1298627"/>
                </a:cubicBezTo>
                <a:cubicBezTo>
                  <a:pt x="1865032" y="1296829"/>
                  <a:pt x="1860837" y="1296230"/>
                  <a:pt x="1857840" y="1296829"/>
                </a:cubicBezTo>
                <a:cubicBezTo>
                  <a:pt x="1855443" y="1297428"/>
                  <a:pt x="1851848" y="1299226"/>
                  <a:pt x="1849451" y="1297428"/>
                </a:cubicBezTo>
                <a:lnTo>
                  <a:pt x="1848851" y="1293833"/>
                </a:lnTo>
                <a:cubicBezTo>
                  <a:pt x="1848252" y="1295031"/>
                  <a:pt x="1848252" y="1295630"/>
                  <a:pt x="1848252" y="1295630"/>
                </a:cubicBezTo>
                <a:lnTo>
                  <a:pt x="1849451" y="1297428"/>
                </a:lnTo>
                <a:cubicBezTo>
                  <a:pt x="1847053" y="1296230"/>
                  <a:pt x="1843458" y="1296829"/>
                  <a:pt x="1839862" y="1298027"/>
                </a:cubicBezTo>
                <a:cubicBezTo>
                  <a:pt x="1836266" y="1299226"/>
                  <a:pt x="1837465" y="1297428"/>
                  <a:pt x="1834469" y="1293833"/>
                </a:cubicBezTo>
                <a:cubicBezTo>
                  <a:pt x="1831472" y="1290237"/>
                  <a:pt x="1827277" y="1296230"/>
                  <a:pt x="1822483" y="1299226"/>
                </a:cubicBezTo>
                <a:cubicBezTo>
                  <a:pt x="1818288" y="1302222"/>
                  <a:pt x="1817090" y="1302822"/>
                  <a:pt x="1817090" y="1299825"/>
                </a:cubicBezTo>
                <a:cubicBezTo>
                  <a:pt x="1817689" y="1296829"/>
                  <a:pt x="1812895" y="1298027"/>
                  <a:pt x="1805104" y="1304020"/>
                </a:cubicBezTo>
                <a:cubicBezTo>
                  <a:pt x="1797314" y="1310013"/>
                  <a:pt x="1797913" y="1309414"/>
                  <a:pt x="1797913" y="1306417"/>
                </a:cubicBezTo>
                <a:cubicBezTo>
                  <a:pt x="1798512" y="1303421"/>
                  <a:pt x="1798512" y="1304619"/>
                  <a:pt x="1795516" y="1305219"/>
                </a:cubicBezTo>
                <a:cubicBezTo>
                  <a:pt x="1791920" y="1305818"/>
                  <a:pt x="1791920" y="1307017"/>
                  <a:pt x="1789523" y="1310013"/>
                </a:cubicBezTo>
                <a:cubicBezTo>
                  <a:pt x="1787725" y="1313009"/>
                  <a:pt x="1785328" y="1313009"/>
                  <a:pt x="1785328" y="1309414"/>
                </a:cubicBezTo>
                <a:cubicBezTo>
                  <a:pt x="1785328" y="1305818"/>
                  <a:pt x="1781733" y="1306417"/>
                  <a:pt x="1778736" y="1308215"/>
                </a:cubicBezTo>
                <a:cubicBezTo>
                  <a:pt x="1775140" y="1309414"/>
                  <a:pt x="1769747" y="1314807"/>
                  <a:pt x="1764354" y="1316006"/>
                </a:cubicBezTo>
                <a:cubicBezTo>
                  <a:pt x="1758960" y="1317204"/>
                  <a:pt x="1757162" y="1314807"/>
                  <a:pt x="1760758" y="1313009"/>
                </a:cubicBezTo>
                <a:cubicBezTo>
                  <a:pt x="1764354" y="1311211"/>
                  <a:pt x="1767350" y="1311811"/>
                  <a:pt x="1766151" y="1308215"/>
                </a:cubicBezTo>
                <a:cubicBezTo>
                  <a:pt x="1764953" y="1304619"/>
                  <a:pt x="1759559" y="1308215"/>
                  <a:pt x="1756563" y="1310013"/>
                </a:cubicBezTo>
                <a:cubicBezTo>
                  <a:pt x="1752967" y="1311811"/>
                  <a:pt x="1742780" y="1314208"/>
                  <a:pt x="1739184" y="1313009"/>
                </a:cubicBezTo>
                <a:cubicBezTo>
                  <a:pt x="1735589" y="1311811"/>
                  <a:pt x="1731993" y="1314208"/>
                  <a:pt x="1737386" y="1316006"/>
                </a:cubicBezTo>
                <a:cubicBezTo>
                  <a:pt x="1742780" y="1317804"/>
                  <a:pt x="1744578" y="1322598"/>
                  <a:pt x="1745177" y="1327392"/>
                </a:cubicBezTo>
                <a:cubicBezTo>
                  <a:pt x="1745776" y="1332186"/>
                  <a:pt x="1743978" y="1336381"/>
                  <a:pt x="1746375" y="1338179"/>
                </a:cubicBezTo>
                <a:cubicBezTo>
                  <a:pt x="1748772" y="1339977"/>
                  <a:pt x="1748173" y="1341774"/>
                  <a:pt x="1755365" y="1340576"/>
                </a:cubicBezTo>
                <a:cubicBezTo>
                  <a:pt x="1761957" y="1339377"/>
                  <a:pt x="1766151" y="1338778"/>
                  <a:pt x="1772743" y="1339977"/>
                </a:cubicBezTo>
                <a:cubicBezTo>
                  <a:pt x="1779335" y="1341175"/>
                  <a:pt x="1778137" y="1341774"/>
                  <a:pt x="1776339" y="1346569"/>
                </a:cubicBezTo>
                <a:cubicBezTo>
                  <a:pt x="1775140" y="1350764"/>
                  <a:pt x="1772743" y="1354359"/>
                  <a:pt x="1768549" y="1355558"/>
                </a:cubicBezTo>
                <a:cubicBezTo>
                  <a:pt x="1764354" y="1356756"/>
                  <a:pt x="1761357" y="1359753"/>
                  <a:pt x="1755964" y="1357356"/>
                </a:cubicBezTo>
                <a:cubicBezTo>
                  <a:pt x="1750570" y="1354958"/>
                  <a:pt x="1744578" y="1354359"/>
                  <a:pt x="1739184" y="1360951"/>
                </a:cubicBezTo>
                <a:cubicBezTo>
                  <a:pt x="1733791" y="1367543"/>
                  <a:pt x="1727199" y="1367543"/>
                  <a:pt x="1727199" y="1367543"/>
                </a:cubicBezTo>
                <a:cubicBezTo>
                  <a:pt x="1721805" y="1363948"/>
                  <a:pt x="1715213" y="1366345"/>
                  <a:pt x="1710419" y="1371139"/>
                </a:cubicBezTo>
                <a:cubicBezTo>
                  <a:pt x="1705625" y="1375933"/>
                  <a:pt x="1700231" y="1379529"/>
                  <a:pt x="1694838" y="1377132"/>
                </a:cubicBezTo>
                <a:cubicBezTo>
                  <a:pt x="1689444" y="1374735"/>
                  <a:pt x="1687647" y="1365146"/>
                  <a:pt x="1696636" y="1355558"/>
                </a:cubicBezTo>
                <a:cubicBezTo>
                  <a:pt x="1705026" y="1345969"/>
                  <a:pt x="1698433" y="1344172"/>
                  <a:pt x="1697834" y="1339377"/>
                </a:cubicBezTo>
                <a:cubicBezTo>
                  <a:pt x="1697235" y="1334583"/>
                  <a:pt x="1697834" y="1331587"/>
                  <a:pt x="1694838" y="1330388"/>
                </a:cubicBezTo>
                <a:cubicBezTo>
                  <a:pt x="1691841" y="1329190"/>
                  <a:pt x="1688246" y="1327392"/>
                  <a:pt x="1690643" y="1324995"/>
                </a:cubicBezTo>
                <a:cubicBezTo>
                  <a:pt x="1693040" y="1322598"/>
                  <a:pt x="1699632" y="1319601"/>
                  <a:pt x="1708022" y="1321399"/>
                </a:cubicBezTo>
                <a:cubicBezTo>
                  <a:pt x="1716412" y="1323796"/>
                  <a:pt x="1714015" y="1325594"/>
                  <a:pt x="1721206" y="1316006"/>
                </a:cubicBezTo>
                <a:cubicBezTo>
                  <a:pt x="1728397" y="1306417"/>
                  <a:pt x="1719408" y="1310612"/>
                  <a:pt x="1711018" y="1308814"/>
                </a:cubicBezTo>
                <a:cubicBezTo>
                  <a:pt x="1702628" y="1306417"/>
                  <a:pt x="1698433" y="1303421"/>
                  <a:pt x="1696036" y="1300425"/>
                </a:cubicBezTo>
                <a:cubicBezTo>
                  <a:pt x="1693639" y="1296829"/>
                  <a:pt x="1688845" y="1296230"/>
                  <a:pt x="1691242" y="1294432"/>
                </a:cubicBezTo>
                <a:cubicBezTo>
                  <a:pt x="1693639" y="1292035"/>
                  <a:pt x="1692441" y="1284843"/>
                  <a:pt x="1687647" y="1283645"/>
                </a:cubicBezTo>
                <a:cubicBezTo>
                  <a:pt x="1682852" y="1282446"/>
                  <a:pt x="1674463" y="1283645"/>
                  <a:pt x="1669069" y="1289038"/>
                </a:cubicBezTo>
                <a:cubicBezTo>
                  <a:pt x="1663676" y="1294432"/>
                  <a:pt x="1660679" y="1298627"/>
                  <a:pt x="1657084" y="1297428"/>
                </a:cubicBezTo>
                <a:cubicBezTo>
                  <a:pt x="1654087" y="1296829"/>
                  <a:pt x="1650492" y="1295031"/>
                  <a:pt x="1651690" y="1298027"/>
                </a:cubicBezTo>
                <a:cubicBezTo>
                  <a:pt x="1652289" y="1301024"/>
                  <a:pt x="1654687" y="1304619"/>
                  <a:pt x="1646297" y="1306417"/>
                </a:cubicBezTo>
                <a:cubicBezTo>
                  <a:pt x="1637907" y="1308215"/>
                  <a:pt x="1635510" y="1312410"/>
                  <a:pt x="1630116" y="1312410"/>
                </a:cubicBezTo>
                <a:cubicBezTo>
                  <a:pt x="1624723" y="1312410"/>
                  <a:pt x="1622925" y="1311811"/>
                  <a:pt x="1624723" y="1318403"/>
                </a:cubicBezTo>
                <a:cubicBezTo>
                  <a:pt x="1624723" y="1319002"/>
                  <a:pt x="1624723" y="1319601"/>
                  <a:pt x="1624723" y="1319601"/>
                </a:cubicBezTo>
                <a:cubicBezTo>
                  <a:pt x="1625322" y="1321399"/>
                  <a:pt x="1622925" y="1325594"/>
                  <a:pt x="1622925" y="1325594"/>
                </a:cubicBezTo>
                <a:cubicBezTo>
                  <a:pt x="1621127" y="1327392"/>
                  <a:pt x="1619329" y="1329789"/>
                  <a:pt x="1616333" y="1334583"/>
                </a:cubicBezTo>
                <a:cubicBezTo>
                  <a:pt x="1610340" y="1344771"/>
                  <a:pt x="1608542" y="1342374"/>
                  <a:pt x="1601351" y="1344172"/>
                </a:cubicBezTo>
                <a:cubicBezTo>
                  <a:pt x="1594160" y="1345969"/>
                  <a:pt x="1594160" y="1344771"/>
                  <a:pt x="1596557" y="1339977"/>
                </a:cubicBezTo>
                <a:cubicBezTo>
                  <a:pt x="1598954" y="1334583"/>
                  <a:pt x="1598355" y="1330988"/>
                  <a:pt x="1595958" y="1332785"/>
                </a:cubicBezTo>
                <a:cubicBezTo>
                  <a:pt x="1593561" y="1335182"/>
                  <a:pt x="1593561" y="1336980"/>
                  <a:pt x="1590564" y="1338778"/>
                </a:cubicBezTo>
                <a:cubicBezTo>
                  <a:pt x="1588167" y="1340576"/>
                  <a:pt x="1583373" y="1341175"/>
                  <a:pt x="1586369" y="1344172"/>
                </a:cubicBezTo>
                <a:cubicBezTo>
                  <a:pt x="1589366" y="1347168"/>
                  <a:pt x="1587568" y="1349565"/>
                  <a:pt x="1582174" y="1350164"/>
                </a:cubicBezTo>
                <a:cubicBezTo>
                  <a:pt x="1576781" y="1350764"/>
                  <a:pt x="1574983" y="1361551"/>
                  <a:pt x="1568990" y="1372337"/>
                </a:cubicBezTo>
                <a:cubicBezTo>
                  <a:pt x="1567792" y="1374735"/>
                  <a:pt x="1565994" y="1377132"/>
                  <a:pt x="1564795" y="1379529"/>
                </a:cubicBezTo>
                <a:cubicBezTo>
                  <a:pt x="1560600" y="1386121"/>
                  <a:pt x="1555806" y="1390316"/>
                  <a:pt x="1551012" y="1389716"/>
                </a:cubicBezTo>
                <a:cubicBezTo>
                  <a:pt x="1544420" y="1389117"/>
                  <a:pt x="1537828" y="1390915"/>
                  <a:pt x="1534832" y="1396908"/>
                </a:cubicBezTo>
                <a:cubicBezTo>
                  <a:pt x="1531835" y="1402900"/>
                  <a:pt x="1534832" y="1407095"/>
                  <a:pt x="1528839" y="1407095"/>
                </a:cubicBezTo>
                <a:cubicBezTo>
                  <a:pt x="1522846" y="1407695"/>
                  <a:pt x="1516853" y="1412489"/>
                  <a:pt x="1519850" y="1414287"/>
                </a:cubicBezTo>
                <a:cubicBezTo>
                  <a:pt x="1522247" y="1416084"/>
                  <a:pt x="1524045" y="1416684"/>
                  <a:pt x="1521648" y="1422077"/>
                </a:cubicBezTo>
                <a:cubicBezTo>
                  <a:pt x="1519251" y="1426871"/>
                  <a:pt x="1522846" y="1432864"/>
                  <a:pt x="1521648" y="1441254"/>
                </a:cubicBezTo>
                <a:cubicBezTo>
                  <a:pt x="1521648" y="1442453"/>
                  <a:pt x="1521048" y="1443651"/>
                  <a:pt x="1521048" y="1444850"/>
                </a:cubicBezTo>
                <a:cubicBezTo>
                  <a:pt x="1518651" y="1455037"/>
                  <a:pt x="1516254" y="1461030"/>
                  <a:pt x="1524045" y="1464626"/>
                </a:cubicBezTo>
                <a:cubicBezTo>
                  <a:pt x="1531835" y="1468821"/>
                  <a:pt x="1532435" y="1467622"/>
                  <a:pt x="1528839" y="1471218"/>
                </a:cubicBezTo>
                <a:cubicBezTo>
                  <a:pt x="1525243" y="1474813"/>
                  <a:pt x="1513857" y="1474813"/>
                  <a:pt x="1509662" y="1476012"/>
                </a:cubicBezTo>
                <a:cubicBezTo>
                  <a:pt x="1505467" y="1477210"/>
                  <a:pt x="1500673" y="1479008"/>
                  <a:pt x="1498276" y="1476012"/>
                </a:cubicBezTo>
                <a:cubicBezTo>
                  <a:pt x="1495879" y="1473015"/>
                  <a:pt x="1491684" y="1473615"/>
                  <a:pt x="1485691" y="1476611"/>
                </a:cubicBezTo>
                <a:cubicBezTo>
                  <a:pt x="1479699" y="1479607"/>
                  <a:pt x="1477301" y="1486799"/>
                  <a:pt x="1471309" y="1487398"/>
                </a:cubicBezTo>
                <a:cubicBezTo>
                  <a:pt x="1465915" y="1487997"/>
                  <a:pt x="1462919" y="1489196"/>
                  <a:pt x="1457525" y="1491593"/>
                </a:cubicBezTo>
                <a:cubicBezTo>
                  <a:pt x="1452132" y="1493990"/>
                  <a:pt x="1444341" y="1499983"/>
                  <a:pt x="1444941" y="1495788"/>
                </a:cubicBezTo>
                <a:cubicBezTo>
                  <a:pt x="1445540" y="1491593"/>
                  <a:pt x="1451533" y="1488597"/>
                  <a:pt x="1458125" y="1486199"/>
                </a:cubicBezTo>
                <a:cubicBezTo>
                  <a:pt x="1464717" y="1483802"/>
                  <a:pt x="1461121" y="1480806"/>
                  <a:pt x="1457525" y="1480806"/>
                </a:cubicBezTo>
                <a:cubicBezTo>
                  <a:pt x="1453930" y="1480806"/>
                  <a:pt x="1452132" y="1481405"/>
                  <a:pt x="1450933" y="1477210"/>
                </a:cubicBezTo>
                <a:lnTo>
                  <a:pt x="1450933" y="1474813"/>
                </a:lnTo>
                <a:cubicBezTo>
                  <a:pt x="1450933" y="1474813"/>
                  <a:pt x="1450933" y="1474813"/>
                  <a:pt x="1450933" y="1474813"/>
                </a:cubicBezTo>
                <a:cubicBezTo>
                  <a:pt x="1450334" y="1474813"/>
                  <a:pt x="1450334" y="1473615"/>
                  <a:pt x="1450334" y="1473015"/>
                </a:cubicBezTo>
                <a:cubicBezTo>
                  <a:pt x="1449735" y="1471218"/>
                  <a:pt x="1448536" y="1470019"/>
                  <a:pt x="1445540" y="1468221"/>
                </a:cubicBezTo>
                <a:cubicBezTo>
                  <a:pt x="1440146" y="1464626"/>
                  <a:pt x="1441345" y="1465225"/>
                  <a:pt x="1437749" y="1466423"/>
                </a:cubicBezTo>
                <a:cubicBezTo>
                  <a:pt x="1433554" y="1467622"/>
                  <a:pt x="1430558" y="1469420"/>
                  <a:pt x="1426962" y="1466423"/>
                </a:cubicBezTo>
                <a:cubicBezTo>
                  <a:pt x="1423367" y="1463427"/>
                  <a:pt x="1421569" y="1462228"/>
                  <a:pt x="1418573" y="1465824"/>
                </a:cubicBezTo>
                <a:cubicBezTo>
                  <a:pt x="1416175" y="1469420"/>
                  <a:pt x="1413179" y="1471218"/>
                  <a:pt x="1410183" y="1471218"/>
                </a:cubicBezTo>
                <a:cubicBezTo>
                  <a:pt x="1407186" y="1471218"/>
                  <a:pt x="1402392" y="1468221"/>
                  <a:pt x="1399396" y="1471817"/>
                </a:cubicBezTo>
                <a:cubicBezTo>
                  <a:pt x="1396399" y="1476012"/>
                  <a:pt x="1394002" y="1476012"/>
                  <a:pt x="1399995" y="1483203"/>
                </a:cubicBezTo>
                <a:cubicBezTo>
                  <a:pt x="1405988" y="1490394"/>
                  <a:pt x="1404789" y="1491593"/>
                  <a:pt x="1399396" y="1487398"/>
                </a:cubicBezTo>
                <a:cubicBezTo>
                  <a:pt x="1394002" y="1483203"/>
                  <a:pt x="1391006" y="1483203"/>
                  <a:pt x="1394002" y="1490994"/>
                </a:cubicBezTo>
                <a:cubicBezTo>
                  <a:pt x="1397598" y="1498185"/>
                  <a:pt x="1394602" y="1499384"/>
                  <a:pt x="1389807" y="1492192"/>
                </a:cubicBezTo>
                <a:cubicBezTo>
                  <a:pt x="1385013" y="1485001"/>
                  <a:pt x="1383215" y="1487997"/>
                  <a:pt x="1385613" y="1493391"/>
                </a:cubicBezTo>
                <a:cubicBezTo>
                  <a:pt x="1388010" y="1498784"/>
                  <a:pt x="1385613" y="1498784"/>
                  <a:pt x="1381418" y="1493990"/>
                </a:cubicBezTo>
                <a:cubicBezTo>
                  <a:pt x="1377223" y="1489196"/>
                  <a:pt x="1381418" y="1485001"/>
                  <a:pt x="1378421" y="1480806"/>
                </a:cubicBezTo>
                <a:cubicBezTo>
                  <a:pt x="1375425" y="1476611"/>
                  <a:pt x="1376623" y="1477810"/>
                  <a:pt x="1380818" y="1471218"/>
                </a:cubicBezTo>
                <a:cubicBezTo>
                  <a:pt x="1385013" y="1464626"/>
                  <a:pt x="1376623" y="1469420"/>
                  <a:pt x="1370631" y="1471817"/>
                </a:cubicBezTo>
                <a:cubicBezTo>
                  <a:pt x="1365237" y="1474214"/>
                  <a:pt x="1366436" y="1477210"/>
                  <a:pt x="1363439" y="1483802"/>
                </a:cubicBezTo>
                <a:cubicBezTo>
                  <a:pt x="1361042" y="1490394"/>
                  <a:pt x="1359844" y="1494589"/>
                  <a:pt x="1361642" y="1503578"/>
                </a:cubicBezTo>
                <a:cubicBezTo>
                  <a:pt x="1363439" y="1511968"/>
                  <a:pt x="1364039" y="1516762"/>
                  <a:pt x="1362840" y="1521557"/>
                </a:cubicBezTo>
                <a:cubicBezTo>
                  <a:pt x="1362840" y="1523354"/>
                  <a:pt x="1361642" y="1523954"/>
                  <a:pt x="1359844" y="1524553"/>
                </a:cubicBezTo>
                <a:cubicBezTo>
                  <a:pt x="1359844" y="1524553"/>
                  <a:pt x="1359844" y="1524553"/>
                  <a:pt x="1358645" y="1519159"/>
                </a:cubicBezTo>
                <a:cubicBezTo>
                  <a:pt x="1357447" y="1513766"/>
                  <a:pt x="1357447" y="1513766"/>
                  <a:pt x="1354450" y="1517961"/>
                </a:cubicBezTo>
                <a:cubicBezTo>
                  <a:pt x="1352053" y="1522156"/>
                  <a:pt x="1355050" y="1525752"/>
                  <a:pt x="1355050" y="1525752"/>
                </a:cubicBezTo>
                <a:cubicBezTo>
                  <a:pt x="1351454" y="1526950"/>
                  <a:pt x="1350255" y="1525752"/>
                  <a:pt x="1346060" y="1525752"/>
                </a:cubicBezTo>
                <a:cubicBezTo>
                  <a:pt x="1340068" y="1525752"/>
                  <a:pt x="1334674" y="1529946"/>
                  <a:pt x="1338270" y="1530546"/>
                </a:cubicBezTo>
                <a:cubicBezTo>
                  <a:pt x="1341865" y="1531145"/>
                  <a:pt x="1344263" y="1534741"/>
                  <a:pt x="1348458" y="1534741"/>
                </a:cubicBezTo>
                <a:cubicBezTo>
                  <a:pt x="1352652" y="1535340"/>
                  <a:pt x="1355050" y="1541932"/>
                  <a:pt x="1357447" y="1546726"/>
                </a:cubicBezTo>
                <a:cubicBezTo>
                  <a:pt x="1359844" y="1551520"/>
                  <a:pt x="1364638" y="1560509"/>
                  <a:pt x="1361642" y="1562307"/>
                </a:cubicBezTo>
                <a:cubicBezTo>
                  <a:pt x="1359244" y="1564105"/>
                  <a:pt x="1359844" y="1568300"/>
                  <a:pt x="1356248" y="1577289"/>
                </a:cubicBezTo>
                <a:cubicBezTo>
                  <a:pt x="1352652" y="1586278"/>
                  <a:pt x="1350255" y="1583881"/>
                  <a:pt x="1346660" y="1579686"/>
                </a:cubicBezTo>
                <a:cubicBezTo>
                  <a:pt x="1343064" y="1575491"/>
                  <a:pt x="1342465" y="1572495"/>
                  <a:pt x="1336472" y="1573094"/>
                </a:cubicBezTo>
                <a:cubicBezTo>
                  <a:pt x="1330479" y="1573693"/>
                  <a:pt x="1328082" y="1576690"/>
                  <a:pt x="1332277" y="1583282"/>
                </a:cubicBezTo>
                <a:cubicBezTo>
                  <a:pt x="1336472" y="1589874"/>
                  <a:pt x="1339468" y="1593469"/>
                  <a:pt x="1334674" y="1595267"/>
                </a:cubicBezTo>
                <a:cubicBezTo>
                  <a:pt x="1329880" y="1597065"/>
                  <a:pt x="1327483" y="1594069"/>
                  <a:pt x="1324487" y="1587477"/>
                </a:cubicBezTo>
                <a:cubicBezTo>
                  <a:pt x="1321490" y="1580885"/>
                  <a:pt x="1320891" y="1582683"/>
                  <a:pt x="1320292" y="1585679"/>
                </a:cubicBezTo>
                <a:cubicBezTo>
                  <a:pt x="1319692" y="1588675"/>
                  <a:pt x="1319692" y="1589874"/>
                  <a:pt x="1320292" y="1599462"/>
                </a:cubicBezTo>
                <a:cubicBezTo>
                  <a:pt x="1320891" y="1609051"/>
                  <a:pt x="1319093" y="1607852"/>
                  <a:pt x="1314898" y="1617440"/>
                </a:cubicBezTo>
                <a:cubicBezTo>
                  <a:pt x="1310703" y="1627029"/>
                  <a:pt x="1309505" y="1627628"/>
                  <a:pt x="1309505" y="1618040"/>
                </a:cubicBezTo>
                <a:cubicBezTo>
                  <a:pt x="1309505" y="1608451"/>
                  <a:pt x="1306508" y="1612646"/>
                  <a:pt x="1300516" y="1622834"/>
                </a:cubicBezTo>
                <a:cubicBezTo>
                  <a:pt x="1294523" y="1633022"/>
                  <a:pt x="1292725" y="1622235"/>
                  <a:pt x="1295122" y="1618639"/>
                </a:cubicBezTo>
                <a:cubicBezTo>
                  <a:pt x="1297519" y="1614444"/>
                  <a:pt x="1297519" y="1613246"/>
                  <a:pt x="1296920" y="1610249"/>
                </a:cubicBezTo>
                <a:cubicBezTo>
                  <a:pt x="1296321" y="1607852"/>
                  <a:pt x="1293324" y="1607852"/>
                  <a:pt x="1296920" y="1602459"/>
                </a:cubicBezTo>
                <a:cubicBezTo>
                  <a:pt x="1300516" y="1597065"/>
                  <a:pt x="1294523" y="1598264"/>
                  <a:pt x="1291527" y="1603058"/>
                </a:cubicBezTo>
                <a:cubicBezTo>
                  <a:pt x="1287931" y="1607253"/>
                  <a:pt x="1287931" y="1610849"/>
                  <a:pt x="1286133" y="1607253"/>
                </a:cubicBezTo>
                <a:cubicBezTo>
                  <a:pt x="1283736" y="1603058"/>
                  <a:pt x="1283736" y="1598863"/>
                  <a:pt x="1285534" y="1596466"/>
                </a:cubicBezTo>
                <a:cubicBezTo>
                  <a:pt x="1287332" y="1594069"/>
                  <a:pt x="1289729" y="1592271"/>
                  <a:pt x="1289729" y="1592271"/>
                </a:cubicBezTo>
                <a:cubicBezTo>
                  <a:pt x="1289729" y="1592271"/>
                  <a:pt x="1287332" y="1589275"/>
                  <a:pt x="1290328" y="1586878"/>
                </a:cubicBezTo>
                <a:cubicBezTo>
                  <a:pt x="1293324" y="1584480"/>
                  <a:pt x="1294523" y="1581484"/>
                  <a:pt x="1292126" y="1574892"/>
                </a:cubicBezTo>
                <a:cubicBezTo>
                  <a:pt x="1289729" y="1568300"/>
                  <a:pt x="1289129" y="1566502"/>
                  <a:pt x="1292126" y="1562907"/>
                </a:cubicBezTo>
                <a:cubicBezTo>
                  <a:pt x="1295122" y="1559910"/>
                  <a:pt x="1298118" y="1551520"/>
                  <a:pt x="1304111" y="1554517"/>
                </a:cubicBezTo>
                <a:cubicBezTo>
                  <a:pt x="1309505" y="1557513"/>
                  <a:pt x="1308306" y="1559910"/>
                  <a:pt x="1313700" y="1556914"/>
                </a:cubicBezTo>
                <a:cubicBezTo>
                  <a:pt x="1319093" y="1553917"/>
                  <a:pt x="1319692" y="1553318"/>
                  <a:pt x="1323288" y="1558712"/>
                </a:cubicBezTo>
                <a:cubicBezTo>
                  <a:pt x="1326884" y="1564105"/>
                  <a:pt x="1331678" y="1561109"/>
                  <a:pt x="1332876" y="1565304"/>
                </a:cubicBezTo>
                <a:cubicBezTo>
                  <a:pt x="1334075" y="1569498"/>
                  <a:pt x="1334075" y="1568300"/>
                  <a:pt x="1340068" y="1569498"/>
                </a:cubicBezTo>
                <a:cubicBezTo>
                  <a:pt x="1346060" y="1570697"/>
                  <a:pt x="1340667" y="1565903"/>
                  <a:pt x="1337671" y="1561109"/>
                </a:cubicBezTo>
                <a:cubicBezTo>
                  <a:pt x="1334674" y="1556315"/>
                  <a:pt x="1333476" y="1555715"/>
                  <a:pt x="1331678" y="1554517"/>
                </a:cubicBezTo>
                <a:cubicBezTo>
                  <a:pt x="1329281" y="1553917"/>
                  <a:pt x="1327483" y="1550322"/>
                  <a:pt x="1325086" y="1550921"/>
                </a:cubicBezTo>
                <a:cubicBezTo>
                  <a:pt x="1322689" y="1551520"/>
                  <a:pt x="1322689" y="1552120"/>
                  <a:pt x="1319692" y="1550322"/>
                </a:cubicBezTo>
                <a:cubicBezTo>
                  <a:pt x="1316696" y="1547925"/>
                  <a:pt x="1314299" y="1547925"/>
                  <a:pt x="1312501" y="1547325"/>
                </a:cubicBezTo>
                <a:cubicBezTo>
                  <a:pt x="1310703" y="1546726"/>
                  <a:pt x="1310703" y="1544928"/>
                  <a:pt x="1307108" y="1544928"/>
                </a:cubicBezTo>
                <a:cubicBezTo>
                  <a:pt x="1303512" y="1544928"/>
                  <a:pt x="1302913" y="1542531"/>
                  <a:pt x="1301714" y="1535939"/>
                </a:cubicBezTo>
                <a:cubicBezTo>
                  <a:pt x="1300516" y="1529347"/>
                  <a:pt x="1299317" y="1513167"/>
                  <a:pt x="1298718" y="1501781"/>
                </a:cubicBezTo>
                <a:cubicBezTo>
                  <a:pt x="1298118" y="1494589"/>
                  <a:pt x="1299317" y="1492192"/>
                  <a:pt x="1299916" y="1490994"/>
                </a:cubicBezTo>
                <a:lnTo>
                  <a:pt x="1299317" y="1490394"/>
                </a:lnTo>
                <a:cubicBezTo>
                  <a:pt x="1299317" y="1490394"/>
                  <a:pt x="1302313" y="1486199"/>
                  <a:pt x="1299317" y="1480207"/>
                </a:cubicBezTo>
                <a:cubicBezTo>
                  <a:pt x="1296321" y="1474214"/>
                  <a:pt x="1296321" y="1474214"/>
                  <a:pt x="1296321" y="1474214"/>
                </a:cubicBezTo>
                <a:cubicBezTo>
                  <a:pt x="1296321" y="1474214"/>
                  <a:pt x="1297519" y="1469420"/>
                  <a:pt x="1299317" y="1463427"/>
                </a:cubicBezTo>
                <a:cubicBezTo>
                  <a:pt x="1301115" y="1458034"/>
                  <a:pt x="1300516" y="1455637"/>
                  <a:pt x="1304111" y="1451442"/>
                </a:cubicBezTo>
                <a:cubicBezTo>
                  <a:pt x="1308306" y="1447247"/>
                  <a:pt x="1311302" y="1442453"/>
                  <a:pt x="1311902" y="1436460"/>
                </a:cubicBezTo>
                <a:cubicBezTo>
                  <a:pt x="1312501" y="1430467"/>
                  <a:pt x="1314898" y="1426272"/>
                  <a:pt x="1322089" y="1421478"/>
                </a:cubicBezTo>
                <a:cubicBezTo>
                  <a:pt x="1329281" y="1416684"/>
                  <a:pt x="1329281" y="1413687"/>
                  <a:pt x="1327483" y="1410691"/>
                </a:cubicBezTo>
                <a:cubicBezTo>
                  <a:pt x="1325685" y="1408294"/>
                  <a:pt x="1325086" y="1407095"/>
                  <a:pt x="1325086" y="1404099"/>
                </a:cubicBezTo>
                <a:cubicBezTo>
                  <a:pt x="1325086" y="1403500"/>
                  <a:pt x="1325086" y="1402900"/>
                  <a:pt x="1325086" y="1402301"/>
                </a:cubicBezTo>
                <a:cubicBezTo>
                  <a:pt x="1325086" y="1399305"/>
                  <a:pt x="1325086" y="1398705"/>
                  <a:pt x="1322689" y="1396308"/>
                </a:cubicBezTo>
                <a:cubicBezTo>
                  <a:pt x="1322689" y="1396308"/>
                  <a:pt x="1322689" y="1396308"/>
                  <a:pt x="1322689" y="1396308"/>
                </a:cubicBezTo>
                <a:cubicBezTo>
                  <a:pt x="1322689" y="1396308"/>
                  <a:pt x="1322089" y="1396308"/>
                  <a:pt x="1322089" y="1395709"/>
                </a:cubicBezTo>
                <a:cubicBezTo>
                  <a:pt x="1322089" y="1395709"/>
                  <a:pt x="1321490" y="1395110"/>
                  <a:pt x="1321490" y="1394511"/>
                </a:cubicBezTo>
                <a:cubicBezTo>
                  <a:pt x="1321490" y="1394511"/>
                  <a:pt x="1321490" y="1394511"/>
                  <a:pt x="1321490" y="1394511"/>
                </a:cubicBezTo>
                <a:cubicBezTo>
                  <a:pt x="1321490" y="1393911"/>
                  <a:pt x="1320891" y="1393312"/>
                  <a:pt x="1320891" y="1392713"/>
                </a:cubicBezTo>
                <a:cubicBezTo>
                  <a:pt x="1320292" y="1390915"/>
                  <a:pt x="1320292" y="1389716"/>
                  <a:pt x="1320292" y="1389716"/>
                </a:cubicBezTo>
                <a:lnTo>
                  <a:pt x="1320292" y="1386121"/>
                </a:lnTo>
                <a:cubicBezTo>
                  <a:pt x="1320292" y="1384323"/>
                  <a:pt x="1320292" y="1382525"/>
                  <a:pt x="1320292" y="1380727"/>
                </a:cubicBezTo>
                <a:cubicBezTo>
                  <a:pt x="1319692" y="1372937"/>
                  <a:pt x="1315497" y="1372337"/>
                  <a:pt x="1312501" y="1368742"/>
                </a:cubicBezTo>
                <a:cubicBezTo>
                  <a:pt x="1309505" y="1365745"/>
                  <a:pt x="1306508" y="1360951"/>
                  <a:pt x="1302913" y="1357955"/>
                </a:cubicBezTo>
                <a:cubicBezTo>
                  <a:pt x="1299317" y="1354958"/>
                  <a:pt x="1296321" y="1354359"/>
                  <a:pt x="1299916" y="1353161"/>
                </a:cubicBezTo>
                <a:cubicBezTo>
                  <a:pt x="1303512" y="1351962"/>
                  <a:pt x="1304711" y="1354359"/>
                  <a:pt x="1311302" y="1359153"/>
                </a:cubicBezTo>
                <a:cubicBezTo>
                  <a:pt x="1317895" y="1363948"/>
                  <a:pt x="1314299" y="1358554"/>
                  <a:pt x="1312501" y="1354958"/>
                </a:cubicBezTo>
                <a:cubicBezTo>
                  <a:pt x="1310703" y="1350764"/>
                  <a:pt x="1310104" y="1350764"/>
                  <a:pt x="1307108" y="1346569"/>
                </a:cubicBezTo>
                <a:cubicBezTo>
                  <a:pt x="1304111" y="1342374"/>
                  <a:pt x="1299916" y="1338179"/>
                  <a:pt x="1293324" y="1336980"/>
                </a:cubicBezTo>
                <a:cubicBezTo>
                  <a:pt x="1286133" y="1335782"/>
                  <a:pt x="1287332" y="1333385"/>
                  <a:pt x="1289129" y="1331587"/>
                </a:cubicBezTo>
                <a:cubicBezTo>
                  <a:pt x="1291527" y="1329190"/>
                  <a:pt x="1290927" y="1326193"/>
                  <a:pt x="1289129" y="1323197"/>
                </a:cubicBezTo>
                <a:cubicBezTo>
                  <a:pt x="1287332" y="1320201"/>
                  <a:pt x="1284934" y="1316006"/>
                  <a:pt x="1283137" y="1311211"/>
                </a:cubicBezTo>
                <a:cubicBezTo>
                  <a:pt x="1281339" y="1306417"/>
                  <a:pt x="1283736" y="1301024"/>
                  <a:pt x="1287332" y="1300425"/>
                </a:cubicBezTo>
                <a:cubicBezTo>
                  <a:pt x="1290927" y="1299825"/>
                  <a:pt x="1291527" y="1299825"/>
                  <a:pt x="1288530" y="1295031"/>
                </a:cubicBezTo>
                <a:cubicBezTo>
                  <a:pt x="1286133" y="1290237"/>
                  <a:pt x="1286133" y="1289638"/>
                  <a:pt x="1292725" y="1281847"/>
                </a:cubicBezTo>
                <a:cubicBezTo>
                  <a:pt x="1299317" y="1274056"/>
                  <a:pt x="1295122" y="1272858"/>
                  <a:pt x="1290328" y="1267464"/>
                </a:cubicBezTo>
                <a:cubicBezTo>
                  <a:pt x="1286133" y="1262071"/>
                  <a:pt x="1283137" y="1267464"/>
                  <a:pt x="1278342" y="1274056"/>
                </a:cubicBezTo>
                <a:cubicBezTo>
                  <a:pt x="1272949" y="1280649"/>
                  <a:pt x="1269953" y="1278851"/>
                  <a:pt x="1268155" y="1274656"/>
                </a:cubicBezTo>
                <a:cubicBezTo>
                  <a:pt x="1266357" y="1270461"/>
                  <a:pt x="1266357" y="1265067"/>
                  <a:pt x="1268754" y="1257277"/>
                </a:cubicBezTo>
                <a:lnTo>
                  <a:pt x="1268754" y="1259674"/>
                </a:lnTo>
                <a:lnTo>
                  <a:pt x="1269353" y="1257277"/>
                </a:lnTo>
                <a:cubicBezTo>
                  <a:pt x="1269353" y="1257277"/>
                  <a:pt x="1269353" y="1257277"/>
                  <a:pt x="1269353" y="1257277"/>
                </a:cubicBezTo>
                <a:cubicBezTo>
                  <a:pt x="1269353" y="1257277"/>
                  <a:pt x="1269353" y="1256678"/>
                  <a:pt x="1269353" y="1256678"/>
                </a:cubicBezTo>
                <a:lnTo>
                  <a:pt x="1270552" y="1250685"/>
                </a:lnTo>
                <a:lnTo>
                  <a:pt x="1270552" y="1250685"/>
                </a:lnTo>
                <a:cubicBezTo>
                  <a:pt x="1270552" y="1247688"/>
                  <a:pt x="1268754" y="1246490"/>
                  <a:pt x="1265758" y="1247688"/>
                </a:cubicBezTo>
                <a:cubicBezTo>
                  <a:pt x="1260364" y="1248887"/>
                  <a:pt x="1257368" y="1248288"/>
                  <a:pt x="1251974" y="1248288"/>
                </a:cubicBezTo>
                <a:cubicBezTo>
                  <a:pt x="1246581" y="1248887"/>
                  <a:pt x="1247180" y="1247089"/>
                  <a:pt x="1242985" y="1250685"/>
                </a:cubicBezTo>
                <a:cubicBezTo>
                  <a:pt x="1238790" y="1254280"/>
                  <a:pt x="1235195" y="1258475"/>
                  <a:pt x="1239989" y="1257876"/>
                </a:cubicBezTo>
                <a:cubicBezTo>
                  <a:pt x="1244783" y="1257277"/>
                  <a:pt x="1244184" y="1257277"/>
                  <a:pt x="1241787" y="1260273"/>
                </a:cubicBezTo>
                <a:cubicBezTo>
                  <a:pt x="1239390" y="1263869"/>
                  <a:pt x="1244184" y="1265667"/>
                  <a:pt x="1234596" y="1272259"/>
                </a:cubicBezTo>
                <a:cubicBezTo>
                  <a:pt x="1225606" y="1278851"/>
                  <a:pt x="1226805" y="1280649"/>
                  <a:pt x="1225007" y="1292634"/>
                </a:cubicBezTo>
                <a:cubicBezTo>
                  <a:pt x="1223209" y="1304619"/>
                  <a:pt x="1229202" y="1308814"/>
                  <a:pt x="1232198" y="1317204"/>
                </a:cubicBezTo>
                <a:cubicBezTo>
                  <a:pt x="1235794" y="1325594"/>
                  <a:pt x="1231599" y="1330388"/>
                  <a:pt x="1231599" y="1336980"/>
                </a:cubicBezTo>
                <a:cubicBezTo>
                  <a:pt x="1231599" y="1344172"/>
                  <a:pt x="1232798" y="1346569"/>
                  <a:pt x="1230401" y="1349565"/>
                </a:cubicBezTo>
                <a:cubicBezTo>
                  <a:pt x="1228003" y="1352561"/>
                  <a:pt x="1227404" y="1359753"/>
                  <a:pt x="1229202" y="1372937"/>
                </a:cubicBezTo>
                <a:cubicBezTo>
                  <a:pt x="1231000" y="1386121"/>
                  <a:pt x="1242985" y="1392713"/>
                  <a:pt x="1251974" y="1393312"/>
                </a:cubicBezTo>
                <a:cubicBezTo>
                  <a:pt x="1260364" y="1393911"/>
                  <a:pt x="1259166" y="1397507"/>
                  <a:pt x="1256169" y="1397507"/>
                </a:cubicBezTo>
                <a:cubicBezTo>
                  <a:pt x="1253173" y="1397507"/>
                  <a:pt x="1253173" y="1399904"/>
                  <a:pt x="1251974" y="1403500"/>
                </a:cubicBezTo>
                <a:cubicBezTo>
                  <a:pt x="1251375" y="1407095"/>
                  <a:pt x="1252574" y="1411889"/>
                  <a:pt x="1255570" y="1419680"/>
                </a:cubicBezTo>
                <a:cubicBezTo>
                  <a:pt x="1258566" y="1427471"/>
                  <a:pt x="1264559" y="1429868"/>
                  <a:pt x="1267556" y="1436460"/>
                </a:cubicBezTo>
                <a:cubicBezTo>
                  <a:pt x="1270552" y="1443651"/>
                  <a:pt x="1275945" y="1444850"/>
                  <a:pt x="1275945" y="1449044"/>
                </a:cubicBezTo>
                <a:cubicBezTo>
                  <a:pt x="1275945" y="1453239"/>
                  <a:pt x="1277144" y="1456236"/>
                  <a:pt x="1279541" y="1461030"/>
                </a:cubicBezTo>
                <a:cubicBezTo>
                  <a:pt x="1281938" y="1465824"/>
                  <a:pt x="1275945" y="1469420"/>
                  <a:pt x="1271151" y="1475413"/>
                </a:cubicBezTo>
                <a:cubicBezTo>
                  <a:pt x="1265758" y="1481405"/>
                  <a:pt x="1266956" y="1481405"/>
                  <a:pt x="1263960" y="1480806"/>
                </a:cubicBezTo>
                <a:cubicBezTo>
                  <a:pt x="1260964" y="1480207"/>
                  <a:pt x="1262162" y="1476611"/>
                  <a:pt x="1264559" y="1472416"/>
                </a:cubicBezTo>
                <a:cubicBezTo>
                  <a:pt x="1266956" y="1468221"/>
                  <a:pt x="1265158" y="1464626"/>
                  <a:pt x="1262761" y="1464026"/>
                </a:cubicBezTo>
                <a:cubicBezTo>
                  <a:pt x="1260364" y="1463427"/>
                  <a:pt x="1257967" y="1463427"/>
                  <a:pt x="1253772" y="1458034"/>
                </a:cubicBezTo>
                <a:cubicBezTo>
                  <a:pt x="1249577" y="1452640"/>
                  <a:pt x="1247780" y="1455637"/>
                  <a:pt x="1240588" y="1457434"/>
                </a:cubicBezTo>
                <a:cubicBezTo>
                  <a:pt x="1233397" y="1459232"/>
                  <a:pt x="1236393" y="1465225"/>
                  <a:pt x="1232198" y="1468221"/>
                </a:cubicBezTo>
                <a:cubicBezTo>
                  <a:pt x="1228003" y="1471218"/>
                  <a:pt x="1225007" y="1476611"/>
                  <a:pt x="1229202" y="1486199"/>
                </a:cubicBezTo>
                <a:cubicBezTo>
                  <a:pt x="1233397" y="1495788"/>
                  <a:pt x="1229202" y="1498784"/>
                  <a:pt x="1226206" y="1505975"/>
                </a:cubicBezTo>
                <a:cubicBezTo>
                  <a:pt x="1223209" y="1513167"/>
                  <a:pt x="1220213" y="1513167"/>
                  <a:pt x="1214220" y="1511369"/>
                </a:cubicBezTo>
                <a:cubicBezTo>
                  <a:pt x="1208827" y="1510170"/>
                  <a:pt x="1207029" y="1513766"/>
                  <a:pt x="1205830" y="1519759"/>
                </a:cubicBezTo>
                <a:cubicBezTo>
                  <a:pt x="1204032" y="1525752"/>
                  <a:pt x="1204632" y="1525752"/>
                  <a:pt x="1199838" y="1527549"/>
                </a:cubicBezTo>
                <a:cubicBezTo>
                  <a:pt x="1195043" y="1529347"/>
                  <a:pt x="1193845" y="1531145"/>
                  <a:pt x="1188451" y="1537737"/>
                </a:cubicBezTo>
                <a:cubicBezTo>
                  <a:pt x="1183058" y="1544329"/>
                  <a:pt x="1177065" y="1542531"/>
                  <a:pt x="1175267" y="1540134"/>
                </a:cubicBezTo>
                <a:cubicBezTo>
                  <a:pt x="1172870" y="1537737"/>
                  <a:pt x="1172870" y="1533542"/>
                  <a:pt x="1178264" y="1531145"/>
                </a:cubicBezTo>
                <a:cubicBezTo>
                  <a:pt x="1183657" y="1528748"/>
                  <a:pt x="1182459" y="1527549"/>
                  <a:pt x="1186054" y="1521557"/>
                </a:cubicBezTo>
                <a:cubicBezTo>
                  <a:pt x="1189650" y="1515564"/>
                  <a:pt x="1191448" y="1511968"/>
                  <a:pt x="1198040" y="1510170"/>
                </a:cubicBezTo>
                <a:cubicBezTo>
                  <a:pt x="1205231" y="1508373"/>
                  <a:pt x="1202235" y="1502979"/>
                  <a:pt x="1204032" y="1498185"/>
                </a:cubicBezTo>
                <a:cubicBezTo>
                  <a:pt x="1206430" y="1493391"/>
                  <a:pt x="1206430" y="1489795"/>
                  <a:pt x="1206430" y="1482005"/>
                </a:cubicBezTo>
                <a:cubicBezTo>
                  <a:pt x="1205830" y="1474214"/>
                  <a:pt x="1209426" y="1474214"/>
                  <a:pt x="1210625" y="1468821"/>
                </a:cubicBezTo>
                <a:cubicBezTo>
                  <a:pt x="1211823" y="1463427"/>
                  <a:pt x="1205231" y="1461629"/>
                  <a:pt x="1201635" y="1461030"/>
                </a:cubicBezTo>
                <a:cubicBezTo>
                  <a:pt x="1197440" y="1460431"/>
                  <a:pt x="1196242" y="1456835"/>
                  <a:pt x="1194444" y="1452640"/>
                </a:cubicBezTo>
                <a:cubicBezTo>
                  <a:pt x="1193246" y="1448445"/>
                  <a:pt x="1198639" y="1444250"/>
                  <a:pt x="1200437" y="1441853"/>
                </a:cubicBezTo>
                <a:cubicBezTo>
                  <a:pt x="1202235" y="1439456"/>
                  <a:pt x="1199838" y="1434662"/>
                  <a:pt x="1193246" y="1436460"/>
                </a:cubicBezTo>
                <a:cubicBezTo>
                  <a:pt x="1187253" y="1437658"/>
                  <a:pt x="1190848" y="1434063"/>
                  <a:pt x="1196841" y="1430467"/>
                </a:cubicBezTo>
                <a:cubicBezTo>
                  <a:pt x="1202834" y="1426871"/>
                  <a:pt x="1197440" y="1420879"/>
                  <a:pt x="1194444" y="1415485"/>
                </a:cubicBezTo>
                <a:cubicBezTo>
                  <a:pt x="1190848" y="1410092"/>
                  <a:pt x="1184856" y="1408294"/>
                  <a:pt x="1180661" y="1407095"/>
                </a:cubicBezTo>
                <a:cubicBezTo>
                  <a:pt x="1176466" y="1405297"/>
                  <a:pt x="1173469" y="1404099"/>
                  <a:pt x="1173469" y="1401702"/>
                </a:cubicBezTo>
                <a:cubicBezTo>
                  <a:pt x="1173469" y="1399305"/>
                  <a:pt x="1173469" y="1395110"/>
                  <a:pt x="1171072" y="1391514"/>
                </a:cubicBezTo>
                <a:cubicBezTo>
                  <a:pt x="1168675" y="1387319"/>
                  <a:pt x="1166878" y="1386121"/>
                  <a:pt x="1166878" y="1381326"/>
                </a:cubicBezTo>
                <a:cubicBezTo>
                  <a:pt x="1166878" y="1377132"/>
                  <a:pt x="1167477" y="1373536"/>
                  <a:pt x="1164480" y="1371139"/>
                </a:cubicBezTo>
                <a:cubicBezTo>
                  <a:pt x="1161484" y="1368742"/>
                  <a:pt x="1163282" y="1362749"/>
                  <a:pt x="1162683" y="1358554"/>
                </a:cubicBezTo>
                <a:cubicBezTo>
                  <a:pt x="1162083" y="1354359"/>
                  <a:pt x="1162083" y="1354958"/>
                  <a:pt x="1163282" y="1350764"/>
                </a:cubicBezTo>
                <a:cubicBezTo>
                  <a:pt x="1164480" y="1346569"/>
                  <a:pt x="1165080" y="1343572"/>
                  <a:pt x="1161484" y="1339977"/>
                </a:cubicBezTo>
                <a:cubicBezTo>
                  <a:pt x="1157888" y="1336381"/>
                  <a:pt x="1156091" y="1330388"/>
                  <a:pt x="1157888" y="1328590"/>
                </a:cubicBezTo>
                <a:cubicBezTo>
                  <a:pt x="1159686" y="1326793"/>
                  <a:pt x="1160885" y="1326193"/>
                  <a:pt x="1160285" y="1321399"/>
                </a:cubicBezTo>
                <a:cubicBezTo>
                  <a:pt x="1159686" y="1316605"/>
                  <a:pt x="1159686" y="1313009"/>
                  <a:pt x="1163881" y="1304020"/>
                </a:cubicBezTo>
                <a:cubicBezTo>
                  <a:pt x="1168076" y="1295031"/>
                  <a:pt x="1165080" y="1292035"/>
                  <a:pt x="1160285" y="1284244"/>
                </a:cubicBezTo>
                <a:cubicBezTo>
                  <a:pt x="1155491" y="1276454"/>
                  <a:pt x="1153094" y="1274056"/>
                  <a:pt x="1148300" y="1274656"/>
                </a:cubicBezTo>
                <a:cubicBezTo>
                  <a:pt x="1143506" y="1275255"/>
                  <a:pt x="1135116" y="1278251"/>
                  <a:pt x="1129123" y="1282446"/>
                </a:cubicBezTo>
                <a:cubicBezTo>
                  <a:pt x="1123131" y="1286641"/>
                  <a:pt x="1108149" y="1292634"/>
                  <a:pt x="1100358" y="1295031"/>
                </a:cubicBezTo>
                <a:cubicBezTo>
                  <a:pt x="1100358" y="1295031"/>
                  <a:pt x="1100358" y="1295031"/>
                  <a:pt x="1099759" y="1295031"/>
                </a:cubicBezTo>
                <a:cubicBezTo>
                  <a:pt x="1099759" y="1295031"/>
                  <a:pt x="1099759" y="1295031"/>
                  <a:pt x="1099759" y="1295031"/>
                </a:cubicBezTo>
                <a:cubicBezTo>
                  <a:pt x="1091968" y="1297428"/>
                  <a:pt x="1085376" y="1298627"/>
                  <a:pt x="1080582" y="1303421"/>
                </a:cubicBezTo>
                <a:cubicBezTo>
                  <a:pt x="1075788" y="1308814"/>
                  <a:pt x="1070994" y="1310013"/>
                  <a:pt x="1067398" y="1308814"/>
                </a:cubicBezTo>
                <a:cubicBezTo>
                  <a:pt x="1063802" y="1308215"/>
                  <a:pt x="1061405" y="1304619"/>
                  <a:pt x="1059607" y="1307616"/>
                </a:cubicBezTo>
                <a:cubicBezTo>
                  <a:pt x="1057810" y="1310612"/>
                  <a:pt x="1054214" y="1307616"/>
                  <a:pt x="1051817" y="1300425"/>
                </a:cubicBezTo>
                <a:cubicBezTo>
                  <a:pt x="1049420" y="1293233"/>
                  <a:pt x="1046423" y="1292035"/>
                  <a:pt x="1042229" y="1292035"/>
                </a:cubicBezTo>
                <a:cubicBezTo>
                  <a:pt x="1038034" y="1292035"/>
                  <a:pt x="1033839" y="1291435"/>
                  <a:pt x="1030243" y="1286042"/>
                </a:cubicBezTo>
                <a:cubicBezTo>
                  <a:pt x="1026647" y="1280649"/>
                  <a:pt x="1021853" y="1280649"/>
                  <a:pt x="1018258" y="1283046"/>
                </a:cubicBezTo>
                <a:cubicBezTo>
                  <a:pt x="1014662" y="1285443"/>
                  <a:pt x="1008669" y="1288439"/>
                  <a:pt x="1001478" y="1289638"/>
                </a:cubicBezTo>
                <a:cubicBezTo>
                  <a:pt x="994287" y="1290237"/>
                  <a:pt x="993687" y="1290237"/>
                  <a:pt x="990691" y="1295031"/>
                </a:cubicBezTo>
                <a:cubicBezTo>
                  <a:pt x="987695" y="1299825"/>
                  <a:pt x="980503" y="1310013"/>
                  <a:pt x="982301" y="1317804"/>
                </a:cubicBezTo>
                <a:cubicBezTo>
                  <a:pt x="984099" y="1325594"/>
                  <a:pt x="984698" y="1330988"/>
                  <a:pt x="980503" y="1329190"/>
                </a:cubicBezTo>
                <a:cubicBezTo>
                  <a:pt x="976308" y="1327392"/>
                  <a:pt x="976308" y="1326193"/>
                  <a:pt x="975110" y="1335182"/>
                </a:cubicBezTo>
                <a:cubicBezTo>
                  <a:pt x="973312" y="1344172"/>
                  <a:pt x="970915" y="1343572"/>
                  <a:pt x="961926" y="1345370"/>
                </a:cubicBezTo>
                <a:cubicBezTo>
                  <a:pt x="953536" y="1347767"/>
                  <a:pt x="946345" y="1348966"/>
                  <a:pt x="943948" y="1352561"/>
                </a:cubicBezTo>
                <a:cubicBezTo>
                  <a:pt x="941550" y="1356756"/>
                  <a:pt x="938554" y="1358554"/>
                  <a:pt x="932561" y="1358554"/>
                </a:cubicBezTo>
                <a:cubicBezTo>
                  <a:pt x="927168" y="1358554"/>
                  <a:pt x="923572" y="1361551"/>
                  <a:pt x="915182" y="1362150"/>
                </a:cubicBezTo>
                <a:cubicBezTo>
                  <a:pt x="906793" y="1362749"/>
                  <a:pt x="906793" y="1359753"/>
                  <a:pt x="898403" y="1366944"/>
                </a:cubicBezTo>
                <a:cubicBezTo>
                  <a:pt x="890013" y="1374135"/>
                  <a:pt x="898403" y="1374735"/>
                  <a:pt x="893009" y="1378929"/>
                </a:cubicBezTo>
                <a:cubicBezTo>
                  <a:pt x="887616" y="1383124"/>
                  <a:pt x="885818" y="1382525"/>
                  <a:pt x="888814" y="1379529"/>
                </a:cubicBezTo>
                <a:cubicBezTo>
                  <a:pt x="891811" y="1376532"/>
                  <a:pt x="886417" y="1378929"/>
                  <a:pt x="881623" y="1381926"/>
                </a:cubicBezTo>
                <a:cubicBezTo>
                  <a:pt x="876829" y="1384922"/>
                  <a:pt x="869038" y="1393312"/>
                  <a:pt x="858851" y="1398705"/>
                </a:cubicBezTo>
                <a:cubicBezTo>
                  <a:pt x="848663" y="1404099"/>
                  <a:pt x="843869" y="1408294"/>
                  <a:pt x="840872" y="1416084"/>
                </a:cubicBezTo>
                <a:cubicBezTo>
                  <a:pt x="837876" y="1423875"/>
                  <a:pt x="837876" y="1429868"/>
                  <a:pt x="838475" y="1435860"/>
                </a:cubicBezTo>
                <a:cubicBezTo>
                  <a:pt x="839075" y="1441853"/>
                  <a:pt x="840273" y="1445449"/>
                  <a:pt x="837277" y="1446048"/>
                </a:cubicBezTo>
                <a:cubicBezTo>
                  <a:pt x="834280" y="1446647"/>
                  <a:pt x="833082" y="1449644"/>
                  <a:pt x="828887" y="1450243"/>
                </a:cubicBezTo>
                <a:cubicBezTo>
                  <a:pt x="824093" y="1450842"/>
                  <a:pt x="823494" y="1450842"/>
                  <a:pt x="818100" y="1455637"/>
                </a:cubicBezTo>
                <a:cubicBezTo>
                  <a:pt x="812707" y="1460431"/>
                  <a:pt x="804916" y="1472416"/>
                  <a:pt x="800122" y="1474813"/>
                </a:cubicBezTo>
                <a:cubicBezTo>
                  <a:pt x="795328" y="1477210"/>
                  <a:pt x="794728" y="1479008"/>
                  <a:pt x="794728" y="1482005"/>
                </a:cubicBezTo>
                <a:cubicBezTo>
                  <a:pt x="794728" y="1485001"/>
                  <a:pt x="795328" y="1486199"/>
                  <a:pt x="790533" y="1486199"/>
                </a:cubicBezTo>
                <a:cubicBezTo>
                  <a:pt x="786339" y="1486199"/>
                  <a:pt x="783941" y="1485600"/>
                  <a:pt x="778548" y="1486799"/>
                </a:cubicBezTo>
                <a:cubicBezTo>
                  <a:pt x="773155" y="1487398"/>
                  <a:pt x="774353" y="1485001"/>
                  <a:pt x="770158" y="1488597"/>
                </a:cubicBezTo>
                <a:cubicBezTo>
                  <a:pt x="765364" y="1492192"/>
                  <a:pt x="764765" y="1493990"/>
                  <a:pt x="756974" y="1502979"/>
                </a:cubicBezTo>
                <a:cubicBezTo>
                  <a:pt x="748584" y="1511369"/>
                  <a:pt x="739595" y="1514965"/>
                  <a:pt x="737198" y="1511369"/>
                </a:cubicBezTo>
                <a:cubicBezTo>
                  <a:pt x="734801" y="1507773"/>
                  <a:pt x="731805" y="1505975"/>
                  <a:pt x="728808" y="1508972"/>
                </a:cubicBezTo>
                <a:cubicBezTo>
                  <a:pt x="725812" y="1511369"/>
                  <a:pt x="724613" y="1511369"/>
                  <a:pt x="721617" y="1508373"/>
                </a:cubicBezTo>
                <a:cubicBezTo>
                  <a:pt x="719220" y="1504777"/>
                  <a:pt x="717422" y="1504178"/>
                  <a:pt x="709631" y="1504178"/>
                </a:cubicBezTo>
                <a:cubicBezTo>
                  <a:pt x="701841" y="1504777"/>
                  <a:pt x="688058" y="1502380"/>
                  <a:pt x="683863" y="1505975"/>
                </a:cubicBezTo>
                <a:cubicBezTo>
                  <a:pt x="679668" y="1509571"/>
                  <a:pt x="674274" y="1506575"/>
                  <a:pt x="670679" y="1510770"/>
                </a:cubicBezTo>
                <a:cubicBezTo>
                  <a:pt x="666484" y="1514965"/>
                  <a:pt x="662888" y="1517961"/>
                  <a:pt x="656296" y="1520358"/>
                </a:cubicBezTo>
                <a:cubicBezTo>
                  <a:pt x="649704" y="1522755"/>
                  <a:pt x="649105" y="1518560"/>
                  <a:pt x="646108" y="1511968"/>
                </a:cubicBezTo>
                <a:cubicBezTo>
                  <a:pt x="643711" y="1505376"/>
                  <a:pt x="646708" y="1498784"/>
                  <a:pt x="648506" y="1492791"/>
                </a:cubicBezTo>
                <a:cubicBezTo>
                  <a:pt x="649704" y="1487398"/>
                  <a:pt x="651502" y="1486799"/>
                  <a:pt x="651502" y="1486799"/>
                </a:cubicBezTo>
                <a:cubicBezTo>
                  <a:pt x="651502" y="1486799"/>
                  <a:pt x="649704" y="1484402"/>
                  <a:pt x="649105" y="1481405"/>
                </a:cubicBezTo>
                <a:cubicBezTo>
                  <a:pt x="648506" y="1477810"/>
                  <a:pt x="647307" y="1479008"/>
                  <a:pt x="643711" y="1477210"/>
                </a:cubicBezTo>
                <a:cubicBezTo>
                  <a:pt x="640116" y="1476012"/>
                  <a:pt x="638318" y="1473015"/>
                  <a:pt x="632325" y="1473015"/>
                </a:cubicBezTo>
                <a:lnTo>
                  <a:pt x="633524" y="1450842"/>
                </a:lnTo>
                <a:lnTo>
                  <a:pt x="710830" y="1324995"/>
                </a:lnTo>
                <a:lnTo>
                  <a:pt x="708433" y="1287240"/>
                </a:lnTo>
                <a:cubicBezTo>
                  <a:pt x="709631" y="1284244"/>
                  <a:pt x="711429" y="1280649"/>
                  <a:pt x="713227" y="1278251"/>
                </a:cubicBezTo>
                <a:cubicBezTo>
                  <a:pt x="717422" y="1271060"/>
                  <a:pt x="721018" y="1269262"/>
                  <a:pt x="722216" y="1265667"/>
                </a:cubicBezTo>
                <a:cubicBezTo>
                  <a:pt x="725213" y="1257277"/>
                  <a:pt x="724014" y="1252483"/>
                  <a:pt x="727010" y="1239299"/>
                </a:cubicBezTo>
                <a:cubicBezTo>
                  <a:pt x="729408" y="1233905"/>
                  <a:pt x="735400" y="1232107"/>
                  <a:pt x="746786" y="1232107"/>
                </a:cubicBezTo>
                <a:cubicBezTo>
                  <a:pt x="757573" y="1232107"/>
                  <a:pt x="756375" y="1234504"/>
                  <a:pt x="757573" y="1230909"/>
                </a:cubicBezTo>
                <a:cubicBezTo>
                  <a:pt x="758772" y="1227313"/>
                  <a:pt x="759970" y="1225515"/>
                  <a:pt x="767162" y="1223118"/>
                </a:cubicBezTo>
                <a:cubicBezTo>
                  <a:pt x="774353" y="1220721"/>
                  <a:pt x="774353" y="1224916"/>
                  <a:pt x="777349" y="1225515"/>
                </a:cubicBezTo>
                <a:cubicBezTo>
                  <a:pt x="780346" y="1226115"/>
                  <a:pt x="781544" y="1224916"/>
                  <a:pt x="783342" y="1228512"/>
                </a:cubicBezTo>
                <a:cubicBezTo>
                  <a:pt x="785739" y="1232107"/>
                  <a:pt x="792931" y="1234504"/>
                  <a:pt x="806115" y="1236302"/>
                </a:cubicBezTo>
                <a:cubicBezTo>
                  <a:pt x="819299" y="1238100"/>
                  <a:pt x="816302" y="1234504"/>
                  <a:pt x="819898" y="1239299"/>
                </a:cubicBezTo>
                <a:cubicBezTo>
                  <a:pt x="823494" y="1244093"/>
                  <a:pt x="827688" y="1244692"/>
                  <a:pt x="837876" y="1247688"/>
                </a:cubicBezTo>
                <a:cubicBezTo>
                  <a:pt x="848064" y="1250685"/>
                  <a:pt x="853457" y="1248887"/>
                  <a:pt x="858851" y="1253082"/>
                </a:cubicBezTo>
                <a:cubicBezTo>
                  <a:pt x="864244" y="1257277"/>
                  <a:pt x="867241" y="1254880"/>
                  <a:pt x="870836" y="1257876"/>
                </a:cubicBezTo>
                <a:cubicBezTo>
                  <a:pt x="874432" y="1260872"/>
                  <a:pt x="876230" y="1262670"/>
                  <a:pt x="882222" y="1263270"/>
                </a:cubicBezTo>
                <a:cubicBezTo>
                  <a:pt x="885219" y="1263270"/>
                  <a:pt x="888814" y="1263270"/>
                  <a:pt x="891811" y="1262071"/>
                </a:cubicBezTo>
                <a:cubicBezTo>
                  <a:pt x="894208" y="1261472"/>
                  <a:pt x="896605" y="1260273"/>
                  <a:pt x="897803" y="1258475"/>
                </a:cubicBezTo>
                <a:cubicBezTo>
                  <a:pt x="900800" y="1254280"/>
                  <a:pt x="906193" y="1251883"/>
                  <a:pt x="910988" y="1246490"/>
                </a:cubicBezTo>
                <a:cubicBezTo>
                  <a:pt x="916381" y="1241096"/>
                  <a:pt x="922973" y="1236302"/>
                  <a:pt x="925969" y="1230309"/>
                </a:cubicBezTo>
                <a:cubicBezTo>
                  <a:pt x="928366" y="1224317"/>
                  <a:pt x="931363" y="1222519"/>
                  <a:pt x="935558" y="1221320"/>
                </a:cubicBezTo>
                <a:cubicBezTo>
                  <a:pt x="939753" y="1220122"/>
                  <a:pt x="937955" y="1216526"/>
                  <a:pt x="934959" y="1215927"/>
                </a:cubicBezTo>
                <a:cubicBezTo>
                  <a:pt x="931962" y="1215328"/>
                  <a:pt x="935558" y="1212331"/>
                  <a:pt x="942749" y="1206938"/>
                </a:cubicBezTo>
                <a:cubicBezTo>
                  <a:pt x="949940" y="1201544"/>
                  <a:pt x="948742" y="1197349"/>
                  <a:pt x="952937" y="1192555"/>
                </a:cubicBezTo>
                <a:cubicBezTo>
                  <a:pt x="957132" y="1187761"/>
                  <a:pt x="957132" y="1185364"/>
                  <a:pt x="956532" y="1196151"/>
                </a:cubicBezTo>
                <a:cubicBezTo>
                  <a:pt x="955933" y="1206339"/>
                  <a:pt x="957731" y="1203342"/>
                  <a:pt x="960727" y="1198548"/>
                </a:cubicBezTo>
                <a:cubicBezTo>
                  <a:pt x="963124" y="1193754"/>
                  <a:pt x="963124" y="1188360"/>
                  <a:pt x="961327" y="1183566"/>
                </a:cubicBezTo>
                <a:cubicBezTo>
                  <a:pt x="960128" y="1178772"/>
                  <a:pt x="959529" y="1178173"/>
                  <a:pt x="965521" y="1173978"/>
                </a:cubicBezTo>
                <a:cubicBezTo>
                  <a:pt x="970915" y="1169783"/>
                  <a:pt x="969117" y="1161992"/>
                  <a:pt x="970316" y="1158996"/>
                </a:cubicBezTo>
                <a:cubicBezTo>
                  <a:pt x="971514" y="1155400"/>
                  <a:pt x="971514" y="1153602"/>
                  <a:pt x="968518" y="1152404"/>
                </a:cubicBezTo>
                <a:cubicBezTo>
                  <a:pt x="965521" y="1151205"/>
                  <a:pt x="964922" y="1148808"/>
                  <a:pt x="965521" y="1145213"/>
                </a:cubicBezTo>
                <a:cubicBezTo>
                  <a:pt x="966121" y="1141018"/>
                  <a:pt x="966720" y="1135025"/>
                  <a:pt x="968518" y="1127234"/>
                </a:cubicBezTo>
                <a:cubicBezTo>
                  <a:pt x="970316" y="1119444"/>
                  <a:pt x="972713" y="1119444"/>
                  <a:pt x="978705" y="1119444"/>
                </a:cubicBezTo>
                <a:cubicBezTo>
                  <a:pt x="984698" y="1119444"/>
                  <a:pt x="982900" y="1116447"/>
                  <a:pt x="978106" y="1114650"/>
                </a:cubicBezTo>
                <a:cubicBezTo>
                  <a:pt x="970316" y="1112253"/>
                  <a:pt x="979305" y="1102664"/>
                  <a:pt x="967919" y="1101466"/>
                </a:cubicBezTo>
                <a:cubicBezTo>
                  <a:pt x="963724" y="1100866"/>
                  <a:pt x="961926" y="1097271"/>
                  <a:pt x="957132" y="1092476"/>
                </a:cubicBezTo>
                <a:cubicBezTo>
                  <a:pt x="952337" y="1087083"/>
                  <a:pt x="952337" y="1087682"/>
                  <a:pt x="950540" y="1085885"/>
                </a:cubicBezTo>
                <a:cubicBezTo>
                  <a:pt x="948143" y="1084087"/>
                  <a:pt x="948143" y="1083487"/>
                  <a:pt x="943948" y="1081690"/>
                </a:cubicBezTo>
                <a:cubicBezTo>
                  <a:pt x="939753" y="1079892"/>
                  <a:pt x="946345" y="1079292"/>
                  <a:pt x="949341" y="1080491"/>
                </a:cubicBezTo>
                <a:cubicBezTo>
                  <a:pt x="952937" y="1081690"/>
                  <a:pt x="954734" y="1081090"/>
                  <a:pt x="954734" y="1078094"/>
                </a:cubicBezTo>
                <a:cubicBezTo>
                  <a:pt x="954734" y="1073899"/>
                  <a:pt x="956532" y="1072700"/>
                  <a:pt x="955933" y="1070903"/>
                </a:cubicBezTo>
                <a:cubicBezTo>
                  <a:pt x="955933" y="1070303"/>
                  <a:pt x="957132" y="1069704"/>
                  <a:pt x="953536" y="1067906"/>
                </a:cubicBezTo>
                <a:cubicBezTo>
                  <a:pt x="949341" y="1065509"/>
                  <a:pt x="957132" y="1060715"/>
                  <a:pt x="961926" y="1059516"/>
                </a:cubicBezTo>
                <a:cubicBezTo>
                  <a:pt x="967319" y="1058318"/>
                  <a:pt x="969716" y="1061314"/>
                  <a:pt x="976908" y="1061914"/>
                </a:cubicBezTo>
                <a:cubicBezTo>
                  <a:pt x="984099" y="1062513"/>
                  <a:pt x="985297" y="1062513"/>
                  <a:pt x="986496" y="1061314"/>
                </a:cubicBezTo>
                <a:cubicBezTo>
                  <a:pt x="987095" y="1059516"/>
                  <a:pt x="987695" y="1057119"/>
                  <a:pt x="991890" y="1057119"/>
                </a:cubicBezTo>
                <a:cubicBezTo>
                  <a:pt x="996084" y="1057119"/>
                  <a:pt x="996084" y="1056520"/>
                  <a:pt x="996084" y="1062513"/>
                </a:cubicBezTo>
                <a:cubicBezTo>
                  <a:pt x="996084" y="1068506"/>
                  <a:pt x="997882" y="1069105"/>
                  <a:pt x="1006871" y="1068506"/>
                </a:cubicBezTo>
                <a:cubicBezTo>
                  <a:pt x="1015860" y="1067906"/>
                  <a:pt x="1014662" y="1067906"/>
                  <a:pt x="1017059" y="1070903"/>
                </a:cubicBezTo>
                <a:cubicBezTo>
                  <a:pt x="1019456" y="1073899"/>
                  <a:pt x="1020055" y="1075098"/>
                  <a:pt x="1024250" y="1075697"/>
                </a:cubicBezTo>
                <a:cubicBezTo>
                  <a:pt x="1028445" y="1076296"/>
                  <a:pt x="1028445" y="1075098"/>
                  <a:pt x="1024850" y="1072101"/>
                </a:cubicBezTo>
                <a:cubicBezTo>
                  <a:pt x="1021853" y="1069704"/>
                  <a:pt x="1022452" y="1068506"/>
                  <a:pt x="1024850" y="1065509"/>
                </a:cubicBezTo>
                <a:cubicBezTo>
                  <a:pt x="1027247" y="1062513"/>
                  <a:pt x="1027247" y="1058318"/>
                  <a:pt x="1032640" y="1054123"/>
                </a:cubicBezTo>
                <a:cubicBezTo>
                  <a:pt x="1038034" y="1049928"/>
                  <a:pt x="1036835" y="1045733"/>
                  <a:pt x="1039232" y="1037343"/>
                </a:cubicBezTo>
                <a:cubicBezTo>
                  <a:pt x="1041629" y="1028953"/>
                  <a:pt x="1043427" y="1030152"/>
                  <a:pt x="1049420" y="1033148"/>
                </a:cubicBezTo>
                <a:cubicBezTo>
                  <a:pt x="1055413" y="1036145"/>
                  <a:pt x="1054813" y="1037343"/>
                  <a:pt x="1053615" y="1042137"/>
                </a:cubicBezTo>
                <a:cubicBezTo>
                  <a:pt x="1051817" y="1046932"/>
                  <a:pt x="1057810" y="1048729"/>
                  <a:pt x="1066199" y="1052325"/>
                </a:cubicBezTo>
                <a:cubicBezTo>
                  <a:pt x="1074589" y="1055921"/>
                  <a:pt x="1076387" y="1054123"/>
                  <a:pt x="1082979" y="1050527"/>
                </a:cubicBezTo>
                <a:cubicBezTo>
                  <a:pt x="1090170" y="1046932"/>
                  <a:pt x="1090170" y="1042137"/>
                  <a:pt x="1101557" y="1040340"/>
                </a:cubicBezTo>
                <a:cubicBezTo>
                  <a:pt x="1113542" y="1038542"/>
                  <a:pt x="1118336" y="1035545"/>
                  <a:pt x="1128524" y="1023560"/>
                </a:cubicBezTo>
                <a:cubicBezTo>
                  <a:pt x="1138712" y="1011574"/>
                  <a:pt x="1142907" y="1009177"/>
                  <a:pt x="1154293" y="1009177"/>
                </a:cubicBezTo>
                <a:cubicBezTo>
                  <a:pt x="1157888" y="1009177"/>
                  <a:pt x="1161484" y="1008578"/>
                  <a:pt x="1164480" y="1007979"/>
                </a:cubicBezTo>
                <a:cubicBezTo>
                  <a:pt x="1164480" y="1007979"/>
                  <a:pt x="1164480" y="1008578"/>
                  <a:pt x="1165080" y="1008578"/>
                </a:cubicBezTo>
                <a:cubicBezTo>
                  <a:pt x="1171672" y="1006780"/>
                  <a:pt x="1178863" y="1002585"/>
                  <a:pt x="1186054" y="1000188"/>
                </a:cubicBezTo>
                <a:cubicBezTo>
                  <a:pt x="1186054" y="1000188"/>
                  <a:pt x="1186054" y="1000188"/>
                  <a:pt x="1186654" y="1000188"/>
                </a:cubicBezTo>
                <a:cubicBezTo>
                  <a:pt x="1198040" y="996593"/>
                  <a:pt x="1199238" y="1000188"/>
                  <a:pt x="1206430" y="1001387"/>
                </a:cubicBezTo>
                <a:cubicBezTo>
                  <a:pt x="1213621" y="1001986"/>
                  <a:pt x="1210625" y="997192"/>
                  <a:pt x="1205830" y="997192"/>
                </a:cubicBezTo>
                <a:cubicBezTo>
                  <a:pt x="1201036" y="997192"/>
                  <a:pt x="1199238" y="995394"/>
                  <a:pt x="1199838" y="992398"/>
                </a:cubicBezTo>
                <a:cubicBezTo>
                  <a:pt x="1200437" y="989401"/>
                  <a:pt x="1207029" y="990600"/>
                  <a:pt x="1214819" y="994795"/>
                </a:cubicBezTo>
                <a:cubicBezTo>
                  <a:pt x="1222011" y="998990"/>
                  <a:pt x="1219014" y="992997"/>
                  <a:pt x="1214220" y="988802"/>
                </a:cubicBezTo>
                <a:cubicBezTo>
                  <a:pt x="1208827" y="984607"/>
                  <a:pt x="1214819" y="985206"/>
                  <a:pt x="1221411" y="987603"/>
                </a:cubicBezTo>
                <a:cubicBezTo>
                  <a:pt x="1228003" y="990001"/>
                  <a:pt x="1228003" y="988802"/>
                  <a:pt x="1225606" y="984607"/>
                </a:cubicBezTo>
                <a:cubicBezTo>
                  <a:pt x="1223209" y="980412"/>
                  <a:pt x="1223209" y="979214"/>
                  <a:pt x="1228003" y="976217"/>
                </a:cubicBezTo>
                <a:cubicBezTo>
                  <a:pt x="1232798" y="973221"/>
                  <a:pt x="1235195" y="970824"/>
                  <a:pt x="1242386" y="968427"/>
                </a:cubicBezTo>
                <a:cubicBezTo>
                  <a:pt x="1249577" y="966030"/>
                  <a:pt x="1251375" y="961835"/>
                  <a:pt x="1256169" y="955842"/>
                </a:cubicBezTo>
                <a:cubicBezTo>
                  <a:pt x="1260964" y="949849"/>
                  <a:pt x="1263960" y="948051"/>
                  <a:pt x="1266357" y="947452"/>
                </a:cubicBezTo>
                <a:cubicBezTo>
                  <a:pt x="1268754" y="946853"/>
                  <a:pt x="1270552" y="949849"/>
                  <a:pt x="1270552" y="954044"/>
                </a:cubicBezTo>
                <a:cubicBezTo>
                  <a:pt x="1270552" y="958239"/>
                  <a:pt x="1270552" y="962434"/>
                  <a:pt x="1265758" y="962434"/>
                </a:cubicBezTo>
                <a:cubicBezTo>
                  <a:pt x="1260964" y="962434"/>
                  <a:pt x="1261563" y="967827"/>
                  <a:pt x="1263361" y="970824"/>
                </a:cubicBezTo>
                <a:cubicBezTo>
                  <a:pt x="1265158" y="973820"/>
                  <a:pt x="1269353" y="975019"/>
                  <a:pt x="1271750" y="973221"/>
                </a:cubicBezTo>
                <a:cubicBezTo>
                  <a:pt x="1274148" y="971423"/>
                  <a:pt x="1274148" y="970225"/>
                  <a:pt x="1278942" y="970824"/>
                </a:cubicBezTo>
                <a:cubicBezTo>
                  <a:pt x="1284335" y="971423"/>
                  <a:pt x="1282537" y="968427"/>
                  <a:pt x="1279541" y="965430"/>
                </a:cubicBezTo>
                <a:cubicBezTo>
                  <a:pt x="1276545" y="962434"/>
                  <a:pt x="1277144" y="960037"/>
                  <a:pt x="1278942" y="955243"/>
                </a:cubicBezTo>
                <a:cubicBezTo>
                  <a:pt x="1280740" y="951048"/>
                  <a:pt x="1284335" y="945654"/>
                  <a:pt x="1287332" y="940860"/>
                </a:cubicBezTo>
                <a:cubicBezTo>
                  <a:pt x="1290328" y="936066"/>
                  <a:pt x="1295721" y="933070"/>
                  <a:pt x="1301115" y="932470"/>
                </a:cubicBezTo>
                <a:cubicBezTo>
                  <a:pt x="1306508" y="931871"/>
                  <a:pt x="1312501" y="933669"/>
                  <a:pt x="1316097" y="934268"/>
                </a:cubicBezTo>
                <a:cubicBezTo>
                  <a:pt x="1320292" y="934867"/>
                  <a:pt x="1322689" y="934268"/>
                  <a:pt x="1322689" y="941459"/>
                </a:cubicBezTo>
                <a:cubicBezTo>
                  <a:pt x="1322689" y="944456"/>
                  <a:pt x="1323288" y="945654"/>
                  <a:pt x="1324487" y="945654"/>
                </a:cubicBezTo>
                <a:cubicBezTo>
                  <a:pt x="1325685" y="945654"/>
                  <a:pt x="1327483" y="943257"/>
                  <a:pt x="1327483" y="940261"/>
                </a:cubicBezTo>
                <a:cubicBezTo>
                  <a:pt x="1328082" y="935467"/>
                  <a:pt x="1332876" y="934268"/>
                  <a:pt x="1337671" y="933070"/>
                </a:cubicBezTo>
                <a:cubicBezTo>
                  <a:pt x="1342465" y="932470"/>
                  <a:pt x="1348458" y="933669"/>
                  <a:pt x="1347259" y="937864"/>
                </a:cubicBezTo>
                <a:cubicBezTo>
                  <a:pt x="1346060" y="942059"/>
                  <a:pt x="1343064" y="942658"/>
                  <a:pt x="1344263" y="945055"/>
                </a:cubicBezTo>
                <a:cubicBezTo>
                  <a:pt x="1344862" y="947452"/>
                  <a:pt x="1346660" y="948651"/>
                  <a:pt x="1348458" y="944456"/>
                </a:cubicBezTo>
                <a:cubicBezTo>
                  <a:pt x="1350255" y="940261"/>
                  <a:pt x="1352652" y="937265"/>
                  <a:pt x="1352652" y="940860"/>
                </a:cubicBezTo>
                <a:cubicBezTo>
                  <a:pt x="1352652" y="944456"/>
                  <a:pt x="1355050" y="943257"/>
                  <a:pt x="1356847" y="939662"/>
                </a:cubicBezTo>
                <a:cubicBezTo>
                  <a:pt x="1359244" y="936066"/>
                  <a:pt x="1361042" y="936066"/>
                  <a:pt x="1365836" y="934268"/>
                </a:cubicBezTo>
                <a:cubicBezTo>
                  <a:pt x="1371230" y="932470"/>
                  <a:pt x="1371829" y="933669"/>
                  <a:pt x="1371829" y="931272"/>
                </a:cubicBezTo>
                <a:cubicBezTo>
                  <a:pt x="1371829" y="928875"/>
                  <a:pt x="1373627" y="927077"/>
                  <a:pt x="1376024" y="927077"/>
                </a:cubicBezTo>
                <a:cubicBezTo>
                  <a:pt x="1378421" y="926478"/>
                  <a:pt x="1380219" y="926478"/>
                  <a:pt x="1378421" y="924680"/>
                </a:cubicBezTo>
                <a:cubicBezTo>
                  <a:pt x="1376623" y="922882"/>
                  <a:pt x="1377223" y="921084"/>
                  <a:pt x="1380818" y="917488"/>
                </a:cubicBezTo>
                <a:cubicBezTo>
                  <a:pt x="1385013" y="913893"/>
                  <a:pt x="1383215" y="913893"/>
                  <a:pt x="1380219" y="913294"/>
                </a:cubicBezTo>
                <a:cubicBezTo>
                  <a:pt x="1377223" y="912694"/>
                  <a:pt x="1376024" y="910896"/>
                  <a:pt x="1382017" y="909698"/>
                </a:cubicBezTo>
                <a:cubicBezTo>
                  <a:pt x="1382017" y="909698"/>
                  <a:pt x="1382017" y="909698"/>
                  <a:pt x="1382017" y="909698"/>
                </a:cubicBezTo>
                <a:cubicBezTo>
                  <a:pt x="1382017" y="909698"/>
                  <a:pt x="1382017" y="909099"/>
                  <a:pt x="1382017" y="907900"/>
                </a:cubicBezTo>
                <a:cubicBezTo>
                  <a:pt x="1382017" y="906702"/>
                  <a:pt x="1382017" y="906102"/>
                  <a:pt x="1382017" y="906102"/>
                </a:cubicBezTo>
                <a:lnTo>
                  <a:pt x="1382017" y="906102"/>
                </a:lnTo>
                <a:lnTo>
                  <a:pt x="1382017" y="906102"/>
                </a:lnTo>
                <a:cubicBezTo>
                  <a:pt x="1382017" y="906102"/>
                  <a:pt x="1382017" y="906102"/>
                  <a:pt x="1382017" y="906702"/>
                </a:cubicBezTo>
                <a:cubicBezTo>
                  <a:pt x="1382017" y="907301"/>
                  <a:pt x="1382017" y="907301"/>
                  <a:pt x="1382017" y="907900"/>
                </a:cubicBezTo>
                <a:cubicBezTo>
                  <a:pt x="1382017" y="908499"/>
                  <a:pt x="1382017" y="909099"/>
                  <a:pt x="1382017" y="909099"/>
                </a:cubicBezTo>
                <a:cubicBezTo>
                  <a:pt x="1382017" y="909099"/>
                  <a:pt x="1382017" y="909698"/>
                  <a:pt x="1382017" y="909698"/>
                </a:cubicBezTo>
                <a:cubicBezTo>
                  <a:pt x="1387410" y="909099"/>
                  <a:pt x="1386811" y="908499"/>
                  <a:pt x="1387410" y="904304"/>
                </a:cubicBezTo>
                <a:cubicBezTo>
                  <a:pt x="1388010" y="900110"/>
                  <a:pt x="1389807" y="897113"/>
                  <a:pt x="1394602" y="894117"/>
                </a:cubicBezTo>
                <a:cubicBezTo>
                  <a:pt x="1398797" y="891120"/>
                  <a:pt x="1403591" y="885128"/>
                  <a:pt x="1404789" y="880333"/>
                </a:cubicBezTo>
                <a:cubicBezTo>
                  <a:pt x="1405389" y="875539"/>
                  <a:pt x="1407186" y="871944"/>
                  <a:pt x="1404190" y="873741"/>
                </a:cubicBezTo>
                <a:cubicBezTo>
                  <a:pt x="1401194" y="876139"/>
                  <a:pt x="1401793" y="877936"/>
                  <a:pt x="1399995" y="874341"/>
                </a:cubicBezTo>
                <a:cubicBezTo>
                  <a:pt x="1398197" y="870745"/>
                  <a:pt x="1402991" y="868947"/>
                  <a:pt x="1408385" y="862355"/>
                </a:cubicBezTo>
                <a:cubicBezTo>
                  <a:pt x="1413778" y="856363"/>
                  <a:pt x="1413778" y="855164"/>
                  <a:pt x="1413179" y="859958"/>
                </a:cubicBezTo>
                <a:cubicBezTo>
                  <a:pt x="1412580" y="864752"/>
                  <a:pt x="1414977" y="865352"/>
                  <a:pt x="1416175" y="863554"/>
                </a:cubicBezTo>
                <a:cubicBezTo>
                  <a:pt x="1417374" y="861157"/>
                  <a:pt x="1418573" y="859359"/>
                  <a:pt x="1416775" y="855763"/>
                </a:cubicBezTo>
                <a:cubicBezTo>
                  <a:pt x="1414977" y="851568"/>
                  <a:pt x="1415576" y="850370"/>
                  <a:pt x="1417374" y="847973"/>
                </a:cubicBezTo>
                <a:cubicBezTo>
                  <a:pt x="1419771" y="845576"/>
                  <a:pt x="1421569" y="844377"/>
                  <a:pt x="1424565" y="843179"/>
                </a:cubicBezTo>
                <a:cubicBezTo>
                  <a:pt x="1427562" y="841980"/>
                  <a:pt x="1428161" y="844377"/>
                  <a:pt x="1428760" y="840781"/>
                </a:cubicBezTo>
                <a:cubicBezTo>
                  <a:pt x="1429360" y="837186"/>
                  <a:pt x="1429360" y="835388"/>
                  <a:pt x="1429360" y="835388"/>
                </a:cubicBezTo>
                <a:cubicBezTo>
                  <a:pt x="1429360" y="835388"/>
                  <a:pt x="1432955" y="831792"/>
                  <a:pt x="1436551" y="832392"/>
                </a:cubicBezTo>
                <a:cubicBezTo>
                  <a:pt x="1436551" y="831792"/>
                  <a:pt x="1437150" y="830594"/>
                  <a:pt x="1438948" y="829395"/>
                </a:cubicBezTo>
                <a:cubicBezTo>
                  <a:pt x="1439547" y="828796"/>
                  <a:pt x="1439547" y="828796"/>
                  <a:pt x="1440146" y="828197"/>
                </a:cubicBezTo>
                <a:cubicBezTo>
                  <a:pt x="1441944" y="826399"/>
                  <a:pt x="1443742" y="825200"/>
                  <a:pt x="1443742" y="825200"/>
                </a:cubicBezTo>
                <a:cubicBezTo>
                  <a:pt x="1444341" y="824601"/>
                  <a:pt x="1445540" y="823402"/>
                  <a:pt x="1446139" y="822803"/>
                </a:cubicBezTo>
                <a:cubicBezTo>
                  <a:pt x="1447937" y="821605"/>
                  <a:pt x="1449735" y="821605"/>
                  <a:pt x="1452132" y="821005"/>
                </a:cubicBezTo>
                <a:cubicBezTo>
                  <a:pt x="1452731" y="821005"/>
                  <a:pt x="1453330" y="821005"/>
                  <a:pt x="1454529" y="821005"/>
                </a:cubicBezTo>
                <a:cubicBezTo>
                  <a:pt x="1456327" y="821005"/>
                  <a:pt x="1458125" y="821005"/>
                  <a:pt x="1459922" y="821605"/>
                </a:cubicBezTo>
                <a:cubicBezTo>
                  <a:pt x="1464117" y="822204"/>
                  <a:pt x="1466514" y="822204"/>
                  <a:pt x="1469511" y="821005"/>
                </a:cubicBezTo>
                <a:cubicBezTo>
                  <a:pt x="1470709" y="820406"/>
                  <a:pt x="1472507" y="819807"/>
                  <a:pt x="1473706" y="819208"/>
                </a:cubicBezTo>
                <a:cubicBezTo>
                  <a:pt x="1475504" y="818608"/>
                  <a:pt x="1476702" y="817410"/>
                  <a:pt x="1478500" y="816810"/>
                </a:cubicBezTo>
                <a:cubicBezTo>
                  <a:pt x="1480298" y="816211"/>
                  <a:pt x="1481496" y="815612"/>
                  <a:pt x="1482695" y="815013"/>
                </a:cubicBezTo>
                <a:cubicBezTo>
                  <a:pt x="1483294" y="814413"/>
                  <a:pt x="1483893" y="813814"/>
                  <a:pt x="1484493" y="813814"/>
                </a:cubicBezTo>
                <a:cubicBezTo>
                  <a:pt x="1485092" y="813215"/>
                  <a:pt x="1485092" y="813215"/>
                  <a:pt x="1485691" y="813215"/>
                </a:cubicBezTo>
                <a:cubicBezTo>
                  <a:pt x="1486291" y="813215"/>
                  <a:pt x="1486890" y="812616"/>
                  <a:pt x="1487489" y="812616"/>
                </a:cubicBezTo>
                <a:cubicBezTo>
                  <a:pt x="1488088" y="812616"/>
                  <a:pt x="1489287" y="812616"/>
                  <a:pt x="1489886" y="812616"/>
                </a:cubicBezTo>
                <a:cubicBezTo>
                  <a:pt x="1490485" y="812616"/>
                  <a:pt x="1491085" y="812616"/>
                  <a:pt x="1491085" y="812616"/>
                </a:cubicBezTo>
                <a:cubicBezTo>
                  <a:pt x="1492883" y="812616"/>
                  <a:pt x="1495280" y="813215"/>
                  <a:pt x="1498875" y="813215"/>
                </a:cubicBezTo>
                <a:cubicBezTo>
                  <a:pt x="1499475" y="813215"/>
                  <a:pt x="1500673" y="813215"/>
                  <a:pt x="1501272" y="813215"/>
                </a:cubicBezTo>
                <a:cubicBezTo>
                  <a:pt x="1503070" y="813215"/>
                  <a:pt x="1504269" y="813215"/>
                  <a:pt x="1504868" y="813215"/>
                </a:cubicBezTo>
                <a:cubicBezTo>
                  <a:pt x="1505467" y="813215"/>
                  <a:pt x="1506067" y="813814"/>
                  <a:pt x="1506067" y="813814"/>
                </a:cubicBezTo>
                <a:cubicBezTo>
                  <a:pt x="1506067" y="814413"/>
                  <a:pt x="1504269" y="815612"/>
                  <a:pt x="1501872" y="816810"/>
                </a:cubicBezTo>
                <a:cubicBezTo>
                  <a:pt x="1500673" y="817410"/>
                  <a:pt x="1500074" y="818608"/>
                  <a:pt x="1498875" y="819208"/>
                </a:cubicBezTo>
                <a:cubicBezTo>
                  <a:pt x="1498276" y="819807"/>
                  <a:pt x="1497077" y="821005"/>
                  <a:pt x="1496478" y="821605"/>
                </a:cubicBezTo>
                <a:lnTo>
                  <a:pt x="1523446" y="816810"/>
                </a:lnTo>
                <a:cubicBezTo>
                  <a:pt x="1524045" y="815013"/>
                  <a:pt x="1525243" y="813215"/>
                  <a:pt x="1526442" y="810818"/>
                </a:cubicBezTo>
                <a:cubicBezTo>
                  <a:pt x="1528839" y="807222"/>
                  <a:pt x="1531835" y="805424"/>
                  <a:pt x="1534832" y="804226"/>
                </a:cubicBezTo>
                <a:cubicBezTo>
                  <a:pt x="1535431" y="803626"/>
                  <a:pt x="1536630" y="803626"/>
                  <a:pt x="1537229" y="803626"/>
                </a:cubicBezTo>
                <a:cubicBezTo>
                  <a:pt x="1539626" y="803027"/>
                  <a:pt x="1542023" y="802428"/>
                  <a:pt x="1543821" y="801229"/>
                </a:cubicBezTo>
                <a:cubicBezTo>
                  <a:pt x="1545619" y="800031"/>
                  <a:pt x="1546218" y="799432"/>
                  <a:pt x="1545619" y="798233"/>
                </a:cubicBezTo>
                <a:cubicBezTo>
                  <a:pt x="1545019" y="797034"/>
                  <a:pt x="1543222" y="795836"/>
                  <a:pt x="1542622" y="794637"/>
                </a:cubicBezTo>
                <a:cubicBezTo>
                  <a:pt x="1542622" y="794637"/>
                  <a:pt x="1542023" y="794038"/>
                  <a:pt x="1542023" y="794038"/>
                </a:cubicBezTo>
                <a:cubicBezTo>
                  <a:pt x="1542023" y="793439"/>
                  <a:pt x="1542023" y="792839"/>
                  <a:pt x="1542023" y="792240"/>
                </a:cubicBezTo>
                <a:cubicBezTo>
                  <a:pt x="1542023" y="791641"/>
                  <a:pt x="1542622" y="791042"/>
                  <a:pt x="1542023" y="790442"/>
                </a:cubicBezTo>
                <a:cubicBezTo>
                  <a:pt x="1542023" y="789843"/>
                  <a:pt x="1541424" y="789244"/>
                  <a:pt x="1540225" y="789244"/>
                </a:cubicBezTo>
                <a:cubicBezTo>
                  <a:pt x="1539626" y="789244"/>
                  <a:pt x="1539626" y="789244"/>
                  <a:pt x="1539027" y="789244"/>
                </a:cubicBezTo>
                <a:cubicBezTo>
                  <a:pt x="1538427" y="789244"/>
                  <a:pt x="1537828" y="788645"/>
                  <a:pt x="1537229" y="788645"/>
                </a:cubicBezTo>
                <a:cubicBezTo>
                  <a:pt x="1536630" y="788045"/>
                  <a:pt x="1536630" y="787446"/>
                  <a:pt x="1538427" y="785648"/>
                </a:cubicBezTo>
                <a:cubicBezTo>
                  <a:pt x="1540825" y="783850"/>
                  <a:pt x="1542023" y="782652"/>
                  <a:pt x="1542622" y="780255"/>
                </a:cubicBezTo>
                <a:cubicBezTo>
                  <a:pt x="1542622" y="779655"/>
                  <a:pt x="1543222" y="778457"/>
                  <a:pt x="1543222" y="777258"/>
                </a:cubicBezTo>
                <a:cubicBezTo>
                  <a:pt x="1543821" y="774262"/>
                  <a:pt x="1543821" y="772464"/>
                  <a:pt x="1546218" y="770067"/>
                </a:cubicBezTo>
                <a:cubicBezTo>
                  <a:pt x="1546817" y="769468"/>
                  <a:pt x="1546817" y="769468"/>
                  <a:pt x="1547416" y="768868"/>
                </a:cubicBezTo>
                <a:cubicBezTo>
                  <a:pt x="1548016" y="768269"/>
                  <a:pt x="1548615" y="768269"/>
                  <a:pt x="1549214" y="767670"/>
                </a:cubicBezTo>
                <a:cubicBezTo>
                  <a:pt x="1550413" y="766471"/>
                  <a:pt x="1551611" y="765872"/>
                  <a:pt x="1552211" y="764674"/>
                </a:cubicBezTo>
                <a:cubicBezTo>
                  <a:pt x="1552810" y="763475"/>
                  <a:pt x="1553409" y="762876"/>
                  <a:pt x="1554008" y="761677"/>
                </a:cubicBezTo>
                <a:cubicBezTo>
                  <a:pt x="1555207" y="759879"/>
                  <a:pt x="1555806" y="757482"/>
                  <a:pt x="1557604" y="754486"/>
                </a:cubicBezTo>
                <a:cubicBezTo>
                  <a:pt x="1560001" y="750890"/>
                  <a:pt x="1560600" y="749092"/>
                  <a:pt x="1560001" y="748493"/>
                </a:cubicBezTo>
                <a:cubicBezTo>
                  <a:pt x="1559402" y="748493"/>
                  <a:pt x="1559402" y="748493"/>
                  <a:pt x="1558203" y="749092"/>
                </a:cubicBezTo>
                <a:cubicBezTo>
                  <a:pt x="1557604" y="749092"/>
                  <a:pt x="1557604" y="749692"/>
                  <a:pt x="1557005" y="749692"/>
                </a:cubicBezTo>
                <a:cubicBezTo>
                  <a:pt x="1555806" y="750291"/>
                  <a:pt x="1555207" y="750291"/>
                  <a:pt x="1554608" y="750291"/>
                </a:cubicBezTo>
                <a:cubicBezTo>
                  <a:pt x="1554008" y="750291"/>
                  <a:pt x="1553409" y="750291"/>
                  <a:pt x="1552810" y="750291"/>
                </a:cubicBezTo>
                <a:cubicBezTo>
                  <a:pt x="1552211" y="750291"/>
                  <a:pt x="1551611" y="750291"/>
                  <a:pt x="1551012" y="750890"/>
                </a:cubicBezTo>
                <a:cubicBezTo>
                  <a:pt x="1550413" y="750890"/>
                  <a:pt x="1550413" y="751490"/>
                  <a:pt x="1549814" y="752089"/>
                </a:cubicBezTo>
                <a:cubicBezTo>
                  <a:pt x="1549214" y="752688"/>
                  <a:pt x="1549214" y="753287"/>
                  <a:pt x="1548615" y="753887"/>
                </a:cubicBezTo>
                <a:cubicBezTo>
                  <a:pt x="1544420" y="759879"/>
                  <a:pt x="1543222" y="761078"/>
                  <a:pt x="1536030" y="764674"/>
                </a:cubicBezTo>
                <a:cubicBezTo>
                  <a:pt x="1532435" y="766471"/>
                  <a:pt x="1530037" y="767670"/>
                  <a:pt x="1528240" y="767670"/>
                </a:cubicBezTo>
                <a:cubicBezTo>
                  <a:pt x="1526442" y="767670"/>
                  <a:pt x="1525843" y="767071"/>
                  <a:pt x="1525843" y="765273"/>
                </a:cubicBezTo>
                <a:cubicBezTo>
                  <a:pt x="1525843" y="763475"/>
                  <a:pt x="1525843" y="762276"/>
                  <a:pt x="1525243" y="761677"/>
                </a:cubicBezTo>
                <a:cubicBezTo>
                  <a:pt x="1525243" y="761677"/>
                  <a:pt x="1524644" y="761677"/>
                  <a:pt x="1524045" y="761677"/>
                </a:cubicBezTo>
                <a:cubicBezTo>
                  <a:pt x="1523446" y="761677"/>
                  <a:pt x="1522846" y="762276"/>
                  <a:pt x="1522247" y="762876"/>
                </a:cubicBezTo>
                <a:cubicBezTo>
                  <a:pt x="1520449" y="764674"/>
                  <a:pt x="1520449" y="765872"/>
                  <a:pt x="1519251" y="765872"/>
                </a:cubicBezTo>
                <a:cubicBezTo>
                  <a:pt x="1519251" y="765872"/>
                  <a:pt x="1518651" y="765872"/>
                  <a:pt x="1518651" y="765872"/>
                </a:cubicBezTo>
                <a:cubicBezTo>
                  <a:pt x="1518651" y="765872"/>
                  <a:pt x="1518052" y="765872"/>
                  <a:pt x="1517453" y="765273"/>
                </a:cubicBezTo>
                <a:cubicBezTo>
                  <a:pt x="1516853" y="764674"/>
                  <a:pt x="1516254" y="764674"/>
                  <a:pt x="1515056" y="764674"/>
                </a:cubicBezTo>
                <a:cubicBezTo>
                  <a:pt x="1513857" y="764674"/>
                  <a:pt x="1513258" y="764674"/>
                  <a:pt x="1512659" y="765273"/>
                </a:cubicBezTo>
                <a:cubicBezTo>
                  <a:pt x="1512659" y="765273"/>
                  <a:pt x="1512659" y="765872"/>
                  <a:pt x="1512659" y="765872"/>
                </a:cubicBezTo>
                <a:cubicBezTo>
                  <a:pt x="1512659" y="766471"/>
                  <a:pt x="1512659" y="767071"/>
                  <a:pt x="1512659" y="768269"/>
                </a:cubicBezTo>
                <a:cubicBezTo>
                  <a:pt x="1512659" y="768868"/>
                  <a:pt x="1512659" y="769468"/>
                  <a:pt x="1512659" y="769468"/>
                </a:cubicBezTo>
                <a:cubicBezTo>
                  <a:pt x="1512659" y="771266"/>
                  <a:pt x="1509662" y="771865"/>
                  <a:pt x="1504868" y="772464"/>
                </a:cubicBezTo>
                <a:cubicBezTo>
                  <a:pt x="1503669" y="772464"/>
                  <a:pt x="1501872" y="773063"/>
                  <a:pt x="1500074" y="773063"/>
                </a:cubicBezTo>
                <a:cubicBezTo>
                  <a:pt x="1497677" y="773663"/>
                  <a:pt x="1495280" y="774262"/>
                  <a:pt x="1493482" y="774861"/>
                </a:cubicBezTo>
                <a:cubicBezTo>
                  <a:pt x="1492283" y="774861"/>
                  <a:pt x="1491085" y="775461"/>
                  <a:pt x="1490485" y="776060"/>
                </a:cubicBezTo>
                <a:cubicBezTo>
                  <a:pt x="1486291" y="777258"/>
                  <a:pt x="1481496" y="779655"/>
                  <a:pt x="1475504" y="782053"/>
                </a:cubicBezTo>
                <a:cubicBezTo>
                  <a:pt x="1473706" y="782652"/>
                  <a:pt x="1472507" y="783251"/>
                  <a:pt x="1470709" y="784450"/>
                </a:cubicBezTo>
                <a:cubicBezTo>
                  <a:pt x="1462320" y="788645"/>
                  <a:pt x="1455128" y="789244"/>
                  <a:pt x="1450933" y="788045"/>
                </a:cubicBezTo>
                <a:cubicBezTo>
                  <a:pt x="1448536" y="787446"/>
                  <a:pt x="1446738" y="786247"/>
                  <a:pt x="1445540" y="785049"/>
                </a:cubicBezTo>
                <a:cubicBezTo>
                  <a:pt x="1444941" y="783850"/>
                  <a:pt x="1444341" y="783251"/>
                  <a:pt x="1443742" y="782053"/>
                </a:cubicBezTo>
                <a:cubicBezTo>
                  <a:pt x="1443143" y="781453"/>
                  <a:pt x="1442544" y="780854"/>
                  <a:pt x="1441944" y="781453"/>
                </a:cubicBezTo>
                <a:cubicBezTo>
                  <a:pt x="1441345" y="781453"/>
                  <a:pt x="1441345" y="782053"/>
                  <a:pt x="1440746" y="782652"/>
                </a:cubicBezTo>
                <a:cubicBezTo>
                  <a:pt x="1438948" y="784450"/>
                  <a:pt x="1438948" y="785648"/>
                  <a:pt x="1438349" y="785648"/>
                </a:cubicBezTo>
                <a:cubicBezTo>
                  <a:pt x="1438349" y="785648"/>
                  <a:pt x="1437749" y="785648"/>
                  <a:pt x="1437150" y="785049"/>
                </a:cubicBezTo>
                <a:cubicBezTo>
                  <a:pt x="1437150" y="785049"/>
                  <a:pt x="1436551" y="784450"/>
                  <a:pt x="1436551" y="784450"/>
                </a:cubicBezTo>
                <a:cubicBezTo>
                  <a:pt x="1435352" y="783251"/>
                  <a:pt x="1435352" y="782652"/>
                  <a:pt x="1437749" y="778457"/>
                </a:cubicBezTo>
                <a:cubicBezTo>
                  <a:pt x="1438349" y="777258"/>
                  <a:pt x="1438948" y="776060"/>
                  <a:pt x="1438948" y="774861"/>
                </a:cubicBezTo>
                <a:cubicBezTo>
                  <a:pt x="1438948" y="773663"/>
                  <a:pt x="1438948" y="772464"/>
                  <a:pt x="1438349" y="771266"/>
                </a:cubicBezTo>
                <a:cubicBezTo>
                  <a:pt x="1437749" y="770067"/>
                  <a:pt x="1437749" y="768868"/>
                  <a:pt x="1437150" y="767670"/>
                </a:cubicBezTo>
                <a:cubicBezTo>
                  <a:pt x="1437150" y="767071"/>
                  <a:pt x="1436551" y="766471"/>
                  <a:pt x="1436551" y="765872"/>
                </a:cubicBezTo>
                <a:cubicBezTo>
                  <a:pt x="1436551" y="765273"/>
                  <a:pt x="1435951" y="764674"/>
                  <a:pt x="1435951" y="764074"/>
                </a:cubicBezTo>
                <a:cubicBezTo>
                  <a:pt x="1435951" y="762876"/>
                  <a:pt x="1435951" y="761677"/>
                  <a:pt x="1435951" y="760479"/>
                </a:cubicBezTo>
                <a:cubicBezTo>
                  <a:pt x="1436551" y="759280"/>
                  <a:pt x="1436551" y="758082"/>
                  <a:pt x="1437749" y="757482"/>
                </a:cubicBezTo>
                <a:cubicBezTo>
                  <a:pt x="1439547" y="755684"/>
                  <a:pt x="1441944" y="753887"/>
                  <a:pt x="1444941" y="752089"/>
                </a:cubicBezTo>
                <a:cubicBezTo>
                  <a:pt x="1449135" y="749692"/>
                  <a:pt x="1451533" y="750291"/>
                  <a:pt x="1453330" y="750291"/>
                </a:cubicBezTo>
                <a:cubicBezTo>
                  <a:pt x="1453930" y="750291"/>
                  <a:pt x="1453930" y="750291"/>
                  <a:pt x="1454529" y="750291"/>
                </a:cubicBezTo>
                <a:cubicBezTo>
                  <a:pt x="1455128" y="750291"/>
                  <a:pt x="1455728" y="749692"/>
                  <a:pt x="1456327" y="748493"/>
                </a:cubicBezTo>
                <a:cubicBezTo>
                  <a:pt x="1456926" y="747295"/>
                  <a:pt x="1458125" y="746096"/>
                  <a:pt x="1458724" y="744898"/>
                </a:cubicBezTo>
                <a:cubicBezTo>
                  <a:pt x="1460522" y="743100"/>
                  <a:pt x="1462320" y="741901"/>
                  <a:pt x="1465915" y="741901"/>
                </a:cubicBezTo>
                <a:cubicBezTo>
                  <a:pt x="1471309" y="741302"/>
                  <a:pt x="1473106" y="740103"/>
                  <a:pt x="1474305" y="738306"/>
                </a:cubicBezTo>
                <a:cubicBezTo>
                  <a:pt x="1474305" y="737706"/>
                  <a:pt x="1474305" y="737706"/>
                  <a:pt x="1474305" y="737107"/>
                </a:cubicBezTo>
                <a:cubicBezTo>
                  <a:pt x="1473106" y="735908"/>
                  <a:pt x="1469511" y="735908"/>
                  <a:pt x="1463518" y="737107"/>
                </a:cubicBezTo>
                <a:cubicBezTo>
                  <a:pt x="1461720" y="737706"/>
                  <a:pt x="1459922" y="737706"/>
                  <a:pt x="1458724" y="737706"/>
                </a:cubicBezTo>
                <a:cubicBezTo>
                  <a:pt x="1456327" y="737706"/>
                  <a:pt x="1455128" y="737107"/>
                  <a:pt x="1454529" y="735309"/>
                </a:cubicBezTo>
                <a:cubicBezTo>
                  <a:pt x="1454529" y="734710"/>
                  <a:pt x="1454529" y="734710"/>
                  <a:pt x="1453930" y="734111"/>
                </a:cubicBezTo>
                <a:cubicBezTo>
                  <a:pt x="1453930" y="733511"/>
                  <a:pt x="1453930" y="732912"/>
                  <a:pt x="1453930" y="732313"/>
                </a:cubicBezTo>
                <a:cubicBezTo>
                  <a:pt x="1453330" y="728118"/>
                  <a:pt x="1455728" y="727519"/>
                  <a:pt x="1460522" y="727519"/>
                </a:cubicBezTo>
                <a:cubicBezTo>
                  <a:pt x="1462320" y="727519"/>
                  <a:pt x="1464117" y="727519"/>
                  <a:pt x="1465915" y="727519"/>
                </a:cubicBezTo>
                <a:cubicBezTo>
                  <a:pt x="1467114" y="727519"/>
                  <a:pt x="1467713" y="727519"/>
                  <a:pt x="1468912" y="727519"/>
                </a:cubicBezTo>
                <a:cubicBezTo>
                  <a:pt x="1469511" y="727519"/>
                  <a:pt x="1470709" y="727519"/>
                  <a:pt x="1471309" y="727519"/>
                </a:cubicBezTo>
                <a:cubicBezTo>
                  <a:pt x="1475504" y="726919"/>
                  <a:pt x="1476702" y="725122"/>
                  <a:pt x="1474305" y="724522"/>
                </a:cubicBezTo>
                <a:cubicBezTo>
                  <a:pt x="1473106" y="723923"/>
                  <a:pt x="1472507" y="723923"/>
                  <a:pt x="1472507" y="722724"/>
                </a:cubicBezTo>
                <a:cubicBezTo>
                  <a:pt x="1472507" y="722724"/>
                  <a:pt x="1472507" y="722125"/>
                  <a:pt x="1473106" y="721526"/>
                </a:cubicBezTo>
                <a:cubicBezTo>
                  <a:pt x="1473706" y="720927"/>
                  <a:pt x="1474305" y="720327"/>
                  <a:pt x="1474904" y="719728"/>
                </a:cubicBezTo>
                <a:cubicBezTo>
                  <a:pt x="1475504" y="719129"/>
                  <a:pt x="1476103" y="719129"/>
                  <a:pt x="1476103" y="718530"/>
                </a:cubicBezTo>
                <a:cubicBezTo>
                  <a:pt x="1477301" y="717930"/>
                  <a:pt x="1477901" y="717331"/>
                  <a:pt x="1479099" y="717331"/>
                </a:cubicBezTo>
                <a:cubicBezTo>
                  <a:pt x="1480298" y="716732"/>
                  <a:pt x="1481496" y="716732"/>
                  <a:pt x="1483294" y="716732"/>
                </a:cubicBezTo>
                <a:cubicBezTo>
                  <a:pt x="1484493" y="716732"/>
                  <a:pt x="1485691" y="716132"/>
                  <a:pt x="1486890" y="715533"/>
                </a:cubicBezTo>
                <a:cubicBezTo>
                  <a:pt x="1489886" y="713136"/>
                  <a:pt x="1494081" y="710140"/>
                  <a:pt x="1499475" y="709540"/>
                </a:cubicBezTo>
                <a:cubicBezTo>
                  <a:pt x="1500074" y="709540"/>
                  <a:pt x="1500673" y="709540"/>
                  <a:pt x="1501272" y="709540"/>
                </a:cubicBezTo>
                <a:cubicBezTo>
                  <a:pt x="1503669" y="709540"/>
                  <a:pt x="1504269" y="711338"/>
                  <a:pt x="1504868" y="711338"/>
                </a:cubicBezTo>
                <a:cubicBezTo>
                  <a:pt x="1505467" y="711338"/>
                  <a:pt x="1505467" y="711338"/>
                  <a:pt x="1506067" y="710739"/>
                </a:cubicBezTo>
                <a:cubicBezTo>
                  <a:pt x="1507265" y="709540"/>
                  <a:pt x="1508464" y="708941"/>
                  <a:pt x="1509662" y="708342"/>
                </a:cubicBezTo>
                <a:cubicBezTo>
                  <a:pt x="1510262" y="708342"/>
                  <a:pt x="1510861" y="707743"/>
                  <a:pt x="1512059" y="707743"/>
                </a:cubicBezTo>
                <a:cubicBezTo>
                  <a:pt x="1512659" y="707143"/>
                  <a:pt x="1513857" y="707143"/>
                  <a:pt x="1515056" y="706544"/>
                </a:cubicBezTo>
                <a:cubicBezTo>
                  <a:pt x="1520449" y="704147"/>
                  <a:pt x="1520449" y="702948"/>
                  <a:pt x="1517453" y="702948"/>
                </a:cubicBezTo>
                <a:cubicBezTo>
                  <a:pt x="1516254" y="702948"/>
                  <a:pt x="1513857" y="702948"/>
                  <a:pt x="1511460" y="703548"/>
                </a:cubicBezTo>
                <a:cubicBezTo>
                  <a:pt x="1509662" y="703548"/>
                  <a:pt x="1507265" y="704147"/>
                  <a:pt x="1504868" y="704746"/>
                </a:cubicBezTo>
                <a:cubicBezTo>
                  <a:pt x="1498875" y="705945"/>
                  <a:pt x="1494081" y="707143"/>
                  <a:pt x="1490485" y="708941"/>
                </a:cubicBezTo>
                <a:cubicBezTo>
                  <a:pt x="1489886" y="709540"/>
                  <a:pt x="1488688" y="709540"/>
                  <a:pt x="1488088" y="710140"/>
                </a:cubicBezTo>
                <a:cubicBezTo>
                  <a:pt x="1485691" y="711338"/>
                  <a:pt x="1483893" y="712537"/>
                  <a:pt x="1482096" y="713735"/>
                </a:cubicBezTo>
                <a:cubicBezTo>
                  <a:pt x="1481496" y="714335"/>
                  <a:pt x="1480897" y="714335"/>
                  <a:pt x="1480298" y="714335"/>
                </a:cubicBezTo>
                <a:cubicBezTo>
                  <a:pt x="1477301" y="714934"/>
                  <a:pt x="1477901" y="708342"/>
                  <a:pt x="1479099" y="701750"/>
                </a:cubicBezTo>
                <a:cubicBezTo>
                  <a:pt x="1480298" y="695158"/>
                  <a:pt x="1483294" y="693360"/>
                  <a:pt x="1484493" y="690963"/>
                </a:cubicBezTo>
                <a:cubicBezTo>
                  <a:pt x="1484493" y="690364"/>
                  <a:pt x="1485092" y="690364"/>
                  <a:pt x="1485092" y="689764"/>
                </a:cubicBezTo>
                <a:cubicBezTo>
                  <a:pt x="1485092" y="689165"/>
                  <a:pt x="1485092" y="689165"/>
                  <a:pt x="1485691" y="688566"/>
                </a:cubicBezTo>
                <a:cubicBezTo>
                  <a:pt x="1486291" y="687367"/>
                  <a:pt x="1486890" y="686169"/>
                  <a:pt x="1487489" y="686169"/>
                </a:cubicBezTo>
                <a:cubicBezTo>
                  <a:pt x="1488088" y="685569"/>
                  <a:pt x="1488088" y="685569"/>
                  <a:pt x="1488688" y="685569"/>
                </a:cubicBezTo>
                <a:cubicBezTo>
                  <a:pt x="1489287" y="685569"/>
                  <a:pt x="1489886" y="685569"/>
                  <a:pt x="1490485" y="686169"/>
                </a:cubicBezTo>
                <a:cubicBezTo>
                  <a:pt x="1491085" y="686768"/>
                  <a:pt x="1491684" y="686768"/>
                  <a:pt x="1491684" y="687367"/>
                </a:cubicBezTo>
                <a:cubicBezTo>
                  <a:pt x="1492283" y="687967"/>
                  <a:pt x="1492283" y="687967"/>
                  <a:pt x="1492883" y="687967"/>
                </a:cubicBezTo>
                <a:cubicBezTo>
                  <a:pt x="1492883" y="687967"/>
                  <a:pt x="1493482" y="687967"/>
                  <a:pt x="1493482" y="687967"/>
                </a:cubicBezTo>
                <a:cubicBezTo>
                  <a:pt x="1494081" y="687967"/>
                  <a:pt x="1495280" y="688566"/>
                  <a:pt x="1497077" y="688566"/>
                </a:cubicBezTo>
                <a:cubicBezTo>
                  <a:pt x="1500673" y="688566"/>
                  <a:pt x="1500673" y="687367"/>
                  <a:pt x="1499475" y="686169"/>
                </a:cubicBezTo>
                <a:cubicBezTo>
                  <a:pt x="1498875" y="685569"/>
                  <a:pt x="1498276" y="685569"/>
                  <a:pt x="1497677" y="684970"/>
                </a:cubicBezTo>
                <a:cubicBezTo>
                  <a:pt x="1497077" y="684970"/>
                  <a:pt x="1497077" y="684970"/>
                  <a:pt x="1496478" y="684970"/>
                </a:cubicBezTo>
                <a:cubicBezTo>
                  <a:pt x="1495879" y="684970"/>
                  <a:pt x="1495879" y="684371"/>
                  <a:pt x="1495280" y="684371"/>
                </a:cubicBezTo>
                <a:cubicBezTo>
                  <a:pt x="1494680" y="684371"/>
                  <a:pt x="1494680" y="683772"/>
                  <a:pt x="1494680" y="683172"/>
                </a:cubicBezTo>
                <a:cubicBezTo>
                  <a:pt x="1494680" y="682573"/>
                  <a:pt x="1494680" y="682573"/>
                  <a:pt x="1494680" y="681375"/>
                </a:cubicBezTo>
                <a:cubicBezTo>
                  <a:pt x="1494680" y="680775"/>
                  <a:pt x="1494680" y="680176"/>
                  <a:pt x="1494680" y="680176"/>
                </a:cubicBezTo>
                <a:cubicBezTo>
                  <a:pt x="1494680" y="679577"/>
                  <a:pt x="1495280" y="679577"/>
                  <a:pt x="1495280" y="679577"/>
                </a:cubicBezTo>
                <a:cubicBezTo>
                  <a:pt x="1495879" y="679577"/>
                  <a:pt x="1497677" y="679577"/>
                  <a:pt x="1500673" y="680176"/>
                </a:cubicBezTo>
                <a:cubicBezTo>
                  <a:pt x="1505467" y="681375"/>
                  <a:pt x="1506067" y="682573"/>
                  <a:pt x="1512059" y="682573"/>
                </a:cubicBezTo>
                <a:cubicBezTo>
                  <a:pt x="1512659" y="682573"/>
                  <a:pt x="1513857" y="682573"/>
                  <a:pt x="1515056" y="682573"/>
                </a:cubicBezTo>
                <a:cubicBezTo>
                  <a:pt x="1516254" y="682573"/>
                  <a:pt x="1516853" y="682573"/>
                  <a:pt x="1518052" y="682573"/>
                </a:cubicBezTo>
                <a:cubicBezTo>
                  <a:pt x="1522247" y="682573"/>
                  <a:pt x="1521048" y="684371"/>
                  <a:pt x="1522846" y="684371"/>
                </a:cubicBezTo>
                <a:cubicBezTo>
                  <a:pt x="1522846" y="684371"/>
                  <a:pt x="1523446" y="684371"/>
                  <a:pt x="1524045" y="684371"/>
                </a:cubicBezTo>
                <a:cubicBezTo>
                  <a:pt x="1525843" y="683772"/>
                  <a:pt x="1527041" y="683172"/>
                  <a:pt x="1528240" y="683772"/>
                </a:cubicBezTo>
                <a:cubicBezTo>
                  <a:pt x="1528839" y="684371"/>
                  <a:pt x="1529438" y="685569"/>
                  <a:pt x="1529438" y="689165"/>
                </a:cubicBezTo>
                <a:cubicBezTo>
                  <a:pt x="1529438" y="691562"/>
                  <a:pt x="1529438" y="693360"/>
                  <a:pt x="1530037" y="693959"/>
                </a:cubicBezTo>
                <a:cubicBezTo>
                  <a:pt x="1530037" y="693959"/>
                  <a:pt x="1530037" y="694559"/>
                  <a:pt x="1530037" y="694559"/>
                </a:cubicBezTo>
                <a:cubicBezTo>
                  <a:pt x="1530037" y="694559"/>
                  <a:pt x="1530037" y="694559"/>
                  <a:pt x="1530037" y="694559"/>
                </a:cubicBezTo>
                <a:cubicBezTo>
                  <a:pt x="1530037" y="694559"/>
                  <a:pt x="1530037" y="694559"/>
                  <a:pt x="1530637" y="693959"/>
                </a:cubicBezTo>
                <a:cubicBezTo>
                  <a:pt x="1531236" y="693360"/>
                  <a:pt x="1531236" y="692761"/>
                  <a:pt x="1531835" y="692161"/>
                </a:cubicBezTo>
                <a:cubicBezTo>
                  <a:pt x="1532435" y="691562"/>
                  <a:pt x="1532435" y="691562"/>
                  <a:pt x="1532435" y="690963"/>
                </a:cubicBezTo>
                <a:cubicBezTo>
                  <a:pt x="1533633" y="689165"/>
                  <a:pt x="1533633" y="688566"/>
                  <a:pt x="1536030" y="688566"/>
                </a:cubicBezTo>
                <a:cubicBezTo>
                  <a:pt x="1537229" y="688566"/>
                  <a:pt x="1538427" y="688566"/>
                  <a:pt x="1540825" y="687967"/>
                </a:cubicBezTo>
                <a:cubicBezTo>
                  <a:pt x="1543222" y="687967"/>
                  <a:pt x="1544420" y="687967"/>
                  <a:pt x="1545619" y="687367"/>
                </a:cubicBezTo>
                <a:cubicBezTo>
                  <a:pt x="1546817" y="687367"/>
                  <a:pt x="1546817" y="686768"/>
                  <a:pt x="1547416" y="686768"/>
                </a:cubicBezTo>
                <a:cubicBezTo>
                  <a:pt x="1548016" y="686169"/>
                  <a:pt x="1547416" y="685569"/>
                  <a:pt x="1548016" y="684371"/>
                </a:cubicBezTo>
                <a:cubicBezTo>
                  <a:pt x="1548016" y="683772"/>
                  <a:pt x="1548615" y="683172"/>
                  <a:pt x="1548615" y="682573"/>
                </a:cubicBezTo>
                <a:cubicBezTo>
                  <a:pt x="1549214" y="681375"/>
                  <a:pt x="1549814" y="680775"/>
                  <a:pt x="1550413" y="680176"/>
                </a:cubicBezTo>
                <a:cubicBezTo>
                  <a:pt x="1551012" y="679577"/>
                  <a:pt x="1551611" y="679577"/>
                  <a:pt x="1552211" y="678977"/>
                </a:cubicBezTo>
                <a:cubicBezTo>
                  <a:pt x="1552810" y="678378"/>
                  <a:pt x="1553409" y="678378"/>
                  <a:pt x="1554008" y="677779"/>
                </a:cubicBezTo>
                <a:cubicBezTo>
                  <a:pt x="1554608" y="677180"/>
                  <a:pt x="1554608" y="677180"/>
                  <a:pt x="1554608" y="677180"/>
                </a:cubicBezTo>
                <a:cubicBezTo>
                  <a:pt x="1554608" y="676580"/>
                  <a:pt x="1554608" y="676580"/>
                  <a:pt x="1553409" y="676580"/>
                </a:cubicBezTo>
                <a:cubicBezTo>
                  <a:pt x="1552810" y="676580"/>
                  <a:pt x="1552211" y="676580"/>
                  <a:pt x="1551611" y="676580"/>
                </a:cubicBezTo>
                <a:cubicBezTo>
                  <a:pt x="1551611" y="676580"/>
                  <a:pt x="1551012" y="676580"/>
                  <a:pt x="1551012" y="676580"/>
                </a:cubicBezTo>
                <a:cubicBezTo>
                  <a:pt x="1550413" y="676580"/>
                  <a:pt x="1549214" y="677180"/>
                  <a:pt x="1547416" y="678977"/>
                </a:cubicBezTo>
                <a:cubicBezTo>
                  <a:pt x="1546817" y="679577"/>
                  <a:pt x="1546218" y="680176"/>
                  <a:pt x="1545619" y="680775"/>
                </a:cubicBezTo>
                <a:cubicBezTo>
                  <a:pt x="1545019" y="681375"/>
                  <a:pt x="1544420" y="681974"/>
                  <a:pt x="1543821" y="682573"/>
                </a:cubicBezTo>
                <a:cubicBezTo>
                  <a:pt x="1540825" y="684970"/>
                  <a:pt x="1537229" y="684371"/>
                  <a:pt x="1533633" y="683772"/>
                </a:cubicBezTo>
                <a:cubicBezTo>
                  <a:pt x="1532435" y="683172"/>
                  <a:pt x="1530637" y="682573"/>
                  <a:pt x="1529438" y="682573"/>
                </a:cubicBezTo>
                <a:cubicBezTo>
                  <a:pt x="1525843" y="681375"/>
                  <a:pt x="1524045" y="679577"/>
                  <a:pt x="1521648" y="678977"/>
                </a:cubicBezTo>
                <a:cubicBezTo>
                  <a:pt x="1521048" y="678977"/>
                  <a:pt x="1520449" y="678977"/>
                  <a:pt x="1519850" y="678378"/>
                </a:cubicBezTo>
                <a:cubicBezTo>
                  <a:pt x="1519251" y="678378"/>
                  <a:pt x="1518651" y="678378"/>
                  <a:pt x="1517453" y="678378"/>
                </a:cubicBezTo>
                <a:cubicBezTo>
                  <a:pt x="1516853" y="678378"/>
                  <a:pt x="1515655" y="678378"/>
                  <a:pt x="1514456" y="678378"/>
                </a:cubicBezTo>
                <a:cubicBezTo>
                  <a:pt x="1508464" y="678977"/>
                  <a:pt x="1506666" y="678378"/>
                  <a:pt x="1506067" y="676580"/>
                </a:cubicBezTo>
                <a:cubicBezTo>
                  <a:pt x="1505467" y="675382"/>
                  <a:pt x="1505467" y="673584"/>
                  <a:pt x="1506067" y="671786"/>
                </a:cubicBezTo>
                <a:cubicBezTo>
                  <a:pt x="1506067" y="669389"/>
                  <a:pt x="1506067" y="668190"/>
                  <a:pt x="1506666" y="667591"/>
                </a:cubicBezTo>
                <a:cubicBezTo>
                  <a:pt x="1506666" y="666992"/>
                  <a:pt x="1507265" y="666992"/>
                  <a:pt x="1507864" y="666992"/>
                </a:cubicBezTo>
                <a:cubicBezTo>
                  <a:pt x="1508464" y="666992"/>
                  <a:pt x="1510262" y="667591"/>
                  <a:pt x="1512059" y="668190"/>
                </a:cubicBezTo>
                <a:cubicBezTo>
                  <a:pt x="1512659" y="668190"/>
                  <a:pt x="1513258" y="668790"/>
                  <a:pt x="1513857" y="668790"/>
                </a:cubicBezTo>
                <a:cubicBezTo>
                  <a:pt x="1514456" y="668790"/>
                  <a:pt x="1515056" y="668190"/>
                  <a:pt x="1515056" y="667591"/>
                </a:cubicBezTo>
                <a:cubicBezTo>
                  <a:pt x="1515056" y="666992"/>
                  <a:pt x="1515056" y="666992"/>
                  <a:pt x="1515056" y="666393"/>
                </a:cubicBezTo>
                <a:cubicBezTo>
                  <a:pt x="1515056" y="664595"/>
                  <a:pt x="1514456" y="662198"/>
                  <a:pt x="1514456" y="659801"/>
                </a:cubicBezTo>
                <a:cubicBezTo>
                  <a:pt x="1515056" y="655606"/>
                  <a:pt x="1520449" y="656205"/>
                  <a:pt x="1524045" y="655606"/>
                </a:cubicBezTo>
                <a:cubicBezTo>
                  <a:pt x="1524644" y="655606"/>
                  <a:pt x="1525243" y="655606"/>
                  <a:pt x="1525843" y="655006"/>
                </a:cubicBezTo>
                <a:cubicBezTo>
                  <a:pt x="1527041" y="654407"/>
                  <a:pt x="1527640" y="654407"/>
                  <a:pt x="1528240" y="654407"/>
                </a:cubicBezTo>
                <a:cubicBezTo>
                  <a:pt x="1529438" y="654407"/>
                  <a:pt x="1530637" y="655006"/>
                  <a:pt x="1532435" y="655606"/>
                </a:cubicBezTo>
                <a:cubicBezTo>
                  <a:pt x="1533034" y="656205"/>
                  <a:pt x="1534232" y="656804"/>
                  <a:pt x="1535431" y="657404"/>
                </a:cubicBezTo>
                <a:cubicBezTo>
                  <a:pt x="1539626" y="660400"/>
                  <a:pt x="1540825" y="662797"/>
                  <a:pt x="1544420" y="663996"/>
                </a:cubicBezTo>
                <a:cubicBezTo>
                  <a:pt x="1548615" y="664595"/>
                  <a:pt x="1548016" y="661598"/>
                  <a:pt x="1545619" y="661598"/>
                </a:cubicBezTo>
                <a:cubicBezTo>
                  <a:pt x="1545019" y="661598"/>
                  <a:pt x="1544420" y="661598"/>
                  <a:pt x="1544420" y="660999"/>
                </a:cubicBezTo>
                <a:cubicBezTo>
                  <a:pt x="1543222" y="660400"/>
                  <a:pt x="1543222" y="658602"/>
                  <a:pt x="1540225" y="656804"/>
                </a:cubicBezTo>
                <a:cubicBezTo>
                  <a:pt x="1537229" y="654407"/>
                  <a:pt x="1536630" y="653209"/>
                  <a:pt x="1532435" y="652609"/>
                </a:cubicBezTo>
                <a:cubicBezTo>
                  <a:pt x="1531835" y="652609"/>
                  <a:pt x="1531236" y="652609"/>
                  <a:pt x="1530637" y="652609"/>
                </a:cubicBezTo>
                <a:cubicBezTo>
                  <a:pt x="1530037" y="652609"/>
                  <a:pt x="1529438" y="652609"/>
                  <a:pt x="1528839" y="652609"/>
                </a:cubicBezTo>
                <a:cubicBezTo>
                  <a:pt x="1525243" y="652010"/>
                  <a:pt x="1526442" y="649613"/>
                  <a:pt x="1528839" y="649014"/>
                </a:cubicBezTo>
                <a:cubicBezTo>
                  <a:pt x="1529438" y="649014"/>
                  <a:pt x="1530037" y="649014"/>
                  <a:pt x="1530637" y="648414"/>
                </a:cubicBezTo>
                <a:cubicBezTo>
                  <a:pt x="1531835" y="647815"/>
                  <a:pt x="1531835" y="647216"/>
                  <a:pt x="1531835" y="646017"/>
                </a:cubicBezTo>
                <a:cubicBezTo>
                  <a:pt x="1531835" y="645418"/>
                  <a:pt x="1531835" y="645418"/>
                  <a:pt x="1531835" y="644819"/>
                </a:cubicBezTo>
                <a:cubicBezTo>
                  <a:pt x="1531835" y="643620"/>
                  <a:pt x="1533034" y="642422"/>
                  <a:pt x="1535431" y="641223"/>
                </a:cubicBezTo>
                <a:cubicBezTo>
                  <a:pt x="1536030" y="641223"/>
                  <a:pt x="1536030" y="641223"/>
                  <a:pt x="1536630" y="641223"/>
                </a:cubicBezTo>
                <a:cubicBezTo>
                  <a:pt x="1537828" y="641223"/>
                  <a:pt x="1538427" y="641822"/>
                  <a:pt x="1540225" y="643021"/>
                </a:cubicBezTo>
                <a:cubicBezTo>
                  <a:pt x="1540825" y="643620"/>
                  <a:pt x="1542023" y="644220"/>
                  <a:pt x="1543222" y="645418"/>
                </a:cubicBezTo>
                <a:cubicBezTo>
                  <a:pt x="1544420" y="646017"/>
                  <a:pt x="1546218" y="647216"/>
                  <a:pt x="1548016" y="648414"/>
                </a:cubicBezTo>
                <a:cubicBezTo>
                  <a:pt x="1548615" y="649014"/>
                  <a:pt x="1549814" y="649014"/>
                  <a:pt x="1550413" y="649613"/>
                </a:cubicBezTo>
                <a:cubicBezTo>
                  <a:pt x="1550413" y="649613"/>
                  <a:pt x="1551012" y="649613"/>
                  <a:pt x="1551012" y="649613"/>
                </a:cubicBezTo>
                <a:cubicBezTo>
                  <a:pt x="1551611" y="649613"/>
                  <a:pt x="1551611" y="650212"/>
                  <a:pt x="1552211" y="650212"/>
                </a:cubicBezTo>
                <a:cubicBezTo>
                  <a:pt x="1552211" y="650212"/>
                  <a:pt x="1552810" y="650212"/>
                  <a:pt x="1552810" y="650812"/>
                </a:cubicBezTo>
                <a:cubicBezTo>
                  <a:pt x="1552810" y="650812"/>
                  <a:pt x="1552810" y="650812"/>
                  <a:pt x="1553409" y="650812"/>
                </a:cubicBezTo>
                <a:cubicBezTo>
                  <a:pt x="1553409" y="650812"/>
                  <a:pt x="1553409" y="650812"/>
                  <a:pt x="1554008" y="651411"/>
                </a:cubicBezTo>
                <a:cubicBezTo>
                  <a:pt x="1554008" y="651411"/>
                  <a:pt x="1554008" y="651411"/>
                  <a:pt x="1554008" y="651411"/>
                </a:cubicBezTo>
                <a:cubicBezTo>
                  <a:pt x="1554008" y="651411"/>
                  <a:pt x="1554008" y="650812"/>
                  <a:pt x="1554008" y="650212"/>
                </a:cubicBezTo>
                <a:cubicBezTo>
                  <a:pt x="1554608" y="647815"/>
                  <a:pt x="1555207" y="646017"/>
                  <a:pt x="1557604" y="646017"/>
                </a:cubicBezTo>
                <a:cubicBezTo>
                  <a:pt x="1557604" y="646017"/>
                  <a:pt x="1558203" y="646017"/>
                  <a:pt x="1558203" y="646017"/>
                </a:cubicBezTo>
                <a:cubicBezTo>
                  <a:pt x="1558803" y="646017"/>
                  <a:pt x="1560001" y="645418"/>
                  <a:pt x="1560600" y="645418"/>
                </a:cubicBezTo>
                <a:cubicBezTo>
                  <a:pt x="1561799" y="644819"/>
                  <a:pt x="1563597" y="643620"/>
                  <a:pt x="1565395" y="641822"/>
                </a:cubicBezTo>
                <a:cubicBezTo>
                  <a:pt x="1565994" y="641223"/>
                  <a:pt x="1566593" y="641223"/>
                  <a:pt x="1566593" y="640624"/>
                </a:cubicBezTo>
                <a:cubicBezTo>
                  <a:pt x="1567193" y="640025"/>
                  <a:pt x="1567792" y="640025"/>
                  <a:pt x="1568391" y="640025"/>
                </a:cubicBezTo>
                <a:cubicBezTo>
                  <a:pt x="1569590" y="640025"/>
                  <a:pt x="1570189" y="640624"/>
                  <a:pt x="1571987" y="641822"/>
                </a:cubicBezTo>
                <a:cubicBezTo>
                  <a:pt x="1572586" y="641822"/>
                  <a:pt x="1572586" y="642422"/>
                  <a:pt x="1573185" y="642422"/>
                </a:cubicBezTo>
                <a:cubicBezTo>
                  <a:pt x="1573785" y="642422"/>
                  <a:pt x="1573785" y="643021"/>
                  <a:pt x="1574384" y="643021"/>
                </a:cubicBezTo>
                <a:cubicBezTo>
                  <a:pt x="1574983" y="643021"/>
                  <a:pt x="1574983" y="643620"/>
                  <a:pt x="1574983" y="643620"/>
                </a:cubicBezTo>
                <a:cubicBezTo>
                  <a:pt x="1575582" y="644220"/>
                  <a:pt x="1575582" y="644819"/>
                  <a:pt x="1574983" y="645418"/>
                </a:cubicBezTo>
                <a:cubicBezTo>
                  <a:pt x="1574384" y="646617"/>
                  <a:pt x="1573185" y="648414"/>
                  <a:pt x="1570788" y="650812"/>
                </a:cubicBezTo>
                <a:cubicBezTo>
                  <a:pt x="1568990" y="652609"/>
                  <a:pt x="1567792" y="653808"/>
                  <a:pt x="1566593" y="655006"/>
                </a:cubicBezTo>
                <a:cubicBezTo>
                  <a:pt x="1564795" y="656804"/>
                  <a:pt x="1564196" y="656804"/>
                  <a:pt x="1565994" y="656804"/>
                </a:cubicBezTo>
                <a:cubicBezTo>
                  <a:pt x="1567193" y="656804"/>
                  <a:pt x="1568391" y="656804"/>
                  <a:pt x="1568990" y="656804"/>
                </a:cubicBezTo>
                <a:cubicBezTo>
                  <a:pt x="1569590" y="656804"/>
                  <a:pt x="1570189" y="656205"/>
                  <a:pt x="1571387" y="655606"/>
                </a:cubicBezTo>
                <a:cubicBezTo>
                  <a:pt x="1571387" y="655606"/>
                  <a:pt x="1571987" y="655006"/>
                  <a:pt x="1571987" y="655006"/>
                </a:cubicBezTo>
                <a:cubicBezTo>
                  <a:pt x="1572586" y="654407"/>
                  <a:pt x="1572586" y="653808"/>
                  <a:pt x="1573185" y="653209"/>
                </a:cubicBezTo>
                <a:cubicBezTo>
                  <a:pt x="1573785" y="652010"/>
                  <a:pt x="1574983" y="651411"/>
                  <a:pt x="1576182" y="651411"/>
                </a:cubicBezTo>
                <a:cubicBezTo>
                  <a:pt x="1576781" y="651411"/>
                  <a:pt x="1577380" y="651411"/>
                  <a:pt x="1577979" y="651411"/>
                </a:cubicBezTo>
                <a:cubicBezTo>
                  <a:pt x="1578579" y="651411"/>
                  <a:pt x="1578579" y="651411"/>
                  <a:pt x="1579178" y="651411"/>
                </a:cubicBezTo>
                <a:cubicBezTo>
                  <a:pt x="1579777" y="651411"/>
                  <a:pt x="1579777" y="651411"/>
                  <a:pt x="1579777" y="651411"/>
                </a:cubicBezTo>
                <a:cubicBezTo>
                  <a:pt x="1580376" y="651411"/>
                  <a:pt x="1580376" y="650812"/>
                  <a:pt x="1580976" y="650812"/>
                </a:cubicBezTo>
                <a:cubicBezTo>
                  <a:pt x="1581575" y="650212"/>
                  <a:pt x="1580976" y="649014"/>
                  <a:pt x="1579178" y="648414"/>
                </a:cubicBezTo>
                <a:cubicBezTo>
                  <a:pt x="1578579" y="648414"/>
                  <a:pt x="1578579" y="647815"/>
                  <a:pt x="1577979" y="647815"/>
                </a:cubicBezTo>
                <a:cubicBezTo>
                  <a:pt x="1577380" y="647216"/>
                  <a:pt x="1577380" y="646617"/>
                  <a:pt x="1577380" y="646617"/>
                </a:cubicBezTo>
                <a:cubicBezTo>
                  <a:pt x="1577380" y="645418"/>
                  <a:pt x="1577380" y="644220"/>
                  <a:pt x="1576781" y="642422"/>
                </a:cubicBezTo>
                <a:cubicBezTo>
                  <a:pt x="1576781" y="641822"/>
                  <a:pt x="1576182" y="641822"/>
                  <a:pt x="1576182" y="641223"/>
                </a:cubicBezTo>
                <a:cubicBezTo>
                  <a:pt x="1576182" y="640624"/>
                  <a:pt x="1575582" y="640025"/>
                  <a:pt x="1575582" y="640025"/>
                </a:cubicBezTo>
                <a:cubicBezTo>
                  <a:pt x="1575582" y="639425"/>
                  <a:pt x="1574983" y="639425"/>
                  <a:pt x="1574983" y="638826"/>
                </a:cubicBezTo>
                <a:cubicBezTo>
                  <a:pt x="1573785" y="637028"/>
                  <a:pt x="1572586" y="636429"/>
                  <a:pt x="1575582" y="634631"/>
                </a:cubicBezTo>
                <a:cubicBezTo>
                  <a:pt x="1575582" y="634631"/>
                  <a:pt x="1575582" y="634631"/>
                  <a:pt x="1575582" y="634631"/>
                </a:cubicBezTo>
                <a:cubicBezTo>
                  <a:pt x="1579178" y="632234"/>
                  <a:pt x="1580976" y="636429"/>
                  <a:pt x="1583972" y="640624"/>
                </a:cubicBezTo>
                <a:cubicBezTo>
                  <a:pt x="1583972" y="640624"/>
                  <a:pt x="1583972" y="640624"/>
                  <a:pt x="1583972" y="640624"/>
                </a:cubicBezTo>
                <a:cubicBezTo>
                  <a:pt x="1586369" y="643620"/>
                  <a:pt x="1588167" y="644220"/>
                  <a:pt x="1589366" y="644220"/>
                </a:cubicBezTo>
                <a:cubicBezTo>
                  <a:pt x="1589366" y="643620"/>
                  <a:pt x="1589366" y="643620"/>
                  <a:pt x="1588766" y="643021"/>
                </a:cubicBezTo>
                <a:cubicBezTo>
                  <a:pt x="1586968" y="638826"/>
                  <a:pt x="1589965" y="640624"/>
                  <a:pt x="1593561" y="643620"/>
                </a:cubicBezTo>
                <a:cubicBezTo>
                  <a:pt x="1595958" y="646017"/>
                  <a:pt x="1597156" y="647216"/>
                  <a:pt x="1598355" y="646617"/>
                </a:cubicBezTo>
                <a:cubicBezTo>
                  <a:pt x="1598355" y="646617"/>
                  <a:pt x="1598954" y="646017"/>
                  <a:pt x="1598954" y="645418"/>
                </a:cubicBezTo>
                <a:cubicBezTo>
                  <a:pt x="1599553" y="643620"/>
                  <a:pt x="1598355" y="642422"/>
                  <a:pt x="1595358" y="640025"/>
                </a:cubicBezTo>
                <a:cubicBezTo>
                  <a:pt x="1594759" y="639425"/>
                  <a:pt x="1594759" y="639425"/>
                  <a:pt x="1594160" y="638826"/>
                </a:cubicBezTo>
                <a:cubicBezTo>
                  <a:pt x="1592961" y="638227"/>
                  <a:pt x="1592362" y="637628"/>
                  <a:pt x="1591763" y="636429"/>
                </a:cubicBezTo>
                <a:cubicBezTo>
                  <a:pt x="1590564" y="635230"/>
                  <a:pt x="1589366" y="633433"/>
                  <a:pt x="1589366" y="632234"/>
                </a:cubicBezTo>
                <a:cubicBezTo>
                  <a:pt x="1589366" y="631635"/>
                  <a:pt x="1589366" y="630436"/>
                  <a:pt x="1589366" y="629837"/>
                </a:cubicBezTo>
                <a:cubicBezTo>
                  <a:pt x="1589366" y="629238"/>
                  <a:pt x="1589366" y="628638"/>
                  <a:pt x="1589366" y="628638"/>
                </a:cubicBezTo>
                <a:cubicBezTo>
                  <a:pt x="1589366" y="628039"/>
                  <a:pt x="1589366" y="628039"/>
                  <a:pt x="1589965" y="628039"/>
                </a:cubicBezTo>
                <a:cubicBezTo>
                  <a:pt x="1590564" y="627440"/>
                  <a:pt x="1590564" y="627440"/>
                  <a:pt x="1591163" y="627440"/>
                </a:cubicBezTo>
                <a:cubicBezTo>
                  <a:pt x="1592362" y="627440"/>
                  <a:pt x="1594759" y="628039"/>
                  <a:pt x="1597756" y="628638"/>
                </a:cubicBezTo>
                <a:cubicBezTo>
                  <a:pt x="1599553" y="629238"/>
                  <a:pt x="1600752" y="629238"/>
                  <a:pt x="1601351" y="629837"/>
                </a:cubicBezTo>
                <a:cubicBezTo>
                  <a:pt x="1603748" y="631035"/>
                  <a:pt x="1602550" y="632833"/>
                  <a:pt x="1602550" y="640025"/>
                </a:cubicBezTo>
                <a:cubicBezTo>
                  <a:pt x="1602550" y="646017"/>
                  <a:pt x="1603149" y="647815"/>
                  <a:pt x="1603748" y="647216"/>
                </a:cubicBezTo>
                <a:cubicBezTo>
                  <a:pt x="1604347" y="647216"/>
                  <a:pt x="1604947" y="645418"/>
                  <a:pt x="1605546" y="643620"/>
                </a:cubicBezTo>
                <a:cubicBezTo>
                  <a:pt x="1606145" y="642422"/>
                  <a:pt x="1606145" y="641223"/>
                  <a:pt x="1606745" y="640025"/>
                </a:cubicBezTo>
                <a:cubicBezTo>
                  <a:pt x="1607344" y="638227"/>
                  <a:pt x="1607344" y="636429"/>
                  <a:pt x="1608542" y="635230"/>
                </a:cubicBezTo>
                <a:cubicBezTo>
                  <a:pt x="1609142" y="634631"/>
                  <a:pt x="1609741" y="633433"/>
                  <a:pt x="1610340" y="632833"/>
                </a:cubicBezTo>
                <a:cubicBezTo>
                  <a:pt x="1613936" y="628638"/>
                  <a:pt x="1613936" y="628638"/>
                  <a:pt x="1610939" y="637028"/>
                </a:cubicBezTo>
                <a:cubicBezTo>
                  <a:pt x="1610340" y="638227"/>
                  <a:pt x="1610340" y="638826"/>
                  <a:pt x="1610340" y="640025"/>
                </a:cubicBezTo>
                <a:cubicBezTo>
                  <a:pt x="1610340" y="640624"/>
                  <a:pt x="1609741" y="641822"/>
                  <a:pt x="1609741" y="642422"/>
                </a:cubicBezTo>
                <a:cubicBezTo>
                  <a:pt x="1609142" y="645418"/>
                  <a:pt x="1609741" y="646617"/>
                  <a:pt x="1610340" y="646617"/>
                </a:cubicBezTo>
                <a:cubicBezTo>
                  <a:pt x="1610340" y="646617"/>
                  <a:pt x="1610939" y="646017"/>
                  <a:pt x="1610939" y="645418"/>
                </a:cubicBezTo>
                <a:cubicBezTo>
                  <a:pt x="1610939" y="643620"/>
                  <a:pt x="1612138" y="641822"/>
                  <a:pt x="1612737" y="640025"/>
                </a:cubicBezTo>
                <a:cubicBezTo>
                  <a:pt x="1613936" y="638227"/>
                  <a:pt x="1615134" y="636429"/>
                  <a:pt x="1615734" y="634631"/>
                </a:cubicBezTo>
                <a:cubicBezTo>
                  <a:pt x="1616333" y="634032"/>
                  <a:pt x="1616932" y="632833"/>
                  <a:pt x="1617532" y="632833"/>
                </a:cubicBezTo>
                <a:cubicBezTo>
                  <a:pt x="1618131" y="632833"/>
                  <a:pt x="1618730" y="631635"/>
                  <a:pt x="1619329" y="631635"/>
                </a:cubicBezTo>
                <a:cubicBezTo>
                  <a:pt x="1620528" y="631035"/>
                  <a:pt x="1621726" y="630436"/>
                  <a:pt x="1623524" y="630436"/>
                </a:cubicBezTo>
                <a:cubicBezTo>
                  <a:pt x="1624124" y="630436"/>
                  <a:pt x="1624124" y="630436"/>
                  <a:pt x="1624723" y="630436"/>
                </a:cubicBezTo>
                <a:cubicBezTo>
                  <a:pt x="1626521" y="630436"/>
                  <a:pt x="1627719" y="630436"/>
                  <a:pt x="1628318" y="630436"/>
                </a:cubicBezTo>
                <a:cubicBezTo>
                  <a:pt x="1628918" y="630436"/>
                  <a:pt x="1628918" y="629837"/>
                  <a:pt x="1628318" y="628638"/>
                </a:cubicBezTo>
                <a:cubicBezTo>
                  <a:pt x="1628318" y="628039"/>
                  <a:pt x="1628318" y="628039"/>
                  <a:pt x="1627719" y="627440"/>
                </a:cubicBezTo>
                <a:cubicBezTo>
                  <a:pt x="1627120" y="625642"/>
                  <a:pt x="1627719" y="626241"/>
                  <a:pt x="1629517" y="625642"/>
                </a:cubicBezTo>
                <a:cubicBezTo>
                  <a:pt x="1630116" y="625642"/>
                  <a:pt x="1630116" y="625642"/>
                  <a:pt x="1630716" y="625642"/>
                </a:cubicBezTo>
                <a:cubicBezTo>
                  <a:pt x="1632513" y="625642"/>
                  <a:pt x="1632513" y="625642"/>
                  <a:pt x="1633113" y="625642"/>
                </a:cubicBezTo>
                <a:cubicBezTo>
                  <a:pt x="1633113" y="625642"/>
                  <a:pt x="1633712" y="625642"/>
                  <a:pt x="1633712" y="625642"/>
                </a:cubicBezTo>
                <a:cubicBezTo>
                  <a:pt x="1633712" y="625642"/>
                  <a:pt x="1634311" y="625043"/>
                  <a:pt x="1634910" y="624443"/>
                </a:cubicBezTo>
                <a:cubicBezTo>
                  <a:pt x="1635510" y="623844"/>
                  <a:pt x="1635510" y="623245"/>
                  <a:pt x="1636109" y="623245"/>
                </a:cubicBezTo>
                <a:cubicBezTo>
                  <a:pt x="1636109" y="622646"/>
                  <a:pt x="1636708" y="622646"/>
                  <a:pt x="1636708" y="622646"/>
                </a:cubicBezTo>
                <a:cubicBezTo>
                  <a:pt x="1636708" y="622646"/>
                  <a:pt x="1636708" y="622646"/>
                  <a:pt x="1637307" y="622646"/>
                </a:cubicBezTo>
                <a:cubicBezTo>
                  <a:pt x="1637907" y="622646"/>
                  <a:pt x="1639105" y="622646"/>
                  <a:pt x="1640903" y="623844"/>
                </a:cubicBezTo>
                <a:cubicBezTo>
                  <a:pt x="1645098" y="625642"/>
                  <a:pt x="1645697" y="626841"/>
                  <a:pt x="1647495" y="626841"/>
                </a:cubicBezTo>
                <a:cubicBezTo>
                  <a:pt x="1648095" y="626841"/>
                  <a:pt x="1648095" y="626841"/>
                  <a:pt x="1648694" y="626841"/>
                </a:cubicBezTo>
                <a:cubicBezTo>
                  <a:pt x="1650492" y="626241"/>
                  <a:pt x="1651690" y="625642"/>
                  <a:pt x="1652889" y="625642"/>
                </a:cubicBezTo>
                <a:cubicBezTo>
                  <a:pt x="1654087" y="625642"/>
                  <a:pt x="1655286" y="626241"/>
                  <a:pt x="1657084" y="626841"/>
                </a:cubicBezTo>
                <a:cubicBezTo>
                  <a:pt x="1659481" y="628039"/>
                  <a:pt x="1660679" y="629238"/>
                  <a:pt x="1661278" y="630436"/>
                </a:cubicBezTo>
                <a:cubicBezTo>
                  <a:pt x="1661878" y="631035"/>
                  <a:pt x="1661878" y="631635"/>
                  <a:pt x="1662477" y="632234"/>
                </a:cubicBezTo>
                <a:cubicBezTo>
                  <a:pt x="1663076" y="632833"/>
                  <a:pt x="1663076" y="632833"/>
                  <a:pt x="1663676" y="632833"/>
                </a:cubicBezTo>
                <a:cubicBezTo>
                  <a:pt x="1666073" y="632833"/>
                  <a:pt x="1667870" y="635830"/>
                  <a:pt x="1670268" y="634032"/>
                </a:cubicBezTo>
                <a:cubicBezTo>
                  <a:pt x="1670867" y="634032"/>
                  <a:pt x="1670867" y="633433"/>
                  <a:pt x="1671466" y="632833"/>
                </a:cubicBezTo>
                <a:cubicBezTo>
                  <a:pt x="1673863" y="629837"/>
                  <a:pt x="1678058" y="628039"/>
                  <a:pt x="1682852" y="626241"/>
                </a:cubicBezTo>
                <a:cubicBezTo>
                  <a:pt x="1683452" y="626241"/>
                  <a:pt x="1684051" y="625642"/>
                  <a:pt x="1684650" y="625642"/>
                </a:cubicBezTo>
                <a:cubicBezTo>
                  <a:pt x="1685249" y="625642"/>
                  <a:pt x="1685849" y="625043"/>
                  <a:pt x="1686448" y="625043"/>
                </a:cubicBezTo>
                <a:cubicBezTo>
                  <a:pt x="1690643" y="623844"/>
                  <a:pt x="1691841" y="624443"/>
                  <a:pt x="1691242" y="622646"/>
                </a:cubicBezTo>
                <a:cubicBezTo>
                  <a:pt x="1691242" y="622046"/>
                  <a:pt x="1691242" y="621447"/>
                  <a:pt x="1692441" y="620848"/>
                </a:cubicBezTo>
                <a:cubicBezTo>
                  <a:pt x="1693040" y="620249"/>
                  <a:pt x="1693639" y="619649"/>
                  <a:pt x="1694838" y="619649"/>
                </a:cubicBezTo>
                <a:cubicBezTo>
                  <a:pt x="1696636" y="619050"/>
                  <a:pt x="1698433" y="617851"/>
                  <a:pt x="1700831" y="616653"/>
                </a:cubicBezTo>
                <a:cubicBezTo>
                  <a:pt x="1701430" y="616054"/>
                  <a:pt x="1702029" y="616054"/>
                  <a:pt x="1702628" y="615454"/>
                </a:cubicBezTo>
                <a:cubicBezTo>
                  <a:pt x="1704426" y="614256"/>
                  <a:pt x="1703827" y="613057"/>
                  <a:pt x="1702628" y="613657"/>
                </a:cubicBezTo>
                <a:cubicBezTo>
                  <a:pt x="1701430" y="613657"/>
                  <a:pt x="1699632" y="614256"/>
                  <a:pt x="1698433" y="615454"/>
                </a:cubicBezTo>
                <a:cubicBezTo>
                  <a:pt x="1694838" y="617851"/>
                  <a:pt x="1692441" y="617252"/>
                  <a:pt x="1689444" y="619050"/>
                </a:cubicBezTo>
                <a:cubicBezTo>
                  <a:pt x="1688845" y="619050"/>
                  <a:pt x="1688845" y="619649"/>
                  <a:pt x="1688246" y="620249"/>
                </a:cubicBezTo>
                <a:cubicBezTo>
                  <a:pt x="1685249" y="623245"/>
                  <a:pt x="1685249" y="624443"/>
                  <a:pt x="1681654" y="624443"/>
                </a:cubicBezTo>
                <a:cubicBezTo>
                  <a:pt x="1678058" y="625043"/>
                  <a:pt x="1678058" y="625642"/>
                  <a:pt x="1670268" y="627440"/>
                </a:cubicBezTo>
                <a:cubicBezTo>
                  <a:pt x="1668470" y="628039"/>
                  <a:pt x="1666672" y="628039"/>
                  <a:pt x="1665473" y="628039"/>
                </a:cubicBezTo>
                <a:cubicBezTo>
                  <a:pt x="1661878" y="628039"/>
                  <a:pt x="1661278" y="625642"/>
                  <a:pt x="1661278" y="622046"/>
                </a:cubicBezTo>
                <a:cubicBezTo>
                  <a:pt x="1661278" y="617851"/>
                  <a:pt x="1665473" y="617252"/>
                  <a:pt x="1670867" y="616653"/>
                </a:cubicBezTo>
                <a:cubicBezTo>
                  <a:pt x="1671466" y="616653"/>
                  <a:pt x="1672065" y="616653"/>
                  <a:pt x="1673264" y="616653"/>
                </a:cubicBezTo>
                <a:cubicBezTo>
                  <a:pt x="1679257" y="616054"/>
                  <a:pt x="1681654" y="614855"/>
                  <a:pt x="1679257" y="614855"/>
                </a:cubicBezTo>
                <a:cubicBezTo>
                  <a:pt x="1676860" y="614855"/>
                  <a:pt x="1675062" y="614256"/>
                  <a:pt x="1674463" y="612458"/>
                </a:cubicBezTo>
                <a:cubicBezTo>
                  <a:pt x="1674463" y="612458"/>
                  <a:pt x="1674463" y="611859"/>
                  <a:pt x="1673863" y="611859"/>
                </a:cubicBezTo>
                <a:cubicBezTo>
                  <a:pt x="1673863" y="611859"/>
                  <a:pt x="1673863" y="611259"/>
                  <a:pt x="1673863" y="611259"/>
                </a:cubicBezTo>
                <a:cubicBezTo>
                  <a:pt x="1673863" y="610660"/>
                  <a:pt x="1673863" y="610061"/>
                  <a:pt x="1675062" y="609462"/>
                </a:cubicBezTo>
                <a:cubicBezTo>
                  <a:pt x="1675661" y="608862"/>
                  <a:pt x="1676860" y="608862"/>
                  <a:pt x="1678658" y="608263"/>
                </a:cubicBezTo>
                <a:cubicBezTo>
                  <a:pt x="1679257" y="608263"/>
                  <a:pt x="1680455" y="608263"/>
                  <a:pt x="1681654" y="607664"/>
                </a:cubicBezTo>
                <a:cubicBezTo>
                  <a:pt x="1682852" y="607664"/>
                  <a:pt x="1684051" y="607664"/>
                  <a:pt x="1684650" y="607065"/>
                </a:cubicBezTo>
                <a:cubicBezTo>
                  <a:pt x="1686448" y="607065"/>
                  <a:pt x="1688246" y="606465"/>
                  <a:pt x="1690044" y="605866"/>
                </a:cubicBezTo>
                <a:cubicBezTo>
                  <a:pt x="1690643" y="605866"/>
                  <a:pt x="1691841" y="605267"/>
                  <a:pt x="1692441" y="605267"/>
                </a:cubicBezTo>
                <a:cubicBezTo>
                  <a:pt x="1693639" y="604667"/>
                  <a:pt x="1695437" y="604068"/>
                  <a:pt x="1697235" y="603469"/>
                </a:cubicBezTo>
                <a:cubicBezTo>
                  <a:pt x="1699033" y="602870"/>
                  <a:pt x="1700831" y="602270"/>
                  <a:pt x="1703228" y="601072"/>
                </a:cubicBezTo>
                <a:cubicBezTo>
                  <a:pt x="1713415" y="597476"/>
                  <a:pt x="1711618" y="598075"/>
                  <a:pt x="1714614" y="601671"/>
                </a:cubicBezTo>
                <a:cubicBezTo>
                  <a:pt x="1715213" y="602270"/>
                  <a:pt x="1715812" y="602870"/>
                  <a:pt x="1716412" y="602870"/>
                </a:cubicBezTo>
                <a:cubicBezTo>
                  <a:pt x="1717011" y="602870"/>
                  <a:pt x="1717610" y="601671"/>
                  <a:pt x="1718209" y="600473"/>
                </a:cubicBezTo>
                <a:cubicBezTo>
                  <a:pt x="1718209" y="599873"/>
                  <a:pt x="1718809" y="598675"/>
                  <a:pt x="1718809" y="598075"/>
                </a:cubicBezTo>
                <a:cubicBezTo>
                  <a:pt x="1719408" y="596278"/>
                  <a:pt x="1719408" y="595079"/>
                  <a:pt x="1719408" y="594480"/>
                </a:cubicBezTo>
                <a:cubicBezTo>
                  <a:pt x="1720007" y="593881"/>
                  <a:pt x="1720007" y="594480"/>
                  <a:pt x="1721805" y="595678"/>
                </a:cubicBezTo>
                <a:cubicBezTo>
                  <a:pt x="1722404" y="596278"/>
                  <a:pt x="1723004" y="596877"/>
                  <a:pt x="1723603" y="596877"/>
                </a:cubicBezTo>
                <a:cubicBezTo>
                  <a:pt x="1724801" y="596877"/>
                  <a:pt x="1725401" y="595678"/>
                  <a:pt x="1725401" y="595678"/>
                </a:cubicBezTo>
                <a:cubicBezTo>
                  <a:pt x="1725401" y="595678"/>
                  <a:pt x="1727798" y="592083"/>
                  <a:pt x="1730794" y="590285"/>
                </a:cubicBezTo>
                <a:cubicBezTo>
                  <a:pt x="1731394" y="589686"/>
                  <a:pt x="1732592" y="589686"/>
                  <a:pt x="1733791" y="589686"/>
                </a:cubicBezTo>
                <a:cubicBezTo>
                  <a:pt x="1734390" y="589686"/>
                  <a:pt x="1734989" y="589686"/>
                  <a:pt x="1735589" y="589686"/>
                </a:cubicBezTo>
                <a:cubicBezTo>
                  <a:pt x="1736787" y="589686"/>
                  <a:pt x="1738585" y="590285"/>
                  <a:pt x="1739783" y="590884"/>
                </a:cubicBezTo>
                <a:cubicBezTo>
                  <a:pt x="1740982" y="591483"/>
                  <a:pt x="1742780" y="591483"/>
                  <a:pt x="1743978" y="591483"/>
                </a:cubicBezTo>
                <a:cubicBezTo>
                  <a:pt x="1744578" y="591483"/>
                  <a:pt x="1745177" y="591483"/>
                  <a:pt x="1745776" y="591483"/>
                </a:cubicBezTo>
                <a:cubicBezTo>
                  <a:pt x="1747574" y="591483"/>
                  <a:pt x="1746975" y="590285"/>
                  <a:pt x="1745177" y="589086"/>
                </a:cubicBezTo>
                <a:cubicBezTo>
                  <a:pt x="1743978" y="588487"/>
                  <a:pt x="1742780" y="587888"/>
                  <a:pt x="1741581" y="587888"/>
                </a:cubicBezTo>
                <a:cubicBezTo>
                  <a:pt x="1740383" y="587289"/>
                  <a:pt x="1739184" y="587289"/>
                  <a:pt x="1737986" y="587289"/>
                </a:cubicBezTo>
                <a:cubicBezTo>
                  <a:pt x="1736787" y="587289"/>
                  <a:pt x="1736188" y="587289"/>
                  <a:pt x="1734989" y="586689"/>
                </a:cubicBezTo>
                <a:cubicBezTo>
                  <a:pt x="1733791" y="586090"/>
                  <a:pt x="1733791" y="585491"/>
                  <a:pt x="1733791" y="584891"/>
                </a:cubicBezTo>
                <a:cubicBezTo>
                  <a:pt x="1733791" y="584292"/>
                  <a:pt x="1734390" y="584292"/>
                  <a:pt x="1734390" y="584292"/>
                </a:cubicBezTo>
                <a:cubicBezTo>
                  <a:pt x="1734390" y="584292"/>
                  <a:pt x="1734989" y="584292"/>
                  <a:pt x="1734989" y="584292"/>
                </a:cubicBezTo>
                <a:cubicBezTo>
                  <a:pt x="1737386" y="584292"/>
                  <a:pt x="1740982" y="583094"/>
                  <a:pt x="1746375" y="581895"/>
                </a:cubicBezTo>
                <a:cubicBezTo>
                  <a:pt x="1748173" y="581296"/>
                  <a:pt x="1749372" y="581296"/>
                  <a:pt x="1749971" y="581296"/>
                </a:cubicBezTo>
                <a:cubicBezTo>
                  <a:pt x="1751170" y="581296"/>
                  <a:pt x="1751170" y="581895"/>
                  <a:pt x="1750570" y="584292"/>
                </a:cubicBezTo>
                <a:cubicBezTo>
                  <a:pt x="1749971" y="585491"/>
                  <a:pt x="1751170" y="586090"/>
                  <a:pt x="1752967" y="586090"/>
                </a:cubicBezTo>
                <a:cubicBezTo>
                  <a:pt x="1753567" y="586090"/>
                  <a:pt x="1754166" y="586090"/>
                  <a:pt x="1754765" y="586090"/>
                </a:cubicBezTo>
                <a:cubicBezTo>
                  <a:pt x="1755964" y="586090"/>
                  <a:pt x="1757762" y="585491"/>
                  <a:pt x="1759559" y="585491"/>
                </a:cubicBezTo>
                <a:cubicBezTo>
                  <a:pt x="1761357" y="585491"/>
                  <a:pt x="1762556" y="584891"/>
                  <a:pt x="1763754" y="584891"/>
                </a:cubicBezTo>
                <a:cubicBezTo>
                  <a:pt x="1768549" y="584292"/>
                  <a:pt x="1763155" y="580697"/>
                  <a:pt x="1758960" y="582494"/>
                </a:cubicBezTo>
                <a:cubicBezTo>
                  <a:pt x="1757762" y="583094"/>
                  <a:pt x="1757162" y="583094"/>
                  <a:pt x="1756563" y="583094"/>
                </a:cubicBezTo>
                <a:cubicBezTo>
                  <a:pt x="1755964" y="583094"/>
                  <a:pt x="1755365" y="582494"/>
                  <a:pt x="1754765" y="582494"/>
                </a:cubicBezTo>
                <a:cubicBezTo>
                  <a:pt x="1753567" y="581895"/>
                  <a:pt x="1752967" y="580097"/>
                  <a:pt x="1752368" y="578899"/>
                </a:cubicBezTo>
                <a:cubicBezTo>
                  <a:pt x="1752368" y="578299"/>
                  <a:pt x="1752368" y="578299"/>
                  <a:pt x="1751769" y="577700"/>
                </a:cubicBezTo>
                <a:cubicBezTo>
                  <a:pt x="1751170" y="576502"/>
                  <a:pt x="1751170" y="575902"/>
                  <a:pt x="1751769" y="575303"/>
                </a:cubicBezTo>
                <a:cubicBezTo>
                  <a:pt x="1752368" y="574704"/>
                  <a:pt x="1752967" y="574704"/>
                  <a:pt x="1754166" y="574104"/>
                </a:cubicBezTo>
                <a:cubicBezTo>
                  <a:pt x="1754765" y="574104"/>
                  <a:pt x="1755365" y="574104"/>
                  <a:pt x="1755964" y="574104"/>
                </a:cubicBezTo>
                <a:cubicBezTo>
                  <a:pt x="1757162" y="574104"/>
                  <a:pt x="1758361" y="574104"/>
                  <a:pt x="1758960" y="574104"/>
                </a:cubicBezTo>
                <a:cubicBezTo>
                  <a:pt x="1760758" y="573505"/>
                  <a:pt x="1761957" y="572906"/>
                  <a:pt x="1763155" y="571707"/>
                </a:cubicBezTo>
                <a:cubicBezTo>
                  <a:pt x="1763754" y="571108"/>
                  <a:pt x="1764354" y="570509"/>
                  <a:pt x="1765552" y="569910"/>
                </a:cubicBezTo>
                <a:cubicBezTo>
                  <a:pt x="1767949" y="568112"/>
                  <a:pt x="1769747" y="566913"/>
                  <a:pt x="1771545" y="566913"/>
                </a:cubicBezTo>
                <a:cubicBezTo>
                  <a:pt x="1772144" y="566913"/>
                  <a:pt x="1772743" y="566913"/>
                  <a:pt x="1773343" y="566913"/>
                </a:cubicBezTo>
                <a:cubicBezTo>
                  <a:pt x="1773942" y="566913"/>
                  <a:pt x="1774541" y="566913"/>
                  <a:pt x="1775140" y="567512"/>
                </a:cubicBezTo>
                <a:cubicBezTo>
                  <a:pt x="1775740" y="567512"/>
                  <a:pt x="1776339" y="567512"/>
                  <a:pt x="1776938" y="567512"/>
                </a:cubicBezTo>
                <a:cubicBezTo>
                  <a:pt x="1778137" y="567512"/>
                  <a:pt x="1778736" y="566913"/>
                  <a:pt x="1779935" y="566314"/>
                </a:cubicBezTo>
                <a:cubicBezTo>
                  <a:pt x="1782332" y="564516"/>
                  <a:pt x="1779935" y="562718"/>
                  <a:pt x="1784130" y="562119"/>
                </a:cubicBezTo>
                <a:cubicBezTo>
                  <a:pt x="1784729" y="562119"/>
                  <a:pt x="1785328" y="562119"/>
                  <a:pt x="1786527" y="562119"/>
                </a:cubicBezTo>
                <a:cubicBezTo>
                  <a:pt x="1788325" y="562119"/>
                  <a:pt x="1789523" y="562119"/>
                  <a:pt x="1790722" y="561520"/>
                </a:cubicBezTo>
                <a:cubicBezTo>
                  <a:pt x="1791920" y="561520"/>
                  <a:pt x="1792520" y="560920"/>
                  <a:pt x="1793119" y="560321"/>
                </a:cubicBezTo>
                <a:cubicBezTo>
                  <a:pt x="1794317" y="559123"/>
                  <a:pt x="1794317" y="557924"/>
                  <a:pt x="1794317" y="556126"/>
                </a:cubicBezTo>
                <a:cubicBezTo>
                  <a:pt x="1794317" y="555527"/>
                  <a:pt x="1794317" y="555527"/>
                  <a:pt x="1794317" y="554928"/>
                </a:cubicBezTo>
                <a:cubicBezTo>
                  <a:pt x="1794317" y="554328"/>
                  <a:pt x="1794917" y="554328"/>
                  <a:pt x="1794917" y="553729"/>
                </a:cubicBezTo>
                <a:cubicBezTo>
                  <a:pt x="1795516" y="553130"/>
                  <a:pt x="1796714" y="552531"/>
                  <a:pt x="1798512" y="552531"/>
                </a:cubicBezTo>
                <a:cubicBezTo>
                  <a:pt x="1799111" y="552531"/>
                  <a:pt x="1799111" y="552531"/>
                  <a:pt x="1799711" y="552531"/>
                </a:cubicBezTo>
                <a:cubicBezTo>
                  <a:pt x="1800310" y="552531"/>
                  <a:pt x="1801509" y="553130"/>
                  <a:pt x="1802108" y="553729"/>
                </a:cubicBezTo>
                <a:cubicBezTo>
                  <a:pt x="1802707" y="554328"/>
                  <a:pt x="1803306" y="555527"/>
                  <a:pt x="1804505" y="555527"/>
                </a:cubicBezTo>
                <a:cubicBezTo>
                  <a:pt x="1805104" y="556126"/>
                  <a:pt x="1805703" y="556126"/>
                  <a:pt x="1806303" y="556126"/>
                </a:cubicBezTo>
                <a:cubicBezTo>
                  <a:pt x="1806902" y="556126"/>
                  <a:pt x="1806902" y="556126"/>
                  <a:pt x="1807501" y="556126"/>
                </a:cubicBezTo>
                <a:cubicBezTo>
                  <a:pt x="1808101" y="556126"/>
                  <a:pt x="1809299" y="555527"/>
                  <a:pt x="1810498" y="555527"/>
                </a:cubicBezTo>
                <a:cubicBezTo>
                  <a:pt x="1811696" y="554928"/>
                  <a:pt x="1812895" y="554928"/>
                  <a:pt x="1812895" y="554328"/>
                </a:cubicBezTo>
                <a:cubicBezTo>
                  <a:pt x="1812895" y="553729"/>
                  <a:pt x="1813494" y="553729"/>
                  <a:pt x="1812895" y="553729"/>
                </a:cubicBezTo>
                <a:cubicBezTo>
                  <a:pt x="1812895" y="553729"/>
                  <a:pt x="1812296" y="553130"/>
                  <a:pt x="1811696" y="553130"/>
                </a:cubicBezTo>
                <a:cubicBezTo>
                  <a:pt x="1811097" y="553130"/>
                  <a:pt x="1809898" y="552531"/>
                  <a:pt x="1809299" y="552531"/>
                </a:cubicBezTo>
                <a:cubicBezTo>
                  <a:pt x="1808101" y="552531"/>
                  <a:pt x="1807501" y="551931"/>
                  <a:pt x="1806902" y="551931"/>
                </a:cubicBezTo>
                <a:cubicBezTo>
                  <a:pt x="1805703" y="551332"/>
                  <a:pt x="1805703" y="550134"/>
                  <a:pt x="1806303" y="548935"/>
                </a:cubicBezTo>
                <a:cubicBezTo>
                  <a:pt x="1806303" y="548336"/>
                  <a:pt x="1806902" y="547736"/>
                  <a:pt x="1807501" y="547137"/>
                </a:cubicBezTo>
                <a:cubicBezTo>
                  <a:pt x="1809299" y="545339"/>
                  <a:pt x="1811097" y="544141"/>
                  <a:pt x="1812895" y="544740"/>
                </a:cubicBezTo>
                <a:cubicBezTo>
                  <a:pt x="1813494" y="544740"/>
                  <a:pt x="1814693" y="545339"/>
                  <a:pt x="1815292" y="545939"/>
                </a:cubicBezTo>
                <a:cubicBezTo>
                  <a:pt x="1815891" y="545939"/>
                  <a:pt x="1816491" y="546538"/>
                  <a:pt x="1816491" y="546538"/>
                </a:cubicBezTo>
                <a:cubicBezTo>
                  <a:pt x="1817090" y="546538"/>
                  <a:pt x="1817090" y="546538"/>
                  <a:pt x="1817689" y="547137"/>
                </a:cubicBezTo>
                <a:cubicBezTo>
                  <a:pt x="1818288" y="547137"/>
                  <a:pt x="1818288" y="547137"/>
                  <a:pt x="1818288" y="547137"/>
                </a:cubicBezTo>
                <a:cubicBezTo>
                  <a:pt x="1819487" y="547137"/>
                  <a:pt x="1820086" y="545339"/>
                  <a:pt x="1820086" y="543541"/>
                </a:cubicBezTo>
                <a:cubicBezTo>
                  <a:pt x="1820086" y="541144"/>
                  <a:pt x="1821285" y="538747"/>
                  <a:pt x="1824281" y="536949"/>
                </a:cubicBezTo>
                <a:cubicBezTo>
                  <a:pt x="1825480" y="536350"/>
                  <a:pt x="1826678" y="536350"/>
                  <a:pt x="1827877" y="535751"/>
                </a:cubicBezTo>
                <a:cubicBezTo>
                  <a:pt x="1828476" y="535751"/>
                  <a:pt x="1829075" y="535751"/>
                  <a:pt x="1829674" y="535751"/>
                </a:cubicBezTo>
                <a:cubicBezTo>
                  <a:pt x="1830274" y="535751"/>
                  <a:pt x="1830274" y="535751"/>
                  <a:pt x="1830873" y="535751"/>
                </a:cubicBezTo>
                <a:cubicBezTo>
                  <a:pt x="1832671" y="535152"/>
                  <a:pt x="1832671" y="534552"/>
                  <a:pt x="1833270" y="532755"/>
                </a:cubicBezTo>
                <a:cubicBezTo>
                  <a:pt x="1833270" y="531556"/>
                  <a:pt x="1835068" y="530957"/>
                  <a:pt x="1836866" y="530357"/>
                </a:cubicBezTo>
                <a:cubicBezTo>
                  <a:pt x="1839862" y="529159"/>
                  <a:pt x="1844656" y="529159"/>
                  <a:pt x="1847053" y="530357"/>
                </a:cubicBezTo>
                <a:cubicBezTo>
                  <a:pt x="1849451" y="531556"/>
                  <a:pt x="1851248" y="532755"/>
                  <a:pt x="1853645" y="532155"/>
                </a:cubicBezTo>
                <a:cubicBezTo>
                  <a:pt x="1854245" y="532155"/>
                  <a:pt x="1854844" y="531556"/>
                  <a:pt x="1856042" y="530957"/>
                </a:cubicBezTo>
                <a:cubicBezTo>
                  <a:pt x="1857241" y="530357"/>
                  <a:pt x="1857840" y="529758"/>
                  <a:pt x="1858440" y="529758"/>
                </a:cubicBezTo>
                <a:cubicBezTo>
                  <a:pt x="1859039" y="529758"/>
                  <a:pt x="1860237" y="529159"/>
                  <a:pt x="1861436" y="529159"/>
                </a:cubicBezTo>
                <a:cubicBezTo>
                  <a:pt x="1863234" y="529159"/>
                  <a:pt x="1865032" y="529159"/>
                  <a:pt x="1866829" y="529758"/>
                </a:cubicBezTo>
                <a:cubicBezTo>
                  <a:pt x="1869227" y="530957"/>
                  <a:pt x="1873422" y="533354"/>
                  <a:pt x="1877017" y="533953"/>
                </a:cubicBezTo>
                <a:cubicBezTo>
                  <a:pt x="1877616" y="533953"/>
                  <a:pt x="1878216" y="533953"/>
                  <a:pt x="1878815" y="533953"/>
                </a:cubicBezTo>
                <a:cubicBezTo>
                  <a:pt x="1879414" y="533953"/>
                  <a:pt x="1879414" y="533953"/>
                  <a:pt x="1880013" y="533953"/>
                </a:cubicBezTo>
                <a:cubicBezTo>
                  <a:pt x="1881212" y="533354"/>
                  <a:pt x="1880613" y="531556"/>
                  <a:pt x="1878815" y="529758"/>
                </a:cubicBezTo>
                <a:cubicBezTo>
                  <a:pt x="1878216" y="529159"/>
                  <a:pt x="1877616" y="529159"/>
                  <a:pt x="1877017" y="528560"/>
                </a:cubicBezTo>
                <a:cubicBezTo>
                  <a:pt x="1875819" y="527960"/>
                  <a:pt x="1874021" y="527361"/>
                  <a:pt x="1872223" y="526762"/>
                </a:cubicBezTo>
                <a:cubicBezTo>
                  <a:pt x="1865032" y="524964"/>
                  <a:pt x="1868627" y="518372"/>
                  <a:pt x="1872822" y="517173"/>
                </a:cubicBezTo>
                <a:cubicBezTo>
                  <a:pt x="1874620" y="516574"/>
                  <a:pt x="1875819" y="516574"/>
                  <a:pt x="1877017" y="516574"/>
                </a:cubicBezTo>
                <a:cubicBezTo>
                  <a:pt x="1877616" y="516574"/>
                  <a:pt x="1878815" y="516574"/>
                  <a:pt x="1879414" y="516574"/>
                </a:cubicBezTo>
                <a:cubicBezTo>
                  <a:pt x="1880613" y="517173"/>
                  <a:pt x="1881212" y="517773"/>
                  <a:pt x="1881811" y="518971"/>
                </a:cubicBezTo>
                <a:cubicBezTo>
                  <a:pt x="1881811" y="519571"/>
                  <a:pt x="1882411" y="519571"/>
                  <a:pt x="1882411" y="520170"/>
                </a:cubicBezTo>
                <a:cubicBezTo>
                  <a:pt x="1882411" y="520769"/>
                  <a:pt x="1882411" y="520769"/>
                  <a:pt x="1883010" y="521368"/>
                </a:cubicBezTo>
                <a:cubicBezTo>
                  <a:pt x="1883609" y="522567"/>
                  <a:pt x="1883609" y="523765"/>
                  <a:pt x="1884808" y="524365"/>
                </a:cubicBezTo>
                <a:cubicBezTo>
                  <a:pt x="1884808" y="524365"/>
                  <a:pt x="1885407" y="524365"/>
                  <a:pt x="1886006" y="524964"/>
                </a:cubicBezTo>
                <a:cubicBezTo>
                  <a:pt x="1886605" y="524964"/>
                  <a:pt x="1886605" y="524964"/>
                  <a:pt x="1887205" y="524964"/>
                </a:cubicBezTo>
                <a:cubicBezTo>
                  <a:pt x="1887804" y="524964"/>
                  <a:pt x="1887804" y="524964"/>
                  <a:pt x="1887804" y="524365"/>
                </a:cubicBezTo>
                <a:cubicBezTo>
                  <a:pt x="1887804" y="524365"/>
                  <a:pt x="1887804" y="523765"/>
                  <a:pt x="1887804" y="523765"/>
                </a:cubicBezTo>
                <a:cubicBezTo>
                  <a:pt x="1887804" y="522567"/>
                  <a:pt x="1887205" y="520170"/>
                  <a:pt x="1886605" y="517773"/>
                </a:cubicBezTo>
                <a:cubicBezTo>
                  <a:pt x="1886006" y="515376"/>
                  <a:pt x="1887205" y="512979"/>
                  <a:pt x="1889003" y="511181"/>
                </a:cubicBezTo>
                <a:cubicBezTo>
                  <a:pt x="1890201" y="510581"/>
                  <a:pt x="1891400" y="509383"/>
                  <a:pt x="1892598" y="508784"/>
                </a:cubicBezTo>
                <a:cubicBezTo>
                  <a:pt x="1893797" y="508184"/>
                  <a:pt x="1895595" y="507585"/>
                  <a:pt x="1897392" y="507585"/>
                </a:cubicBezTo>
                <a:cubicBezTo>
                  <a:pt x="1899190" y="507585"/>
                  <a:pt x="1900389" y="507585"/>
                  <a:pt x="1901587" y="507585"/>
                </a:cubicBezTo>
                <a:cubicBezTo>
                  <a:pt x="1904584" y="507585"/>
                  <a:pt x="1905782" y="508784"/>
                  <a:pt x="1906981" y="511181"/>
                </a:cubicBezTo>
                <a:cubicBezTo>
                  <a:pt x="1908179" y="513578"/>
                  <a:pt x="1909977" y="510581"/>
                  <a:pt x="1910576" y="507585"/>
                </a:cubicBezTo>
                <a:cubicBezTo>
                  <a:pt x="1910576" y="506387"/>
                  <a:pt x="1910576" y="505787"/>
                  <a:pt x="1909977" y="504589"/>
                </a:cubicBezTo>
                <a:cubicBezTo>
                  <a:pt x="1909977" y="503989"/>
                  <a:pt x="1909977" y="503989"/>
                  <a:pt x="1909378" y="503390"/>
                </a:cubicBezTo>
                <a:cubicBezTo>
                  <a:pt x="1908779" y="500993"/>
                  <a:pt x="1911176" y="499795"/>
                  <a:pt x="1913573" y="500394"/>
                </a:cubicBezTo>
                <a:cubicBezTo>
                  <a:pt x="1915970" y="500993"/>
                  <a:pt x="1917768" y="499195"/>
                  <a:pt x="1920165" y="497397"/>
                </a:cubicBezTo>
                <a:cubicBezTo>
                  <a:pt x="1921963" y="496199"/>
                  <a:pt x="1924360" y="495000"/>
                  <a:pt x="1925558" y="495600"/>
                </a:cubicBezTo>
                <a:cubicBezTo>
                  <a:pt x="1926158" y="495600"/>
                  <a:pt x="1926158" y="496199"/>
                  <a:pt x="1926158" y="496199"/>
                </a:cubicBezTo>
                <a:cubicBezTo>
                  <a:pt x="1926757" y="497997"/>
                  <a:pt x="1923761" y="500394"/>
                  <a:pt x="1921363" y="501592"/>
                </a:cubicBezTo>
                <a:cubicBezTo>
                  <a:pt x="1918966" y="503390"/>
                  <a:pt x="1917168" y="503989"/>
                  <a:pt x="1917168" y="506986"/>
                </a:cubicBezTo>
                <a:cubicBezTo>
                  <a:pt x="1917168" y="507585"/>
                  <a:pt x="1917168" y="507585"/>
                  <a:pt x="1917168" y="508184"/>
                </a:cubicBezTo>
                <a:cubicBezTo>
                  <a:pt x="1917168" y="509383"/>
                  <a:pt x="1917168" y="509982"/>
                  <a:pt x="1917768" y="509982"/>
                </a:cubicBezTo>
                <a:cubicBezTo>
                  <a:pt x="1917768" y="509982"/>
                  <a:pt x="1917768" y="509982"/>
                  <a:pt x="1918367" y="509982"/>
                </a:cubicBezTo>
                <a:cubicBezTo>
                  <a:pt x="1918966" y="509982"/>
                  <a:pt x="1919566" y="509383"/>
                  <a:pt x="1920165" y="508184"/>
                </a:cubicBezTo>
                <a:cubicBezTo>
                  <a:pt x="1920764" y="507585"/>
                  <a:pt x="1921363" y="506986"/>
                  <a:pt x="1921963" y="506387"/>
                </a:cubicBezTo>
                <a:cubicBezTo>
                  <a:pt x="1922562" y="505787"/>
                  <a:pt x="1923161" y="505188"/>
                  <a:pt x="1923761" y="504589"/>
                </a:cubicBezTo>
                <a:cubicBezTo>
                  <a:pt x="1924959" y="503390"/>
                  <a:pt x="1926158" y="502791"/>
                  <a:pt x="1927356" y="502791"/>
                </a:cubicBezTo>
                <a:cubicBezTo>
                  <a:pt x="1927955" y="502791"/>
                  <a:pt x="1928555" y="502791"/>
                  <a:pt x="1929154" y="502791"/>
                </a:cubicBezTo>
                <a:cubicBezTo>
                  <a:pt x="1931551" y="503390"/>
                  <a:pt x="1931551" y="500394"/>
                  <a:pt x="1929753" y="497997"/>
                </a:cubicBezTo>
                <a:cubicBezTo>
                  <a:pt x="1929154" y="497397"/>
                  <a:pt x="1929154" y="496798"/>
                  <a:pt x="1929154" y="496199"/>
                </a:cubicBezTo>
                <a:cubicBezTo>
                  <a:pt x="1929154" y="494401"/>
                  <a:pt x="1930952" y="493202"/>
                  <a:pt x="1934547" y="494401"/>
                </a:cubicBezTo>
                <a:cubicBezTo>
                  <a:pt x="1938742" y="495000"/>
                  <a:pt x="1939941" y="495000"/>
                  <a:pt x="1939342" y="499795"/>
                </a:cubicBezTo>
                <a:cubicBezTo>
                  <a:pt x="1939342" y="500394"/>
                  <a:pt x="1939342" y="500993"/>
                  <a:pt x="1939342" y="500993"/>
                </a:cubicBezTo>
                <a:cubicBezTo>
                  <a:pt x="1939342" y="501592"/>
                  <a:pt x="1939941" y="502192"/>
                  <a:pt x="1940540" y="502192"/>
                </a:cubicBezTo>
                <a:cubicBezTo>
                  <a:pt x="1941739" y="502192"/>
                  <a:pt x="1944735" y="500394"/>
                  <a:pt x="1947731" y="498596"/>
                </a:cubicBezTo>
                <a:cubicBezTo>
                  <a:pt x="1948331" y="497997"/>
                  <a:pt x="1948930" y="497997"/>
                  <a:pt x="1949529" y="497397"/>
                </a:cubicBezTo>
                <a:cubicBezTo>
                  <a:pt x="1950129" y="496798"/>
                  <a:pt x="1950129" y="496798"/>
                  <a:pt x="1950129" y="496798"/>
                </a:cubicBezTo>
                <a:cubicBezTo>
                  <a:pt x="1951327" y="495600"/>
                  <a:pt x="1948930" y="495000"/>
                  <a:pt x="1947132" y="495000"/>
                </a:cubicBezTo>
                <a:cubicBezTo>
                  <a:pt x="1945334" y="495000"/>
                  <a:pt x="1943536" y="495000"/>
                  <a:pt x="1943536" y="493802"/>
                </a:cubicBezTo>
                <a:cubicBezTo>
                  <a:pt x="1943536" y="493802"/>
                  <a:pt x="1943536" y="493202"/>
                  <a:pt x="1943536" y="493202"/>
                </a:cubicBezTo>
                <a:cubicBezTo>
                  <a:pt x="1943536" y="493202"/>
                  <a:pt x="1943536" y="492603"/>
                  <a:pt x="1944136" y="492004"/>
                </a:cubicBezTo>
                <a:cubicBezTo>
                  <a:pt x="1945934" y="489008"/>
                  <a:pt x="1948331" y="488408"/>
                  <a:pt x="1951926" y="489607"/>
                </a:cubicBezTo>
                <a:cubicBezTo>
                  <a:pt x="1954324" y="490805"/>
                  <a:pt x="1956121" y="490206"/>
                  <a:pt x="1957919" y="489607"/>
                </a:cubicBezTo>
                <a:cubicBezTo>
                  <a:pt x="1958518" y="489607"/>
                  <a:pt x="1959118" y="489008"/>
                  <a:pt x="1959717" y="489008"/>
                </a:cubicBezTo>
                <a:cubicBezTo>
                  <a:pt x="1960316" y="488408"/>
                  <a:pt x="1960915" y="488408"/>
                  <a:pt x="1961515" y="488408"/>
                </a:cubicBezTo>
                <a:cubicBezTo>
                  <a:pt x="1962713" y="488408"/>
                  <a:pt x="1963313" y="488408"/>
                  <a:pt x="1964511" y="489008"/>
                </a:cubicBezTo>
                <a:cubicBezTo>
                  <a:pt x="1965110" y="489607"/>
                  <a:pt x="1965110" y="490206"/>
                  <a:pt x="1965710" y="490805"/>
                </a:cubicBezTo>
                <a:cubicBezTo>
                  <a:pt x="1966309" y="491405"/>
                  <a:pt x="1966908" y="492004"/>
                  <a:pt x="1966908" y="492004"/>
                </a:cubicBezTo>
                <a:cubicBezTo>
                  <a:pt x="1966908" y="492004"/>
                  <a:pt x="1967507" y="492004"/>
                  <a:pt x="1967507" y="492004"/>
                </a:cubicBezTo>
                <a:cubicBezTo>
                  <a:pt x="1968107" y="491405"/>
                  <a:pt x="1968706" y="489008"/>
                  <a:pt x="1967507" y="486011"/>
                </a:cubicBezTo>
                <a:cubicBezTo>
                  <a:pt x="1966309" y="482416"/>
                  <a:pt x="1975298" y="478221"/>
                  <a:pt x="1980692" y="478221"/>
                </a:cubicBezTo>
                <a:cubicBezTo>
                  <a:pt x="1981291" y="478221"/>
                  <a:pt x="1981890" y="478221"/>
                  <a:pt x="1982489" y="478221"/>
                </a:cubicBezTo>
                <a:cubicBezTo>
                  <a:pt x="1983089" y="478221"/>
                  <a:pt x="1983688" y="478221"/>
                  <a:pt x="1984287" y="478221"/>
                </a:cubicBezTo>
                <a:cubicBezTo>
                  <a:pt x="1987883" y="477621"/>
                  <a:pt x="1992677" y="474625"/>
                  <a:pt x="1995673" y="473426"/>
                </a:cubicBezTo>
                <a:cubicBezTo>
                  <a:pt x="1996273" y="473426"/>
                  <a:pt x="1996872" y="472827"/>
                  <a:pt x="1996872" y="472827"/>
                </a:cubicBezTo>
                <a:cubicBezTo>
                  <a:pt x="1997471" y="472827"/>
                  <a:pt x="1997471" y="472827"/>
                  <a:pt x="1998070" y="472827"/>
                </a:cubicBezTo>
                <a:cubicBezTo>
                  <a:pt x="1999269" y="472827"/>
                  <a:pt x="1999269" y="472827"/>
                  <a:pt x="1999868" y="473426"/>
                </a:cubicBezTo>
                <a:cubicBezTo>
                  <a:pt x="1999868" y="474026"/>
                  <a:pt x="1999868" y="474026"/>
                  <a:pt x="1999868" y="474625"/>
                </a:cubicBezTo>
                <a:cubicBezTo>
                  <a:pt x="1999868" y="475224"/>
                  <a:pt x="1999269" y="475824"/>
                  <a:pt x="1999269" y="476423"/>
                </a:cubicBezTo>
                <a:cubicBezTo>
                  <a:pt x="1998670" y="477621"/>
                  <a:pt x="1998070" y="478221"/>
                  <a:pt x="1998070" y="478820"/>
                </a:cubicBezTo>
                <a:cubicBezTo>
                  <a:pt x="1998070" y="480018"/>
                  <a:pt x="1998670" y="480618"/>
                  <a:pt x="2001666" y="482416"/>
                </a:cubicBezTo>
                <a:cubicBezTo>
                  <a:pt x="2002865" y="483015"/>
                  <a:pt x="2003464" y="483614"/>
                  <a:pt x="2004063" y="483614"/>
                </a:cubicBezTo>
                <a:cubicBezTo>
                  <a:pt x="2004063" y="483614"/>
                  <a:pt x="2004662" y="483614"/>
                  <a:pt x="2004662" y="483614"/>
                </a:cubicBezTo>
                <a:cubicBezTo>
                  <a:pt x="2005262" y="483015"/>
                  <a:pt x="2005262" y="481816"/>
                  <a:pt x="2004662" y="480618"/>
                </a:cubicBezTo>
                <a:cubicBezTo>
                  <a:pt x="2004662" y="479419"/>
                  <a:pt x="2004063" y="478221"/>
                  <a:pt x="2003464" y="477022"/>
                </a:cubicBezTo>
                <a:cubicBezTo>
                  <a:pt x="2002865" y="475824"/>
                  <a:pt x="2002865" y="475224"/>
                  <a:pt x="2003464" y="474625"/>
                </a:cubicBezTo>
                <a:cubicBezTo>
                  <a:pt x="2004063" y="474026"/>
                  <a:pt x="2004662" y="474026"/>
                  <a:pt x="2005262" y="474026"/>
                </a:cubicBezTo>
                <a:cubicBezTo>
                  <a:pt x="2006460" y="474026"/>
                  <a:pt x="2007659" y="474625"/>
                  <a:pt x="2008258" y="475824"/>
                </a:cubicBezTo>
                <a:cubicBezTo>
                  <a:pt x="2008258" y="476423"/>
                  <a:pt x="2008857" y="476423"/>
                  <a:pt x="2008857" y="477022"/>
                </a:cubicBezTo>
                <a:cubicBezTo>
                  <a:pt x="2008857" y="478820"/>
                  <a:pt x="2008857" y="480618"/>
                  <a:pt x="2008857" y="481816"/>
                </a:cubicBezTo>
                <a:cubicBezTo>
                  <a:pt x="2008857" y="483015"/>
                  <a:pt x="2008857" y="483614"/>
                  <a:pt x="2010056" y="483614"/>
                </a:cubicBezTo>
                <a:cubicBezTo>
                  <a:pt x="2010655" y="483614"/>
                  <a:pt x="2010655" y="483614"/>
                  <a:pt x="2011255" y="483015"/>
                </a:cubicBezTo>
                <a:cubicBezTo>
                  <a:pt x="2011854" y="482416"/>
                  <a:pt x="2011854" y="481217"/>
                  <a:pt x="2011255" y="479419"/>
                </a:cubicBezTo>
                <a:cubicBezTo>
                  <a:pt x="2011255" y="478820"/>
                  <a:pt x="2011255" y="477621"/>
                  <a:pt x="2011255" y="476423"/>
                </a:cubicBezTo>
                <a:cubicBezTo>
                  <a:pt x="2011255" y="474026"/>
                  <a:pt x="2011255" y="472827"/>
                  <a:pt x="2010655" y="471029"/>
                </a:cubicBezTo>
                <a:cubicBezTo>
                  <a:pt x="2010056" y="469831"/>
                  <a:pt x="2008258" y="468033"/>
                  <a:pt x="2005861" y="466834"/>
                </a:cubicBezTo>
                <a:cubicBezTo>
                  <a:pt x="2005262" y="466235"/>
                  <a:pt x="2004662" y="466235"/>
                  <a:pt x="2004662" y="465636"/>
                </a:cubicBezTo>
                <a:cubicBezTo>
                  <a:pt x="2004063" y="464437"/>
                  <a:pt x="2005262" y="463838"/>
                  <a:pt x="2007060" y="463239"/>
                </a:cubicBezTo>
                <a:cubicBezTo>
                  <a:pt x="2008258" y="462639"/>
                  <a:pt x="2008857" y="462639"/>
                  <a:pt x="2010056" y="462639"/>
                </a:cubicBezTo>
                <a:cubicBezTo>
                  <a:pt x="2012453" y="462040"/>
                  <a:pt x="2014251" y="462040"/>
                  <a:pt x="2015449" y="462040"/>
                </a:cubicBezTo>
                <a:cubicBezTo>
                  <a:pt x="2016049" y="462040"/>
                  <a:pt x="2016648" y="462040"/>
                  <a:pt x="2017247" y="462040"/>
                </a:cubicBezTo>
                <a:cubicBezTo>
                  <a:pt x="2019045" y="462040"/>
                  <a:pt x="2021442" y="462040"/>
                  <a:pt x="2021442" y="464437"/>
                </a:cubicBezTo>
                <a:cubicBezTo>
                  <a:pt x="2021442" y="466235"/>
                  <a:pt x="2022041" y="466834"/>
                  <a:pt x="2023839" y="467434"/>
                </a:cubicBezTo>
                <a:cubicBezTo>
                  <a:pt x="2025038" y="468033"/>
                  <a:pt x="2026836" y="468033"/>
                  <a:pt x="2028633" y="468632"/>
                </a:cubicBezTo>
                <a:cubicBezTo>
                  <a:pt x="2034626" y="469232"/>
                  <a:pt x="2028034" y="472228"/>
                  <a:pt x="2025637" y="474625"/>
                </a:cubicBezTo>
                <a:cubicBezTo>
                  <a:pt x="2024438" y="475824"/>
                  <a:pt x="2024438" y="477022"/>
                  <a:pt x="2025038" y="477022"/>
                </a:cubicBezTo>
                <a:cubicBezTo>
                  <a:pt x="2025038" y="477022"/>
                  <a:pt x="2025637" y="477022"/>
                  <a:pt x="2026236" y="477022"/>
                </a:cubicBezTo>
                <a:cubicBezTo>
                  <a:pt x="2026836" y="477022"/>
                  <a:pt x="2027435" y="476423"/>
                  <a:pt x="2028034" y="475824"/>
                </a:cubicBezTo>
                <a:cubicBezTo>
                  <a:pt x="2029832" y="474026"/>
                  <a:pt x="2033428" y="472228"/>
                  <a:pt x="2037023" y="471029"/>
                </a:cubicBezTo>
                <a:cubicBezTo>
                  <a:pt x="2038222" y="470430"/>
                  <a:pt x="2039420" y="470430"/>
                  <a:pt x="2040619" y="470430"/>
                </a:cubicBezTo>
                <a:lnTo>
                  <a:pt x="2040619" y="470430"/>
                </a:lnTo>
                <a:lnTo>
                  <a:pt x="2040619" y="470430"/>
                </a:lnTo>
                <a:cubicBezTo>
                  <a:pt x="2041817" y="470430"/>
                  <a:pt x="2042417" y="470430"/>
                  <a:pt x="2043016" y="471029"/>
                </a:cubicBezTo>
                <a:cubicBezTo>
                  <a:pt x="2043016" y="471029"/>
                  <a:pt x="2043615" y="471629"/>
                  <a:pt x="2043615" y="471629"/>
                </a:cubicBezTo>
                <a:cubicBezTo>
                  <a:pt x="2043615" y="472228"/>
                  <a:pt x="2043615" y="472827"/>
                  <a:pt x="2043016" y="473426"/>
                </a:cubicBezTo>
                <a:cubicBezTo>
                  <a:pt x="2042417" y="474026"/>
                  <a:pt x="2042417" y="474625"/>
                  <a:pt x="2041817" y="474625"/>
                </a:cubicBezTo>
                <a:cubicBezTo>
                  <a:pt x="2041817" y="474625"/>
                  <a:pt x="2041218" y="475224"/>
                  <a:pt x="2040619" y="475224"/>
                </a:cubicBezTo>
                <a:cubicBezTo>
                  <a:pt x="2040020" y="475224"/>
                  <a:pt x="2039420" y="475824"/>
                  <a:pt x="2038821" y="476423"/>
                </a:cubicBezTo>
                <a:cubicBezTo>
                  <a:pt x="2037023" y="477621"/>
                  <a:pt x="2034626" y="479419"/>
                  <a:pt x="2032229" y="481816"/>
                </a:cubicBezTo>
                <a:cubicBezTo>
                  <a:pt x="2030431" y="483614"/>
                  <a:pt x="2029233" y="484213"/>
                  <a:pt x="2029832" y="484213"/>
                </a:cubicBezTo>
                <a:cubicBezTo>
                  <a:pt x="2029832" y="484213"/>
                  <a:pt x="2030431" y="484213"/>
                  <a:pt x="2030431" y="484213"/>
                </a:cubicBezTo>
                <a:cubicBezTo>
                  <a:pt x="2031031" y="484213"/>
                  <a:pt x="2031630" y="484813"/>
                  <a:pt x="2032828" y="484813"/>
                </a:cubicBezTo>
                <a:cubicBezTo>
                  <a:pt x="2033428" y="484813"/>
                  <a:pt x="2034027" y="484813"/>
                  <a:pt x="2034626" y="484813"/>
                </a:cubicBezTo>
                <a:cubicBezTo>
                  <a:pt x="2035825" y="484813"/>
                  <a:pt x="2037023" y="484213"/>
                  <a:pt x="2038222" y="483614"/>
                </a:cubicBezTo>
                <a:cubicBezTo>
                  <a:pt x="2039420" y="482416"/>
                  <a:pt x="2040619" y="481217"/>
                  <a:pt x="2042417" y="479419"/>
                </a:cubicBezTo>
                <a:cubicBezTo>
                  <a:pt x="2045413" y="477022"/>
                  <a:pt x="2046612" y="474026"/>
                  <a:pt x="2050806" y="474026"/>
                </a:cubicBezTo>
                <a:cubicBezTo>
                  <a:pt x="2053803" y="474026"/>
                  <a:pt x="2055001" y="472827"/>
                  <a:pt x="2056200" y="471629"/>
                </a:cubicBezTo>
                <a:cubicBezTo>
                  <a:pt x="2056799" y="471029"/>
                  <a:pt x="2056799" y="470430"/>
                  <a:pt x="2057399" y="469831"/>
                </a:cubicBezTo>
                <a:cubicBezTo>
                  <a:pt x="2057998" y="468632"/>
                  <a:pt x="2058597" y="468033"/>
                  <a:pt x="2059196" y="467434"/>
                </a:cubicBezTo>
                <a:cubicBezTo>
                  <a:pt x="2059196" y="467434"/>
                  <a:pt x="2059796" y="466834"/>
                  <a:pt x="2059796" y="466834"/>
                </a:cubicBezTo>
                <a:cubicBezTo>
                  <a:pt x="2059796" y="466834"/>
                  <a:pt x="2060395" y="466834"/>
                  <a:pt x="2060395" y="466834"/>
                </a:cubicBezTo>
                <a:cubicBezTo>
                  <a:pt x="2060994" y="466834"/>
                  <a:pt x="2062193" y="467434"/>
                  <a:pt x="2063391" y="468033"/>
                </a:cubicBezTo>
                <a:cubicBezTo>
                  <a:pt x="2064590" y="468632"/>
                  <a:pt x="2065189" y="469232"/>
                  <a:pt x="2065189" y="470430"/>
                </a:cubicBezTo>
                <a:cubicBezTo>
                  <a:pt x="2065788" y="471629"/>
                  <a:pt x="2065788" y="473426"/>
                  <a:pt x="2065788" y="475824"/>
                </a:cubicBezTo>
                <a:cubicBezTo>
                  <a:pt x="2065788" y="477621"/>
                  <a:pt x="2065788" y="480018"/>
                  <a:pt x="2065788" y="481816"/>
                </a:cubicBezTo>
                <a:cubicBezTo>
                  <a:pt x="2066388" y="487210"/>
                  <a:pt x="2068785" y="485412"/>
                  <a:pt x="2068785" y="482416"/>
                </a:cubicBezTo>
                <a:cubicBezTo>
                  <a:pt x="2068785" y="480018"/>
                  <a:pt x="2069384" y="475824"/>
                  <a:pt x="2071182" y="475824"/>
                </a:cubicBezTo>
                <a:cubicBezTo>
                  <a:pt x="2071781" y="475824"/>
                  <a:pt x="2072380" y="475824"/>
                  <a:pt x="2072380" y="475224"/>
                </a:cubicBezTo>
                <a:cubicBezTo>
                  <a:pt x="2072980" y="474026"/>
                  <a:pt x="2072980" y="471629"/>
                  <a:pt x="2072380" y="468632"/>
                </a:cubicBezTo>
                <a:cubicBezTo>
                  <a:pt x="2072380" y="467434"/>
                  <a:pt x="2072380" y="466235"/>
                  <a:pt x="2072380" y="465636"/>
                </a:cubicBezTo>
                <a:cubicBezTo>
                  <a:pt x="2072380" y="464437"/>
                  <a:pt x="2072980" y="463838"/>
                  <a:pt x="2074178" y="463239"/>
                </a:cubicBezTo>
                <a:cubicBezTo>
                  <a:pt x="2074777" y="463239"/>
                  <a:pt x="2075377" y="462639"/>
                  <a:pt x="2075976" y="462639"/>
                </a:cubicBezTo>
                <a:cubicBezTo>
                  <a:pt x="2076575" y="462639"/>
                  <a:pt x="2077774" y="462639"/>
                  <a:pt x="2078373" y="462040"/>
                </a:cubicBezTo>
                <a:cubicBezTo>
                  <a:pt x="2078972" y="462040"/>
                  <a:pt x="2079572" y="462040"/>
                  <a:pt x="2080171" y="462040"/>
                </a:cubicBezTo>
                <a:cubicBezTo>
                  <a:pt x="2080770" y="462040"/>
                  <a:pt x="2081369" y="462040"/>
                  <a:pt x="2081969" y="462040"/>
                </a:cubicBezTo>
                <a:cubicBezTo>
                  <a:pt x="2083767" y="462040"/>
                  <a:pt x="2084965" y="462639"/>
                  <a:pt x="2086164" y="462639"/>
                </a:cubicBezTo>
                <a:cubicBezTo>
                  <a:pt x="2087362" y="463239"/>
                  <a:pt x="2087962" y="463838"/>
                  <a:pt x="2087362" y="465037"/>
                </a:cubicBezTo>
                <a:cubicBezTo>
                  <a:pt x="2087362" y="466235"/>
                  <a:pt x="2087362" y="467434"/>
                  <a:pt x="2088561" y="467434"/>
                </a:cubicBezTo>
                <a:cubicBezTo>
                  <a:pt x="2089160" y="467434"/>
                  <a:pt x="2089759" y="468033"/>
                  <a:pt x="2090359" y="468033"/>
                </a:cubicBezTo>
                <a:cubicBezTo>
                  <a:pt x="2090958" y="468033"/>
                  <a:pt x="2091557" y="468033"/>
                  <a:pt x="2092157" y="468033"/>
                </a:cubicBezTo>
                <a:lnTo>
                  <a:pt x="2092157" y="468033"/>
                </a:lnTo>
                <a:lnTo>
                  <a:pt x="2092157" y="468033"/>
                </a:lnTo>
                <a:cubicBezTo>
                  <a:pt x="2092756" y="468033"/>
                  <a:pt x="2093355" y="468033"/>
                  <a:pt x="2093954" y="468033"/>
                </a:cubicBezTo>
                <a:cubicBezTo>
                  <a:pt x="2095752" y="468632"/>
                  <a:pt x="2096951" y="470430"/>
                  <a:pt x="2096951" y="473426"/>
                </a:cubicBezTo>
                <a:cubicBezTo>
                  <a:pt x="2097550" y="477621"/>
                  <a:pt x="2095752" y="478221"/>
                  <a:pt x="2098748" y="480018"/>
                </a:cubicBezTo>
                <a:cubicBezTo>
                  <a:pt x="2099348" y="480618"/>
                  <a:pt x="2099947" y="480618"/>
                  <a:pt x="2099947" y="480618"/>
                </a:cubicBezTo>
                <a:cubicBezTo>
                  <a:pt x="2099947" y="480618"/>
                  <a:pt x="2099947" y="480618"/>
                  <a:pt x="2100546" y="480618"/>
                </a:cubicBezTo>
                <a:cubicBezTo>
                  <a:pt x="2100546" y="480618"/>
                  <a:pt x="2101146" y="480618"/>
                  <a:pt x="2101146" y="480618"/>
                </a:cubicBezTo>
                <a:cubicBezTo>
                  <a:pt x="2101146" y="480618"/>
                  <a:pt x="2101146" y="480618"/>
                  <a:pt x="2101745" y="480018"/>
                </a:cubicBezTo>
                <a:cubicBezTo>
                  <a:pt x="2102344" y="479419"/>
                  <a:pt x="2102344" y="478221"/>
                  <a:pt x="2102344" y="477022"/>
                </a:cubicBezTo>
                <a:cubicBezTo>
                  <a:pt x="2102344" y="474625"/>
                  <a:pt x="2104142" y="473426"/>
                  <a:pt x="2107738" y="471629"/>
                </a:cubicBezTo>
                <a:cubicBezTo>
                  <a:pt x="2108337" y="471629"/>
                  <a:pt x="2108936" y="471029"/>
                  <a:pt x="2109535" y="471029"/>
                </a:cubicBezTo>
                <a:cubicBezTo>
                  <a:pt x="2114330" y="469232"/>
                  <a:pt x="2121521" y="466834"/>
                  <a:pt x="2125716" y="466235"/>
                </a:cubicBezTo>
                <a:cubicBezTo>
                  <a:pt x="2128113" y="466235"/>
                  <a:pt x="2129311" y="465636"/>
                  <a:pt x="2130510" y="465037"/>
                </a:cubicBezTo>
                <a:cubicBezTo>
                  <a:pt x="2131109" y="464437"/>
                  <a:pt x="2131709" y="464437"/>
                  <a:pt x="2132308" y="463838"/>
                </a:cubicBezTo>
                <a:cubicBezTo>
                  <a:pt x="2132907" y="463239"/>
                  <a:pt x="2133506" y="462639"/>
                  <a:pt x="2133506" y="462639"/>
                </a:cubicBezTo>
                <a:cubicBezTo>
                  <a:pt x="2134705" y="460842"/>
                  <a:pt x="2135304" y="460242"/>
                  <a:pt x="2137102" y="460242"/>
                </a:cubicBezTo>
                <a:cubicBezTo>
                  <a:pt x="2137701" y="460242"/>
                  <a:pt x="2138301" y="460242"/>
                  <a:pt x="2139499" y="460242"/>
                </a:cubicBezTo>
                <a:cubicBezTo>
                  <a:pt x="2140698" y="460242"/>
                  <a:pt x="2141297" y="460242"/>
                  <a:pt x="2141896" y="460242"/>
                </a:cubicBezTo>
                <a:cubicBezTo>
                  <a:pt x="2142496" y="460242"/>
                  <a:pt x="2142496" y="460242"/>
                  <a:pt x="2142496" y="459643"/>
                </a:cubicBezTo>
                <a:cubicBezTo>
                  <a:pt x="2142496" y="459643"/>
                  <a:pt x="2142496" y="459044"/>
                  <a:pt x="2142496" y="459044"/>
                </a:cubicBezTo>
                <a:cubicBezTo>
                  <a:pt x="2142496" y="459044"/>
                  <a:pt x="2142496" y="459044"/>
                  <a:pt x="2142496" y="459044"/>
                </a:cubicBezTo>
                <a:cubicBezTo>
                  <a:pt x="2142496" y="459044"/>
                  <a:pt x="2140698" y="457845"/>
                  <a:pt x="2140098" y="456047"/>
                </a:cubicBezTo>
                <a:cubicBezTo>
                  <a:pt x="2140098" y="456047"/>
                  <a:pt x="2140098" y="455448"/>
                  <a:pt x="2140098" y="455448"/>
                </a:cubicBezTo>
                <a:cubicBezTo>
                  <a:pt x="2140098" y="455448"/>
                  <a:pt x="2140098" y="454849"/>
                  <a:pt x="2140098" y="454849"/>
                </a:cubicBezTo>
                <a:cubicBezTo>
                  <a:pt x="2140698" y="453650"/>
                  <a:pt x="2143694" y="453051"/>
                  <a:pt x="2146690" y="453051"/>
                </a:cubicBezTo>
                <a:cubicBezTo>
                  <a:pt x="2150286" y="453051"/>
                  <a:pt x="2153882" y="454250"/>
                  <a:pt x="2156878" y="456047"/>
                </a:cubicBezTo>
                <a:cubicBezTo>
                  <a:pt x="2157477" y="456647"/>
                  <a:pt x="2158077" y="457246"/>
                  <a:pt x="2158676" y="457246"/>
                </a:cubicBezTo>
                <a:cubicBezTo>
                  <a:pt x="2159275" y="457246"/>
                  <a:pt x="2159275" y="457845"/>
                  <a:pt x="2159275" y="458445"/>
                </a:cubicBezTo>
                <a:cubicBezTo>
                  <a:pt x="2159275" y="459044"/>
                  <a:pt x="2159275" y="459643"/>
                  <a:pt x="2158676" y="460242"/>
                </a:cubicBezTo>
                <a:cubicBezTo>
                  <a:pt x="2158676" y="460242"/>
                  <a:pt x="2158077" y="460842"/>
                  <a:pt x="2157477" y="460842"/>
                </a:cubicBezTo>
                <a:cubicBezTo>
                  <a:pt x="2156279" y="461441"/>
                  <a:pt x="2154481" y="462040"/>
                  <a:pt x="2153282" y="462639"/>
                </a:cubicBezTo>
                <a:cubicBezTo>
                  <a:pt x="2149687" y="463838"/>
                  <a:pt x="2144893" y="468632"/>
                  <a:pt x="2141297" y="472228"/>
                </a:cubicBezTo>
                <a:cubicBezTo>
                  <a:pt x="2140698" y="472827"/>
                  <a:pt x="2140698" y="473426"/>
                  <a:pt x="2140098" y="473426"/>
                </a:cubicBezTo>
                <a:cubicBezTo>
                  <a:pt x="2138301" y="475224"/>
                  <a:pt x="2138900" y="476423"/>
                  <a:pt x="2140098" y="477621"/>
                </a:cubicBezTo>
                <a:cubicBezTo>
                  <a:pt x="2140698" y="478221"/>
                  <a:pt x="2141297" y="478221"/>
                  <a:pt x="2141896" y="478221"/>
                </a:cubicBezTo>
                <a:cubicBezTo>
                  <a:pt x="2142496" y="478221"/>
                  <a:pt x="2143095" y="478221"/>
                  <a:pt x="2143694" y="477621"/>
                </a:cubicBezTo>
                <a:cubicBezTo>
                  <a:pt x="2144893" y="475824"/>
                  <a:pt x="2147889" y="472827"/>
                  <a:pt x="2151485" y="470430"/>
                </a:cubicBezTo>
                <a:cubicBezTo>
                  <a:pt x="2152683" y="469831"/>
                  <a:pt x="2153882" y="469232"/>
                  <a:pt x="2155080" y="468632"/>
                </a:cubicBezTo>
                <a:cubicBezTo>
                  <a:pt x="2156878" y="468033"/>
                  <a:pt x="2159275" y="466834"/>
                  <a:pt x="2162272" y="465636"/>
                </a:cubicBezTo>
                <a:cubicBezTo>
                  <a:pt x="2164069" y="465037"/>
                  <a:pt x="2165867" y="463838"/>
                  <a:pt x="2167665" y="463239"/>
                </a:cubicBezTo>
                <a:cubicBezTo>
                  <a:pt x="2170661" y="462040"/>
                  <a:pt x="2173059" y="460842"/>
                  <a:pt x="2176055" y="460242"/>
                </a:cubicBezTo>
                <a:cubicBezTo>
                  <a:pt x="2176654" y="460242"/>
                  <a:pt x="2177853" y="459643"/>
                  <a:pt x="2178452" y="459643"/>
                </a:cubicBezTo>
                <a:cubicBezTo>
                  <a:pt x="2181448" y="459643"/>
                  <a:pt x="2182048" y="461441"/>
                  <a:pt x="2180849" y="463239"/>
                </a:cubicBezTo>
                <a:cubicBezTo>
                  <a:pt x="2180849" y="463838"/>
                  <a:pt x="2180250" y="463838"/>
                  <a:pt x="2180250" y="464437"/>
                </a:cubicBezTo>
                <a:cubicBezTo>
                  <a:pt x="2180250" y="465037"/>
                  <a:pt x="2179650" y="465037"/>
                  <a:pt x="2179650" y="465636"/>
                </a:cubicBezTo>
                <a:cubicBezTo>
                  <a:pt x="2177253" y="468033"/>
                  <a:pt x="2172459" y="470430"/>
                  <a:pt x="2170661" y="475224"/>
                </a:cubicBezTo>
                <a:cubicBezTo>
                  <a:pt x="2169463" y="478221"/>
                  <a:pt x="2170062" y="478820"/>
                  <a:pt x="2171860" y="478820"/>
                </a:cubicBezTo>
                <a:cubicBezTo>
                  <a:pt x="2173059" y="478820"/>
                  <a:pt x="2174257" y="478820"/>
                  <a:pt x="2175456" y="478820"/>
                </a:cubicBezTo>
                <a:lnTo>
                  <a:pt x="2175456" y="478820"/>
                </a:lnTo>
                <a:lnTo>
                  <a:pt x="2175456" y="478820"/>
                </a:lnTo>
                <a:cubicBezTo>
                  <a:pt x="2176055" y="478820"/>
                  <a:pt x="2177253" y="478820"/>
                  <a:pt x="2177853" y="478820"/>
                </a:cubicBezTo>
                <a:cubicBezTo>
                  <a:pt x="2178452" y="478820"/>
                  <a:pt x="2179051" y="478820"/>
                  <a:pt x="2179650" y="478820"/>
                </a:cubicBezTo>
                <a:cubicBezTo>
                  <a:pt x="2180849" y="478820"/>
                  <a:pt x="2181448" y="478221"/>
                  <a:pt x="2182048" y="477621"/>
                </a:cubicBezTo>
                <a:cubicBezTo>
                  <a:pt x="2182647" y="476423"/>
                  <a:pt x="2184445" y="475224"/>
                  <a:pt x="2186242" y="474026"/>
                </a:cubicBezTo>
                <a:cubicBezTo>
                  <a:pt x="2187441" y="473426"/>
                  <a:pt x="2188040" y="472827"/>
                  <a:pt x="2189239" y="472228"/>
                </a:cubicBezTo>
                <a:cubicBezTo>
                  <a:pt x="2190437" y="471629"/>
                  <a:pt x="2191037" y="471029"/>
                  <a:pt x="2192235" y="471029"/>
                </a:cubicBezTo>
                <a:cubicBezTo>
                  <a:pt x="2192835" y="471029"/>
                  <a:pt x="2192835" y="470430"/>
                  <a:pt x="2193434" y="470430"/>
                </a:cubicBezTo>
                <a:cubicBezTo>
                  <a:pt x="2194632" y="469831"/>
                  <a:pt x="2195232" y="469232"/>
                  <a:pt x="2195232" y="468632"/>
                </a:cubicBezTo>
                <a:cubicBezTo>
                  <a:pt x="2195232" y="468033"/>
                  <a:pt x="2195232" y="467434"/>
                  <a:pt x="2195232" y="466235"/>
                </a:cubicBezTo>
                <a:cubicBezTo>
                  <a:pt x="2195232" y="465636"/>
                  <a:pt x="2195232" y="465037"/>
                  <a:pt x="2195232" y="464437"/>
                </a:cubicBezTo>
                <a:cubicBezTo>
                  <a:pt x="2195232" y="462639"/>
                  <a:pt x="2196430" y="461441"/>
                  <a:pt x="2197629" y="460842"/>
                </a:cubicBezTo>
                <a:cubicBezTo>
                  <a:pt x="2198827" y="460242"/>
                  <a:pt x="2200026" y="460242"/>
                  <a:pt x="2201224" y="460242"/>
                </a:cubicBezTo>
                <a:cubicBezTo>
                  <a:pt x="2201824" y="460242"/>
                  <a:pt x="2202423" y="460242"/>
                  <a:pt x="2203621" y="460242"/>
                </a:cubicBezTo>
                <a:cubicBezTo>
                  <a:pt x="2205419" y="460242"/>
                  <a:pt x="2206618" y="460842"/>
                  <a:pt x="2208416" y="461441"/>
                </a:cubicBezTo>
                <a:cubicBezTo>
                  <a:pt x="2211412" y="462639"/>
                  <a:pt x="2210813" y="465037"/>
                  <a:pt x="2209614" y="467434"/>
                </a:cubicBezTo>
                <a:cubicBezTo>
                  <a:pt x="2209015" y="468632"/>
                  <a:pt x="2207816" y="470430"/>
                  <a:pt x="2206618" y="471629"/>
                </a:cubicBezTo>
                <a:cubicBezTo>
                  <a:pt x="2205419" y="473426"/>
                  <a:pt x="2203621" y="474625"/>
                  <a:pt x="2203022" y="475824"/>
                </a:cubicBezTo>
                <a:cubicBezTo>
                  <a:pt x="2201224" y="478221"/>
                  <a:pt x="2200026" y="479419"/>
                  <a:pt x="2200625" y="480618"/>
                </a:cubicBezTo>
                <a:cubicBezTo>
                  <a:pt x="2200625" y="481217"/>
                  <a:pt x="2201224" y="481816"/>
                  <a:pt x="2201824" y="482416"/>
                </a:cubicBezTo>
                <a:cubicBezTo>
                  <a:pt x="2202423" y="483614"/>
                  <a:pt x="2203621" y="483614"/>
                  <a:pt x="2204820" y="483015"/>
                </a:cubicBezTo>
                <a:cubicBezTo>
                  <a:pt x="2205419" y="482416"/>
                  <a:pt x="2206618" y="481816"/>
                  <a:pt x="2207816" y="480618"/>
                </a:cubicBezTo>
                <a:cubicBezTo>
                  <a:pt x="2208416" y="480018"/>
                  <a:pt x="2209015" y="479419"/>
                  <a:pt x="2209614" y="478820"/>
                </a:cubicBezTo>
                <a:cubicBezTo>
                  <a:pt x="2210813" y="477621"/>
                  <a:pt x="2212011" y="476423"/>
                  <a:pt x="2213809" y="474625"/>
                </a:cubicBezTo>
                <a:cubicBezTo>
                  <a:pt x="2216206" y="472228"/>
                  <a:pt x="2218603" y="471629"/>
                  <a:pt x="2220401" y="472228"/>
                </a:cubicBezTo>
                <a:cubicBezTo>
                  <a:pt x="2223398" y="472228"/>
                  <a:pt x="2225795" y="475224"/>
                  <a:pt x="2226394" y="477022"/>
                </a:cubicBezTo>
                <a:cubicBezTo>
                  <a:pt x="2226993" y="479419"/>
                  <a:pt x="2225795" y="481217"/>
                  <a:pt x="2228192" y="481217"/>
                </a:cubicBezTo>
                <a:cubicBezTo>
                  <a:pt x="2228791" y="481217"/>
                  <a:pt x="2228791" y="481217"/>
                  <a:pt x="2229390" y="481217"/>
                </a:cubicBezTo>
                <a:cubicBezTo>
                  <a:pt x="2233585" y="480618"/>
                  <a:pt x="2234784" y="483614"/>
                  <a:pt x="2234784" y="483614"/>
                </a:cubicBezTo>
                <a:cubicBezTo>
                  <a:pt x="2234784" y="483614"/>
                  <a:pt x="2234184" y="486011"/>
                  <a:pt x="2237181" y="490805"/>
                </a:cubicBezTo>
                <a:cubicBezTo>
                  <a:pt x="2237780" y="492004"/>
                  <a:pt x="2238979" y="493202"/>
                  <a:pt x="2238979" y="493802"/>
                </a:cubicBezTo>
                <a:cubicBezTo>
                  <a:pt x="2239578" y="495000"/>
                  <a:pt x="2238979" y="496798"/>
                  <a:pt x="2237780" y="497397"/>
                </a:cubicBezTo>
                <a:cubicBezTo>
                  <a:pt x="2236581" y="498596"/>
                  <a:pt x="2233585" y="499195"/>
                  <a:pt x="2229390" y="500394"/>
                </a:cubicBezTo>
                <a:cubicBezTo>
                  <a:pt x="2228192" y="500394"/>
                  <a:pt x="2226394" y="500993"/>
                  <a:pt x="2225195" y="500993"/>
                </a:cubicBezTo>
                <a:cubicBezTo>
                  <a:pt x="2222798" y="500993"/>
                  <a:pt x="2221000" y="500394"/>
                  <a:pt x="2219802" y="499795"/>
                </a:cubicBezTo>
                <a:cubicBezTo>
                  <a:pt x="2218603" y="499195"/>
                  <a:pt x="2217405" y="497997"/>
                  <a:pt x="2216206" y="496798"/>
                </a:cubicBezTo>
                <a:cubicBezTo>
                  <a:pt x="2215607" y="496199"/>
                  <a:pt x="2215008" y="495600"/>
                  <a:pt x="2214408" y="495000"/>
                </a:cubicBezTo>
                <a:cubicBezTo>
                  <a:pt x="2213210" y="493802"/>
                  <a:pt x="2212011" y="493202"/>
                  <a:pt x="2210813" y="492603"/>
                </a:cubicBezTo>
                <a:cubicBezTo>
                  <a:pt x="2209614" y="492004"/>
                  <a:pt x="2208416" y="492004"/>
                  <a:pt x="2208416" y="492004"/>
                </a:cubicBezTo>
                <a:cubicBezTo>
                  <a:pt x="2207217" y="492603"/>
                  <a:pt x="2210213" y="495000"/>
                  <a:pt x="2210813" y="497997"/>
                </a:cubicBezTo>
                <a:cubicBezTo>
                  <a:pt x="2211412" y="499195"/>
                  <a:pt x="2210813" y="500394"/>
                  <a:pt x="2210813" y="500993"/>
                </a:cubicBezTo>
                <a:cubicBezTo>
                  <a:pt x="2210213" y="501592"/>
                  <a:pt x="2209614" y="502192"/>
                  <a:pt x="2210213" y="502192"/>
                </a:cubicBezTo>
                <a:cubicBezTo>
                  <a:pt x="2210213" y="502192"/>
                  <a:pt x="2210813" y="502192"/>
                  <a:pt x="2210813" y="502192"/>
                </a:cubicBezTo>
                <a:cubicBezTo>
                  <a:pt x="2212011" y="502192"/>
                  <a:pt x="2213210" y="502791"/>
                  <a:pt x="2213210" y="503390"/>
                </a:cubicBezTo>
                <a:cubicBezTo>
                  <a:pt x="2213210" y="503989"/>
                  <a:pt x="2213809" y="503989"/>
                  <a:pt x="2213809" y="504589"/>
                </a:cubicBezTo>
                <a:cubicBezTo>
                  <a:pt x="2213809" y="505188"/>
                  <a:pt x="2213809" y="505787"/>
                  <a:pt x="2213210" y="506387"/>
                </a:cubicBezTo>
                <a:cubicBezTo>
                  <a:pt x="2212610" y="508184"/>
                  <a:pt x="2213210" y="508784"/>
                  <a:pt x="2214408" y="509383"/>
                </a:cubicBezTo>
                <a:cubicBezTo>
                  <a:pt x="2215008" y="509383"/>
                  <a:pt x="2215008" y="509383"/>
                  <a:pt x="2215607" y="509383"/>
                </a:cubicBezTo>
                <a:cubicBezTo>
                  <a:pt x="2217405" y="509383"/>
                  <a:pt x="2219203" y="508184"/>
                  <a:pt x="2222199" y="506986"/>
                </a:cubicBezTo>
                <a:cubicBezTo>
                  <a:pt x="2222199" y="506986"/>
                  <a:pt x="2222199" y="506986"/>
                  <a:pt x="2222199" y="506986"/>
                </a:cubicBezTo>
                <a:cubicBezTo>
                  <a:pt x="2223398" y="506387"/>
                  <a:pt x="2223997" y="506387"/>
                  <a:pt x="2225195" y="506387"/>
                </a:cubicBezTo>
                <a:cubicBezTo>
                  <a:pt x="2225195" y="506387"/>
                  <a:pt x="2225195" y="506387"/>
                  <a:pt x="2225195" y="506387"/>
                </a:cubicBezTo>
                <a:cubicBezTo>
                  <a:pt x="2225795" y="506387"/>
                  <a:pt x="2226993" y="506387"/>
                  <a:pt x="2227592" y="506387"/>
                </a:cubicBezTo>
                <a:cubicBezTo>
                  <a:pt x="2227592" y="506387"/>
                  <a:pt x="2227592" y="506387"/>
                  <a:pt x="2227592" y="506387"/>
                </a:cubicBezTo>
                <a:cubicBezTo>
                  <a:pt x="2228192" y="506387"/>
                  <a:pt x="2228791" y="506986"/>
                  <a:pt x="2229390" y="507585"/>
                </a:cubicBezTo>
                <a:cubicBezTo>
                  <a:pt x="2229390" y="507585"/>
                  <a:pt x="2229390" y="507585"/>
                  <a:pt x="2229390" y="507585"/>
                </a:cubicBezTo>
                <a:cubicBezTo>
                  <a:pt x="2229990" y="508184"/>
                  <a:pt x="2230589" y="508784"/>
                  <a:pt x="2231188" y="508784"/>
                </a:cubicBezTo>
                <a:cubicBezTo>
                  <a:pt x="2231188" y="508784"/>
                  <a:pt x="2231188" y="508784"/>
                  <a:pt x="2231188" y="508784"/>
                </a:cubicBezTo>
                <a:cubicBezTo>
                  <a:pt x="2231188" y="508784"/>
                  <a:pt x="2231188" y="508784"/>
                  <a:pt x="2231188" y="509383"/>
                </a:cubicBezTo>
                <a:lnTo>
                  <a:pt x="2232387" y="509383"/>
                </a:lnTo>
                <a:cubicBezTo>
                  <a:pt x="2231787" y="509383"/>
                  <a:pt x="2231787" y="509982"/>
                  <a:pt x="2231787" y="509982"/>
                </a:cubicBezTo>
                <a:cubicBezTo>
                  <a:pt x="2231787" y="509982"/>
                  <a:pt x="2231787" y="509982"/>
                  <a:pt x="2231787" y="509982"/>
                </a:cubicBezTo>
                <a:cubicBezTo>
                  <a:pt x="2231787" y="510581"/>
                  <a:pt x="2232387" y="510581"/>
                  <a:pt x="2232387" y="510581"/>
                </a:cubicBezTo>
                <a:cubicBezTo>
                  <a:pt x="2232387" y="511181"/>
                  <a:pt x="2232986" y="511181"/>
                  <a:pt x="2232986" y="511780"/>
                </a:cubicBezTo>
                <a:cubicBezTo>
                  <a:pt x="2232986" y="511780"/>
                  <a:pt x="2232986" y="512379"/>
                  <a:pt x="2233585" y="512379"/>
                </a:cubicBezTo>
                <a:cubicBezTo>
                  <a:pt x="2233585" y="512979"/>
                  <a:pt x="2233585" y="513578"/>
                  <a:pt x="2233585" y="513578"/>
                </a:cubicBezTo>
                <a:cubicBezTo>
                  <a:pt x="2233585" y="513578"/>
                  <a:pt x="2233585" y="514177"/>
                  <a:pt x="2233585" y="514177"/>
                </a:cubicBezTo>
                <a:cubicBezTo>
                  <a:pt x="2233585" y="514776"/>
                  <a:pt x="2233585" y="515376"/>
                  <a:pt x="2233585" y="515975"/>
                </a:cubicBezTo>
                <a:cubicBezTo>
                  <a:pt x="2233585" y="515975"/>
                  <a:pt x="2233585" y="515975"/>
                  <a:pt x="2233585" y="515975"/>
                </a:cubicBezTo>
                <a:cubicBezTo>
                  <a:pt x="2233585" y="517173"/>
                  <a:pt x="2233585" y="517773"/>
                  <a:pt x="2233585" y="517773"/>
                </a:cubicBezTo>
                <a:cubicBezTo>
                  <a:pt x="2233585" y="517773"/>
                  <a:pt x="2233585" y="518372"/>
                  <a:pt x="2234184" y="518372"/>
                </a:cubicBezTo>
                <a:cubicBezTo>
                  <a:pt x="2234784" y="518372"/>
                  <a:pt x="2234784" y="518372"/>
                  <a:pt x="2235383" y="518372"/>
                </a:cubicBezTo>
                <a:cubicBezTo>
                  <a:pt x="2235982" y="518372"/>
                  <a:pt x="2237181" y="518372"/>
                  <a:pt x="2238379" y="518372"/>
                </a:cubicBezTo>
                <a:cubicBezTo>
                  <a:pt x="2241376" y="518372"/>
                  <a:pt x="2243174" y="517773"/>
                  <a:pt x="2243174" y="517773"/>
                </a:cubicBezTo>
                <a:cubicBezTo>
                  <a:pt x="2243174" y="517773"/>
                  <a:pt x="2243174" y="513578"/>
                  <a:pt x="2245571" y="514177"/>
                </a:cubicBezTo>
                <a:lnTo>
                  <a:pt x="2245571" y="514177"/>
                </a:lnTo>
                <a:lnTo>
                  <a:pt x="2245571" y="514177"/>
                </a:lnTo>
                <a:cubicBezTo>
                  <a:pt x="2246170" y="514177"/>
                  <a:pt x="2246769" y="514177"/>
                  <a:pt x="2246769" y="514177"/>
                </a:cubicBezTo>
                <a:cubicBezTo>
                  <a:pt x="2247368" y="514177"/>
                  <a:pt x="2247368" y="514177"/>
                  <a:pt x="2247968" y="514177"/>
                </a:cubicBezTo>
                <a:cubicBezTo>
                  <a:pt x="2248567" y="514177"/>
                  <a:pt x="2249166" y="513578"/>
                  <a:pt x="2249766" y="512379"/>
                </a:cubicBezTo>
                <a:cubicBezTo>
                  <a:pt x="2250365" y="511780"/>
                  <a:pt x="2250365" y="511181"/>
                  <a:pt x="2250964" y="511181"/>
                </a:cubicBezTo>
                <a:cubicBezTo>
                  <a:pt x="2251563" y="511181"/>
                  <a:pt x="2252163" y="511181"/>
                  <a:pt x="2252163" y="511181"/>
                </a:cubicBezTo>
                <a:cubicBezTo>
                  <a:pt x="2253361" y="511181"/>
                  <a:pt x="2254560" y="512379"/>
                  <a:pt x="2255758" y="514177"/>
                </a:cubicBezTo>
                <a:cubicBezTo>
                  <a:pt x="2256358" y="514776"/>
                  <a:pt x="2256957" y="515975"/>
                  <a:pt x="2258155" y="517173"/>
                </a:cubicBezTo>
                <a:cubicBezTo>
                  <a:pt x="2258755" y="517773"/>
                  <a:pt x="2258755" y="518372"/>
                  <a:pt x="2259354" y="518971"/>
                </a:cubicBezTo>
                <a:cubicBezTo>
                  <a:pt x="2261152" y="521368"/>
                  <a:pt x="2262350" y="523765"/>
                  <a:pt x="2259354" y="524964"/>
                </a:cubicBezTo>
                <a:cubicBezTo>
                  <a:pt x="2258755" y="524964"/>
                  <a:pt x="2258155" y="525563"/>
                  <a:pt x="2257556" y="525563"/>
                </a:cubicBezTo>
                <a:cubicBezTo>
                  <a:pt x="2254560" y="525563"/>
                  <a:pt x="2252163" y="523166"/>
                  <a:pt x="2249766" y="520769"/>
                </a:cubicBezTo>
                <a:cubicBezTo>
                  <a:pt x="2249166" y="520170"/>
                  <a:pt x="2249166" y="520170"/>
                  <a:pt x="2248567" y="519571"/>
                </a:cubicBezTo>
                <a:cubicBezTo>
                  <a:pt x="2247968" y="518971"/>
                  <a:pt x="2247368" y="518971"/>
                  <a:pt x="2246769" y="519571"/>
                </a:cubicBezTo>
                <a:cubicBezTo>
                  <a:pt x="2246170" y="520170"/>
                  <a:pt x="2246170" y="520769"/>
                  <a:pt x="2246170" y="521368"/>
                </a:cubicBezTo>
                <a:cubicBezTo>
                  <a:pt x="2246170" y="521968"/>
                  <a:pt x="2246170" y="523166"/>
                  <a:pt x="2246769" y="523765"/>
                </a:cubicBezTo>
                <a:cubicBezTo>
                  <a:pt x="2246769" y="524365"/>
                  <a:pt x="2247368" y="524964"/>
                  <a:pt x="2247968" y="524964"/>
                </a:cubicBezTo>
                <a:cubicBezTo>
                  <a:pt x="2249166" y="524964"/>
                  <a:pt x="2249766" y="524964"/>
                  <a:pt x="2250964" y="524964"/>
                </a:cubicBezTo>
                <a:cubicBezTo>
                  <a:pt x="2251563" y="524964"/>
                  <a:pt x="2252163" y="525563"/>
                  <a:pt x="2252762" y="526762"/>
                </a:cubicBezTo>
                <a:cubicBezTo>
                  <a:pt x="2252762" y="527361"/>
                  <a:pt x="2253361" y="527960"/>
                  <a:pt x="2253361" y="527960"/>
                </a:cubicBezTo>
                <a:cubicBezTo>
                  <a:pt x="2253961" y="529159"/>
                  <a:pt x="2254560" y="530357"/>
                  <a:pt x="2256957" y="530357"/>
                </a:cubicBezTo>
                <a:cubicBezTo>
                  <a:pt x="2257556" y="530357"/>
                  <a:pt x="2258155" y="530357"/>
                  <a:pt x="2258755" y="530957"/>
                </a:cubicBezTo>
                <a:cubicBezTo>
                  <a:pt x="2259354" y="531556"/>
                  <a:pt x="2259354" y="532155"/>
                  <a:pt x="2258155" y="533953"/>
                </a:cubicBezTo>
                <a:cubicBezTo>
                  <a:pt x="2257556" y="534552"/>
                  <a:pt x="2256957" y="535152"/>
                  <a:pt x="2256358" y="536350"/>
                </a:cubicBezTo>
                <a:cubicBezTo>
                  <a:pt x="2255758" y="536949"/>
                  <a:pt x="2255159" y="538148"/>
                  <a:pt x="2255159" y="538148"/>
                </a:cubicBezTo>
                <a:cubicBezTo>
                  <a:pt x="2255159" y="538747"/>
                  <a:pt x="2255758" y="538747"/>
                  <a:pt x="2256358" y="538747"/>
                </a:cubicBezTo>
                <a:cubicBezTo>
                  <a:pt x="2257556" y="538747"/>
                  <a:pt x="2259953" y="538148"/>
                  <a:pt x="2262350" y="536949"/>
                </a:cubicBezTo>
                <a:cubicBezTo>
                  <a:pt x="2263549" y="536350"/>
                  <a:pt x="2264747" y="535751"/>
                  <a:pt x="2266545" y="535751"/>
                </a:cubicBezTo>
                <a:cubicBezTo>
                  <a:pt x="2271339" y="535751"/>
                  <a:pt x="2277932" y="538148"/>
                  <a:pt x="2281527" y="539946"/>
                </a:cubicBezTo>
                <a:cubicBezTo>
                  <a:pt x="2284523" y="541744"/>
                  <a:pt x="2285722" y="542942"/>
                  <a:pt x="2286921" y="542942"/>
                </a:cubicBezTo>
                <a:cubicBezTo>
                  <a:pt x="2286921" y="542942"/>
                  <a:pt x="2287520" y="542942"/>
                  <a:pt x="2287520" y="542942"/>
                </a:cubicBezTo>
                <a:cubicBezTo>
                  <a:pt x="2288119" y="542942"/>
                  <a:pt x="2288718" y="542343"/>
                  <a:pt x="2289917" y="541744"/>
                </a:cubicBezTo>
                <a:cubicBezTo>
                  <a:pt x="2290516" y="541144"/>
                  <a:pt x="2291115" y="541144"/>
                  <a:pt x="2291715" y="541144"/>
                </a:cubicBezTo>
                <a:cubicBezTo>
                  <a:pt x="2295310" y="541144"/>
                  <a:pt x="2300704" y="548935"/>
                  <a:pt x="2304899" y="553130"/>
                </a:cubicBezTo>
                <a:cubicBezTo>
                  <a:pt x="2305498" y="553729"/>
                  <a:pt x="2306097" y="554328"/>
                  <a:pt x="2307296" y="555527"/>
                </a:cubicBezTo>
                <a:cubicBezTo>
                  <a:pt x="2313289" y="562119"/>
                  <a:pt x="2324075" y="575902"/>
                  <a:pt x="2327072" y="581296"/>
                </a:cubicBezTo>
                <a:cubicBezTo>
                  <a:pt x="2328870" y="584292"/>
                  <a:pt x="2329469" y="585491"/>
                  <a:pt x="2330068" y="584891"/>
                </a:cubicBezTo>
                <a:cubicBezTo>
                  <a:pt x="2330068" y="584891"/>
                  <a:pt x="2330068" y="584891"/>
                  <a:pt x="2330068" y="584292"/>
                </a:cubicBezTo>
                <a:cubicBezTo>
                  <a:pt x="2330068" y="583693"/>
                  <a:pt x="2330068" y="583094"/>
                  <a:pt x="2330068" y="582494"/>
                </a:cubicBezTo>
                <a:cubicBezTo>
                  <a:pt x="2330068" y="581895"/>
                  <a:pt x="2330068" y="581895"/>
                  <a:pt x="2330068" y="581296"/>
                </a:cubicBezTo>
                <a:cubicBezTo>
                  <a:pt x="2330068" y="580697"/>
                  <a:pt x="2330068" y="580697"/>
                  <a:pt x="2330668" y="580697"/>
                </a:cubicBezTo>
                <a:cubicBezTo>
                  <a:pt x="2330668" y="580697"/>
                  <a:pt x="2331267" y="580697"/>
                  <a:pt x="2331267" y="580697"/>
                </a:cubicBezTo>
                <a:cubicBezTo>
                  <a:pt x="2333065" y="581296"/>
                  <a:pt x="2336061" y="586689"/>
                  <a:pt x="2336061" y="589086"/>
                </a:cubicBezTo>
                <a:cubicBezTo>
                  <a:pt x="2336061" y="592682"/>
                  <a:pt x="2335462" y="594480"/>
                  <a:pt x="2337260" y="594480"/>
                </a:cubicBezTo>
                <a:cubicBezTo>
                  <a:pt x="2338458" y="594480"/>
                  <a:pt x="2339057" y="593881"/>
                  <a:pt x="2339657" y="593881"/>
                </a:cubicBezTo>
                <a:cubicBezTo>
                  <a:pt x="2339657" y="593881"/>
                  <a:pt x="2339657" y="593881"/>
                  <a:pt x="2340256" y="593881"/>
                </a:cubicBezTo>
                <a:cubicBezTo>
                  <a:pt x="2340256" y="593881"/>
                  <a:pt x="2340256" y="593881"/>
                  <a:pt x="2340855" y="594480"/>
                </a:cubicBezTo>
                <a:cubicBezTo>
                  <a:pt x="2341454" y="594480"/>
                  <a:pt x="2341454" y="595079"/>
                  <a:pt x="2342054" y="596278"/>
                </a:cubicBezTo>
                <a:cubicBezTo>
                  <a:pt x="2342653" y="596877"/>
                  <a:pt x="2343252" y="597476"/>
                  <a:pt x="2343252" y="598075"/>
                </a:cubicBezTo>
                <a:cubicBezTo>
                  <a:pt x="2343252" y="598075"/>
                  <a:pt x="2343852" y="598675"/>
                  <a:pt x="2343852" y="598675"/>
                </a:cubicBezTo>
                <a:cubicBezTo>
                  <a:pt x="2344451" y="599873"/>
                  <a:pt x="2344451" y="601072"/>
                  <a:pt x="2343252" y="603469"/>
                </a:cubicBezTo>
                <a:cubicBezTo>
                  <a:pt x="2342653" y="604068"/>
                  <a:pt x="2342653" y="604667"/>
                  <a:pt x="2342653" y="604667"/>
                </a:cubicBezTo>
                <a:cubicBezTo>
                  <a:pt x="2342653" y="605267"/>
                  <a:pt x="2342054" y="605267"/>
                  <a:pt x="2342054" y="605866"/>
                </a:cubicBezTo>
                <a:cubicBezTo>
                  <a:pt x="2341454" y="607664"/>
                  <a:pt x="2342653" y="608263"/>
                  <a:pt x="2343852" y="607664"/>
                </a:cubicBezTo>
                <a:cubicBezTo>
                  <a:pt x="2343852" y="607664"/>
                  <a:pt x="2344451" y="607664"/>
                  <a:pt x="2345050" y="607664"/>
                </a:cubicBezTo>
                <a:lnTo>
                  <a:pt x="2345050" y="607664"/>
                </a:lnTo>
                <a:lnTo>
                  <a:pt x="2345050" y="607664"/>
                </a:lnTo>
                <a:cubicBezTo>
                  <a:pt x="2346848" y="607065"/>
                  <a:pt x="2347447" y="609462"/>
                  <a:pt x="2346249" y="611859"/>
                </a:cubicBezTo>
                <a:cubicBezTo>
                  <a:pt x="2346249" y="612458"/>
                  <a:pt x="2346249" y="612458"/>
                  <a:pt x="2345649" y="613057"/>
                </a:cubicBezTo>
                <a:cubicBezTo>
                  <a:pt x="2345649" y="613657"/>
                  <a:pt x="2345050" y="614256"/>
                  <a:pt x="2345050" y="614256"/>
                </a:cubicBezTo>
                <a:cubicBezTo>
                  <a:pt x="2343852" y="617252"/>
                  <a:pt x="2343852" y="621447"/>
                  <a:pt x="2342054" y="626241"/>
                </a:cubicBezTo>
                <a:cubicBezTo>
                  <a:pt x="2341454" y="628039"/>
                  <a:pt x="2340855" y="629837"/>
                  <a:pt x="2340256" y="631635"/>
                </a:cubicBezTo>
                <a:cubicBezTo>
                  <a:pt x="2339657" y="633433"/>
                  <a:pt x="2338458" y="635230"/>
                  <a:pt x="2337260" y="636429"/>
                </a:cubicBezTo>
                <a:cubicBezTo>
                  <a:pt x="2334863" y="638826"/>
                  <a:pt x="2331866" y="640025"/>
                  <a:pt x="2329469" y="641223"/>
                </a:cubicBezTo>
                <a:cubicBezTo>
                  <a:pt x="2328270" y="641822"/>
                  <a:pt x="2327072" y="642422"/>
                  <a:pt x="2325873" y="642422"/>
                </a:cubicBezTo>
                <a:cubicBezTo>
                  <a:pt x="2321678" y="644220"/>
                  <a:pt x="2307895" y="650812"/>
                  <a:pt x="2287520" y="655606"/>
                </a:cubicBezTo>
                <a:cubicBezTo>
                  <a:pt x="2282126" y="656804"/>
                  <a:pt x="2277332" y="656804"/>
                  <a:pt x="2273137" y="656804"/>
                </a:cubicBezTo>
                <a:cubicBezTo>
                  <a:pt x="2270740" y="656804"/>
                  <a:pt x="2268942" y="656804"/>
                  <a:pt x="2266545" y="656205"/>
                </a:cubicBezTo>
                <a:cubicBezTo>
                  <a:pt x="2256358" y="655006"/>
                  <a:pt x="2249166" y="650812"/>
                  <a:pt x="2245571" y="649014"/>
                </a:cubicBezTo>
                <a:cubicBezTo>
                  <a:pt x="2241975" y="647216"/>
                  <a:pt x="2236581" y="644819"/>
                  <a:pt x="2231787" y="643620"/>
                </a:cubicBezTo>
                <a:cubicBezTo>
                  <a:pt x="2229990" y="643021"/>
                  <a:pt x="2228192" y="642422"/>
                  <a:pt x="2226394" y="642422"/>
                </a:cubicBezTo>
                <a:cubicBezTo>
                  <a:pt x="2225795" y="642422"/>
                  <a:pt x="2225195" y="642422"/>
                  <a:pt x="2224596" y="641822"/>
                </a:cubicBezTo>
                <a:cubicBezTo>
                  <a:pt x="2222199" y="641822"/>
                  <a:pt x="2219203" y="638826"/>
                  <a:pt x="2216206" y="636429"/>
                </a:cubicBezTo>
                <a:cubicBezTo>
                  <a:pt x="2215607" y="635830"/>
                  <a:pt x="2214408" y="635230"/>
                  <a:pt x="2213809" y="634032"/>
                </a:cubicBezTo>
                <a:cubicBezTo>
                  <a:pt x="2212610" y="632833"/>
                  <a:pt x="2210813" y="631035"/>
                  <a:pt x="2209614" y="630436"/>
                </a:cubicBezTo>
                <a:cubicBezTo>
                  <a:pt x="2209015" y="629837"/>
                  <a:pt x="2208416" y="629837"/>
                  <a:pt x="2207816" y="629238"/>
                </a:cubicBezTo>
                <a:cubicBezTo>
                  <a:pt x="2206618" y="628638"/>
                  <a:pt x="2206019" y="628039"/>
                  <a:pt x="2204820" y="627440"/>
                </a:cubicBezTo>
                <a:cubicBezTo>
                  <a:pt x="2202423" y="626241"/>
                  <a:pt x="2201224" y="624443"/>
                  <a:pt x="2201224" y="623245"/>
                </a:cubicBezTo>
                <a:cubicBezTo>
                  <a:pt x="2201224" y="623245"/>
                  <a:pt x="2201224" y="622646"/>
                  <a:pt x="2201224" y="622646"/>
                </a:cubicBezTo>
                <a:cubicBezTo>
                  <a:pt x="2201224" y="622646"/>
                  <a:pt x="2201224" y="622046"/>
                  <a:pt x="2201224" y="622046"/>
                </a:cubicBezTo>
                <a:cubicBezTo>
                  <a:pt x="2201824" y="620848"/>
                  <a:pt x="2201824" y="619050"/>
                  <a:pt x="2200625" y="618451"/>
                </a:cubicBezTo>
                <a:cubicBezTo>
                  <a:pt x="2200625" y="618451"/>
                  <a:pt x="2200026" y="618451"/>
                  <a:pt x="2200026" y="618451"/>
                </a:cubicBezTo>
                <a:cubicBezTo>
                  <a:pt x="2200026" y="618451"/>
                  <a:pt x="2199427" y="618451"/>
                  <a:pt x="2198827" y="618451"/>
                </a:cubicBezTo>
                <a:cubicBezTo>
                  <a:pt x="2198228" y="618451"/>
                  <a:pt x="2198228" y="618451"/>
                  <a:pt x="2197629" y="618451"/>
                </a:cubicBezTo>
                <a:cubicBezTo>
                  <a:pt x="2195232" y="617851"/>
                  <a:pt x="2192235" y="614256"/>
                  <a:pt x="2189239" y="614256"/>
                </a:cubicBezTo>
                <a:cubicBezTo>
                  <a:pt x="2186842" y="614256"/>
                  <a:pt x="2185044" y="612458"/>
                  <a:pt x="2183246" y="610660"/>
                </a:cubicBezTo>
                <a:cubicBezTo>
                  <a:pt x="2182647" y="610061"/>
                  <a:pt x="2182048" y="609462"/>
                  <a:pt x="2181448" y="608263"/>
                </a:cubicBezTo>
                <a:cubicBezTo>
                  <a:pt x="2179650" y="606465"/>
                  <a:pt x="2177253" y="604068"/>
                  <a:pt x="2175456" y="603469"/>
                </a:cubicBezTo>
                <a:cubicBezTo>
                  <a:pt x="2174257" y="602870"/>
                  <a:pt x="2173658" y="602870"/>
                  <a:pt x="2172459" y="604068"/>
                </a:cubicBezTo>
                <a:cubicBezTo>
                  <a:pt x="2171261" y="605267"/>
                  <a:pt x="2173059" y="608862"/>
                  <a:pt x="2176654" y="612458"/>
                </a:cubicBezTo>
                <a:cubicBezTo>
                  <a:pt x="2177253" y="613057"/>
                  <a:pt x="2177853" y="613657"/>
                  <a:pt x="2179051" y="614855"/>
                </a:cubicBezTo>
                <a:cubicBezTo>
                  <a:pt x="2180250" y="616054"/>
                  <a:pt x="2182048" y="617851"/>
                  <a:pt x="2183845" y="619050"/>
                </a:cubicBezTo>
                <a:cubicBezTo>
                  <a:pt x="2185643" y="620249"/>
                  <a:pt x="2186842" y="621447"/>
                  <a:pt x="2187441" y="622646"/>
                </a:cubicBezTo>
                <a:cubicBezTo>
                  <a:pt x="2188640" y="623844"/>
                  <a:pt x="2188640" y="625043"/>
                  <a:pt x="2189239" y="626241"/>
                </a:cubicBezTo>
                <a:cubicBezTo>
                  <a:pt x="2189838" y="628638"/>
                  <a:pt x="2189239" y="630436"/>
                  <a:pt x="2187441" y="631035"/>
                </a:cubicBezTo>
                <a:cubicBezTo>
                  <a:pt x="2180250" y="632833"/>
                  <a:pt x="2183246" y="633433"/>
                  <a:pt x="2186242" y="636429"/>
                </a:cubicBezTo>
                <a:cubicBezTo>
                  <a:pt x="2187441" y="637628"/>
                  <a:pt x="2188040" y="639425"/>
                  <a:pt x="2188040" y="641822"/>
                </a:cubicBezTo>
                <a:cubicBezTo>
                  <a:pt x="2188640" y="645418"/>
                  <a:pt x="2188640" y="649613"/>
                  <a:pt x="2188040" y="651411"/>
                </a:cubicBezTo>
                <a:cubicBezTo>
                  <a:pt x="2187441" y="653808"/>
                  <a:pt x="2180849" y="659201"/>
                  <a:pt x="2178452" y="661598"/>
                </a:cubicBezTo>
                <a:cubicBezTo>
                  <a:pt x="2176654" y="663396"/>
                  <a:pt x="2174856" y="665194"/>
                  <a:pt x="2173658" y="667591"/>
                </a:cubicBezTo>
                <a:cubicBezTo>
                  <a:pt x="2173059" y="668190"/>
                  <a:pt x="2173059" y="669389"/>
                  <a:pt x="2173059" y="669988"/>
                </a:cubicBezTo>
                <a:cubicBezTo>
                  <a:pt x="2173059" y="670588"/>
                  <a:pt x="2173059" y="670588"/>
                  <a:pt x="2172459" y="671187"/>
                </a:cubicBezTo>
                <a:cubicBezTo>
                  <a:pt x="2171261" y="673584"/>
                  <a:pt x="2168864" y="677779"/>
                  <a:pt x="2167066" y="680176"/>
                </a:cubicBezTo>
                <a:cubicBezTo>
                  <a:pt x="2166467" y="681375"/>
                  <a:pt x="2165268" y="681974"/>
                  <a:pt x="2164669" y="681974"/>
                </a:cubicBezTo>
                <a:cubicBezTo>
                  <a:pt x="2162871" y="682573"/>
                  <a:pt x="2161672" y="685569"/>
                  <a:pt x="2161073" y="688566"/>
                </a:cubicBezTo>
                <a:cubicBezTo>
                  <a:pt x="2160474" y="689764"/>
                  <a:pt x="2160474" y="690364"/>
                  <a:pt x="2159874" y="690963"/>
                </a:cubicBezTo>
                <a:cubicBezTo>
                  <a:pt x="2159275" y="692761"/>
                  <a:pt x="2159275" y="693360"/>
                  <a:pt x="2159275" y="693959"/>
                </a:cubicBezTo>
                <a:cubicBezTo>
                  <a:pt x="2159275" y="694559"/>
                  <a:pt x="2159874" y="695158"/>
                  <a:pt x="2161073" y="695757"/>
                </a:cubicBezTo>
                <a:cubicBezTo>
                  <a:pt x="2163470" y="698154"/>
                  <a:pt x="2164069" y="700551"/>
                  <a:pt x="2166467" y="699952"/>
                </a:cubicBezTo>
                <a:cubicBezTo>
                  <a:pt x="2167066" y="699952"/>
                  <a:pt x="2167066" y="699952"/>
                  <a:pt x="2167066" y="699952"/>
                </a:cubicBezTo>
                <a:cubicBezTo>
                  <a:pt x="2167066" y="699952"/>
                  <a:pt x="2167665" y="700551"/>
                  <a:pt x="2167665" y="700551"/>
                </a:cubicBezTo>
                <a:cubicBezTo>
                  <a:pt x="2168264" y="701151"/>
                  <a:pt x="2168264" y="702349"/>
                  <a:pt x="2168264" y="704147"/>
                </a:cubicBezTo>
                <a:lnTo>
                  <a:pt x="2197629" y="698753"/>
                </a:lnTo>
                <a:cubicBezTo>
                  <a:pt x="2197629" y="699952"/>
                  <a:pt x="2197629" y="700551"/>
                  <a:pt x="2197629" y="701151"/>
                </a:cubicBezTo>
                <a:cubicBezTo>
                  <a:pt x="2197629" y="700551"/>
                  <a:pt x="2197629" y="699353"/>
                  <a:pt x="2197629" y="698753"/>
                </a:cubicBezTo>
                <a:lnTo>
                  <a:pt x="2197629" y="698753"/>
                </a:lnTo>
                <a:cubicBezTo>
                  <a:pt x="2197629" y="698753"/>
                  <a:pt x="2197629" y="698753"/>
                  <a:pt x="2197629" y="698154"/>
                </a:cubicBezTo>
                <a:cubicBezTo>
                  <a:pt x="2197629" y="696956"/>
                  <a:pt x="2197629" y="696356"/>
                  <a:pt x="2197629" y="695158"/>
                </a:cubicBezTo>
                <a:cubicBezTo>
                  <a:pt x="2197629" y="694559"/>
                  <a:pt x="2197030" y="693360"/>
                  <a:pt x="2197030" y="692761"/>
                </a:cubicBezTo>
                <a:cubicBezTo>
                  <a:pt x="2196430" y="690963"/>
                  <a:pt x="2195232" y="689764"/>
                  <a:pt x="2195232" y="688566"/>
                </a:cubicBezTo>
                <a:cubicBezTo>
                  <a:pt x="2195232" y="687967"/>
                  <a:pt x="2195232" y="687967"/>
                  <a:pt x="2195232" y="687367"/>
                </a:cubicBezTo>
                <a:cubicBezTo>
                  <a:pt x="2195232" y="685569"/>
                  <a:pt x="2196430" y="683772"/>
                  <a:pt x="2197629" y="683772"/>
                </a:cubicBezTo>
                <a:cubicBezTo>
                  <a:pt x="2197629" y="683772"/>
                  <a:pt x="2198228" y="683772"/>
                  <a:pt x="2198228" y="684371"/>
                </a:cubicBezTo>
                <a:cubicBezTo>
                  <a:pt x="2198827" y="684970"/>
                  <a:pt x="2200026" y="686169"/>
                  <a:pt x="2200625" y="686169"/>
                </a:cubicBezTo>
                <a:cubicBezTo>
                  <a:pt x="2201224" y="686169"/>
                  <a:pt x="2201824" y="686169"/>
                  <a:pt x="2202423" y="684970"/>
                </a:cubicBezTo>
                <a:cubicBezTo>
                  <a:pt x="2202423" y="684970"/>
                  <a:pt x="2203022" y="684371"/>
                  <a:pt x="2203022" y="684371"/>
                </a:cubicBezTo>
                <a:cubicBezTo>
                  <a:pt x="2204221" y="682573"/>
                  <a:pt x="2206618" y="680775"/>
                  <a:pt x="2210213" y="680176"/>
                </a:cubicBezTo>
                <a:lnTo>
                  <a:pt x="2210213" y="680176"/>
                </a:lnTo>
                <a:lnTo>
                  <a:pt x="2210213" y="680176"/>
                </a:lnTo>
                <a:cubicBezTo>
                  <a:pt x="2211412" y="680176"/>
                  <a:pt x="2212610" y="680775"/>
                  <a:pt x="2213210" y="681974"/>
                </a:cubicBezTo>
                <a:cubicBezTo>
                  <a:pt x="2214408" y="683772"/>
                  <a:pt x="2215607" y="686768"/>
                  <a:pt x="2219203" y="689165"/>
                </a:cubicBezTo>
                <a:cubicBezTo>
                  <a:pt x="2222199" y="690963"/>
                  <a:pt x="2222798" y="692761"/>
                  <a:pt x="2222798" y="693959"/>
                </a:cubicBezTo>
                <a:lnTo>
                  <a:pt x="2268942" y="685569"/>
                </a:lnTo>
                <a:cubicBezTo>
                  <a:pt x="2268343" y="686768"/>
                  <a:pt x="2268343" y="688566"/>
                  <a:pt x="2268343" y="690364"/>
                </a:cubicBezTo>
                <a:cubicBezTo>
                  <a:pt x="2268942" y="693360"/>
                  <a:pt x="2270141" y="696956"/>
                  <a:pt x="2270740" y="699353"/>
                </a:cubicBezTo>
                <a:cubicBezTo>
                  <a:pt x="2270141" y="696956"/>
                  <a:pt x="2269542" y="693360"/>
                  <a:pt x="2268343" y="690364"/>
                </a:cubicBezTo>
                <a:cubicBezTo>
                  <a:pt x="2267744" y="688566"/>
                  <a:pt x="2268343" y="686768"/>
                  <a:pt x="2268942" y="685569"/>
                </a:cubicBezTo>
                <a:lnTo>
                  <a:pt x="2268942" y="685569"/>
                </a:lnTo>
                <a:cubicBezTo>
                  <a:pt x="2269542" y="684371"/>
                  <a:pt x="2270141" y="683172"/>
                  <a:pt x="2271339" y="681974"/>
                </a:cubicBezTo>
                <a:cubicBezTo>
                  <a:pt x="2271939" y="681375"/>
                  <a:pt x="2271939" y="681375"/>
                  <a:pt x="2272538" y="680775"/>
                </a:cubicBezTo>
                <a:cubicBezTo>
                  <a:pt x="2273137" y="680176"/>
                  <a:pt x="2274336" y="679577"/>
                  <a:pt x="2274935" y="678977"/>
                </a:cubicBezTo>
                <a:cubicBezTo>
                  <a:pt x="2275534" y="678378"/>
                  <a:pt x="2276733" y="678378"/>
                  <a:pt x="2277332" y="677779"/>
                </a:cubicBezTo>
                <a:cubicBezTo>
                  <a:pt x="2280329" y="676580"/>
                  <a:pt x="2282726" y="675981"/>
                  <a:pt x="2285722" y="673584"/>
                </a:cubicBezTo>
                <a:cubicBezTo>
                  <a:pt x="2288119" y="671187"/>
                  <a:pt x="2292913" y="669389"/>
                  <a:pt x="2298307" y="668790"/>
                </a:cubicBezTo>
                <a:cubicBezTo>
                  <a:pt x="2300105" y="668790"/>
                  <a:pt x="2301902" y="668790"/>
                  <a:pt x="2303700" y="668790"/>
                </a:cubicBezTo>
                <a:cubicBezTo>
                  <a:pt x="2304899" y="668790"/>
                  <a:pt x="2305498" y="668790"/>
                  <a:pt x="2306697" y="668790"/>
                </a:cubicBezTo>
                <a:cubicBezTo>
                  <a:pt x="2307895" y="668790"/>
                  <a:pt x="2309094" y="668790"/>
                  <a:pt x="2309693" y="668190"/>
                </a:cubicBezTo>
                <a:cubicBezTo>
                  <a:pt x="2314487" y="666992"/>
                  <a:pt x="2319281" y="665194"/>
                  <a:pt x="2322877" y="662797"/>
                </a:cubicBezTo>
                <a:cubicBezTo>
                  <a:pt x="2324675" y="661598"/>
                  <a:pt x="2326473" y="660999"/>
                  <a:pt x="2327671" y="660400"/>
                </a:cubicBezTo>
                <a:cubicBezTo>
                  <a:pt x="2330668" y="658602"/>
                  <a:pt x="2333664" y="656804"/>
                  <a:pt x="2336061" y="656804"/>
                </a:cubicBezTo>
                <a:cubicBezTo>
                  <a:pt x="2337260" y="656804"/>
                  <a:pt x="2339057" y="656804"/>
                  <a:pt x="2339657" y="658602"/>
                </a:cubicBezTo>
                <a:cubicBezTo>
                  <a:pt x="2340855" y="660400"/>
                  <a:pt x="2342054" y="660999"/>
                  <a:pt x="2343852" y="661598"/>
                </a:cubicBezTo>
                <a:cubicBezTo>
                  <a:pt x="2344451" y="661598"/>
                  <a:pt x="2345649" y="661598"/>
                  <a:pt x="2346848" y="662198"/>
                </a:cubicBezTo>
                <a:cubicBezTo>
                  <a:pt x="2348046" y="662198"/>
                  <a:pt x="2349245" y="662198"/>
                  <a:pt x="2350443" y="662198"/>
                </a:cubicBezTo>
                <a:cubicBezTo>
                  <a:pt x="2352841" y="662198"/>
                  <a:pt x="2354638" y="663396"/>
                  <a:pt x="2355837" y="665194"/>
                </a:cubicBezTo>
                <a:cubicBezTo>
                  <a:pt x="2356436" y="665793"/>
                  <a:pt x="2356436" y="666992"/>
                  <a:pt x="2357036" y="668190"/>
                </a:cubicBezTo>
                <a:cubicBezTo>
                  <a:pt x="2357036" y="668790"/>
                  <a:pt x="2357036" y="668790"/>
                  <a:pt x="2357036" y="669389"/>
                </a:cubicBezTo>
                <a:lnTo>
                  <a:pt x="2357036" y="669389"/>
                </a:lnTo>
                <a:cubicBezTo>
                  <a:pt x="2357036" y="669988"/>
                  <a:pt x="2357036" y="671187"/>
                  <a:pt x="2357036" y="671786"/>
                </a:cubicBezTo>
                <a:cubicBezTo>
                  <a:pt x="2356436" y="674783"/>
                  <a:pt x="2357036" y="675382"/>
                  <a:pt x="2358833" y="675382"/>
                </a:cubicBezTo>
                <a:cubicBezTo>
                  <a:pt x="2357036" y="675382"/>
                  <a:pt x="2356436" y="674783"/>
                  <a:pt x="2357036" y="671786"/>
                </a:cubicBezTo>
                <a:cubicBezTo>
                  <a:pt x="2357036" y="671187"/>
                  <a:pt x="2357036" y="669988"/>
                  <a:pt x="2357036" y="669389"/>
                </a:cubicBezTo>
                <a:lnTo>
                  <a:pt x="2369620" y="666992"/>
                </a:lnTo>
                <a:cubicBezTo>
                  <a:pt x="2369620" y="666992"/>
                  <a:pt x="2369620" y="666992"/>
                  <a:pt x="2369620" y="666992"/>
                </a:cubicBezTo>
                <a:cubicBezTo>
                  <a:pt x="2369620" y="666992"/>
                  <a:pt x="2369620" y="666992"/>
                  <a:pt x="2369620" y="666992"/>
                </a:cubicBezTo>
                <a:lnTo>
                  <a:pt x="2369620" y="666992"/>
                </a:lnTo>
                <a:cubicBezTo>
                  <a:pt x="2371418" y="665194"/>
                  <a:pt x="2373815" y="663996"/>
                  <a:pt x="2376212" y="662797"/>
                </a:cubicBezTo>
                <a:cubicBezTo>
                  <a:pt x="2376812" y="662198"/>
                  <a:pt x="2377411" y="662198"/>
                  <a:pt x="2378010" y="662198"/>
                </a:cubicBezTo>
                <a:cubicBezTo>
                  <a:pt x="2382205" y="659801"/>
                  <a:pt x="2383404" y="658602"/>
                  <a:pt x="2385801" y="653808"/>
                </a:cubicBezTo>
                <a:cubicBezTo>
                  <a:pt x="2386400" y="653209"/>
                  <a:pt x="2386400" y="652609"/>
                  <a:pt x="2386400" y="652010"/>
                </a:cubicBezTo>
                <a:cubicBezTo>
                  <a:pt x="2386999" y="650812"/>
                  <a:pt x="2386999" y="650212"/>
                  <a:pt x="2387599" y="649613"/>
                </a:cubicBezTo>
                <a:cubicBezTo>
                  <a:pt x="2388198" y="648414"/>
                  <a:pt x="2388198" y="647815"/>
                  <a:pt x="2388198" y="646617"/>
                </a:cubicBezTo>
                <a:cubicBezTo>
                  <a:pt x="2388198" y="646017"/>
                  <a:pt x="2388198" y="646017"/>
                  <a:pt x="2388198" y="645418"/>
                </a:cubicBezTo>
                <a:cubicBezTo>
                  <a:pt x="2388198" y="644819"/>
                  <a:pt x="2388198" y="644220"/>
                  <a:pt x="2388198" y="643620"/>
                </a:cubicBezTo>
                <a:cubicBezTo>
                  <a:pt x="2387599" y="638227"/>
                  <a:pt x="2394191" y="631035"/>
                  <a:pt x="2400783" y="625043"/>
                </a:cubicBezTo>
                <a:cubicBezTo>
                  <a:pt x="2401382" y="624443"/>
                  <a:pt x="2402580" y="623844"/>
                  <a:pt x="2403180" y="623245"/>
                </a:cubicBezTo>
                <a:cubicBezTo>
                  <a:pt x="2404977" y="621447"/>
                  <a:pt x="2406176" y="620249"/>
                  <a:pt x="2406775" y="619050"/>
                </a:cubicBezTo>
                <a:cubicBezTo>
                  <a:pt x="2407375" y="618451"/>
                  <a:pt x="2407974" y="617851"/>
                  <a:pt x="2408573" y="617252"/>
                </a:cubicBezTo>
                <a:cubicBezTo>
                  <a:pt x="2409172" y="616653"/>
                  <a:pt x="2410371" y="616653"/>
                  <a:pt x="2411570" y="616054"/>
                </a:cubicBezTo>
                <a:cubicBezTo>
                  <a:pt x="2412169" y="616054"/>
                  <a:pt x="2412768" y="615454"/>
                  <a:pt x="2413367" y="615454"/>
                </a:cubicBezTo>
                <a:cubicBezTo>
                  <a:pt x="2415765" y="614256"/>
                  <a:pt x="2416364" y="611259"/>
                  <a:pt x="2417562" y="606465"/>
                </a:cubicBezTo>
                <a:cubicBezTo>
                  <a:pt x="2418162" y="605267"/>
                  <a:pt x="2418162" y="604068"/>
                  <a:pt x="2418761" y="602270"/>
                </a:cubicBezTo>
                <a:cubicBezTo>
                  <a:pt x="2419959" y="598075"/>
                  <a:pt x="2418761" y="595079"/>
                  <a:pt x="2416963" y="592682"/>
                </a:cubicBezTo>
                <a:cubicBezTo>
                  <a:pt x="2415765" y="590285"/>
                  <a:pt x="2414566" y="588487"/>
                  <a:pt x="2415165" y="587289"/>
                </a:cubicBezTo>
                <a:cubicBezTo>
                  <a:pt x="2415765" y="586689"/>
                  <a:pt x="2416364" y="586090"/>
                  <a:pt x="2416963" y="586090"/>
                </a:cubicBezTo>
                <a:cubicBezTo>
                  <a:pt x="2418162" y="586090"/>
                  <a:pt x="2419959" y="587289"/>
                  <a:pt x="2421757" y="588487"/>
                </a:cubicBezTo>
                <a:cubicBezTo>
                  <a:pt x="2422956" y="589086"/>
                  <a:pt x="2423555" y="590285"/>
                  <a:pt x="2424754" y="590884"/>
                </a:cubicBezTo>
                <a:cubicBezTo>
                  <a:pt x="2427750" y="593281"/>
                  <a:pt x="2428948" y="594480"/>
                  <a:pt x="2431345" y="595079"/>
                </a:cubicBezTo>
                <a:cubicBezTo>
                  <a:pt x="2432544" y="595678"/>
                  <a:pt x="2434342" y="595678"/>
                  <a:pt x="2437338" y="595678"/>
                </a:cubicBezTo>
                <a:cubicBezTo>
                  <a:pt x="2439735" y="595678"/>
                  <a:pt x="2441533" y="595079"/>
                  <a:pt x="2443331" y="595678"/>
                </a:cubicBezTo>
                <a:cubicBezTo>
                  <a:pt x="2446327" y="595678"/>
                  <a:pt x="2448725" y="596877"/>
                  <a:pt x="2453519" y="599873"/>
                </a:cubicBezTo>
                <a:cubicBezTo>
                  <a:pt x="2454717" y="600473"/>
                  <a:pt x="2455316" y="601072"/>
                  <a:pt x="2455916" y="602270"/>
                </a:cubicBezTo>
                <a:cubicBezTo>
                  <a:pt x="2457114" y="604667"/>
                  <a:pt x="2457114" y="607664"/>
                  <a:pt x="2457114" y="611259"/>
                </a:cubicBezTo>
                <a:cubicBezTo>
                  <a:pt x="2456515" y="614256"/>
                  <a:pt x="2455916" y="616653"/>
                  <a:pt x="2455316" y="619649"/>
                </a:cubicBezTo>
                <a:cubicBezTo>
                  <a:pt x="2455316" y="620249"/>
                  <a:pt x="2454717" y="620848"/>
                  <a:pt x="2454717" y="621447"/>
                </a:cubicBezTo>
                <a:cubicBezTo>
                  <a:pt x="2454118" y="622646"/>
                  <a:pt x="2454118" y="623844"/>
                  <a:pt x="2453519" y="625043"/>
                </a:cubicBezTo>
                <a:cubicBezTo>
                  <a:pt x="2453519" y="626241"/>
                  <a:pt x="2452919" y="627440"/>
                  <a:pt x="2452919" y="628039"/>
                </a:cubicBezTo>
                <a:cubicBezTo>
                  <a:pt x="2452919" y="629837"/>
                  <a:pt x="2452320" y="631035"/>
                  <a:pt x="2452320" y="631635"/>
                </a:cubicBezTo>
                <a:cubicBezTo>
                  <a:pt x="2452320" y="632234"/>
                  <a:pt x="2451721" y="632833"/>
                  <a:pt x="2451721" y="632833"/>
                </a:cubicBezTo>
                <a:cubicBezTo>
                  <a:pt x="2451721" y="632833"/>
                  <a:pt x="2451122" y="632833"/>
                  <a:pt x="2451122" y="632833"/>
                </a:cubicBezTo>
                <a:cubicBezTo>
                  <a:pt x="2451122" y="632833"/>
                  <a:pt x="2450522" y="632234"/>
                  <a:pt x="2450522" y="632234"/>
                </a:cubicBezTo>
                <a:cubicBezTo>
                  <a:pt x="2449923" y="631635"/>
                  <a:pt x="2449923" y="631035"/>
                  <a:pt x="2449324" y="630436"/>
                </a:cubicBezTo>
                <a:cubicBezTo>
                  <a:pt x="2448725" y="628638"/>
                  <a:pt x="2447526" y="628039"/>
                  <a:pt x="2446327" y="627440"/>
                </a:cubicBezTo>
                <a:cubicBezTo>
                  <a:pt x="2445728" y="627440"/>
                  <a:pt x="2445129" y="626841"/>
                  <a:pt x="2443930" y="626841"/>
                </a:cubicBezTo>
                <a:cubicBezTo>
                  <a:pt x="2442732" y="626841"/>
                  <a:pt x="2442133" y="626841"/>
                  <a:pt x="2440335" y="627440"/>
                </a:cubicBezTo>
                <a:cubicBezTo>
                  <a:pt x="2439136" y="628039"/>
                  <a:pt x="2437338" y="628039"/>
                  <a:pt x="2436140" y="628039"/>
                </a:cubicBezTo>
                <a:cubicBezTo>
                  <a:pt x="2433743" y="628039"/>
                  <a:pt x="2431945" y="627440"/>
                  <a:pt x="2430147" y="627440"/>
                </a:cubicBezTo>
                <a:cubicBezTo>
                  <a:pt x="2428349" y="627440"/>
                  <a:pt x="2427151" y="628039"/>
                  <a:pt x="2426551" y="629238"/>
                </a:cubicBezTo>
                <a:cubicBezTo>
                  <a:pt x="2425952" y="631035"/>
                  <a:pt x="2425353" y="632234"/>
                  <a:pt x="2424754" y="632833"/>
                </a:cubicBezTo>
                <a:cubicBezTo>
                  <a:pt x="2424154" y="633433"/>
                  <a:pt x="2422956" y="632833"/>
                  <a:pt x="2421757" y="632234"/>
                </a:cubicBezTo>
                <a:cubicBezTo>
                  <a:pt x="2420559" y="631635"/>
                  <a:pt x="2419360" y="631635"/>
                  <a:pt x="2418162" y="632234"/>
                </a:cubicBezTo>
                <a:cubicBezTo>
                  <a:pt x="2416364" y="633433"/>
                  <a:pt x="2415765" y="637028"/>
                  <a:pt x="2416963" y="640025"/>
                </a:cubicBezTo>
                <a:cubicBezTo>
                  <a:pt x="2417562" y="641822"/>
                  <a:pt x="2418162" y="643021"/>
                  <a:pt x="2418162" y="644220"/>
                </a:cubicBezTo>
                <a:cubicBezTo>
                  <a:pt x="2418761" y="646017"/>
                  <a:pt x="2418761" y="647815"/>
                  <a:pt x="2418761" y="652010"/>
                </a:cubicBezTo>
                <a:cubicBezTo>
                  <a:pt x="2418761" y="655606"/>
                  <a:pt x="2419360" y="657404"/>
                  <a:pt x="2420559" y="658602"/>
                </a:cubicBezTo>
                <a:lnTo>
                  <a:pt x="2463107" y="650812"/>
                </a:lnTo>
                <a:cubicBezTo>
                  <a:pt x="2465504" y="649014"/>
                  <a:pt x="2467302" y="647216"/>
                  <a:pt x="2469100" y="644819"/>
                </a:cubicBezTo>
                <a:cubicBezTo>
                  <a:pt x="2469699" y="644220"/>
                  <a:pt x="2470298" y="643620"/>
                  <a:pt x="2470298" y="643021"/>
                </a:cubicBezTo>
                <a:cubicBezTo>
                  <a:pt x="2470898" y="642422"/>
                  <a:pt x="2470898" y="641822"/>
                  <a:pt x="2471497" y="641223"/>
                </a:cubicBezTo>
                <a:cubicBezTo>
                  <a:pt x="2472096" y="640624"/>
                  <a:pt x="2472696" y="640624"/>
                  <a:pt x="2473295" y="640025"/>
                </a:cubicBezTo>
                <a:cubicBezTo>
                  <a:pt x="2474493" y="639425"/>
                  <a:pt x="2475692" y="639425"/>
                  <a:pt x="2476291" y="639425"/>
                </a:cubicBezTo>
                <a:cubicBezTo>
                  <a:pt x="2478089" y="639425"/>
                  <a:pt x="2479287" y="640025"/>
                  <a:pt x="2481085" y="640624"/>
                </a:cubicBezTo>
                <a:cubicBezTo>
                  <a:pt x="2481685" y="640624"/>
                  <a:pt x="2482284" y="640624"/>
                  <a:pt x="2482284" y="640624"/>
                </a:cubicBezTo>
                <a:cubicBezTo>
                  <a:pt x="2482883" y="640624"/>
                  <a:pt x="2484082" y="640624"/>
                  <a:pt x="2484681" y="640624"/>
                </a:cubicBezTo>
                <a:cubicBezTo>
                  <a:pt x="2486479" y="640624"/>
                  <a:pt x="2487677" y="640624"/>
                  <a:pt x="2488876" y="641822"/>
                </a:cubicBezTo>
                <a:cubicBezTo>
                  <a:pt x="2489475" y="642422"/>
                  <a:pt x="2490074" y="642422"/>
                  <a:pt x="2490074" y="643021"/>
                </a:cubicBezTo>
                <a:cubicBezTo>
                  <a:pt x="2490074" y="643620"/>
                  <a:pt x="2490674" y="643620"/>
                  <a:pt x="2490674" y="643620"/>
                </a:cubicBezTo>
                <a:cubicBezTo>
                  <a:pt x="2490674" y="643620"/>
                  <a:pt x="2491273" y="644220"/>
                  <a:pt x="2491273" y="644220"/>
                </a:cubicBezTo>
                <a:cubicBezTo>
                  <a:pt x="2491273" y="644220"/>
                  <a:pt x="2491872" y="644220"/>
                  <a:pt x="2491872" y="644220"/>
                </a:cubicBezTo>
                <a:cubicBezTo>
                  <a:pt x="2492471" y="644220"/>
                  <a:pt x="2493071" y="643021"/>
                  <a:pt x="2493670" y="640624"/>
                </a:cubicBezTo>
                <a:cubicBezTo>
                  <a:pt x="2493670" y="640025"/>
                  <a:pt x="2493670" y="639425"/>
                  <a:pt x="2493670" y="638826"/>
                </a:cubicBezTo>
                <a:cubicBezTo>
                  <a:pt x="2493670" y="635830"/>
                  <a:pt x="2494269" y="633433"/>
                  <a:pt x="2495468" y="632234"/>
                </a:cubicBezTo>
                <a:cubicBezTo>
                  <a:pt x="2496067" y="631635"/>
                  <a:pt x="2496666" y="631635"/>
                  <a:pt x="2497865" y="631635"/>
                </a:cubicBezTo>
                <a:cubicBezTo>
                  <a:pt x="2498464" y="631635"/>
                  <a:pt x="2499064" y="631635"/>
                  <a:pt x="2499663" y="631635"/>
                </a:cubicBezTo>
                <a:cubicBezTo>
                  <a:pt x="2500262" y="631635"/>
                  <a:pt x="2500861" y="631635"/>
                  <a:pt x="2502060" y="631635"/>
                </a:cubicBezTo>
                <a:cubicBezTo>
                  <a:pt x="2505656" y="631635"/>
                  <a:pt x="2511648" y="631035"/>
                  <a:pt x="2517641" y="629238"/>
                </a:cubicBezTo>
                <a:cubicBezTo>
                  <a:pt x="2522435" y="628039"/>
                  <a:pt x="2527229" y="626841"/>
                  <a:pt x="2531424" y="625043"/>
                </a:cubicBezTo>
                <a:cubicBezTo>
                  <a:pt x="2540413" y="622046"/>
                  <a:pt x="2544009" y="620848"/>
                  <a:pt x="2547605" y="620848"/>
                </a:cubicBezTo>
                <a:cubicBezTo>
                  <a:pt x="2548803" y="620848"/>
                  <a:pt x="2549403" y="620848"/>
                  <a:pt x="2550601" y="621447"/>
                </a:cubicBezTo>
                <a:cubicBezTo>
                  <a:pt x="2552998" y="622046"/>
                  <a:pt x="2554796" y="622646"/>
                  <a:pt x="2555995" y="622646"/>
                </a:cubicBezTo>
                <a:cubicBezTo>
                  <a:pt x="2557193" y="622646"/>
                  <a:pt x="2557792" y="622046"/>
                  <a:pt x="2558991" y="621447"/>
                </a:cubicBezTo>
                <a:cubicBezTo>
                  <a:pt x="2558991" y="621447"/>
                  <a:pt x="2559590" y="620848"/>
                  <a:pt x="2559590" y="620848"/>
                </a:cubicBezTo>
                <a:cubicBezTo>
                  <a:pt x="2560189" y="620249"/>
                  <a:pt x="2560789" y="619649"/>
                  <a:pt x="2561388" y="619649"/>
                </a:cubicBezTo>
                <a:cubicBezTo>
                  <a:pt x="2563785" y="618451"/>
                  <a:pt x="2567381" y="617252"/>
                  <a:pt x="2571576" y="617252"/>
                </a:cubicBezTo>
                <a:lnTo>
                  <a:pt x="2571576" y="617252"/>
                </a:lnTo>
                <a:lnTo>
                  <a:pt x="2571576" y="617252"/>
                </a:lnTo>
                <a:cubicBezTo>
                  <a:pt x="2573973" y="617252"/>
                  <a:pt x="2573973" y="618451"/>
                  <a:pt x="2573973" y="620848"/>
                </a:cubicBezTo>
                <a:cubicBezTo>
                  <a:pt x="2573973" y="621447"/>
                  <a:pt x="2573373" y="622046"/>
                  <a:pt x="2573373" y="623245"/>
                </a:cubicBezTo>
                <a:cubicBezTo>
                  <a:pt x="2572175" y="625642"/>
                  <a:pt x="2570377" y="628039"/>
                  <a:pt x="2569178" y="629837"/>
                </a:cubicBezTo>
                <a:lnTo>
                  <a:pt x="2569178" y="629837"/>
                </a:lnTo>
                <a:cubicBezTo>
                  <a:pt x="2568579" y="630436"/>
                  <a:pt x="2568579" y="630436"/>
                  <a:pt x="2568579" y="631035"/>
                </a:cubicBezTo>
                <a:cubicBezTo>
                  <a:pt x="2568579" y="631635"/>
                  <a:pt x="2567980" y="631635"/>
                  <a:pt x="2567980" y="632234"/>
                </a:cubicBezTo>
                <a:cubicBezTo>
                  <a:pt x="2567381" y="632833"/>
                  <a:pt x="2567980" y="633433"/>
                  <a:pt x="2568579" y="634032"/>
                </a:cubicBezTo>
                <a:cubicBezTo>
                  <a:pt x="2567980" y="634032"/>
                  <a:pt x="2567381" y="632833"/>
                  <a:pt x="2567980" y="632234"/>
                </a:cubicBezTo>
                <a:cubicBezTo>
                  <a:pt x="2567980" y="632234"/>
                  <a:pt x="2567980" y="631635"/>
                  <a:pt x="2568579" y="631035"/>
                </a:cubicBezTo>
                <a:cubicBezTo>
                  <a:pt x="2568579" y="631035"/>
                  <a:pt x="2569178" y="630436"/>
                  <a:pt x="2569178" y="629837"/>
                </a:cubicBezTo>
                <a:lnTo>
                  <a:pt x="2575771" y="628638"/>
                </a:lnTo>
                <a:cubicBezTo>
                  <a:pt x="2576370" y="626841"/>
                  <a:pt x="2576969" y="624443"/>
                  <a:pt x="2576969" y="620848"/>
                </a:cubicBezTo>
                <a:cubicBezTo>
                  <a:pt x="2576969" y="619649"/>
                  <a:pt x="2577568" y="618451"/>
                  <a:pt x="2578767" y="617252"/>
                </a:cubicBezTo>
                <a:cubicBezTo>
                  <a:pt x="2579366" y="616653"/>
                  <a:pt x="2580565" y="616054"/>
                  <a:pt x="2581763" y="615454"/>
                </a:cubicBezTo>
                <a:cubicBezTo>
                  <a:pt x="2582363" y="615454"/>
                  <a:pt x="2582962" y="614855"/>
                  <a:pt x="2583561" y="614855"/>
                </a:cubicBezTo>
                <a:cubicBezTo>
                  <a:pt x="2590153" y="612458"/>
                  <a:pt x="2600341" y="611259"/>
                  <a:pt x="2607532" y="610061"/>
                </a:cubicBezTo>
                <a:cubicBezTo>
                  <a:pt x="2611727" y="609462"/>
                  <a:pt x="2614723" y="608862"/>
                  <a:pt x="2617120" y="608862"/>
                </a:cubicBezTo>
                <a:cubicBezTo>
                  <a:pt x="2619518" y="608862"/>
                  <a:pt x="2620716" y="608862"/>
                  <a:pt x="2621915" y="609462"/>
                </a:cubicBezTo>
                <a:cubicBezTo>
                  <a:pt x="2622514" y="610061"/>
                  <a:pt x="2623113" y="610061"/>
                  <a:pt x="2623113" y="611259"/>
                </a:cubicBezTo>
                <a:cubicBezTo>
                  <a:pt x="2623712" y="613657"/>
                  <a:pt x="2621915" y="613657"/>
                  <a:pt x="2617720" y="613657"/>
                </a:cubicBezTo>
                <a:cubicBezTo>
                  <a:pt x="2617120" y="613657"/>
                  <a:pt x="2616521" y="613657"/>
                  <a:pt x="2615922" y="613657"/>
                </a:cubicBezTo>
                <a:cubicBezTo>
                  <a:pt x="2614723" y="613657"/>
                  <a:pt x="2614124" y="613657"/>
                  <a:pt x="2612926" y="613657"/>
                </a:cubicBezTo>
                <a:cubicBezTo>
                  <a:pt x="2610529" y="614256"/>
                  <a:pt x="2608731" y="615454"/>
                  <a:pt x="2607532" y="621447"/>
                </a:cubicBezTo>
                <a:cubicBezTo>
                  <a:pt x="2607532" y="622046"/>
                  <a:pt x="2606933" y="622646"/>
                  <a:pt x="2606933" y="622646"/>
                </a:cubicBezTo>
                <a:lnTo>
                  <a:pt x="2906570" y="567512"/>
                </a:lnTo>
                <a:cubicBezTo>
                  <a:pt x="2909566" y="566314"/>
                  <a:pt x="2912563" y="565115"/>
                  <a:pt x="2915559" y="564516"/>
                </a:cubicBezTo>
                <a:cubicBezTo>
                  <a:pt x="2920353" y="563318"/>
                  <a:pt x="2926346" y="562119"/>
                  <a:pt x="2931739" y="561520"/>
                </a:cubicBezTo>
                <a:cubicBezTo>
                  <a:pt x="2933537" y="561520"/>
                  <a:pt x="2935335" y="560920"/>
                  <a:pt x="2937133" y="560321"/>
                </a:cubicBezTo>
                <a:cubicBezTo>
                  <a:pt x="2938931" y="559722"/>
                  <a:pt x="2940728" y="558523"/>
                  <a:pt x="2941927" y="557924"/>
                </a:cubicBezTo>
                <a:cubicBezTo>
                  <a:pt x="2951515" y="551931"/>
                  <a:pt x="2958107" y="541144"/>
                  <a:pt x="2961104" y="536949"/>
                </a:cubicBezTo>
                <a:cubicBezTo>
                  <a:pt x="2963501" y="532155"/>
                  <a:pt x="2971291" y="526762"/>
                  <a:pt x="2977883" y="522567"/>
                </a:cubicBezTo>
                <a:cubicBezTo>
                  <a:pt x="2979082" y="521968"/>
                  <a:pt x="2979681" y="521368"/>
                  <a:pt x="2980880" y="520769"/>
                </a:cubicBezTo>
                <a:cubicBezTo>
                  <a:pt x="2982078" y="520170"/>
                  <a:pt x="2982677" y="519571"/>
                  <a:pt x="2983277" y="518971"/>
                </a:cubicBezTo>
                <a:cubicBezTo>
                  <a:pt x="2985674" y="517773"/>
                  <a:pt x="2987472" y="517173"/>
                  <a:pt x="2988670" y="516574"/>
                </a:cubicBezTo>
                <a:cubicBezTo>
                  <a:pt x="2989270" y="516574"/>
                  <a:pt x="2989270" y="516574"/>
                  <a:pt x="2989869" y="516574"/>
                </a:cubicBezTo>
                <a:cubicBezTo>
                  <a:pt x="2991067" y="517173"/>
                  <a:pt x="2991067" y="518372"/>
                  <a:pt x="2989869" y="519571"/>
                </a:cubicBezTo>
                <a:cubicBezTo>
                  <a:pt x="2987472" y="522567"/>
                  <a:pt x="2986872" y="523765"/>
                  <a:pt x="2992865" y="524964"/>
                </a:cubicBezTo>
                <a:cubicBezTo>
                  <a:pt x="2994663" y="525563"/>
                  <a:pt x="2997060" y="525563"/>
                  <a:pt x="3001255" y="526163"/>
                </a:cubicBezTo>
                <a:cubicBezTo>
                  <a:pt x="3004251" y="526762"/>
                  <a:pt x="3007248" y="527361"/>
                  <a:pt x="3010244" y="527960"/>
                </a:cubicBezTo>
                <a:cubicBezTo>
                  <a:pt x="3012641" y="528560"/>
                  <a:pt x="3014439" y="528560"/>
                  <a:pt x="3016836" y="529159"/>
                </a:cubicBezTo>
                <a:cubicBezTo>
                  <a:pt x="3019233" y="529758"/>
                  <a:pt x="3021630" y="529758"/>
                  <a:pt x="3023428" y="530357"/>
                </a:cubicBezTo>
                <a:cubicBezTo>
                  <a:pt x="3028822" y="531556"/>
                  <a:pt x="3033616" y="532755"/>
                  <a:pt x="3036612" y="533953"/>
                </a:cubicBezTo>
                <a:cubicBezTo>
                  <a:pt x="3039609" y="535152"/>
                  <a:pt x="3039009" y="537549"/>
                  <a:pt x="3036612" y="540545"/>
                </a:cubicBezTo>
                <a:cubicBezTo>
                  <a:pt x="3036013" y="541744"/>
                  <a:pt x="3034814" y="542942"/>
                  <a:pt x="3034215" y="544740"/>
                </a:cubicBezTo>
                <a:lnTo>
                  <a:pt x="3034215" y="544740"/>
                </a:lnTo>
                <a:cubicBezTo>
                  <a:pt x="3033017" y="546538"/>
                  <a:pt x="3031219" y="548935"/>
                  <a:pt x="3030619" y="551332"/>
                </a:cubicBezTo>
                <a:cubicBezTo>
                  <a:pt x="3027024" y="559722"/>
                  <a:pt x="3025226" y="560920"/>
                  <a:pt x="3020432" y="567512"/>
                </a:cubicBezTo>
                <a:cubicBezTo>
                  <a:pt x="3019233" y="569310"/>
                  <a:pt x="3018634" y="570509"/>
                  <a:pt x="3017435" y="571108"/>
                </a:cubicBezTo>
                <a:cubicBezTo>
                  <a:pt x="3018035" y="570509"/>
                  <a:pt x="3019233" y="569310"/>
                  <a:pt x="3020432" y="567512"/>
                </a:cubicBezTo>
                <a:cubicBezTo>
                  <a:pt x="3025226" y="560920"/>
                  <a:pt x="3027024" y="559722"/>
                  <a:pt x="3030619" y="551332"/>
                </a:cubicBezTo>
                <a:cubicBezTo>
                  <a:pt x="3031818" y="548935"/>
                  <a:pt x="3033017" y="546538"/>
                  <a:pt x="3034215" y="544740"/>
                </a:cubicBezTo>
                <a:lnTo>
                  <a:pt x="3078561" y="536350"/>
                </a:lnTo>
                <a:cubicBezTo>
                  <a:pt x="3078561" y="535751"/>
                  <a:pt x="3079161" y="535751"/>
                  <a:pt x="3079161" y="535152"/>
                </a:cubicBezTo>
                <a:cubicBezTo>
                  <a:pt x="3079760" y="534552"/>
                  <a:pt x="3080359" y="533354"/>
                  <a:pt x="3080959" y="533354"/>
                </a:cubicBezTo>
                <a:cubicBezTo>
                  <a:pt x="3081558" y="533354"/>
                  <a:pt x="3082157" y="533354"/>
                  <a:pt x="3082756" y="533953"/>
                </a:cubicBezTo>
                <a:cubicBezTo>
                  <a:pt x="3082756" y="533953"/>
                  <a:pt x="3083355" y="534552"/>
                  <a:pt x="3083355" y="534552"/>
                </a:cubicBezTo>
                <a:lnTo>
                  <a:pt x="3083355" y="534552"/>
                </a:lnTo>
                <a:cubicBezTo>
                  <a:pt x="3083955" y="535751"/>
                  <a:pt x="3083955" y="536949"/>
                  <a:pt x="3084554" y="538747"/>
                </a:cubicBezTo>
                <a:cubicBezTo>
                  <a:pt x="3084554" y="540545"/>
                  <a:pt x="3083955" y="542942"/>
                  <a:pt x="3083355" y="545339"/>
                </a:cubicBezTo>
                <a:cubicBezTo>
                  <a:pt x="3084554" y="542942"/>
                  <a:pt x="3084554" y="540545"/>
                  <a:pt x="3084554" y="538747"/>
                </a:cubicBezTo>
                <a:cubicBezTo>
                  <a:pt x="3084554" y="536949"/>
                  <a:pt x="3083955" y="535751"/>
                  <a:pt x="3083355" y="534552"/>
                </a:cubicBezTo>
                <a:lnTo>
                  <a:pt x="3338047" y="487809"/>
                </a:lnTo>
                <a:cubicBezTo>
                  <a:pt x="3337448" y="487809"/>
                  <a:pt x="3337448" y="487210"/>
                  <a:pt x="3336849" y="487210"/>
                </a:cubicBezTo>
                <a:cubicBezTo>
                  <a:pt x="3335650" y="486610"/>
                  <a:pt x="3334451" y="486011"/>
                  <a:pt x="3333253" y="485412"/>
                </a:cubicBezTo>
                <a:cubicBezTo>
                  <a:pt x="3330256" y="484213"/>
                  <a:pt x="3332054" y="482416"/>
                  <a:pt x="3335650" y="482416"/>
                </a:cubicBezTo>
                <a:cubicBezTo>
                  <a:pt x="3338047" y="482416"/>
                  <a:pt x="3341043" y="483015"/>
                  <a:pt x="3344040" y="484213"/>
                </a:cubicBezTo>
                <a:cubicBezTo>
                  <a:pt x="3345238" y="484813"/>
                  <a:pt x="3346437" y="485412"/>
                  <a:pt x="3347635" y="485412"/>
                </a:cubicBezTo>
                <a:lnTo>
                  <a:pt x="3361419" y="483015"/>
                </a:lnTo>
                <a:cubicBezTo>
                  <a:pt x="3360220" y="483614"/>
                  <a:pt x="3358422" y="484213"/>
                  <a:pt x="3357224" y="484813"/>
                </a:cubicBezTo>
                <a:cubicBezTo>
                  <a:pt x="3355426" y="485412"/>
                  <a:pt x="3353628" y="486011"/>
                  <a:pt x="3351830" y="486011"/>
                </a:cubicBezTo>
                <a:cubicBezTo>
                  <a:pt x="3353628" y="486011"/>
                  <a:pt x="3355426" y="485412"/>
                  <a:pt x="3357224" y="484813"/>
                </a:cubicBezTo>
                <a:cubicBezTo>
                  <a:pt x="3358422" y="484213"/>
                  <a:pt x="3359621" y="483614"/>
                  <a:pt x="3361419" y="483015"/>
                </a:cubicBezTo>
                <a:lnTo>
                  <a:pt x="3361419" y="483015"/>
                </a:lnTo>
                <a:cubicBezTo>
                  <a:pt x="3363216" y="482416"/>
                  <a:pt x="3365014" y="481217"/>
                  <a:pt x="3366812" y="480618"/>
                </a:cubicBezTo>
                <a:cubicBezTo>
                  <a:pt x="3372805" y="477621"/>
                  <a:pt x="3377599" y="477022"/>
                  <a:pt x="3381195" y="477022"/>
                </a:cubicBezTo>
                <a:cubicBezTo>
                  <a:pt x="3382992" y="477022"/>
                  <a:pt x="3384791" y="477621"/>
                  <a:pt x="3385390" y="478221"/>
                </a:cubicBezTo>
                <a:cubicBezTo>
                  <a:pt x="3385989" y="478221"/>
                  <a:pt x="3385989" y="478820"/>
                  <a:pt x="3386588" y="478820"/>
                </a:cubicBezTo>
                <a:lnTo>
                  <a:pt x="3390184" y="478221"/>
                </a:lnTo>
                <a:cubicBezTo>
                  <a:pt x="3390184" y="478221"/>
                  <a:pt x="3390184" y="478221"/>
                  <a:pt x="3390184" y="478221"/>
                </a:cubicBezTo>
                <a:cubicBezTo>
                  <a:pt x="3388985" y="478820"/>
                  <a:pt x="3387787" y="478820"/>
                  <a:pt x="3386588" y="478820"/>
                </a:cubicBezTo>
                <a:cubicBezTo>
                  <a:pt x="3387787" y="478820"/>
                  <a:pt x="3388985" y="478820"/>
                  <a:pt x="3390184" y="478221"/>
                </a:cubicBezTo>
                <a:cubicBezTo>
                  <a:pt x="3390184" y="478221"/>
                  <a:pt x="3390184" y="478221"/>
                  <a:pt x="3390184" y="478221"/>
                </a:cubicBezTo>
                <a:lnTo>
                  <a:pt x="3390184" y="478221"/>
                </a:lnTo>
                <a:cubicBezTo>
                  <a:pt x="3393780" y="477022"/>
                  <a:pt x="3397974" y="474625"/>
                  <a:pt x="3400971" y="474026"/>
                </a:cubicBezTo>
                <a:cubicBezTo>
                  <a:pt x="3401570" y="474026"/>
                  <a:pt x="3402169" y="473426"/>
                  <a:pt x="3402769" y="473426"/>
                </a:cubicBezTo>
                <a:cubicBezTo>
                  <a:pt x="3403967" y="472827"/>
                  <a:pt x="3405166" y="472228"/>
                  <a:pt x="3405765" y="472228"/>
                </a:cubicBezTo>
                <a:cubicBezTo>
                  <a:pt x="3405765" y="472228"/>
                  <a:pt x="3406364" y="472228"/>
                  <a:pt x="3406364" y="472228"/>
                </a:cubicBezTo>
                <a:cubicBezTo>
                  <a:pt x="3406963" y="472228"/>
                  <a:pt x="3408162" y="472827"/>
                  <a:pt x="3409361" y="473426"/>
                </a:cubicBezTo>
                <a:cubicBezTo>
                  <a:pt x="3409361" y="473426"/>
                  <a:pt x="3409361" y="473426"/>
                  <a:pt x="3409361" y="473426"/>
                </a:cubicBezTo>
                <a:cubicBezTo>
                  <a:pt x="3412956" y="475824"/>
                  <a:pt x="3416552" y="472827"/>
                  <a:pt x="3416552" y="472827"/>
                </a:cubicBezTo>
                <a:cubicBezTo>
                  <a:pt x="3416552" y="472827"/>
                  <a:pt x="3429137" y="466834"/>
                  <a:pt x="3438725" y="469831"/>
                </a:cubicBezTo>
                <a:cubicBezTo>
                  <a:pt x="3449512" y="473426"/>
                  <a:pt x="3454306" y="467434"/>
                  <a:pt x="3463295" y="469831"/>
                </a:cubicBezTo>
                <a:cubicBezTo>
                  <a:pt x="3472284" y="472228"/>
                  <a:pt x="3472284" y="466235"/>
                  <a:pt x="3462097" y="466834"/>
                </a:cubicBezTo>
                <a:cubicBezTo>
                  <a:pt x="3451909" y="467434"/>
                  <a:pt x="3446516" y="465636"/>
                  <a:pt x="3453108" y="461441"/>
                </a:cubicBezTo>
                <a:cubicBezTo>
                  <a:pt x="3459700" y="457845"/>
                  <a:pt x="3480674" y="462639"/>
                  <a:pt x="3490862" y="461441"/>
                </a:cubicBezTo>
                <a:cubicBezTo>
                  <a:pt x="3501049" y="460242"/>
                  <a:pt x="3511836" y="463239"/>
                  <a:pt x="3504046" y="467434"/>
                </a:cubicBezTo>
                <a:cubicBezTo>
                  <a:pt x="3496255" y="471029"/>
                  <a:pt x="3498653" y="477022"/>
                  <a:pt x="3505844" y="471029"/>
                </a:cubicBezTo>
                <a:cubicBezTo>
                  <a:pt x="3513035" y="465037"/>
                  <a:pt x="3514234" y="467434"/>
                  <a:pt x="3513035" y="470430"/>
                </a:cubicBezTo>
                <a:cubicBezTo>
                  <a:pt x="3511836" y="472827"/>
                  <a:pt x="3515432" y="474026"/>
                  <a:pt x="3518429" y="471029"/>
                </a:cubicBezTo>
                <a:cubicBezTo>
                  <a:pt x="3520825" y="468033"/>
                  <a:pt x="3521425" y="469232"/>
                  <a:pt x="3525620" y="469831"/>
                </a:cubicBezTo>
                <a:cubicBezTo>
                  <a:pt x="3528616" y="469831"/>
                  <a:pt x="3537006" y="466235"/>
                  <a:pt x="3542399" y="461441"/>
                </a:cubicBezTo>
                <a:cubicBezTo>
                  <a:pt x="3547793" y="457246"/>
                  <a:pt x="3564573" y="457845"/>
                  <a:pt x="3564573" y="462639"/>
                </a:cubicBezTo>
                <a:cubicBezTo>
                  <a:pt x="3565172" y="470430"/>
                  <a:pt x="3570565" y="465037"/>
                  <a:pt x="3572363" y="469831"/>
                </a:cubicBezTo>
                <a:cubicBezTo>
                  <a:pt x="3575959" y="480018"/>
                  <a:pt x="3579555" y="471629"/>
                  <a:pt x="3573562" y="462639"/>
                </a:cubicBezTo>
                <a:cubicBezTo>
                  <a:pt x="3567569" y="453650"/>
                  <a:pt x="3559778" y="454849"/>
                  <a:pt x="3563374" y="451253"/>
                </a:cubicBezTo>
                <a:cubicBezTo>
                  <a:pt x="3568168" y="446459"/>
                  <a:pt x="3569966" y="456047"/>
                  <a:pt x="3585547" y="454849"/>
                </a:cubicBezTo>
                <a:cubicBezTo>
                  <a:pt x="3596933" y="454250"/>
                  <a:pt x="3605323" y="463239"/>
                  <a:pt x="3616110" y="464437"/>
                </a:cubicBezTo>
                <a:cubicBezTo>
                  <a:pt x="3626897" y="465636"/>
                  <a:pt x="3621504" y="460242"/>
                  <a:pt x="3611915" y="459044"/>
                </a:cubicBezTo>
                <a:cubicBezTo>
                  <a:pt x="3604724" y="457845"/>
                  <a:pt x="3601128" y="445261"/>
                  <a:pt x="3609518" y="439268"/>
                </a:cubicBezTo>
                <a:cubicBezTo>
                  <a:pt x="3618507" y="432676"/>
                  <a:pt x="3621504" y="432676"/>
                  <a:pt x="3643677" y="421889"/>
                </a:cubicBezTo>
                <a:cubicBezTo>
                  <a:pt x="3659857" y="414098"/>
                  <a:pt x="3677835" y="416495"/>
                  <a:pt x="3681431" y="420091"/>
                </a:cubicBezTo>
                <a:cubicBezTo>
                  <a:pt x="3686824" y="425485"/>
                  <a:pt x="3690420" y="420690"/>
                  <a:pt x="3694615" y="425485"/>
                </a:cubicBezTo>
                <a:cubicBezTo>
                  <a:pt x="3695813" y="426683"/>
                  <a:pt x="3701207" y="432077"/>
                  <a:pt x="3693417" y="432077"/>
                </a:cubicBezTo>
                <a:cubicBezTo>
                  <a:pt x="3690420" y="435073"/>
                  <a:pt x="3685626" y="437470"/>
                  <a:pt x="3680832" y="438069"/>
                </a:cubicBezTo>
                <a:cubicBezTo>
                  <a:pt x="3673640" y="439268"/>
                  <a:pt x="3667648" y="444062"/>
                  <a:pt x="3680832" y="444062"/>
                </a:cubicBezTo>
                <a:cubicBezTo>
                  <a:pt x="3688622" y="444062"/>
                  <a:pt x="3686824" y="444062"/>
                  <a:pt x="3691019" y="440466"/>
                </a:cubicBezTo>
                <a:cubicBezTo>
                  <a:pt x="3695214" y="437470"/>
                  <a:pt x="3696413" y="441665"/>
                  <a:pt x="3694016" y="444062"/>
                </a:cubicBezTo>
                <a:cubicBezTo>
                  <a:pt x="3690420" y="447658"/>
                  <a:pt x="3695214" y="447658"/>
                  <a:pt x="3704803" y="446459"/>
                </a:cubicBezTo>
                <a:cubicBezTo>
                  <a:pt x="3714391" y="445261"/>
                  <a:pt x="3718586" y="449455"/>
                  <a:pt x="3710795" y="457845"/>
                </a:cubicBezTo>
                <a:cubicBezTo>
                  <a:pt x="3700008" y="469232"/>
                  <a:pt x="3706600" y="468632"/>
                  <a:pt x="3713792" y="468632"/>
                </a:cubicBezTo>
                <a:cubicBezTo>
                  <a:pt x="3721582" y="468632"/>
                  <a:pt x="3722781" y="469831"/>
                  <a:pt x="3725178" y="462040"/>
                </a:cubicBezTo>
                <a:cubicBezTo>
                  <a:pt x="3726377" y="459044"/>
                  <a:pt x="3731171" y="459044"/>
                  <a:pt x="3735366" y="460242"/>
                </a:cubicBezTo>
                <a:cubicBezTo>
                  <a:pt x="3739560" y="461441"/>
                  <a:pt x="3750947" y="457246"/>
                  <a:pt x="3755142" y="460242"/>
                </a:cubicBezTo>
                <a:cubicBezTo>
                  <a:pt x="3759337" y="463239"/>
                  <a:pt x="3766528" y="457845"/>
                  <a:pt x="3777315" y="460242"/>
                </a:cubicBezTo>
                <a:cubicBezTo>
                  <a:pt x="3790499" y="463239"/>
                  <a:pt x="3784506" y="463239"/>
                  <a:pt x="3784506" y="465636"/>
                </a:cubicBezTo>
                <a:cubicBezTo>
                  <a:pt x="3784506" y="468033"/>
                  <a:pt x="3796491" y="468033"/>
                  <a:pt x="3798889" y="474625"/>
                </a:cubicBezTo>
                <a:cubicBezTo>
                  <a:pt x="3804282" y="493202"/>
                  <a:pt x="3803084" y="466834"/>
                  <a:pt x="3808477" y="484813"/>
                </a:cubicBezTo>
                <a:cubicBezTo>
                  <a:pt x="3810275" y="490805"/>
                  <a:pt x="3812672" y="500394"/>
                  <a:pt x="3804881" y="493202"/>
                </a:cubicBezTo>
                <a:cubicBezTo>
                  <a:pt x="3799488" y="487809"/>
                  <a:pt x="3787502" y="492603"/>
                  <a:pt x="3804881" y="497997"/>
                </a:cubicBezTo>
                <a:cubicBezTo>
                  <a:pt x="3813870" y="500394"/>
                  <a:pt x="3798290" y="533354"/>
                  <a:pt x="3788701" y="529758"/>
                </a:cubicBezTo>
                <a:cubicBezTo>
                  <a:pt x="3773719" y="524365"/>
                  <a:pt x="3779113" y="536949"/>
                  <a:pt x="3766528" y="533354"/>
                </a:cubicBezTo>
                <a:cubicBezTo>
                  <a:pt x="3753943" y="529758"/>
                  <a:pt x="3755741" y="539946"/>
                  <a:pt x="3740160" y="536949"/>
                </a:cubicBezTo>
                <a:cubicBezTo>
                  <a:pt x="3731171" y="535152"/>
                  <a:pt x="3730571" y="538148"/>
                  <a:pt x="3735366" y="541144"/>
                </a:cubicBezTo>
                <a:cubicBezTo>
                  <a:pt x="3735965" y="543541"/>
                  <a:pt x="3735366" y="545939"/>
                  <a:pt x="3728174" y="547736"/>
                </a:cubicBezTo>
                <a:cubicBezTo>
                  <a:pt x="3713792" y="551332"/>
                  <a:pt x="3709597" y="557924"/>
                  <a:pt x="3706001" y="560920"/>
                </a:cubicBezTo>
                <a:cubicBezTo>
                  <a:pt x="3702406" y="563917"/>
                  <a:pt x="3700008" y="566314"/>
                  <a:pt x="3692817" y="562718"/>
                </a:cubicBezTo>
                <a:cubicBezTo>
                  <a:pt x="3688023" y="560321"/>
                  <a:pt x="3683229" y="562718"/>
                  <a:pt x="3678435" y="565715"/>
                </a:cubicBezTo>
                <a:cubicBezTo>
                  <a:pt x="3676037" y="566913"/>
                  <a:pt x="3672442" y="575303"/>
                  <a:pt x="3667048" y="572307"/>
                </a:cubicBezTo>
                <a:cubicBezTo>
                  <a:pt x="3661655" y="569310"/>
                  <a:pt x="3658059" y="575303"/>
                  <a:pt x="3653265" y="581296"/>
                </a:cubicBezTo>
                <a:cubicBezTo>
                  <a:pt x="3647872" y="588487"/>
                  <a:pt x="3641280" y="590285"/>
                  <a:pt x="3629294" y="593281"/>
                </a:cubicBezTo>
                <a:cubicBezTo>
                  <a:pt x="3622103" y="595079"/>
                  <a:pt x="3618507" y="601671"/>
                  <a:pt x="3609518" y="601671"/>
                </a:cubicBezTo>
                <a:cubicBezTo>
                  <a:pt x="3602926" y="601671"/>
                  <a:pt x="3592139" y="615454"/>
                  <a:pt x="3613114" y="607065"/>
                </a:cubicBezTo>
                <a:cubicBezTo>
                  <a:pt x="3616709" y="605866"/>
                  <a:pt x="3623901" y="605866"/>
                  <a:pt x="3626298" y="603469"/>
                </a:cubicBezTo>
                <a:cubicBezTo>
                  <a:pt x="3631691" y="598075"/>
                  <a:pt x="3639482" y="600473"/>
                  <a:pt x="3644276" y="596877"/>
                </a:cubicBezTo>
                <a:cubicBezTo>
                  <a:pt x="3649070" y="593281"/>
                  <a:pt x="3649070" y="592083"/>
                  <a:pt x="3652067" y="591483"/>
                </a:cubicBezTo>
                <a:cubicBezTo>
                  <a:pt x="3655662" y="590884"/>
                  <a:pt x="3656262" y="588487"/>
                  <a:pt x="3658059" y="583094"/>
                </a:cubicBezTo>
                <a:cubicBezTo>
                  <a:pt x="3659857" y="577700"/>
                  <a:pt x="3667648" y="577700"/>
                  <a:pt x="3672442" y="580097"/>
                </a:cubicBezTo>
                <a:cubicBezTo>
                  <a:pt x="3679633" y="584292"/>
                  <a:pt x="3695813" y="581895"/>
                  <a:pt x="3698810" y="580097"/>
                </a:cubicBezTo>
                <a:cubicBezTo>
                  <a:pt x="3702406" y="577700"/>
                  <a:pt x="3711994" y="581296"/>
                  <a:pt x="3716189" y="574704"/>
                </a:cubicBezTo>
                <a:cubicBezTo>
                  <a:pt x="3720384" y="568112"/>
                  <a:pt x="3719784" y="571707"/>
                  <a:pt x="3720983" y="574704"/>
                </a:cubicBezTo>
                <a:cubicBezTo>
                  <a:pt x="3722182" y="577700"/>
                  <a:pt x="3727575" y="574104"/>
                  <a:pt x="3730571" y="571108"/>
                </a:cubicBezTo>
                <a:cubicBezTo>
                  <a:pt x="3732369" y="569910"/>
                  <a:pt x="3737163" y="569910"/>
                  <a:pt x="3738961" y="568711"/>
                </a:cubicBezTo>
                <a:cubicBezTo>
                  <a:pt x="3744355" y="566913"/>
                  <a:pt x="3744355" y="562718"/>
                  <a:pt x="3737163" y="563917"/>
                </a:cubicBezTo>
                <a:cubicBezTo>
                  <a:pt x="3724579" y="566314"/>
                  <a:pt x="3726976" y="560321"/>
                  <a:pt x="3734167" y="556126"/>
                </a:cubicBezTo>
                <a:cubicBezTo>
                  <a:pt x="3742557" y="551332"/>
                  <a:pt x="3743755" y="560321"/>
                  <a:pt x="3752744" y="559123"/>
                </a:cubicBezTo>
                <a:cubicBezTo>
                  <a:pt x="3755741" y="558523"/>
                  <a:pt x="3761734" y="562119"/>
                  <a:pt x="3765929" y="563318"/>
                </a:cubicBezTo>
                <a:cubicBezTo>
                  <a:pt x="3769524" y="564516"/>
                  <a:pt x="3786304" y="569310"/>
                  <a:pt x="3788102" y="562119"/>
                </a:cubicBezTo>
                <a:cubicBezTo>
                  <a:pt x="3791697" y="549534"/>
                  <a:pt x="3795892" y="555527"/>
                  <a:pt x="3792297" y="564516"/>
                </a:cubicBezTo>
                <a:cubicBezTo>
                  <a:pt x="3789300" y="574104"/>
                  <a:pt x="3797091" y="580697"/>
                  <a:pt x="3798889" y="575902"/>
                </a:cubicBezTo>
                <a:cubicBezTo>
                  <a:pt x="3800686" y="571108"/>
                  <a:pt x="3789900" y="562718"/>
                  <a:pt x="3806080" y="566913"/>
                </a:cubicBezTo>
                <a:cubicBezTo>
                  <a:pt x="3818665" y="569910"/>
                  <a:pt x="3826455" y="563917"/>
                  <a:pt x="3834845" y="567512"/>
                </a:cubicBezTo>
                <a:cubicBezTo>
                  <a:pt x="3842036" y="570509"/>
                  <a:pt x="3846231" y="572906"/>
                  <a:pt x="3854022" y="572906"/>
                </a:cubicBezTo>
                <a:cubicBezTo>
                  <a:pt x="3861812" y="572906"/>
                  <a:pt x="3870202" y="572307"/>
                  <a:pt x="3875596" y="574704"/>
                </a:cubicBezTo>
                <a:cubicBezTo>
                  <a:pt x="3881588" y="577101"/>
                  <a:pt x="3885184" y="576502"/>
                  <a:pt x="3892375" y="575303"/>
                </a:cubicBezTo>
                <a:cubicBezTo>
                  <a:pt x="3899567" y="574104"/>
                  <a:pt x="3907957" y="575902"/>
                  <a:pt x="3896570" y="581895"/>
                </a:cubicBezTo>
                <a:cubicBezTo>
                  <a:pt x="3887581" y="586689"/>
                  <a:pt x="3899567" y="591483"/>
                  <a:pt x="3903762" y="592682"/>
                </a:cubicBezTo>
                <a:cubicBezTo>
                  <a:pt x="3907357" y="593881"/>
                  <a:pt x="3909155" y="595678"/>
                  <a:pt x="3912152" y="599873"/>
                </a:cubicBezTo>
                <a:cubicBezTo>
                  <a:pt x="3914548" y="603469"/>
                  <a:pt x="3920541" y="606465"/>
                  <a:pt x="3916946" y="601671"/>
                </a:cubicBezTo>
                <a:cubicBezTo>
                  <a:pt x="3914548" y="597476"/>
                  <a:pt x="3922938" y="598675"/>
                  <a:pt x="3928931" y="599873"/>
                </a:cubicBezTo>
                <a:cubicBezTo>
                  <a:pt x="3934924" y="601072"/>
                  <a:pt x="3948108" y="600473"/>
                  <a:pt x="3952902" y="599274"/>
                </a:cubicBezTo>
                <a:cubicBezTo>
                  <a:pt x="3957097" y="598075"/>
                  <a:pt x="3968483" y="598075"/>
                  <a:pt x="3973277" y="599274"/>
                </a:cubicBezTo>
                <a:cubicBezTo>
                  <a:pt x="3978671" y="600473"/>
                  <a:pt x="3986461" y="596278"/>
                  <a:pt x="3985862" y="586090"/>
                </a:cubicBezTo>
                <a:cubicBezTo>
                  <a:pt x="3985263" y="575902"/>
                  <a:pt x="3987660" y="578299"/>
                  <a:pt x="3991255" y="579498"/>
                </a:cubicBezTo>
                <a:cubicBezTo>
                  <a:pt x="3997848" y="581296"/>
                  <a:pt x="3998447" y="572307"/>
                  <a:pt x="4004440" y="576502"/>
                </a:cubicBezTo>
                <a:cubicBezTo>
                  <a:pt x="4009234" y="580097"/>
                  <a:pt x="4012230" y="576502"/>
                  <a:pt x="4019421" y="582494"/>
                </a:cubicBezTo>
                <a:cubicBezTo>
                  <a:pt x="4026613" y="588487"/>
                  <a:pt x="4032605" y="586689"/>
                  <a:pt x="4036201" y="586689"/>
                </a:cubicBezTo>
                <a:cubicBezTo>
                  <a:pt x="4039197" y="586689"/>
                  <a:pt x="4039797" y="587289"/>
                  <a:pt x="4042793" y="589086"/>
                </a:cubicBezTo>
                <a:cubicBezTo>
                  <a:pt x="4045790" y="590884"/>
                  <a:pt x="4052381" y="585491"/>
                  <a:pt x="4051183" y="590285"/>
                </a:cubicBezTo>
                <a:cubicBezTo>
                  <a:pt x="4049385" y="597476"/>
                  <a:pt x="4054179" y="592682"/>
                  <a:pt x="4059573" y="589686"/>
                </a:cubicBezTo>
                <a:cubicBezTo>
                  <a:pt x="4064966" y="586689"/>
                  <a:pt x="4069161" y="591483"/>
                  <a:pt x="4070959" y="591483"/>
                </a:cubicBezTo>
                <a:cubicBezTo>
                  <a:pt x="4072757" y="591483"/>
                  <a:pt x="4072757" y="588487"/>
                  <a:pt x="4076952" y="593281"/>
                </a:cubicBezTo>
                <a:cubicBezTo>
                  <a:pt x="4080547" y="597476"/>
                  <a:pt x="4088937" y="591483"/>
                  <a:pt x="4088937" y="598675"/>
                </a:cubicBezTo>
                <a:cubicBezTo>
                  <a:pt x="4088937" y="605866"/>
                  <a:pt x="4091334" y="602870"/>
                  <a:pt x="4095529" y="606465"/>
                </a:cubicBezTo>
                <a:cubicBezTo>
                  <a:pt x="4099724" y="610061"/>
                  <a:pt x="4090136" y="608862"/>
                  <a:pt x="4096728" y="611859"/>
                </a:cubicBezTo>
                <a:cubicBezTo>
                  <a:pt x="4103320" y="614256"/>
                  <a:pt x="4093132" y="616054"/>
                  <a:pt x="4089536" y="619050"/>
                </a:cubicBezTo>
                <a:cubicBezTo>
                  <a:pt x="4086540" y="621447"/>
                  <a:pt x="4082345" y="624443"/>
                  <a:pt x="4078150" y="621447"/>
                </a:cubicBezTo>
                <a:cubicBezTo>
                  <a:pt x="4073956" y="619050"/>
                  <a:pt x="4072157" y="623245"/>
                  <a:pt x="4079349" y="625642"/>
                </a:cubicBezTo>
                <a:cubicBezTo>
                  <a:pt x="4086540" y="628039"/>
                  <a:pt x="4093731" y="624443"/>
                  <a:pt x="4091934" y="632234"/>
                </a:cubicBezTo>
                <a:cubicBezTo>
                  <a:pt x="4090735" y="637028"/>
                  <a:pt x="4087139" y="641223"/>
                  <a:pt x="4083544" y="640624"/>
                </a:cubicBezTo>
                <a:cubicBezTo>
                  <a:pt x="4076352" y="639425"/>
                  <a:pt x="4083544" y="644220"/>
                  <a:pt x="4083544" y="649014"/>
                </a:cubicBezTo>
                <a:cubicBezTo>
                  <a:pt x="4083544" y="653209"/>
                  <a:pt x="4089536" y="653209"/>
                  <a:pt x="4090735" y="650812"/>
                </a:cubicBezTo>
                <a:cubicBezTo>
                  <a:pt x="4091934" y="648414"/>
                  <a:pt x="4096128" y="650212"/>
                  <a:pt x="4094331" y="655006"/>
                </a:cubicBezTo>
                <a:cubicBezTo>
                  <a:pt x="4093132" y="660400"/>
                  <a:pt x="4075154" y="653808"/>
                  <a:pt x="4087139" y="662198"/>
                </a:cubicBezTo>
                <a:cubicBezTo>
                  <a:pt x="4097327" y="669389"/>
                  <a:pt x="4087139" y="677779"/>
                  <a:pt x="4099125" y="676580"/>
                </a:cubicBezTo>
                <a:cubicBezTo>
                  <a:pt x="4103320" y="675981"/>
                  <a:pt x="4101522" y="687367"/>
                  <a:pt x="4109912" y="681974"/>
                </a:cubicBezTo>
                <a:cubicBezTo>
                  <a:pt x="4114706" y="678977"/>
                  <a:pt x="4112908" y="681375"/>
                  <a:pt x="4112908" y="685569"/>
                </a:cubicBezTo>
                <a:cubicBezTo>
                  <a:pt x="4112908" y="690963"/>
                  <a:pt x="4118901" y="693959"/>
                  <a:pt x="4126092" y="684371"/>
                </a:cubicBezTo>
                <a:cubicBezTo>
                  <a:pt x="4135081" y="672385"/>
                  <a:pt x="4141673" y="672985"/>
                  <a:pt x="4141673" y="667591"/>
                </a:cubicBezTo>
                <a:cubicBezTo>
                  <a:pt x="4141673" y="660999"/>
                  <a:pt x="4148265" y="655006"/>
                  <a:pt x="4151861" y="649014"/>
                </a:cubicBezTo>
                <a:cubicBezTo>
                  <a:pt x="4157254" y="640624"/>
                  <a:pt x="4159652" y="647216"/>
                  <a:pt x="4157254" y="651411"/>
                </a:cubicBezTo>
                <a:cubicBezTo>
                  <a:pt x="4154857" y="655606"/>
                  <a:pt x="4174633" y="669389"/>
                  <a:pt x="4183023" y="668190"/>
                </a:cubicBezTo>
                <a:cubicBezTo>
                  <a:pt x="4191413" y="666992"/>
                  <a:pt x="4193211" y="669389"/>
                  <a:pt x="4199803" y="663996"/>
                </a:cubicBezTo>
                <a:cubicBezTo>
                  <a:pt x="4206395" y="658003"/>
                  <a:pt x="4214785" y="662797"/>
                  <a:pt x="4221976" y="666393"/>
                </a:cubicBezTo>
                <a:cubicBezTo>
                  <a:pt x="4227969" y="669389"/>
                  <a:pt x="4232763" y="670588"/>
                  <a:pt x="4238756" y="672385"/>
                </a:cubicBezTo>
                <a:cubicBezTo>
                  <a:pt x="4244749" y="673584"/>
                  <a:pt x="4245947" y="677779"/>
                  <a:pt x="4250741" y="678378"/>
                </a:cubicBezTo>
                <a:cubicBezTo>
                  <a:pt x="4259731" y="679577"/>
                  <a:pt x="4245947" y="672985"/>
                  <a:pt x="4253738" y="672385"/>
                </a:cubicBezTo>
                <a:cubicBezTo>
                  <a:pt x="4259731" y="671786"/>
                  <a:pt x="4249543" y="663396"/>
                  <a:pt x="4257932" y="662797"/>
                </a:cubicBezTo>
                <a:cubicBezTo>
                  <a:pt x="4266922" y="662198"/>
                  <a:pt x="4267521" y="660400"/>
                  <a:pt x="4272914" y="665194"/>
                </a:cubicBezTo>
                <a:cubicBezTo>
                  <a:pt x="4278308" y="670588"/>
                  <a:pt x="4278907" y="670588"/>
                  <a:pt x="4281903" y="667591"/>
                </a:cubicBezTo>
                <a:cubicBezTo>
                  <a:pt x="4284900" y="665194"/>
                  <a:pt x="4289095" y="665194"/>
                  <a:pt x="4291492" y="666393"/>
                </a:cubicBezTo>
                <a:cubicBezTo>
                  <a:pt x="4293889" y="667591"/>
                  <a:pt x="4291492" y="659201"/>
                  <a:pt x="4292091" y="655606"/>
                </a:cubicBezTo>
                <a:cubicBezTo>
                  <a:pt x="4292691" y="652010"/>
                  <a:pt x="4293290" y="649014"/>
                  <a:pt x="4290893" y="649014"/>
                </a:cubicBezTo>
                <a:cubicBezTo>
                  <a:pt x="4288496" y="649014"/>
                  <a:pt x="4283702" y="647815"/>
                  <a:pt x="4292691" y="641223"/>
                </a:cubicBezTo>
                <a:cubicBezTo>
                  <a:pt x="4301680" y="634631"/>
                  <a:pt x="4293889" y="632234"/>
                  <a:pt x="4289095" y="637028"/>
                </a:cubicBezTo>
                <a:cubicBezTo>
                  <a:pt x="4283702" y="641223"/>
                  <a:pt x="4278308" y="634032"/>
                  <a:pt x="4286698" y="628638"/>
                </a:cubicBezTo>
                <a:cubicBezTo>
                  <a:pt x="4295087" y="623245"/>
                  <a:pt x="4303477" y="625642"/>
                  <a:pt x="4308272" y="626241"/>
                </a:cubicBezTo>
                <a:cubicBezTo>
                  <a:pt x="4316662" y="627440"/>
                  <a:pt x="4320856" y="626241"/>
                  <a:pt x="4317261" y="622646"/>
                </a:cubicBezTo>
                <a:cubicBezTo>
                  <a:pt x="4313665" y="619050"/>
                  <a:pt x="4320257" y="617252"/>
                  <a:pt x="4331643" y="622646"/>
                </a:cubicBezTo>
                <a:cubicBezTo>
                  <a:pt x="4342430" y="628039"/>
                  <a:pt x="4359809" y="625642"/>
                  <a:pt x="4370596" y="626841"/>
                </a:cubicBezTo>
                <a:cubicBezTo>
                  <a:pt x="4381383" y="628039"/>
                  <a:pt x="4407152" y="631035"/>
                  <a:pt x="4416141" y="629837"/>
                </a:cubicBezTo>
                <a:cubicBezTo>
                  <a:pt x="4432921" y="627440"/>
                  <a:pt x="4425130" y="630436"/>
                  <a:pt x="4411946" y="632833"/>
                </a:cubicBezTo>
                <a:cubicBezTo>
                  <a:pt x="4398762" y="635230"/>
                  <a:pt x="4386776" y="631035"/>
                  <a:pt x="4383181" y="633433"/>
                </a:cubicBezTo>
                <a:cubicBezTo>
                  <a:pt x="4379585" y="635830"/>
                  <a:pt x="4369997" y="637628"/>
                  <a:pt x="4379585" y="641822"/>
                </a:cubicBezTo>
                <a:cubicBezTo>
                  <a:pt x="4387975" y="645418"/>
                  <a:pt x="4393968" y="638826"/>
                  <a:pt x="4398163" y="637628"/>
                </a:cubicBezTo>
                <a:cubicBezTo>
                  <a:pt x="4402358" y="636429"/>
                  <a:pt x="4415542" y="635830"/>
                  <a:pt x="4422733" y="634631"/>
                </a:cubicBezTo>
                <a:cubicBezTo>
                  <a:pt x="4433520" y="632234"/>
                  <a:pt x="4429325" y="636429"/>
                  <a:pt x="4424531" y="638826"/>
                </a:cubicBezTo>
                <a:cubicBezTo>
                  <a:pt x="4420336" y="641223"/>
                  <a:pt x="4418538" y="645418"/>
                  <a:pt x="4414942" y="648414"/>
                </a:cubicBezTo>
                <a:cubicBezTo>
                  <a:pt x="4411946" y="651411"/>
                  <a:pt x="4408950" y="649014"/>
                  <a:pt x="4413145" y="645418"/>
                </a:cubicBezTo>
                <a:cubicBezTo>
                  <a:pt x="4416740" y="641822"/>
                  <a:pt x="4418538" y="638826"/>
                  <a:pt x="4411347" y="641822"/>
                </a:cubicBezTo>
                <a:cubicBezTo>
                  <a:pt x="4406553" y="643620"/>
                  <a:pt x="4407152" y="640624"/>
                  <a:pt x="4407751" y="644220"/>
                </a:cubicBezTo>
                <a:cubicBezTo>
                  <a:pt x="4408350" y="650212"/>
                  <a:pt x="4404155" y="650812"/>
                  <a:pt x="4398163" y="649613"/>
                </a:cubicBezTo>
                <a:cubicBezTo>
                  <a:pt x="4392769" y="648414"/>
                  <a:pt x="4386776" y="650812"/>
                  <a:pt x="4392769" y="653209"/>
                </a:cubicBezTo>
                <a:cubicBezTo>
                  <a:pt x="4396964" y="655006"/>
                  <a:pt x="4396365" y="658003"/>
                  <a:pt x="4392769" y="659201"/>
                </a:cubicBezTo>
                <a:cubicBezTo>
                  <a:pt x="4389773" y="660400"/>
                  <a:pt x="4395765" y="662198"/>
                  <a:pt x="4402957" y="660999"/>
                </a:cubicBezTo>
                <a:cubicBezTo>
                  <a:pt x="4410148" y="659801"/>
                  <a:pt x="4420336" y="653209"/>
                  <a:pt x="4426928" y="644220"/>
                </a:cubicBezTo>
                <a:cubicBezTo>
                  <a:pt x="4438314" y="629837"/>
                  <a:pt x="4454495" y="629238"/>
                  <a:pt x="4464682" y="631035"/>
                </a:cubicBezTo>
                <a:cubicBezTo>
                  <a:pt x="4474870" y="632234"/>
                  <a:pt x="4487455" y="635230"/>
                  <a:pt x="4498841" y="647815"/>
                </a:cubicBezTo>
                <a:cubicBezTo>
                  <a:pt x="4506032" y="656205"/>
                  <a:pt x="4497043" y="657404"/>
                  <a:pt x="4490451" y="655606"/>
                </a:cubicBezTo>
                <a:cubicBezTo>
                  <a:pt x="4486256" y="654407"/>
                  <a:pt x="4479664" y="658602"/>
                  <a:pt x="4475469" y="662797"/>
                </a:cubicBezTo>
                <a:cubicBezTo>
                  <a:pt x="4471873" y="666393"/>
                  <a:pt x="4467678" y="669389"/>
                  <a:pt x="4485657" y="668790"/>
                </a:cubicBezTo>
                <a:cubicBezTo>
                  <a:pt x="4501238" y="668190"/>
                  <a:pt x="4507231" y="669988"/>
                  <a:pt x="4509627" y="671786"/>
                </a:cubicBezTo>
                <a:cubicBezTo>
                  <a:pt x="4512025" y="674183"/>
                  <a:pt x="4518617" y="675382"/>
                  <a:pt x="4525209" y="675382"/>
                </a:cubicBezTo>
                <a:cubicBezTo>
                  <a:pt x="4534797" y="675382"/>
                  <a:pt x="4537194" y="679577"/>
                  <a:pt x="4544386" y="688566"/>
                </a:cubicBezTo>
                <a:cubicBezTo>
                  <a:pt x="4552176" y="698154"/>
                  <a:pt x="4530003" y="692161"/>
                  <a:pt x="4544386" y="699353"/>
                </a:cubicBezTo>
                <a:cubicBezTo>
                  <a:pt x="4558768" y="706544"/>
                  <a:pt x="4574349" y="695158"/>
                  <a:pt x="4586934" y="693360"/>
                </a:cubicBezTo>
                <a:cubicBezTo>
                  <a:pt x="4598919" y="692161"/>
                  <a:pt x="4630681" y="686768"/>
                  <a:pt x="4636674" y="692161"/>
                </a:cubicBezTo>
                <a:cubicBezTo>
                  <a:pt x="4643266" y="697555"/>
                  <a:pt x="4645663" y="695158"/>
                  <a:pt x="4649858" y="692161"/>
                </a:cubicBezTo>
                <a:cubicBezTo>
                  <a:pt x="4654053" y="689165"/>
                  <a:pt x="4669634" y="689764"/>
                  <a:pt x="4680421" y="699952"/>
                </a:cubicBezTo>
                <a:cubicBezTo>
                  <a:pt x="4686413" y="705345"/>
                  <a:pt x="4703193" y="711937"/>
                  <a:pt x="4693006" y="720927"/>
                </a:cubicBezTo>
                <a:cubicBezTo>
                  <a:pt x="4682818" y="729916"/>
                  <a:pt x="4695402" y="737706"/>
                  <a:pt x="4703792" y="737107"/>
                </a:cubicBezTo>
                <a:cubicBezTo>
                  <a:pt x="4712182" y="736508"/>
                  <a:pt x="4719373" y="739504"/>
                  <a:pt x="4718175" y="746695"/>
                </a:cubicBezTo>
                <a:cubicBezTo>
                  <a:pt x="4716976" y="753887"/>
                  <a:pt x="4720572" y="755684"/>
                  <a:pt x="4724767" y="746096"/>
                </a:cubicBezTo>
                <a:cubicBezTo>
                  <a:pt x="4728362" y="736508"/>
                  <a:pt x="4735554" y="741901"/>
                  <a:pt x="4730161" y="750291"/>
                </a:cubicBezTo>
                <a:cubicBezTo>
                  <a:pt x="4724168" y="759280"/>
                  <a:pt x="4730161" y="768868"/>
                  <a:pt x="4732557" y="753287"/>
                </a:cubicBezTo>
                <a:cubicBezTo>
                  <a:pt x="4734955" y="737706"/>
                  <a:pt x="4743344" y="744298"/>
                  <a:pt x="4748738" y="739504"/>
                </a:cubicBezTo>
                <a:cubicBezTo>
                  <a:pt x="4754132" y="735309"/>
                  <a:pt x="4773908" y="737107"/>
                  <a:pt x="4784694" y="740103"/>
                </a:cubicBezTo>
                <a:cubicBezTo>
                  <a:pt x="4795481" y="742500"/>
                  <a:pt x="4833235" y="743699"/>
                  <a:pt x="4837430" y="735908"/>
                </a:cubicBezTo>
                <a:cubicBezTo>
                  <a:pt x="4841026" y="728118"/>
                  <a:pt x="4854809" y="734111"/>
                  <a:pt x="4856607" y="739504"/>
                </a:cubicBezTo>
                <a:cubicBezTo>
                  <a:pt x="4858405" y="745497"/>
                  <a:pt x="4867994" y="745497"/>
                  <a:pt x="4875185" y="746695"/>
                </a:cubicBezTo>
                <a:cubicBezTo>
                  <a:pt x="4882376" y="747894"/>
                  <a:pt x="4890166" y="750291"/>
                  <a:pt x="4890166" y="756883"/>
                </a:cubicBezTo>
                <a:cubicBezTo>
                  <a:pt x="4890166" y="763475"/>
                  <a:pt x="4900954" y="764074"/>
                  <a:pt x="4908744" y="760479"/>
                </a:cubicBezTo>
                <a:cubicBezTo>
                  <a:pt x="4913538" y="758082"/>
                  <a:pt x="4918332" y="755684"/>
                  <a:pt x="4916535" y="749092"/>
                </a:cubicBezTo>
                <a:cubicBezTo>
                  <a:pt x="4910542" y="730515"/>
                  <a:pt x="4912340" y="728717"/>
                  <a:pt x="4908744" y="722724"/>
                </a:cubicBezTo>
                <a:cubicBezTo>
                  <a:pt x="4905148" y="716732"/>
                  <a:pt x="4906946" y="706544"/>
                  <a:pt x="4921329" y="713735"/>
                </a:cubicBezTo>
                <a:cubicBezTo>
                  <a:pt x="4935711" y="720927"/>
                  <a:pt x="4948896" y="719728"/>
                  <a:pt x="4951892" y="722125"/>
                </a:cubicBezTo>
                <a:cubicBezTo>
                  <a:pt x="4954888" y="724522"/>
                  <a:pt x="4964477" y="720927"/>
                  <a:pt x="4968072" y="723324"/>
                </a:cubicBezTo>
                <a:cubicBezTo>
                  <a:pt x="4971068" y="725721"/>
                  <a:pt x="4975263" y="724522"/>
                  <a:pt x="4978859" y="722724"/>
                </a:cubicBezTo>
                <a:cubicBezTo>
                  <a:pt x="4982455" y="720927"/>
                  <a:pt x="4999834" y="723923"/>
                  <a:pt x="5004628" y="721526"/>
                </a:cubicBezTo>
                <a:cubicBezTo>
                  <a:pt x="5008823" y="719129"/>
                  <a:pt x="5019610" y="718530"/>
                  <a:pt x="5025003" y="722724"/>
                </a:cubicBezTo>
                <a:cubicBezTo>
                  <a:pt x="5030996" y="726320"/>
                  <a:pt x="5035191" y="729916"/>
                  <a:pt x="5039985" y="727519"/>
                </a:cubicBezTo>
                <a:cubicBezTo>
                  <a:pt x="5044180" y="725122"/>
                  <a:pt x="5051970" y="728118"/>
                  <a:pt x="5055566" y="730515"/>
                </a:cubicBezTo>
                <a:cubicBezTo>
                  <a:pt x="5058563" y="732912"/>
                  <a:pt x="5060360" y="732912"/>
                  <a:pt x="5063956" y="732313"/>
                </a:cubicBezTo>
                <a:cubicBezTo>
                  <a:pt x="5072945" y="729916"/>
                  <a:pt x="5075941" y="737706"/>
                  <a:pt x="5083732" y="738905"/>
                </a:cubicBezTo>
                <a:cubicBezTo>
                  <a:pt x="5092122" y="740103"/>
                  <a:pt x="5090324" y="744898"/>
                  <a:pt x="5093920" y="747295"/>
                </a:cubicBezTo>
                <a:cubicBezTo>
                  <a:pt x="5097515" y="749692"/>
                  <a:pt x="5102310" y="753287"/>
                  <a:pt x="5108302" y="751490"/>
                </a:cubicBezTo>
                <a:cubicBezTo>
                  <a:pt x="5114295" y="750291"/>
                  <a:pt x="5119689" y="750890"/>
                  <a:pt x="5127479" y="756883"/>
                </a:cubicBezTo>
                <a:cubicBezTo>
                  <a:pt x="5135270" y="762876"/>
                  <a:pt x="5140663" y="759879"/>
                  <a:pt x="5143660" y="759879"/>
                </a:cubicBezTo>
                <a:cubicBezTo>
                  <a:pt x="5146056" y="759879"/>
                  <a:pt x="5159840" y="762876"/>
                  <a:pt x="5161038" y="768868"/>
                </a:cubicBezTo>
                <a:cubicBezTo>
                  <a:pt x="5162237" y="777858"/>
                  <a:pt x="5172425" y="769468"/>
                  <a:pt x="5175421" y="775461"/>
                </a:cubicBezTo>
                <a:cubicBezTo>
                  <a:pt x="5177818" y="781453"/>
                  <a:pt x="5182013" y="782053"/>
                  <a:pt x="5186208" y="780854"/>
                </a:cubicBezTo>
                <a:cubicBezTo>
                  <a:pt x="5190403" y="779655"/>
                  <a:pt x="5191602" y="784450"/>
                  <a:pt x="5191602" y="788045"/>
                </a:cubicBezTo>
                <a:cubicBezTo>
                  <a:pt x="5191602" y="792240"/>
                  <a:pt x="5197594" y="794038"/>
                  <a:pt x="5195796" y="786847"/>
                </a:cubicBezTo>
                <a:cubicBezTo>
                  <a:pt x="5194598" y="779655"/>
                  <a:pt x="5219767" y="788045"/>
                  <a:pt x="5216771" y="795836"/>
                </a:cubicBezTo>
                <a:cubicBezTo>
                  <a:pt x="5214374" y="803626"/>
                  <a:pt x="5224562" y="803626"/>
                  <a:pt x="5222763" y="812016"/>
                </a:cubicBezTo>
                <a:cubicBezTo>
                  <a:pt x="5220367" y="819807"/>
                  <a:pt x="5237146" y="825800"/>
                  <a:pt x="5230554" y="829395"/>
                </a:cubicBezTo>
                <a:cubicBezTo>
                  <a:pt x="5215572" y="837186"/>
                  <a:pt x="5253926" y="837785"/>
                  <a:pt x="5241940" y="828796"/>
                </a:cubicBezTo>
                <a:cubicBezTo>
                  <a:pt x="5234749" y="823402"/>
                  <a:pt x="5239543" y="822803"/>
                  <a:pt x="5239543" y="819208"/>
                </a:cubicBezTo>
                <a:cubicBezTo>
                  <a:pt x="5239543" y="815612"/>
                  <a:pt x="5238345" y="812616"/>
                  <a:pt x="5235348" y="809619"/>
                </a:cubicBezTo>
                <a:cubicBezTo>
                  <a:pt x="5232352" y="806623"/>
                  <a:pt x="5232352" y="795237"/>
                  <a:pt x="5244338" y="800630"/>
                </a:cubicBezTo>
                <a:cubicBezTo>
                  <a:pt x="5256323" y="806023"/>
                  <a:pt x="5251529" y="812616"/>
                  <a:pt x="5255124" y="813814"/>
                </a:cubicBezTo>
                <a:cubicBezTo>
                  <a:pt x="5258720" y="815013"/>
                  <a:pt x="5256922" y="806023"/>
                  <a:pt x="5263514" y="807222"/>
                </a:cubicBezTo>
                <a:cubicBezTo>
                  <a:pt x="5267110" y="807821"/>
                  <a:pt x="5271305" y="795836"/>
                  <a:pt x="5282691" y="806023"/>
                </a:cubicBezTo>
                <a:cubicBezTo>
                  <a:pt x="5297074" y="818608"/>
                  <a:pt x="5312655" y="818009"/>
                  <a:pt x="5316250" y="825200"/>
                </a:cubicBezTo>
                <a:cubicBezTo>
                  <a:pt x="5319247" y="832392"/>
                  <a:pt x="5320445" y="827597"/>
                  <a:pt x="5324640" y="825800"/>
                </a:cubicBezTo>
                <a:cubicBezTo>
                  <a:pt x="5330633" y="826998"/>
                  <a:pt x="5340221" y="826399"/>
                  <a:pt x="5341420" y="832392"/>
                </a:cubicBezTo>
                <a:close/>
                <a:moveTo>
                  <a:pt x="326695" y="2664971"/>
                </a:moveTo>
                <a:cubicBezTo>
                  <a:pt x="326695" y="2664372"/>
                  <a:pt x="327295" y="2663773"/>
                  <a:pt x="327295" y="2663173"/>
                </a:cubicBezTo>
                <a:cubicBezTo>
                  <a:pt x="326695" y="2663773"/>
                  <a:pt x="326096" y="2664372"/>
                  <a:pt x="326096" y="2664372"/>
                </a:cubicBezTo>
                <a:lnTo>
                  <a:pt x="326695" y="2664971"/>
                </a:lnTo>
                <a:close/>
                <a:moveTo>
                  <a:pt x="898403" y="1821194"/>
                </a:moveTo>
                <a:cubicBezTo>
                  <a:pt x="899002" y="1821194"/>
                  <a:pt x="899601" y="1821194"/>
                  <a:pt x="900201" y="1820594"/>
                </a:cubicBezTo>
                <a:cubicBezTo>
                  <a:pt x="901998" y="1819995"/>
                  <a:pt x="903796" y="1819995"/>
                  <a:pt x="905594" y="1819396"/>
                </a:cubicBezTo>
                <a:cubicBezTo>
                  <a:pt x="903796" y="1818796"/>
                  <a:pt x="901998" y="1818197"/>
                  <a:pt x="901399" y="1817598"/>
                </a:cubicBezTo>
                <a:cubicBezTo>
                  <a:pt x="901998" y="1818197"/>
                  <a:pt x="902598" y="1818796"/>
                  <a:pt x="903796" y="1819396"/>
                </a:cubicBezTo>
                <a:cubicBezTo>
                  <a:pt x="901399" y="1819995"/>
                  <a:pt x="900201" y="1820594"/>
                  <a:pt x="898403" y="1821194"/>
                </a:cubicBezTo>
                <a:close/>
                <a:moveTo>
                  <a:pt x="1151296" y="2200534"/>
                </a:moveTo>
                <a:cubicBezTo>
                  <a:pt x="1151296" y="2200534"/>
                  <a:pt x="1151896" y="2200534"/>
                  <a:pt x="1152495" y="2200534"/>
                </a:cubicBezTo>
                <a:cubicBezTo>
                  <a:pt x="1151896" y="2200534"/>
                  <a:pt x="1151896" y="2200534"/>
                  <a:pt x="1151296" y="2200534"/>
                </a:cubicBezTo>
                <a:lnTo>
                  <a:pt x="1151296" y="2200534"/>
                </a:lnTo>
                <a:close/>
                <a:moveTo>
                  <a:pt x="916980" y="2133415"/>
                </a:moveTo>
                <a:lnTo>
                  <a:pt x="947543" y="2117834"/>
                </a:lnTo>
                <a:lnTo>
                  <a:pt x="896605" y="2144202"/>
                </a:lnTo>
                <a:lnTo>
                  <a:pt x="916980" y="2133415"/>
                </a:lnTo>
                <a:close/>
                <a:moveTo>
                  <a:pt x="1332876" y="2216714"/>
                </a:moveTo>
                <a:lnTo>
                  <a:pt x="1337071" y="2217913"/>
                </a:lnTo>
                <a:lnTo>
                  <a:pt x="1337071" y="2215516"/>
                </a:lnTo>
                <a:lnTo>
                  <a:pt x="1332876" y="2216714"/>
                </a:lnTo>
                <a:close/>
                <a:moveTo>
                  <a:pt x="1248379" y="2940637"/>
                </a:moveTo>
                <a:cubicBezTo>
                  <a:pt x="1248379" y="2937042"/>
                  <a:pt x="1245982" y="2934045"/>
                  <a:pt x="1244783" y="2932248"/>
                </a:cubicBezTo>
                <a:cubicBezTo>
                  <a:pt x="1245982" y="2934645"/>
                  <a:pt x="1247780" y="2937641"/>
                  <a:pt x="1248379" y="2940637"/>
                </a:cubicBezTo>
                <a:close/>
                <a:moveTo>
                  <a:pt x="1242985" y="2930450"/>
                </a:moveTo>
                <a:cubicBezTo>
                  <a:pt x="1242985" y="2930450"/>
                  <a:pt x="1242985" y="2930450"/>
                  <a:pt x="1242985" y="2930450"/>
                </a:cubicBezTo>
                <a:cubicBezTo>
                  <a:pt x="1242985" y="2930450"/>
                  <a:pt x="1242985" y="2930450"/>
                  <a:pt x="1242985" y="2930450"/>
                </a:cubicBezTo>
                <a:cubicBezTo>
                  <a:pt x="1242985" y="2930450"/>
                  <a:pt x="1242985" y="2930450"/>
                  <a:pt x="1242985" y="2930450"/>
                </a:cubicBezTo>
                <a:close/>
                <a:moveTo>
                  <a:pt x="1256769" y="2762653"/>
                </a:moveTo>
                <a:cubicBezTo>
                  <a:pt x="1256769" y="2762054"/>
                  <a:pt x="1256769" y="2761455"/>
                  <a:pt x="1257368" y="2760855"/>
                </a:cubicBezTo>
                <a:cubicBezTo>
                  <a:pt x="1256769" y="2761455"/>
                  <a:pt x="1256169" y="2762054"/>
                  <a:pt x="1256769" y="2762653"/>
                </a:cubicBezTo>
                <a:cubicBezTo>
                  <a:pt x="1256169" y="2762653"/>
                  <a:pt x="1256769" y="2762653"/>
                  <a:pt x="1256769" y="2762653"/>
                </a:cubicBezTo>
                <a:cubicBezTo>
                  <a:pt x="1256769" y="2764451"/>
                  <a:pt x="1257368" y="2763852"/>
                  <a:pt x="1256769" y="2762653"/>
                </a:cubicBezTo>
                <a:close/>
                <a:moveTo>
                  <a:pt x="1250776" y="2760855"/>
                </a:moveTo>
                <a:cubicBezTo>
                  <a:pt x="1248379" y="2760256"/>
                  <a:pt x="1244783" y="2759657"/>
                  <a:pt x="1238790" y="2760855"/>
                </a:cubicBezTo>
                <a:cubicBezTo>
                  <a:pt x="1240588" y="2760855"/>
                  <a:pt x="1244184" y="2760256"/>
                  <a:pt x="1248379" y="2760855"/>
                </a:cubicBezTo>
                <a:cubicBezTo>
                  <a:pt x="1249577" y="2760855"/>
                  <a:pt x="1250177" y="2760855"/>
                  <a:pt x="1250776" y="2760855"/>
                </a:cubicBezTo>
                <a:close/>
                <a:moveTo>
                  <a:pt x="1305909" y="3569276"/>
                </a:moveTo>
                <a:lnTo>
                  <a:pt x="1305310" y="3569276"/>
                </a:lnTo>
                <a:cubicBezTo>
                  <a:pt x="1305310" y="3569276"/>
                  <a:pt x="1305310" y="3569276"/>
                  <a:pt x="1305310" y="3569875"/>
                </a:cubicBezTo>
                <a:cubicBezTo>
                  <a:pt x="1305310" y="3569276"/>
                  <a:pt x="1305909" y="3569276"/>
                  <a:pt x="1305909" y="3569276"/>
                </a:cubicBezTo>
                <a:close/>
                <a:moveTo>
                  <a:pt x="1263361" y="3488973"/>
                </a:moveTo>
                <a:cubicBezTo>
                  <a:pt x="1262761" y="3488374"/>
                  <a:pt x="1262761" y="3487775"/>
                  <a:pt x="1262761" y="3487775"/>
                </a:cubicBezTo>
                <a:cubicBezTo>
                  <a:pt x="1262761" y="3487775"/>
                  <a:pt x="1259765" y="3487175"/>
                  <a:pt x="1256169" y="3485977"/>
                </a:cubicBezTo>
                <a:cubicBezTo>
                  <a:pt x="1256169" y="3486576"/>
                  <a:pt x="1256769" y="3486576"/>
                  <a:pt x="1256769" y="3487175"/>
                </a:cubicBezTo>
                <a:lnTo>
                  <a:pt x="1263361" y="3488973"/>
                </a:lnTo>
                <a:close/>
                <a:moveTo>
                  <a:pt x="987695" y="3566879"/>
                </a:moveTo>
                <a:cubicBezTo>
                  <a:pt x="981702" y="3568077"/>
                  <a:pt x="979305" y="3570474"/>
                  <a:pt x="977507" y="3571074"/>
                </a:cubicBezTo>
                <a:cubicBezTo>
                  <a:pt x="978705" y="3571074"/>
                  <a:pt x="979904" y="3570474"/>
                  <a:pt x="982301" y="3569276"/>
                </a:cubicBezTo>
                <a:cubicBezTo>
                  <a:pt x="984698" y="3568077"/>
                  <a:pt x="988893" y="3566879"/>
                  <a:pt x="993687" y="3565680"/>
                </a:cubicBezTo>
                <a:cubicBezTo>
                  <a:pt x="991290" y="3565680"/>
                  <a:pt x="989492" y="3566279"/>
                  <a:pt x="987695" y="3566879"/>
                </a:cubicBezTo>
                <a:close/>
                <a:moveTo>
                  <a:pt x="970915" y="3558489"/>
                </a:moveTo>
                <a:cubicBezTo>
                  <a:pt x="971514" y="3559688"/>
                  <a:pt x="971514" y="3560287"/>
                  <a:pt x="971514" y="3560886"/>
                </a:cubicBezTo>
                <a:cubicBezTo>
                  <a:pt x="970316" y="3556092"/>
                  <a:pt x="968518" y="3550698"/>
                  <a:pt x="967919" y="3548301"/>
                </a:cubicBezTo>
                <a:cubicBezTo>
                  <a:pt x="968518" y="3550698"/>
                  <a:pt x="969117" y="3554294"/>
                  <a:pt x="970915" y="3558489"/>
                </a:cubicBezTo>
                <a:close/>
                <a:moveTo>
                  <a:pt x="974511" y="3568677"/>
                </a:moveTo>
                <a:cubicBezTo>
                  <a:pt x="974511" y="3568677"/>
                  <a:pt x="974511" y="3568077"/>
                  <a:pt x="974511" y="3568077"/>
                </a:cubicBezTo>
                <a:cubicBezTo>
                  <a:pt x="973911" y="3568077"/>
                  <a:pt x="974511" y="3568077"/>
                  <a:pt x="974511" y="3568677"/>
                </a:cubicBezTo>
                <a:close/>
                <a:moveTo>
                  <a:pt x="1317895" y="3567478"/>
                </a:moveTo>
                <a:lnTo>
                  <a:pt x="1322089" y="3565081"/>
                </a:lnTo>
                <a:lnTo>
                  <a:pt x="1322089" y="3565081"/>
                </a:lnTo>
                <a:lnTo>
                  <a:pt x="1317895" y="3567478"/>
                </a:lnTo>
                <a:lnTo>
                  <a:pt x="1313700" y="3567478"/>
                </a:lnTo>
                <a:lnTo>
                  <a:pt x="1312501" y="3567478"/>
                </a:lnTo>
                <a:lnTo>
                  <a:pt x="1314299" y="3567478"/>
                </a:lnTo>
                <a:lnTo>
                  <a:pt x="1317895" y="3567478"/>
                </a:lnTo>
                <a:close/>
                <a:moveTo>
                  <a:pt x="1314898" y="2214917"/>
                </a:moveTo>
                <a:lnTo>
                  <a:pt x="1314898" y="2215516"/>
                </a:lnTo>
                <a:lnTo>
                  <a:pt x="1319093" y="2216115"/>
                </a:lnTo>
                <a:lnTo>
                  <a:pt x="1314898" y="2214917"/>
                </a:lnTo>
                <a:close/>
                <a:moveTo>
                  <a:pt x="761169" y="2519947"/>
                </a:moveTo>
                <a:lnTo>
                  <a:pt x="778548" y="2515153"/>
                </a:lnTo>
                <a:cubicBezTo>
                  <a:pt x="778548" y="2515153"/>
                  <a:pt x="778548" y="2515153"/>
                  <a:pt x="778548" y="2514554"/>
                </a:cubicBezTo>
                <a:lnTo>
                  <a:pt x="761169" y="2519947"/>
                </a:lnTo>
                <a:close/>
                <a:moveTo>
                  <a:pt x="649105" y="2249674"/>
                </a:moveTo>
                <a:cubicBezTo>
                  <a:pt x="648506" y="2250274"/>
                  <a:pt x="647906" y="2250873"/>
                  <a:pt x="647307" y="2251472"/>
                </a:cubicBezTo>
                <a:cubicBezTo>
                  <a:pt x="647906" y="2250873"/>
                  <a:pt x="648506" y="2250274"/>
                  <a:pt x="649105" y="2249674"/>
                </a:cubicBezTo>
                <a:close/>
                <a:moveTo>
                  <a:pt x="601762" y="2265256"/>
                </a:moveTo>
                <a:cubicBezTo>
                  <a:pt x="601762" y="2265855"/>
                  <a:pt x="601762" y="2265855"/>
                  <a:pt x="601762" y="2265256"/>
                </a:cubicBezTo>
                <a:cubicBezTo>
                  <a:pt x="601762" y="2265855"/>
                  <a:pt x="601762" y="2265855"/>
                  <a:pt x="601762" y="2265256"/>
                </a:cubicBezTo>
                <a:lnTo>
                  <a:pt x="601762" y="2265256"/>
                </a:lnTo>
                <a:close/>
                <a:moveTo>
                  <a:pt x="497488" y="2573282"/>
                </a:moveTo>
                <a:lnTo>
                  <a:pt x="497488" y="2573282"/>
                </a:lnTo>
                <a:lnTo>
                  <a:pt x="497488" y="2573282"/>
                </a:lnTo>
                <a:cubicBezTo>
                  <a:pt x="497488" y="2573282"/>
                  <a:pt x="497488" y="2573282"/>
                  <a:pt x="497488" y="2573282"/>
                </a:cubicBezTo>
                <a:lnTo>
                  <a:pt x="497488" y="2573282"/>
                </a:lnTo>
                <a:cubicBezTo>
                  <a:pt x="497488" y="2573282"/>
                  <a:pt x="497488" y="2573282"/>
                  <a:pt x="497488" y="2573282"/>
                </a:cubicBezTo>
                <a:close/>
                <a:moveTo>
                  <a:pt x="598167" y="2277241"/>
                </a:moveTo>
                <a:cubicBezTo>
                  <a:pt x="598167" y="2276642"/>
                  <a:pt x="598766" y="2276043"/>
                  <a:pt x="598766" y="2275443"/>
                </a:cubicBezTo>
                <a:cubicBezTo>
                  <a:pt x="598167" y="2276043"/>
                  <a:pt x="598167" y="2276642"/>
                  <a:pt x="598167" y="2277241"/>
                </a:cubicBezTo>
                <a:close/>
                <a:moveTo>
                  <a:pt x="599964" y="2271248"/>
                </a:moveTo>
                <a:cubicBezTo>
                  <a:pt x="600564" y="2270050"/>
                  <a:pt x="600564" y="2268851"/>
                  <a:pt x="601163" y="2268252"/>
                </a:cubicBezTo>
                <a:cubicBezTo>
                  <a:pt x="600564" y="2268851"/>
                  <a:pt x="600564" y="2270050"/>
                  <a:pt x="599964" y="2271248"/>
                </a:cubicBezTo>
                <a:close/>
                <a:moveTo>
                  <a:pt x="599365" y="2273645"/>
                </a:moveTo>
                <a:cubicBezTo>
                  <a:pt x="599365" y="2273046"/>
                  <a:pt x="599964" y="2272447"/>
                  <a:pt x="599964" y="2272447"/>
                </a:cubicBezTo>
                <a:cubicBezTo>
                  <a:pt x="599365" y="2272447"/>
                  <a:pt x="599365" y="2273046"/>
                  <a:pt x="599365" y="2273645"/>
                </a:cubicBezTo>
                <a:close/>
                <a:moveTo>
                  <a:pt x="595170" y="2284432"/>
                </a:moveTo>
                <a:cubicBezTo>
                  <a:pt x="595170" y="2285032"/>
                  <a:pt x="595170" y="2285032"/>
                  <a:pt x="594571" y="2285631"/>
                </a:cubicBezTo>
                <a:cubicBezTo>
                  <a:pt x="595170" y="2285631"/>
                  <a:pt x="595170" y="2285032"/>
                  <a:pt x="595170" y="2284432"/>
                </a:cubicBezTo>
                <a:close/>
                <a:moveTo>
                  <a:pt x="596968" y="2279638"/>
                </a:moveTo>
                <a:cubicBezTo>
                  <a:pt x="596968" y="2280237"/>
                  <a:pt x="596369" y="2280837"/>
                  <a:pt x="596369" y="2281436"/>
                </a:cubicBezTo>
                <a:cubicBezTo>
                  <a:pt x="596369" y="2280837"/>
                  <a:pt x="596968" y="2280237"/>
                  <a:pt x="596968" y="2279638"/>
                </a:cubicBezTo>
                <a:close/>
                <a:moveTo>
                  <a:pt x="619141" y="2262259"/>
                </a:moveTo>
                <a:cubicBezTo>
                  <a:pt x="618542" y="2262259"/>
                  <a:pt x="618542" y="2262259"/>
                  <a:pt x="617943" y="2262259"/>
                </a:cubicBezTo>
                <a:cubicBezTo>
                  <a:pt x="617943" y="2262859"/>
                  <a:pt x="618542" y="2262859"/>
                  <a:pt x="619141" y="2262259"/>
                </a:cubicBezTo>
                <a:close/>
                <a:moveTo>
                  <a:pt x="622737" y="2261660"/>
                </a:moveTo>
                <a:cubicBezTo>
                  <a:pt x="622137" y="2261660"/>
                  <a:pt x="621538" y="2261660"/>
                  <a:pt x="621538" y="2262259"/>
                </a:cubicBezTo>
                <a:cubicBezTo>
                  <a:pt x="621538" y="2261660"/>
                  <a:pt x="622137" y="2261660"/>
                  <a:pt x="622737" y="2261660"/>
                </a:cubicBezTo>
                <a:close/>
                <a:moveTo>
                  <a:pt x="626332" y="2261061"/>
                </a:moveTo>
                <a:cubicBezTo>
                  <a:pt x="625733" y="2261061"/>
                  <a:pt x="625134" y="2261061"/>
                  <a:pt x="624535" y="2261660"/>
                </a:cubicBezTo>
                <a:cubicBezTo>
                  <a:pt x="625134" y="2261061"/>
                  <a:pt x="625733" y="2261061"/>
                  <a:pt x="626332" y="2261061"/>
                </a:cubicBezTo>
                <a:close/>
                <a:moveTo>
                  <a:pt x="629329" y="2259862"/>
                </a:moveTo>
                <a:cubicBezTo>
                  <a:pt x="628730" y="2259862"/>
                  <a:pt x="628130" y="2260462"/>
                  <a:pt x="627531" y="2260462"/>
                </a:cubicBezTo>
                <a:cubicBezTo>
                  <a:pt x="628730" y="2259862"/>
                  <a:pt x="628730" y="2259862"/>
                  <a:pt x="629329" y="2259862"/>
                </a:cubicBezTo>
                <a:close/>
                <a:moveTo>
                  <a:pt x="632924" y="2258664"/>
                </a:moveTo>
                <a:cubicBezTo>
                  <a:pt x="632325" y="2258664"/>
                  <a:pt x="631726" y="2259263"/>
                  <a:pt x="631127" y="2259263"/>
                </a:cubicBezTo>
                <a:cubicBezTo>
                  <a:pt x="631726" y="2259263"/>
                  <a:pt x="632325" y="2258664"/>
                  <a:pt x="632924" y="2258664"/>
                </a:cubicBezTo>
                <a:close/>
                <a:moveTo>
                  <a:pt x="635921" y="2257465"/>
                </a:moveTo>
                <a:cubicBezTo>
                  <a:pt x="635322" y="2257465"/>
                  <a:pt x="634722" y="2258064"/>
                  <a:pt x="634123" y="2258064"/>
                </a:cubicBezTo>
                <a:cubicBezTo>
                  <a:pt x="635322" y="2258064"/>
                  <a:pt x="635921" y="2257465"/>
                  <a:pt x="635921" y="2257465"/>
                </a:cubicBezTo>
                <a:close/>
                <a:moveTo>
                  <a:pt x="639516" y="2256267"/>
                </a:moveTo>
                <a:cubicBezTo>
                  <a:pt x="638917" y="2256267"/>
                  <a:pt x="638318" y="2256866"/>
                  <a:pt x="637719" y="2256866"/>
                </a:cubicBezTo>
                <a:cubicBezTo>
                  <a:pt x="638318" y="2256866"/>
                  <a:pt x="638917" y="2256267"/>
                  <a:pt x="639516" y="2256267"/>
                </a:cubicBezTo>
                <a:close/>
                <a:moveTo>
                  <a:pt x="641914" y="2255068"/>
                </a:moveTo>
                <a:cubicBezTo>
                  <a:pt x="641314" y="2255068"/>
                  <a:pt x="640715" y="2255667"/>
                  <a:pt x="640116" y="2255667"/>
                </a:cubicBezTo>
                <a:cubicBezTo>
                  <a:pt x="641314" y="2255667"/>
                  <a:pt x="641314" y="2255068"/>
                  <a:pt x="641914" y="2255068"/>
                </a:cubicBezTo>
                <a:close/>
                <a:moveTo>
                  <a:pt x="644311" y="2253270"/>
                </a:moveTo>
                <a:cubicBezTo>
                  <a:pt x="643711" y="2253270"/>
                  <a:pt x="643112" y="2253869"/>
                  <a:pt x="643112" y="2253869"/>
                </a:cubicBezTo>
                <a:cubicBezTo>
                  <a:pt x="643711" y="2253869"/>
                  <a:pt x="644311" y="2253869"/>
                  <a:pt x="644311" y="2253270"/>
                </a:cubicBezTo>
                <a:close/>
                <a:moveTo>
                  <a:pt x="646708" y="2252072"/>
                </a:moveTo>
                <a:cubicBezTo>
                  <a:pt x="646108" y="2252671"/>
                  <a:pt x="646108" y="2252671"/>
                  <a:pt x="645509" y="2253270"/>
                </a:cubicBezTo>
                <a:cubicBezTo>
                  <a:pt x="646108" y="2252671"/>
                  <a:pt x="646708" y="2252072"/>
                  <a:pt x="646708" y="2252072"/>
                </a:cubicBezTo>
                <a:close/>
                <a:moveTo>
                  <a:pt x="828887" y="3438634"/>
                </a:moveTo>
                <a:cubicBezTo>
                  <a:pt x="828887" y="3441631"/>
                  <a:pt x="828887" y="3442230"/>
                  <a:pt x="830086" y="3444027"/>
                </a:cubicBezTo>
                <a:cubicBezTo>
                  <a:pt x="829486" y="3441631"/>
                  <a:pt x="828887" y="3439833"/>
                  <a:pt x="828887" y="3438634"/>
                </a:cubicBezTo>
                <a:close/>
                <a:moveTo>
                  <a:pt x="840872" y="3447623"/>
                </a:moveTo>
                <a:cubicBezTo>
                  <a:pt x="842071" y="3447024"/>
                  <a:pt x="843270" y="3447024"/>
                  <a:pt x="845067" y="3445825"/>
                </a:cubicBezTo>
                <a:cubicBezTo>
                  <a:pt x="845667" y="3445825"/>
                  <a:pt x="845667" y="3445226"/>
                  <a:pt x="846266" y="3445226"/>
                </a:cubicBezTo>
                <a:cubicBezTo>
                  <a:pt x="845067" y="3445825"/>
                  <a:pt x="843869" y="3445825"/>
                  <a:pt x="842670" y="3445825"/>
                </a:cubicBezTo>
                <a:lnTo>
                  <a:pt x="840872" y="3447623"/>
                </a:lnTo>
                <a:close/>
                <a:moveTo>
                  <a:pt x="833681" y="3448822"/>
                </a:moveTo>
                <a:cubicBezTo>
                  <a:pt x="833681" y="3448822"/>
                  <a:pt x="834280" y="3449421"/>
                  <a:pt x="836678" y="3449421"/>
                </a:cubicBezTo>
                <a:lnTo>
                  <a:pt x="833681" y="3448822"/>
                </a:lnTo>
                <a:close/>
                <a:moveTo>
                  <a:pt x="858251" y="3439833"/>
                </a:moveTo>
                <a:cubicBezTo>
                  <a:pt x="858851" y="3439833"/>
                  <a:pt x="860049" y="3439833"/>
                  <a:pt x="861248" y="3440432"/>
                </a:cubicBezTo>
                <a:cubicBezTo>
                  <a:pt x="860049" y="3439833"/>
                  <a:pt x="859450" y="3439833"/>
                  <a:pt x="858251" y="3439833"/>
                </a:cubicBezTo>
                <a:close/>
                <a:moveTo>
                  <a:pt x="872634" y="3433840"/>
                </a:moveTo>
                <a:cubicBezTo>
                  <a:pt x="872634" y="3436237"/>
                  <a:pt x="873233" y="3438634"/>
                  <a:pt x="873233" y="3439833"/>
                </a:cubicBezTo>
                <a:cubicBezTo>
                  <a:pt x="873832" y="3438035"/>
                  <a:pt x="873233" y="3436237"/>
                  <a:pt x="872634" y="3433840"/>
                </a:cubicBezTo>
                <a:close/>
                <a:moveTo>
                  <a:pt x="879825" y="3396085"/>
                </a:moveTo>
                <a:cubicBezTo>
                  <a:pt x="877428" y="3396085"/>
                  <a:pt x="875630" y="3396685"/>
                  <a:pt x="875630" y="3397884"/>
                </a:cubicBezTo>
                <a:cubicBezTo>
                  <a:pt x="875031" y="3400280"/>
                  <a:pt x="875630" y="3405075"/>
                  <a:pt x="877428" y="3409270"/>
                </a:cubicBezTo>
                <a:cubicBezTo>
                  <a:pt x="876829" y="3406873"/>
                  <a:pt x="876829" y="3404475"/>
                  <a:pt x="876230" y="3402678"/>
                </a:cubicBezTo>
                <a:cubicBezTo>
                  <a:pt x="875630" y="3399681"/>
                  <a:pt x="876230" y="3397284"/>
                  <a:pt x="879825" y="3396085"/>
                </a:cubicBezTo>
                <a:close/>
                <a:moveTo>
                  <a:pt x="900201" y="3394887"/>
                </a:moveTo>
                <a:cubicBezTo>
                  <a:pt x="901399" y="3395486"/>
                  <a:pt x="902598" y="3396685"/>
                  <a:pt x="903197" y="3399082"/>
                </a:cubicBezTo>
                <a:cubicBezTo>
                  <a:pt x="903197" y="3398483"/>
                  <a:pt x="903197" y="3397884"/>
                  <a:pt x="903197" y="3397884"/>
                </a:cubicBezTo>
                <a:cubicBezTo>
                  <a:pt x="902598" y="3394887"/>
                  <a:pt x="901998" y="3394288"/>
                  <a:pt x="900201" y="3394887"/>
                </a:cubicBezTo>
                <a:close/>
                <a:moveTo>
                  <a:pt x="903197" y="3403277"/>
                </a:moveTo>
                <a:cubicBezTo>
                  <a:pt x="903197" y="3403277"/>
                  <a:pt x="903197" y="3403876"/>
                  <a:pt x="903197" y="3403876"/>
                </a:cubicBezTo>
                <a:cubicBezTo>
                  <a:pt x="903197" y="3403876"/>
                  <a:pt x="903197" y="3403876"/>
                  <a:pt x="903197" y="3404475"/>
                </a:cubicBezTo>
                <a:cubicBezTo>
                  <a:pt x="903197" y="3403876"/>
                  <a:pt x="903197" y="3403876"/>
                  <a:pt x="903197" y="3403277"/>
                </a:cubicBezTo>
                <a:close/>
                <a:moveTo>
                  <a:pt x="928966" y="3407472"/>
                </a:moveTo>
                <a:cubicBezTo>
                  <a:pt x="930164" y="3407472"/>
                  <a:pt x="931363" y="3407472"/>
                  <a:pt x="932561" y="3407472"/>
                </a:cubicBezTo>
                <a:lnTo>
                  <a:pt x="932561" y="3406273"/>
                </a:lnTo>
                <a:lnTo>
                  <a:pt x="928966" y="3407472"/>
                </a:lnTo>
                <a:close/>
                <a:moveTo>
                  <a:pt x="936157" y="3408071"/>
                </a:moveTo>
                <a:cubicBezTo>
                  <a:pt x="937356" y="3408071"/>
                  <a:pt x="937955" y="3407472"/>
                  <a:pt x="937955" y="3407472"/>
                </a:cubicBezTo>
                <a:lnTo>
                  <a:pt x="936157" y="3408071"/>
                </a:lnTo>
                <a:close/>
                <a:moveTo>
                  <a:pt x="937955" y="3429645"/>
                </a:moveTo>
                <a:cubicBezTo>
                  <a:pt x="936157" y="3422454"/>
                  <a:pt x="939753" y="3418259"/>
                  <a:pt x="939153" y="3410468"/>
                </a:cubicBezTo>
                <a:cubicBezTo>
                  <a:pt x="939153" y="3416461"/>
                  <a:pt x="935558" y="3421255"/>
                  <a:pt x="937955" y="3429645"/>
                </a:cubicBezTo>
                <a:close/>
                <a:moveTo>
                  <a:pt x="967919" y="3533319"/>
                </a:moveTo>
                <a:cubicBezTo>
                  <a:pt x="968518" y="3536316"/>
                  <a:pt x="967919" y="3539312"/>
                  <a:pt x="967919" y="3541709"/>
                </a:cubicBezTo>
                <a:cubicBezTo>
                  <a:pt x="968518" y="3539911"/>
                  <a:pt x="968518" y="3536915"/>
                  <a:pt x="967919" y="3533319"/>
                </a:cubicBezTo>
                <a:close/>
                <a:moveTo>
                  <a:pt x="1331678" y="3563882"/>
                </a:moveTo>
                <a:lnTo>
                  <a:pt x="1326884" y="3562684"/>
                </a:lnTo>
                <a:lnTo>
                  <a:pt x="1326284" y="3562684"/>
                </a:lnTo>
                <a:lnTo>
                  <a:pt x="1331678" y="3563882"/>
                </a:lnTo>
                <a:close/>
                <a:moveTo>
                  <a:pt x="1365836" y="2530135"/>
                </a:moveTo>
                <a:cubicBezTo>
                  <a:pt x="1365836" y="2530135"/>
                  <a:pt x="1365836" y="2530135"/>
                  <a:pt x="1365836" y="2530135"/>
                </a:cubicBezTo>
                <a:cubicBezTo>
                  <a:pt x="1365836" y="2530135"/>
                  <a:pt x="1365836" y="2530734"/>
                  <a:pt x="1368234" y="2530135"/>
                </a:cubicBezTo>
                <a:lnTo>
                  <a:pt x="1365836" y="2530135"/>
                </a:lnTo>
                <a:cubicBezTo>
                  <a:pt x="1365836" y="2530135"/>
                  <a:pt x="1365836" y="2530135"/>
                  <a:pt x="1365836" y="2530135"/>
                </a:cubicBezTo>
                <a:cubicBezTo>
                  <a:pt x="1365836" y="2530135"/>
                  <a:pt x="1365836" y="2530135"/>
                  <a:pt x="1365836" y="2530135"/>
                </a:cubicBezTo>
                <a:close/>
                <a:moveTo>
                  <a:pt x="1364638" y="2534929"/>
                </a:moveTo>
                <a:cubicBezTo>
                  <a:pt x="1364638" y="2534929"/>
                  <a:pt x="1364638" y="2534330"/>
                  <a:pt x="1364638" y="2534330"/>
                </a:cubicBezTo>
                <a:cubicBezTo>
                  <a:pt x="1364638" y="2534330"/>
                  <a:pt x="1364638" y="2534929"/>
                  <a:pt x="1364638" y="2534929"/>
                </a:cubicBezTo>
                <a:close/>
                <a:moveTo>
                  <a:pt x="1366436" y="2519348"/>
                </a:moveTo>
                <a:cubicBezTo>
                  <a:pt x="1366436" y="2518749"/>
                  <a:pt x="1366436" y="2518749"/>
                  <a:pt x="1366436" y="2518149"/>
                </a:cubicBezTo>
                <a:cubicBezTo>
                  <a:pt x="1366436" y="2518749"/>
                  <a:pt x="1366436" y="2519348"/>
                  <a:pt x="1366436" y="2519348"/>
                </a:cubicBezTo>
                <a:close/>
                <a:moveTo>
                  <a:pt x="1365836" y="2522943"/>
                </a:moveTo>
                <a:cubicBezTo>
                  <a:pt x="1365836" y="2522344"/>
                  <a:pt x="1365836" y="2522344"/>
                  <a:pt x="1365836" y="2521745"/>
                </a:cubicBezTo>
                <a:cubicBezTo>
                  <a:pt x="1365836" y="2522344"/>
                  <a:pt x="1365836" y="2522943"/>
                  <a:pt x="1365836" y="2522943"/>
                </a:cubicBezTo>
                <a:close/>
                <a:moveTo>
                  <a:pt x="1365836" y="2527138"/>
                </a:moveTo>
                <a:cubicBezTo>
                  <a:pt x="1365836" y="2526539"/>
                  <a:pt x="1365836" y="2526539"/>
                  <a:pt x="1365836" y="2525940"/>
                </a:cubicBezTo>
                <a:cubicBezTo>
                  <a:pt x="1365836" y="2525940"/>
                  <a:pt x="1365836" y="2526539"/>
                  <a:pt x="1365836" y="2527138"/>
                </a:cubicBezTo>
                <a:close/>
                <a:moveTo>
                  <a:pt x="1179462" y="2201733"/>
                </a:moveTo>
                <a:cubicBezTo>
                  <a:pt x="1178863" y="2201733"/>
                  <a:pt x="1178863" y="2201733"/>
                  <a:pt x="1178264" y="2201733"/>
                </a:cubicBezTo>
                <a:cubicBezTo>
                  <a:pt x="1178863" y="2201733"/>
                  <a:pt x="1178863" y="2201733"/>
                  <a:pt x="1179462" y="2201733"/>
                </a:cubicBezTo>
                <a:close/>
                <a:moveTo>
                  <a:pt x="1182459" y="2201733"/>
                </a:moveTo>
                <a:cubicBezTo>
                  <a:pt x="1181859" y="2201733"/>
                  <a:pt x="1181859" y="2201733"/>
                  <a:pt x="1181260" y="2201733"/>
                </a:cubicBezTo>
                <a:cubicBezTo>
                  <a:pt x="1181859" y="2201733"/>
                  <a:pt x="1182459" y="2201733"/>
                  <a:pt x="1182459" y="2201733"/>
                </a:cubicBezTo>
                <a:close/>
                <a:moveTo>
                  <a:pt x="1186054" y="2202332"/>
                </a:moveTo>
                <a:cubicBezTo>
                  <a:pt x="1185455" y="2202332"/>
                  <a:pt x="1185455" y="2202332"/>
                  <a:pt x="1184856" y="2202332"/>
                </a:cubicBezTo>
                <a:cubicBezTo>
                  <a:pt x="1184856" y="2202332"/>
                  <a:pt x="1185455" y="2202332"/>
                  <a:pt x="1186054" y="2202332"/>
                </a:cubicBezTo>
                <a:close/>
                <a:moveTo>
                  <a:pt x="1189051" y="2202332"/>
                </a:moveTo>
                <a:cubicBezTo>
                  <a:pt x="1188451" y="2202332"/>
                  <a:pt x="1188451" y="2202332"/>
                  <a:pt x="1187852" y="2202332"/>
                </a:cubicBezTo>
                <a:cubicBezTo>
                  <a:pt x="1187852" y="2202332"/>
                  <a:pt x="1188451" y="2202332"/>
                  <a:pt x="1189051" y="2202332"/>
                </a:cubicBezTo>
                <a:close/>
                <a:moveTo>
                  <a:pt x="1191448" y="2202332"/>
                </a:moveTo>
                <a:cubicBezTo>
                  <a:pt x="1191448" y="2202332"/>
                  <a:pt x="1190848" y="2202332"/>
                  <a:pt x="1190848" y="2202332"/>
                </a:cubicBezTo>
                <a:cubicBezTo>
                  <a:pt x="1190848" y="2202332"/>
                  <a:pt x="1191448" y="2202332"/>
                  <a:pt x="1191448" y="2202332"/>
                </a:cubicBezTo>
                <a:close/>
                <a:moveTo>
                  <a:pt x="1175867" y="2201733"/>
                </a:moveTo>
                <a:cubicBezTo>
                  <a:pt x="1175267" y="2201733"/>
                  <a:pt x="1175267" y="2201733"/>
                  <a:pt x="1174668" y="2201733"/>
                </a:cubicBezTo>
                <a:cubicBezTo>
                  <a:pt x="1175267" y="2201733"/>
                  <a:pt x="1175267" y="2201733"/>
                  <a:pt x="1175867" y="2201733"/>
                </a:cubicBezTo>
                <a:close/>
                <a:moveTo>
                  <a:pt x="1169275" y="2201133"/>
                </a:moveTo>
                <a:cubicBezTo>
                  <a:pt x="1168675" y="2201133"/>
                  <a:pt x="1168076" y="2201133"/>
                  <a:pt x="1167477" y="2201133"/>
                </a:cubicBezTo>
                <a:cubicBezTo>
                  <a:pt x="1168076" y="2201133"/>
                  <a:pt x="1168675" y="2201133"/>
                  <a:pt x="1169275" y="2201133"/>
                </a:cubicBezTo>
                <a:close/>
                <a:moveTo>
                  <a:pt x="1172271" y="2201133"/>
                </a:moveTo>
                <a:cubicBezTo>
                  <a:pt x="1171672" y="2201133"/>
                  <a:pt x="1171672" y="2201133"/>
                  <a:pt x="1171072" y="2201133"/>
                </a:cubicBezTo>
                <a:cubicBezTo>
                  <a:pt x="1171672" y="2201133"/>
                  <a:pt x="1171672" y="2201133"/>
                  <a:pt x="1172271" y="2201133"/>
                </a:cubicBezTo>
                <a:close/>
                <a:moveTo>
                  <a:pt x="1162683" y="2201133"/>
                </a:moveTo>
                <a:cubicBezTo>
                  <a:pt x="1162083" y="2201133"/>
                  <a:pt x="1161484" y="2201133"/>
                  <a:pt x="1160285" y="2201133"/>
                </a:cubicBezTo>
                <a:cubicBezTo>
                  <a:pt x="1161484" y="2200534"/>
                  <a:pt x="1162083" y="2201133"/>
                  <a:pt x="1162683" y="2201133"/>
                </a:cubicBezTo>
                <a:close/>
                <a:moveTo>
                  <a:pt x="1165080" y="2201133"/>
                </a:moveTo>
                <a:cubicBezTo>
                  <a:pt x="1165080" y="2201133"/>
                  <a:pt x="1164480" y="2201133"/>
                  <a:pt x="1164480" y="2201133"/>
                </a:cubicBezTo>
                <a:cubicBezTo>
                  <a:pt x="1165080" y="2201133"/>
                  <a:pt x="1165080" y="2201133"/>
                  <a:pt x="1165080" y="2201133"/>
                </a:cubicBezTo>
                <a:close/>
                <a:moveTo>
                  <a:pt x="1157888" y="2200534"/>
                </a:moveTo>
                <a:cubicBezTo>
                  <a:pt x="1156690" y="2200534"/>
                  <a:pt x="1155491" y="2200534"/>
                  <a:pt x="1154293" y="2200534"/>
                </a:cubicBezTo>
                <a:cubicBezTo>
                  <a:pt x="1155491" y="2200534"/>
                  <a:pt x="1156690" y="2200534"/>
                  <a:pt x="1157888" y="2200534"/>
                </a:cubicBezTo>
                <a:close/>
                <a:moveTo>
                  <a:pt x="1154293" y="2200534"/>
                </a:moveTo>
                <a:cubicBezTo>
                  <a:pt x="1153694" y="2200534"/>
                  <a:pt x="1153694" y="2200534"/>
                  <a:pt x="1153094" y="2200534"/>
                </a:cubicBezTo>
                <a:cubicBezTo>
                  <a:pt x="1153094" y="2200534"/>
                  <a:pt x="1153694" y="2200534"/>
                  <a:pt x="1154293" y="2200534"/>
                </a:cubicBezTo>
                <a:close/>
                <a:moveTo>
                  <a:pt x="755176" y="2519348"/>
                </a:moveTo>
                <a:cubicBezTo>
                  <a:pt x="752779" y="2519947"/>
                  <a:pt x="749783" y="2522344"/>
                  <a:pt x="745588" y="2527138"/>
                </a:cubicBezTo>
                <a:cubicBezTo>
                  <a:pt x="744989" y="2528337"/>
                  <a:pt x="744389" y="2529535"/>
                  <a:pt x="743790" y="2530734"/>
                </a:cubicBezTo>
                <a:cubicBezTo>
                  <a:pt x="744989" y="2529535"/>
                  <a:pt x="746187" y="2527738"/>
                  <a:pt x="747985" y="2525940"/>
                </a:cubicBezTo>
                <a:cubicBezTo>
                  <a:pt x="750981" y="2522344"/>
                  <a:pt x="753378" y="2519947"/>
                  <a:pt x="755176" y="2519348"/>
                </a:cubicBezTo>
                <a:close/>
                <a:moveTo>
                  <a:pt x="398009" y="1920074"/>
                </a:moveTo>
                <a:lnTo>
                  <a:pt x="417785" y="1874529"/>
                </a:lnTo>
                <a:lnTo>
                  <a:pt x="443554" y="1930261"/>
                </a:lnTo>
                <a:lnTo>
                  <a:pt x="417785" y="1873930"/>
                </a:lnTo>
                <a:lnTo>
                  <a:pt x="398009" y="1920074"/>
                </a:lnTo>
                <a:close/>
                <a:moveTo>
                  <a:pt x="147513" y="2539723"/>
                </a:moveTo>
                <a:cubicBezTo>
                  <a:pt x="148711" y="2540322"/>
                  <a:pt x="148711" y="2542720"/>
                  <a:pt x="151108" y="2540322"/>
                </a:cubicBezTo>
                <a:cubicBezTo>
                  <a:pt x="151108" y="2540322"/>
                  <a:pt x="151707" y="2539723"/>
                  <a:pt x="152307" y="2539723"/>
                </a:cubicBezTo>
                <a:cubicBezTo>
                  <a:pt x="152307" y="2539723"/>
                  <a:pt x="151707" y="2539723"/>
                  <a:pt x="151707" y="2539723"/>
                </a:cubicBezTo>
                <a:lnTo>
                  <a:pt x="147513" y="2539723"/>
                </a:lnTo>
                <a:close/>
                <a:moveTo>
                  <a:pt x="160097" y="2539723"/>
                </a:moveTo>
                <a:cubicBezTo>
                  <a:pt x="163094" y="2540322"/>
                  <a:pt x="166090" y="2541521"/>
                  <a:pt x="167289" y="2542120"/>
                </a:cubicBezTo>
                <a:cubicBezTo>
                  <a:pt x="164891" y="2540922"/>
                  <a:pt x="162494" y="2540322"/>
                  <a:pt x="160097" y="2539723"/>
                </a:cubicBezTo>
                <a:close/>
                <a:moveTo>
                  <a:pt x="143917" y="2537925"/>
                </a:moveTo>
                <a:cubicBezTo>
                  <a:pt x="142718" y="2536128"/>
                  <a:pt x="141520" y="2535528"/>
                  <a:pt x="137924" y="2541521"/>
                </a:cubicBezTo>
                <a:cubicBezTo>
                  <a:pt x="140921" y="2537326"/>
                  <a:pt x="142119" y="2537326"/>
                  <a:pt x="143917" y="2537925"/>
                </a:cubicBezTo>
                <a:close/>
                <a:moveTo>
                  <a:pt x="396810" y="2603246"/>
                </a:moveTo>
                <a:cubicBezTo>
                  <a:pt x="398009" y="2602048"/>
                  <a:pt x="399208" y="2601448"/>
                  <a:pt x="400406" y="2600849"/>
                </a:cubicBezTo>
                <a:cubicBezTo>
                  <a:pt x="399208" y="2600849"/>
                  <a:pt x="398009" y="2601448"/>
                  <a:pt x="396810" y="2603246"/>
                </a:cubicBezTo>
                <a:close/>
                <a:moveTo>
                  <a:pt x="469323" y="2569088"/>
                </a:moveTo>
                <a:cubicBezTo>
                  <a:pt x="469922" y="2569088"/>
                  <a:pt x="470521" y="2569088"/>
                  <a:pt x="470521" y="2569088"/>
                </a:cubicBezTo>
                <a:cubicBezTo>
                  <a:pt x="470521" y="2566691"/>
                  <a:pt x="468723" y="2565492"/>
                  <a:pt x="467525" y="2562496"/>
                </a:cubicBezTo>
                <a:cubicBezTo>
                  <a:pt x="468124" y="2565492"/>
                  <a:pt x="468723" y="2566691"/>
                  <a:pt x="469323" y="2569088"/>
                </a:cubicBezTo>
                <a:close/>
                <a:moveTo>
                  <a:pt x="593372" y="2291025"/>
                </a:moveTo>
                <a:cubicBezTo>
                  <a:pt x="593372" y="2290425"/>
                  <a:pt x="593972" y="2289826"/>
                  <a:pt x="593972" y="2289227"/>
                </a:cubicBezTo>
                <a:cubicBezTo>
                  <a:pt x="593972" y="2289826"/>
                  <a:pt x="593372" y="2290425"/>
                  <a:pt x="593372" y="2291025"/>
                </a:cubicBezTo>
                <a:close/>
                <a:moveTo>
                  <a:pt x="591575" y="2295819"/>
                </a:moveTo>
                <a:cubicBezTo>
                  <a:pt x="591575" y="2295219"/>
                  <a:pt x="592174" y="2294620"/>
                  <a:pt x="592174" y="2294021"/>
                </a:cubicBezTo>
                <a:cubicBezTo>
                  <a:pt x="592174" y="2294620"/>
                  <a:pt x="592174" y="2295219"/>
                  <a:pt x="591575" y="2295819"/>
                </a:cubicBezTo>
                <a:close/>
                <a:moveTo>
                  <a:pt x="590376" y="2300613"/>
                </a:moveTo>
                <a:cubicBezTo>
                  <a:pt x="590376" y="2300014"/>
                  <a:pt x="590975" y="2299414"/>
                  <a:pt x="590975" y="2298815"/>
                </a:cubicBezTo>
                <a:cubicBezTo>
                  <a:pt x="590376" y="2299414"/>
                  <a:pt x="590376" y="2300014"/>
                  <a:pt x="590376" y="2300613"/>
                </a:cubicBezTo>
                <a:close/>
                <a:moveTo>
                  <a:pt x="588578" y="2304808"/>
                </a:moveTo>
                <a:cubicBezTo>
                  <a:pt x="588578" y="2304208"/>
                  <a:pt x="589177" y="2303609"/>
                  <a:pt x="589177" y="2303010"/>
                </a:cubicBezTo>
                <a:cubicBezTo>
                  <a:pt x="589177" y="2304208"/>
                  <a:pt x="588578" y="2304208"/>
                  <a:pt x="588578" y="2304808"/>
                </a:cubicBezTo>
                <a:close/>
                <a:moveTo>
                  <a:pt x="587380" y="2309602"/>
                </a:moveTo>
                <a:cubicBezTo>
                  <a:pt x="587380" y="2309003"/>
                  <a:pt x="587979" y="2308403"/>
                  <a:pt x="587979" y="2307804"/>
                </a:cubicBezTo>
                <a:cubicBezTo>
                  <a:pt x="587380" y="2308403"/>
                  <a:pt x="587380" y="2309003"/>
                  <a:pt x="587380" y="2309602"/>
                </a:cubicBezTo>
                <a:close/>
                <a:moveTo>
                  <a:pt x="586181" y="2313198"/>
                </a:moveTo>
                <a:cubicBezTo>
                  <a:pt x="586181" y="2312598"/>
                  <a:pt x="586181" y="2311999"/>
                  <a:pt x="586780" y="2311999"/>
                </a:cubicBezTo>
                <a:cubicBezTo>
                  <a:pt x="586181" y="2312598"/>
                  <a:pt x="586181" y="2313198"/>
                  <a:pt x="586181" y="2313198"/>
                </a:cubicBezTo>
                <a:close/>
                <a:moveTo>
                  <a:pt x="584982" y="2316793"/>
                </a:moveTo>
                <a:cubicBezTo>
                  <a:pt x="584982" y="2316194"/>
                  <a:pt x="584982" y="2316194"/>
                  <a:pt x="585582" y="2315595"/>
                </a:cubicBezTo>
                <a:cubicBezTo>
                  <a:pt x="584982" y="2316194"/>
                  <a:pt x="584982" y="2316793"/>
                  <a:pt x="584982" y="2316793"/>
                </a:cubicBezTo>
                <a:close/>
                <a:moveTo>
                  <a:pt x="584383" y="2319790"/>
                </a:moveTo>
                <a:cubicBezTo>
                  <a:pt x="584383" y="2319790"/>
                  <a:pt x="584383" y="2319190"/>
                  <a:pt x="584383" y="2319190"/>
                </a:cubicBezTo>
                <a:cubicBezTo>
                  <a:pt x="584383" y="2319190"/>
                  <a:pt x="584383" y="2319790"/>
                  <a:pt x="584383" y="2319790"/>
                </a:cubicBezTo>
                <a:close/>
                <a:moveTo>
                  <a:pt x="797126" y="3366122"/>
                </a:moveTo>
                <a:cubicBezTo>
                  <a:pt x="797126" y="3364924"/>
                  <a:pt x="797126" y="3363725"/>
                  <a:pt x="796526" y="3362526"/>
                </a:cubicBezTo>
                <a:cubicBezTo>
                  <a:pt x="797126" y="3363125"/>
                  <a:pt x="797126" y="3364324"/>
                  <a:pt x="797126" y="3366122"/>
                </a:cubicBezTo>
                <a:cubicBezTo>
                  <a:pt x="797126" y="3370317"/>
                  <a:pt x="797126" y="3372714"/>
                  <a:pt x="798324" y="3375111"/>
                </a:cubicBezTo>
                <a:cubicBezTo>
                  <a:pt x="797725" y="3372115"/>
                  <a:pt x="797126" y="3369118"/>
                  <a:pt x="797126" y="3366122"/>
                </a:cubicBezTo>
                <a:close/>
                <a:moveTo>
                  <a:pt x="795927" y="3360129"/>
                </a:moveTo>
                <a:cubicBezTo>
                  <a:pt x="795927" y="3360729"/>
                  <a:pt x="796526" y="3361328"/>
                  <a:pt x="796526" y="3361927"/>
                </a:cubicBezTo>
                <a:cubicBezTo>
                  <a:pt x="796526" y="3361328"/>
                  <a:pt x="796526" y="3360729"/>
                  <a:pt x="795927" y="3360129"/>
                </a:cubicBezTo>
                <a:close/>
                <a:moveTo>
                  <a:pt x="1322689" y="4000154"/>
                </a:moveTo>
                <a:cubicBezTo>
                  <a:pt x="1322689" y="4000154"/>
                  <a:pt x="1324487" y="4001952"/>
                  <a:pt x="1328082" y="4005547"/>
                </a:cubicBezTo>
                <a:cubicBezTo>
                  <a:pt x="1328082" y="4004349"/>
                  <a:pt x="1328082" y="4002551"/>
                  <a:pt x="1328082" y="4000753"/>
                </a:cubicBezTo>
                <a:cubicBezTo>
                  <a:pt x="1328082" y="4000753"/>
                  <a:pt x="1328082" y="4001352"/>
                  <a:pt x="1328082" y="4001352"/>
                </a:cubicBezTo>
                <a:lnTo>
                  <a:pt x="1326884" y="4002551"/>
                </a:lnTo>
                <a:cubicBezTo>
                  <a:pt x="1325685" y="4001952"/>
                  <a:pt x="1324487" y="4000753"/>
                  <a:pt x="1322689" y="4000154"/>
                </a:cubicBezTo>
                <a:close/>
                <a:moveTo>
                  <a:pt x="1338270" y="3225892"/>
                </a:moveTo>
                <a:cubicBezTo>
                  <a:pt x="1338270" y="3231285"/>
                  <a:pt x="1339468" y="3234881"/>
                  <a:pt x="1340068" y="3237278"/>
                </a:cubicBezTo>
                <a:cubicBezTo>
                  <a:pt x="1339468" y="3234881"/>
                  <a:pt x="1338869" y="3231885"/>
                  <a:pt x="1338869" y="3228888"/>
                </a:cubicBezTo>
                <a:cubicBezTo>
                  <a:pt x="1338869" y="3226491"/>
                  <a:pt x="1338270" y="3224693"/>
                  <a:pt x="1337671" y="3222896"/>
                </a:cubicBezTo>
                <a:cubicBezTo>
                  <a:pt x="1337671" y="3223495"/>
                  <a:pt x="1338270" y="3224693"/>
                  <a:pt x="1338270" y="3225892"/>
                </a:cubicBezTo>
                <a:close/>
                <a:moveTo>
                  <a:pt x="1421569" y="2186751"/>
                </a:moveTo>
                <a:cubicBezTo>
                  <a:pt x="1421569" y="2187350"/>
                  <a:pt x="1420970" y="2187949"/>
                  <a:pt x="1420970" y="2189148"/>
                </a:cubicBezTo>
                <a:cubicBezTo>
                  <a:pt x="1420970" y="2187949"/>
                  <a:pt x="1420970" y="2187350"/>
                  <a:pt x="1421569" y="2186751"/>
                </a:cubicBezTo>
                <a:close/>
                <a:moveTo>
                  <a:pt x="1423966" y="2184354"/>
                </a:moveTo>
                <a:cubicBezTo>
                  <a:pt x="1424565" y="2184354"/>
                  <a:pt x="1424565" y="2184354"/>
                  <a:pt x="1425165" y="2184953"/>
                </a:cubicBezTo>
                <a:cubicBezTo>
                  <a:pt x="1425165" y="2184354"/>
                  <a:pt x="1424565" y="2184354"/>
                  <a:pt x="1423966" y="2184354"/>
                </a:cubicBezTo>
                <a:close/>
                <a:moveTo>
                  <a:pt x="1422767" y="2184953"/>
                </a:moveTo>
                <a:cubicBezTo>
                  <a:pt x="1423367" y="2184354"/>
                  <a:pt x="1423367" y="2184354"/>
                  <a:pt x="1423966" y="2184354"/>
                </a:cubicBezTo>
                <a:cubicBezTo>
                  <a:pt x="1423367" y="2184354"/>
                  <a:pt x="1422767" y="2184354"/>
                  <a:pt x="1422767" y="2184953"/>
                </a:cubicBezTo>
                <a:close/>
                <a:moveTo>
                  <a:pt x="1421569" y="2186751"/>
                </a:moveTo>
                <a:cubicBezTo>
                  <a:pt x="1421569" y="2186152"/>
                  <a:pt x="1422168" y="2185552"/>
                  <a:pt x="1422767" y="2185552"/>
                </a:cubicBezTo>
                <a:cubicBezTo>
                  <a:pt x="1422168" y="2185552"/>
                  <a:pt x="1421569" y="2186152"/>
                  <a:pt x="1421569" y="2186751"/>
                </a:cubicBezTo>
                <a:close/>
                <a:moveTo>
                  <a:pt x="1166878" y="2152592"/>
                </a:moveTo>
                <a:cubicBezTo>
                  <a:pt x="1167477" y="2151394"/>
                  <a:pt x="1168076" y="2150195"/>
                  <a:pt x="1168076" y="2148997"/>
                </a:cubicBezTo>
                <a:cubicBezTo>
                  <a:pt x="1167477" y="2150195"/>
                  <a:pt x="1167477" y="2151394"/>
                  <a:pt x="1166878" y="2152592"/>
                </a:cubicBezTo>
                <a:close/>
                <a:moveTo>
                  <a:pt x="1163282" y="2162780"/>
                </a:moveTo>
                <a:cubicBezTo>
                  <a:pt x="1163282" y="2162181"/>
                  <a:pt x="1163881" y="2161581"/>
                  <a:pt x="1163881" y="2160383"/>
                </a:cubicBezTo>
                <a:cubicBezTo>
                  <a:pt x="1163282" y="2161581"/>
                  <a:pt x="1163282" y="2162181"/>
                  <a:pt x="1163282" y="2162780"/>
                </a:cubicBezTo>
                <a:close/>
                <a:moveTo>
                  <a:pt x="1165080" y="2157386"/>
                </a:moveTo>
                <a:cubicBezTo>
                  <a:pt x="1165080" y="2156787"/>
                  <a:pt x="1165679" y="2156188"/>
                  <a:pt x="1165679" y="2154989"/>
                </a:cubicBezTo>
                <a:cubicBezTo>
                  <a:pt x="1165679" y="2156188"/>
                  <a:pt x="1165080" y="2156787"/>
                  <a:pt x="1165080" y="2157386"/>
                </a:cubicBezTo>
                <a:close/>
                <a:moveTo>
                  <a:pt x="1160885" y="2169372"/>
                </a:moveTo>
                <a:cubicBezTo>
                  <a:pt x="1160885" y="2168772"/>
                  <a:pt x="1161484" y="2168173"/>
                  <a:pt x="1161484" y="2167574"/>
                </a:cubicBezTo>
                <a:cubicBezTo>
                  <a:pt x="1161484" y="2168173"/>
                  <a:pt x="1160885" y="2168772"/>
                  <a:pt x="1160885" y="2169372"/>
                </a:cubicBezTo>
                <a:close/>
                <a:moveTo>
                  <a:pt x="1158488" y="2176563"/>
                </a:moveTo>
                <a:cubicBezTo>
                  <a:pt x="1158488" y="2175964"/>
                  <a:pt x="1159087" y="2175365"/>
                  <a:pt x="1159087" y="2174765"/>
                </a:cubicBezTo>
                <a:cubicBezTo>
                  <a:pt x="1159087" y="2175365"/>
                  <a:pt x="1158488" y="2175964"/>
                  <a:pt x="1158488" y="2176563"/>
                </a:cubicBezTo>
                <a:close/>
                <a:moveTo>
                  <a:pt x="1156091" y="2183754"/>
                </a:moveTo>
                <a:cubicBezTo>
                  <a:pt x="1156091" y="2183155"/>
                  <a:pt x="1156690" y="2181957"/>
                  <a:pt x="1156690" y="2181357"/>
                </a:cubicBezTo>
                <a:cubicBezTo>
                  <a:pt x="1156690" y="2181957"/>
                  <a:pt x="1156091" y="2183155"/>
                  <a:pt x="1156091" y="2183754"/>
                </a:cubicBezTo>
                <a:close/>
                <a:moveTo>
                  <a:pt x="1153694" y="2191545"/>
                </a:moveTo>
                <a:cubicBezTo>
                  <a:pt x="1154293" y="2190346"/>
                  <a:pt x="1154293" y="2189148"/>
                  <a:pt x="1154892" y="2187949"/>
                </a:cubicBezTo>
                <a:cubicBezTo>
                  <a:pt x="1154293" y="2189747"/>
                  <a:pt x="1153694" y="2190346"/>
                  <a:pt x="1153694" y="2191545"/>
                </a:cubicBezTo>
                <a:close/>
                <a:moveTo>
                  <a:pt x="1150697" y="2200534"/>
                </a:moveTo>
                <a:cubicBezTo>
                  <a:pt x="1151296" y="2198736"/>
                  <a:pt x="1151896" y="2197538"/>
                  <a:pt x="1151896" y="2195740"/>
                </a:cubicBezTo>
                <a:cubicBezTo>
                  <a:pt x="1151296" y="2196938"/>
                  <a:pt x="1151296" y="2198137"/>
                  <a:pt x="1150697" y="2199935"/>
                </a:cubicBezTo>
                <a:cubicBezTo>
                  <a:pt x="1150697" y="2199935"/>
                  <a:pt x="1150697" y="2199935"/>
                  <a:pt x="1150697" y="2200534"/>
                </a:cubicBezTo>
                <a:close/>
                <a:moveTo>
                  <a:pt x="1138712" y="2242483"/>
                </a:moveTo>
                <a:cubicBezTo>
                  <a:pt x="1141708" y="2233494"/>
                  <a:pt x="1145903" y="2219112"/>
                  <a:pt x="1150697" y="2204130"/>
                </a:cubicBezTo>
                <a:cubicBezTo>
                  <a:pt x="1145903" y="2219112"/>
                  <a:pt x="1141109" y="2233494"/>
                  <a:pt x="1138712" y="2242483"/>
                </a:cubicBezTo>
                <a:close/>
                <a:moveTo>
                  <a:pt x="1097961" y="2297616"/>
                </a:moveTo>
                <a:lnTo>
                  <a:pt x="1099759" y="2294021"/>
                </a:lnTo>
                <a:lnTo>
                  <a:pt x="1103954" y="2274844"/>
                </a:lnTo>
                <a:lnTo>
                  <a:pt x="1097961" y="2297616"/>
                </a:lnTo>
                <a:close/>
                <a:moveTo>
                  <a:pt x="982301" y="1572495"/>
                </a:moveTo>
                <a:cubicBezTo>
                  <a:pt x="982301" y="1571896"/>
                  <a:pt x="982900" y="1571296"/>
                  <a:pt x="982900" y="1570697"/>
                </a:cubicBezTo>
                <a:cubicBezTo>
                  <a:pt x="982900" y="1571296"/>
                  <a:pt x="982301" y="1571896"/>
                  <a:pt x="982301" y="1572495"/>
                </a:cubicBezTo>
                <a:close/>
                <a:moveTo>
                  <a:pt x="409395" y="1861345"/>
                </a:moveTo>
                <a:lnTo>
                  <a:pt x="421381" y="1863143"/>
                </a:lnTo>
                <a:lnTo>
                  <a:pt x="421381" y="1863143"/>
                </a:lnTo>
                <a:lnTo>
                  <a:pt x="416587" y="1861944"/>
                </a:lnTo>
                <a:lnTo>
                  <a:pt x="409395" y="1861345"/>
                </a:lnTo>
                <a:close/>
                <a:moveTo>
                  <a:pt x="226017" y="2635607"/>
                </a:moveTo>
                <a:lnTo>
                  <a:pt x="226017" y="2634408"/>
                </a:lnTo>
                <a:lnTo>
                  <a:pt x="221223" y="2635008"/>
                </a:lnTo>
                <a:cubicBezTo>
                  <a:pt x="221223" y="2635008"/>
                  <a:pt x="219425" y="2635607"/>
                  <a:pt x="217028" y="2634408"/>
                </a:cubicBezTo>
                <a:cubicBezTo>
                  <a:pt x="217628" y="2635008"/>
                  <a:pt x="218826" y="2635008"/>
                  <a:pt x="219425" y="2635008"/>
                </a:cubicBezTo>
                <a:cubicBezTo>
                  <a:pt x="221822" y="2635607"/>
                  <a:pt x="223620" y="2635607"/>
                  <a:pt x="226017" y="2635607"/>
                </a:cubicBezTo>
                <a:close/>
                <a:moveTo>
                  <a:pt x="446550" y="2788422"/>
                </a:moveTo>
                <a:cubicBezTo>
                  <a:pt x="446550" y="2789021"/>
                  <a:pt x="446550" y="2789620"/>
                  <a:pt x="446550" y="2790220"/>
                </a:cubicBezTo>
                <a:cubicBezTo>
                  <a:pt x="446550" y="2789021"/>
                  <a:pt x="446550" y="2788422"/>
                  <a:pt x="446550" y="2788422"/>
                </a:cubicBezTo>
                <a:close/>
                <a:moveTo>
                  <a:pt x="445352" y="2808797"/>
                </a:moveTo>
                <a:cubicBezTo>
                  <a:pt x="444752" y="2812393"/>
                  <a:pt x="444752" y="2815988"/>
                  <a:pt x="444153" y="2818386"/>
                </a:cubicBezTo>
                <a:cubicBezTo>
                  <a:pt x="444752" y="2815988"/>
                  <a:pt x="444752" y="2812393"/>
                  <a:pt x="445352" y="2808797"/>
                </a:cubicBezTo>
                <a:close/>
                <a:moveTo>
                  <a:pt x="445352" y="2805801"/>
                </a:moveTo>
                <a:cubicBezTo>
                  <a:pt x="445352" y="2806400"/>
                  <a:pt x="445352" y="2807599"/>
                  <a:pt x="445352" y="2808198"/>
                </a:cubicBezTo>
                <a:cubicBezTo>
                  <a:pt x="445352" y="2807599"/>
                  <a:pt x="445352" y="2806999"/>
                  <a:pt x="445352" y="2805801"/>
                </a:cubicBezTo>
                <a:close/>
                <a:moveTo>
                  <a:pt x="445951" y="2803404"/>
                </a:moveTo>
                <a:cubicBezTo>
                  <a:pt x="445951" y="2804003"/>
                  <a:pt x="445951" y="2804602"/>
                  <a:pt x="445951" y="2805801"/>
                </a:cubicBezTo>
                <a:cubicBezTo>
                  <a:pt x="445951" y="2804602"/>
                  <a:pt x="445951" y="2804003"/>
                  <a:pt x="445951" y="2803404"/>
                </a:cubicBezTo>
                <a:close/>
                <a:moveTo>
                  <a:pt x="445951" y="2800407"/>
                </a:moveTo>
                <a:cubicBezTo>
                  <a:pt x="445951" y="2801007"/>
                  <a:pt x="445951" y="2801606"/>
                  <a:pt x="445951" y="2802205"/>
                </a:cubicBezTo>
                <a:cubicBezTo>
                  <a:pt x="445951" y="2801606"/>
                  <a:pt x="445951" y="2801007"/>
                  <a:pt x="445951" y="2800407"/>
                </a:cubicBezTo>
                <a:close/>
                <a:moveTo>
                  <a:pt x="445951" y="2798010"/>
                </a:moveTo>
                <a:cubicBezTo>
                  <a:pt x="445951" y="2798609"/>
                  <a:pt x="445951" y="2799209"/>
                  <a:pt x="445951" y="2799808"/>
                </a:cubicBezTo>
                <a:cubicBezTo>
                  <a:pt x="445951" y="2798609"/>
                  <a:pt x="445951" y="2798609"/>
                  <a:pt x="445951" y="2798010"/>
                </a:cubicBezTo>
                <a:close/>
                <a:moveTo>
                  <a:pt x="446550" y="2795014"/>
                </a:moveTo>
                <a:cubicBezTo>
                  <a:pt x="446550" y="2795613"/>
                  <a:pt x="446550" y="2796212"/>
                  <a:pt x="446550" y="2796812"/>
                </a:cubicBezTo>
                <a:cubicBezTo>
                  <a:pt x="446550" y="2796212"/>
                  <a:pt x="446550" y="2795613"/>
                  <a:pt x="446550" y="2795014"/>
                </a:cubicBezTo>
                <a:close/>
                <a:moveTo>
                  <a:pt x="446550" y="2794415"/>
                </a:moveTo>
                <a:cubicBezTo>
                  <a:pt x="446550" y="2793815"/>
                  <a:pt x="446550" y="2793216"/>
                  <a:pt x="446550" y="2792617"/>
                </a:cubicBezTo>
                <a:cubicBezTo>
                  <a:pt x="446550" y="2793216"/>
                  <a:pt x="446550" y="2793815"/>
                  <a:pt x="446550" y="2794415"/>
                </a:cubicBezTo>
                <a:close/>
                <a:moveTo>
                  <a:pt x="446550" y="2790819"/>
                </a:moveTo>
                <a:cubicBezTo>
                  <a:pt x="446550" y="2791418"/>
                  <a:pt x="446550" y="2791418"/>
                  <a:pt x="446550" y="2792017"/>
                </a:cubicBezTo>
                <a:cubicBezTo>
                  <a:pt x="446550" y="2791418"/>
                  <a:pt x="446550" y="2790819"/>
                  <a:pt x="446550" y="2790819"/>
                </a:cubicBezTo>
                <a:close/>
                <a:moveTo>
                  <a:pt x="607755" y="3004161"/>
                </a:moveTo>
                <a:cubicBezTo>
                  <a:pt x="609553" y="3005359"/>
                  <a:pt x="612549" y="3007157"/>
                  <a:pt x="615545" y="3007756"/>
                </a:cubicBezTo>
                <a:lnTo>
                  <a:pt x="612549" y="3005958"/>
                </a:lnTo>
                <a:cubicBezTo>
                  <a:pt x="610152" y="3004760"/>
                  <a:pt x="608953" y="3004161"/>
                  <a:pt x="607755" y="3004161"/>
                </a:cubicBezTo>
                <a:close/>
                <a:moveTo>
                  <a:pt x="791732" y="3357133"/>
                </a:moveTo>
                <a:lnTo>
                  <a:pt x="740794" y="3357133"/>
                </a:lnTo>
                <a:lnTo>
                  <a:pt x="729408" y="3357732"/>
                </a:lnTo>
                <a:lnTo>
                  <a:pt x="791732" y="3357133"/>
                </a:lnTo>
                <a:close/>
                <a:moveTo>
                  <a:pt x="1417973" y="3544706"/>
                </a:moveTo>
                <a:cubicBezTo>
                  <a:pt x="1417973" y="3544706"/>
                  <a:pt x="1417973" y="3544706"/>
                  <a:pt x="1417973" y="3544706"/>
                </a:cubicBezTo>
                <a:cubicBezTo>
                  <a:pt x="1418573" y="3544706"/>
                  <a:pt x="1419172" y="3544106"/>
                  <a:pt x="1419771" y="3542908"/>
                </a:cubicBezTo>
                <a:lnTo>
                  <a:pt x="1417973" y="3544706"/>
                </a:lnTo>
                <a:close/>
                <a:moveTo>
                  <a:pt x="1404190" y="3552496"/>
                </a:moveTo>
                <a:cubicBezTo>
                  <a:pt x="1404190" y="3552496"/>
                  <a:pt x="1404789" y="3551897"/>
                  <a:pt x="1404789" y="3551897"/>
                </a:cubicBezTo>
                <a:cubicBezTo>
                  <a:pt x="1404190" y="3551897"/>
                  <a:pt x="1404190" y="3551897"/>
                  <a:pt x="1404190" y="3552496"/>
                </a:cubicBezTo>
                <a:close/>
                <a:moveTo>
                  <a:pt x="1364638" y="3565081"/>
                </a:moveTo>
                <a:cubicBezTo>
                  <a:pt x="1357447" y="3565680"/>
                  <a:pt x="1357447" y="3565081"/>
                  <a:pt x="1353851" y="3566879"/>
                </a:cubicBezTo>
                <a:cubicBezTo>
                  <a:pt x="1352053" y="3567478"/>
                  <a:pt x="1350855" y="3568677"/>
                  <a:pt x="1348458" y="3568677"/>
                </a:cubicBezTo>
                <a:cubicBezTo>
                  <a:pt x="1351454" y="3568677"/>
                  <a:pt x="1352652" y="3568077"/>
                  <a:pt x="1355050" y="3566879"/>
                </a:cubicBezTo>
                <a:cubicBezTo>
                  <a:pt x="1359244" y="3565081"/>
                  <a:pt x="1359244" y="3565680"/>
                  <a:pt x="1365836" y="3565081"/>
                </a:cubicBezTo>
                <a:cubicBezTo>
                  <a:pt x="1373028" y="3564482"/>
                  <a:pt x="1374226" y="3564482"/>
                  <a:pt x="1377822" y="3559688"/>
                </a:cubicBezTo>
                <a:cubicBezTo>
                  <a:pt x="1382017" y="3555493"/>
                  <a:pt x="1383215" y="3554294"/>
                  <a:pt x="1384414" y="3551897"/>
                </a:cubicBezTo>
                <a:cubicBezTo>
                  <a:pt x="1385013" y="3550698"/>
                  <a:pt x="1385613" y="3550099"/>
                  <a:pt x="1386811" y="3550698"/>
                </a:cubicBezTo>
                <a:cubicBezTo>
                  <a:pt x="1385013" y="3550099"/>
                  <a:pt x="1383815" y="3550698"/>
                  <a:pt x="1383215" y="3551897"/>
                </a:cubicBezTo>
                <a:cubicBezTo>
                  <a:pt x="1382616" y="3554294"/>
                  <a:pt x="1380818" y="3555493"/>
                  <a:pt x="1376623" y="3559688"/>
                </a:cubicBezTo>
                <a:cubicBezTo>
                  <a:pt x="1373028" y="3564482"/>
                  <a:pt x="1371230" y="3565081"/>
                  <a:pt x="1364638" y="3565081"/>
                </a:cubicBezTo>
                <a:close/>
                <a:moveTo>
                  <a:pt x="1464117" y="2934645"/>
                </a:moveTo>
                <a:cubicBezTo>
                  <a:pt x="1464117" y="2934645"/>
                  <a:pt x="1464117" y="2933446"/>
                  <a:pt x="1464717" y="2932248"/>
                </a:cubicBezTo>
                <a:cubicBezTo>
                  <a:pt x="1464117" y="2932248"/>
                  <a:pt x="1464117" y="2932248"/>
                  <a:pt x="1463518" y="2932248"/>
                </a:cubicBezTo>
                <a:lnTo>
                  <a:pt x="1462919" y="2935843"/>
                </a:lnTo>
                <a:lnTo>
                  <a:pt x="1464117" y="2934645"/>
                </a:lnTo>
                <a:close/>
                <a:moveTo>
                  <a:pt x="1523446" y="2649990"/>
                </a:moveTo>
                <a:lnTo>
                  <a:pt x="1522846" y="2650589"/>
                </a:lnTo>
                <a:cubicBezTo>
                  <a:pt x="1523446" y="2650589"/>
                  <a:pt x="1524045" y="2651188"/>
                  <a:pt x="1524045" y="2651787"/>
                </a:cubicBezTo>
                <a:lnTo>
                  <a:pt x="1523446" y="2649990"/>
                </a:lnTo>
                <a:close/>
                <a:moveTo>
                  <a:pt x="1504269" y="2607441"/>
                </a:moveTo>
                <a:cubicBezTo>
                  <a:pt x="1504269" y="2607441"/>
                  <a:pt x="1504269" y="2607441"/>
                  <a:pt x="1504269" y="2608040"/>
                </a:cubicBezTo>
                <a:cubicBezTo>
                  <a:pt x="1504868" y="2608040"/>
                  <a:pt x="1504868" y="2607441"/>
                  <a:pt x="1505467" y="2607441"/>
                </a:cubicBezTo>
                <a:lnTo>
                  <a:pt x="1504269" y="2607441"/>
                </a:lnTo>
                <a:close/>
                <a:moveTo>
                  <a:pt x="3065377" y="2865728"/>
                </a:moveTo>
                <a:lnTo>
                  <a:pt x="3068973" y="2866927"/>
                </a:lnTo>
                <a:cubicBezTo>
                  <a:pt x="3068374" y="2866328"/>
                  <a:pt x="3067175" y="2865728"/>
                  <a:pt x="3065377" y="2865728"/>
                </a:cubicBezTo>
                <a:close/>
                <a:moveTo>
                  <a:pt x="1477901" y="1448445"/>
                </a:moveTo>
                <a:cubicBezTo>
                  <a:pt x="1478500" y="1448445"/>
                  <a:pt x="1478500" y="1448445"/>
                  <a:pt x="1479099" y="1448445"/>
                </a:cubicBezTo>
                <a:cubicBezTo>
                  <a:pt x="1478500" y="1448445"/>
                  <a:pt x="1477901" y="1448445"/>
                  <a:pt x="1477301" y="1448445"/>
                </a:cubicBezTo>
                <a:cubicBezTo>
                  <a:pt x="1477901" y="1448445"/>
                  <a:pt x="1477901" y="1448445"/>
                  <a:pt x="1478500" y="1449644"/>
                </a:cubicBezTo>
                <a:lnTo>
                  <a:pt x="1477901" y="1448445"/>
                </a:lnTo>
                <a:close/>
                <a:moveTo>
                  <a:pt x="1448536" y="845576"/>
                </a:moveTo>
                <a:cubicBezTo>
                  <a:pt x="1448536" y="845576"/>
                  <a:pt x="1448536" y="845576"/>
                  <a:pt x="1448536" y="845576"/>
                </a:cubicBezTo>
                <a:cubicBezTo>
                  <a:pt x="1448536" y="845576"/>
                  <a:pt x="1448536" y="845576"/>
                  <a:pt x="1448536" y="845576"/>
                </a:cubicBezTo>
                <a:cubicBezTo>
                  <a:pt x="1449135" y="846175"/>
                  <a:pt x="1449735" y="847373"/>
                  <a:pt x="1450334" y="849171"/>
                </a:cubicBezTo>
                <a:cubicBezTo>
                  <a:pt x="1450933" y="850370"/>
                  <a:pt x="1451533" y="850969"/>
                  <a:pt x="1452132" y="851568"/>
                </a:cubicBezTo>
                <a:cubicBezTo>
                  <a:pt x="1451533" y="851568"/>
                  <a:pt x="1450933" y="850969"/>
                  <a:pt x="1450334" y="849171"/>
                </a:cubicBezTo>
                <a:cubicBezTo>
                  <a:pt x="1450334" y="847373"/>
                  <a:pt x="1449735" y="846175"/>
                  <a:pt x="1448536" y="845576"/>
                </a:cubicBezTo>
                <a:close/>
                <a:moveTo>
                  <a:pt x="1514456" y="916290"/>
                </a:moveTo>
                <a:cubicBezTo>
                  <a:pt x="1516853" y="916290"/>
                  <a:pt x="1519251" y="916889"/>
                  <a:pt x="1521648" y="917488"/>
                </a:cubicBezTo>
                <a:cubicBezTo>
                  <a:pt x="1522247" y="917488"/>
                  <a:pt x="1522846" y="918088"/>
                  <a:pt x="1523446" y="918088"/>
                </a:cubicBezTo>
                <a:cubicBezTo>
                  <a:pt x="1522846" y="918088"/>
                  <a:pt x="1522247" y="918088"/>
                  <a:pt x="1521648" y="917488"/>
                </a:cubicBezTo>
                <a:cubicBezTo>
                  <a:pt x="1519251" y="916889"/>
                  <a:pt x="1516853" y="916290"/>
                  <a:pt x="1514456" y="916290"/>
                </a:cubicBezTo>
                <a:close/>
                <a:moveTo>
                  <a:pt x="1529438" y="854565"/>
                </a:moveTo>
                <a:cubicBezTo>
                  <a:pt x="1529438" y="853366"/>
                  <a:pt x="1529438" y="852168"/>
                  <a:pt x="1528839" y="850370"/>
                </a:cubicBezTo>
                <a:cubicBezTo>
                  <a:pt x="1528839" y="849770"/>
                  <a:pt x="1528240" y="849171"/>
                  <a:pt x="1528240" y="848572"/>
                </a:cubicBezTo>
                <a:cubicBezTo>
                  <a:pt x="1528240" y="849171"/>
                  <a:pt x="1528839" y="849770"/>
                  <a:pt x="1528839" y="850370"/>
                </a:cubicBezTo>
                <a:cubicBezTo>
                  <a:pt x="1529438" y="852168"/>
                  <a:pt x="1529438" y="853366"/>
                  <a:pt x="1529438" y="854565"/>
                </a:cubicBezTo>
                <a:close/>
                <a:moveTo>
                  <a:pt x="1528839" y="859359"/>
                </a:moveTo>
                <a:cubicBezTo>
                  <a:pt x="1528839" y="858760"/>
                  <a:pt x="1529438" y="857561"/>
                  <a:pt x="1529438" y="856962"/>
                </a:cubicBezTo>
                <a:cubicBezTo>
                  <a:pt x="1529438" y="857561"/>
                  <a:pt x="1528839" y="858160"/>
                  <a:pt x="1528839" y="859359"/>
                </a:cubicBezTo>
                <a:close/>
                <a:moveTo>
                  <a:pt x="1527640" y="872543"/>
                </a:moveTo>
                <a:cubicBezTo>
                  <a:pt x="1527640" y="871944"/>
                  <a:pt x="1527640" y="870745"/>
                  <a:pt x="1527640" y="869547"/>
                </a:cubicBezTo>
                <a:cubicBezTo>
                  <a:pt x="1527640" y="870745"/>
                  <a:pt x="1527640" y="871344"/>
                  <a:pt x="1527640" y="872543"/>
                </a:cubicBezTo>
                <a:close/>
                <a:moveTo>
                  <a:pt x="2859227" y="734111"/>
                </a:moveTo>
                <a:lnTo>
                  <a:pt x="2859227" y="734111"/>
                </a:lnTo>
                <a:lnTo>
                  <a:pt x="2859227" y="734111"/>
                </a:lnTo>
                <a:cubicBezTo>
                  <a:pt x="2859826" y="734710"/>
                  <a:pt x="2860426" y="735309"/>
                  <a:pt x="2861025" y="735309"/>
                </a:cubicBezTo>
                <a:cubicBezTo>
                  <a:pt x="2860426" y="735309"/>
                  <a:pt x="2859826" y="734710"/>
                  <a:pt x="2859227" y="734111"/>
                </a:cubicBezTo>
                <a:cubicBezTo>
                  <a:pt x="2858628" y="733511"/>
                  <a:pt x="2858029" y="732912"/>
                  <a:pt x="2858029" y="732912"/>
                </a:cubicBezTo>
                <a:cubicBezTo>
                  <a:pt x="2858029" y="732912"/>
                  <a:pt x="2858029" y="732313"/>
                  <a:pt x="2858029" y="732313"/>
                </a:cubicBezTo>
                <a:cubicBezTo>
                  <a:pt x="2858029" y="732313"/>
                  <a:pt x="2857429" y="732912"/>
                  <a:pt x="2858029" y="732912"/>
                </a:cubicBezTo>
                <a:cubicBezTo>
                  <a:pt x="2858029" y="733511"/>
                  <a:pt x="2858628" y="733511"/>
                  <a:pt x="2859227" y="734111"/>
                </a:cubicBezTo>
                <a:close/>
                <a:moveTo>
                  <a:pt x="2886195" y="631635"/>
                </a:moveTo>
                <a:cubicBezTo>
                  <a:pt x="2886794" y="631635"/>
                  <a:pt x="2887393" y="631635"/>
                  <a:pt x="2887992" y="632234"/>
                </a:cubicBezTo>
                <a:cubicBezTo>
                  <a:pt x="2889191" y="632833"/>
                  <a:pt x="2890389" y="633433"/>
                  <a:pt x="2891588" y="634631"/>
                </a:cubicBezTo>
                <a:cubicBezTo>
                  <a:pt x="2892187" y="635230"/>
                  <a:pt x="2892786" y="635230"/>
                  <a:pt x="2893386" y="635830"/>
                </a:cubicBezTo>
                <a:cubicBezTo>
                  <a:pt x="2892786" y="635830"/>
                  <a:pt x="2892187" y="635230"/>
                  <a:pt x="2891588" y="634631"/>
                </a:cubicBezTo>
                <a:cubicBezTo>
                  <a:pt x="2890389" y="633433"/>
                  <a:pt x="2889191" y="632833"/>
                  <a:pt x="2887992" y="632234"/>
                </a:cubicBezTo>
                <a:cubicBezTo>
                  <a:pt x="2887992" y="631635"/>
                  <a:pt x="2887393" y="631635"/>
                  <a:pt x="2886195" y="631635"/>
                </a:cubicBezTo>
                <a:close/>
                <a:moveTo>
                  <a:pt x="2899378" y="589086"/>
                </a:moveTo>
                <a:cubicBezTo>
                  <a:pt x="2899378" y="589686"/>
                  <a:pt x="2899978" y="589686"/>
                  <a:pt x="2899978" y="590285"/>
                </a:cubicBezTo>
                <a:cubicBezTo>
                  <a:pt x="2899978" y="590285"/>
                  <a:pt x="2899978" y="590884"/>
                  <a:pt x="2900577" y="591483"/>
                </a:cubicBezTo>
                <a:cubicBezTo>
                  <a:pt x="2900577" y="590884"/>
                  <a:pt x="2900577" y="590884"/>
                  <a:pt x="2899978" y="590285"/>
                </a:cubicBezTo>
                <a:cubicBezTo>
                  <a:pt x="2899978" y="589686"/>
                  <a:pt x="2899978" y="589086"/>
                  <a:pt x="2899378" y="589086"/>
                </a:cubicBezTo>
                <a:close/>
                <a:moveTo>
                  <a:pt x="3074966" y="573505"/>
                </a:moveTo>
                <a:cubicBezTo>
                  <a:pt x="3074366" y="574104"/>
                  <a:pt x="3074366" y="575303"/>
                  <a:pt x="3074966" y="576502"/>
                </a:cubicBezTo>
                <a:cubicBezTo>
                  <a:pt x="3074966" y="575303"/>
                  <a:pt x="3074966" y="574104"/>
                  <a:pt x="3074966" y="573505"/>
                </a:cubicBezTo>
                <a:close/>
                <a:moveTo>
                  <a:pt x="3068973" y="589086"/>
                </a:moveTo>
                <a:cubicBezTo>
                  <a:pt x="3069572" y="588487"/>
                  <a:pt x="3070172" y="587888"/>
                  <a:pt x="3071370" y="587289"/>
                </a:cubicBezTo>
                <a:cubicBezTo>
                  <a:pt x="3070771" y="587888"/>
                  <a:pt x="3069572" y="588487"/>
                  <a:pt x="3068973" y="589086"/>
                </a:cubicBezTo>
                <a:cubicBezTo>
                  <a:pt x="3062980" y="593281"/>
                  <a:pt x="3090547" y="599873"/>
                  <a:pt x="3099536" y="601671"/>
                </a:cubicBezTo>
                <a:cubicBezTo>
                  <a:pt x="3090547" y="599873"/>
                  <a:pt x="3062980" y="593281"/>
                  <a:pt x="3068973" y="589086"/>
                </a:cubicBezTo>
                <a:close/>
                <a:moveTo>
                  <a:pt x="3121709" y="566913"/>
                </a:moveTo>
                <a:cubicBezTo>
                  <a:pt x="3121709" y="567512"/>
                  <a:pt x="3122308" y="568112"/>
                  <a:pt x="3122908" y="568711"/>
                </a:cubicBezTo>
                <a:cubicBezTo>
                  <a:pt x="3122308" y="568112"/>
                  <a:pt x="3122308" y="567512"/>
                  <a:pt x="3121709" y="566913"/>
                </a:cubicBezTo>
                <a:close/>
                <a:moveTo>
                  <a:pt x="3179839" y="627440"/>
                </a:moveTo>
                <a:cubicBezTo>
                  <a:pt x="3179839" y="627440"/>
                  <a:pt x="3180438" y="626841"/>
                  <a:pt x="3180438" y="626841"/>
                </a:cubicBezTo>
                <a:cubicBezTo>
                  <a:pt x="3181637" y="625642"/>
                  <a:pt x="3182236" y="625043"/>
                  <a:pt x="3182835" y="624443"/>
                </a:cubicBezTo>
                <a:cubicBezTo>
                  <a:pt x="3182236" y="625043"/>
                  <a:pt x="3181637" y="626241"/>
                  <a:pt x="3180438" y="626841"/>
                </a:cubicBezTo>
                <a:cubicBezTo>
                  <a:pt x="3180438" y="626841"/>
                  <a:pt x="3179839" y="626841"/>
                  <a:pt x="3179839" y="627440"/>
                </a:cubicBezTo>
                <a:close/>
                <a:moveTo>
                  <a:pt x="3299094" y="539347"/>
                </a:moveTo>
                <a:cubicBezTo>
                  <a:pt x="3293701" y="539946"/>
                  <a:pt x="3297896" y="541144"/>
                  <a:pt x="3304488" y="541744"/>
                </a:cubicBezTo>
                <a:cubicBezTo>
                  <a:pt x="3301491" y="540545"/>
                  <a:pt x="3299694" y="539347"/>
                  <a:pt x="3304488" y="538747"/>
                </a:cubicBezTo>
                <a:cubicBezTo>
                  <a:pt x="3312878" y="537549"/>
                  <a:pt x="3315275" y="535152"/>
                  <a:pt x="3314675" y="532755"/>
                </a:cubicBezTo>
                <a:cubicBezTo>
                  <a:pt x="3314675" y="535152"/>
                  <a:pt x="3307484" y="538148"/>
                  <a:pt x="3299094" y="539347"/>
                </a:cubicBezTo>
                <a:close/>
                <a:moveTo>
                  <a:pt x="3313477" y="541144"/>
                </a:moveTo>
                <a:cubicBezTo>
                  <a:pt x="3323664" y="539946"/>
                  <a:pt x="3321867" y="533953"/>
                  <a:pt x="3322466" y="523765"/>
                </a:cubicBezTo>
                <a:cubicBezTo>
                  <a:pt x="3323065" y="514776"/>
                  <a:pt x="3320069" y="511780"/>
                  <a:pt x="3317672" y="511780"/>
                </a:cubicBezTo>
                <a:cubicBezTo>
                  <a:pt x="3320069" y="512379"/>
                  <a:pt x="3323664" y="515376"/>
                  <a:pt x="3322466" y="523765"/>
                </a:cubicBezTo>
                <a:cubicBezTo>
                  <a:pt x="3321867" y="533953"/>
                  <a:pt x="3322466" y="535751"/>
                  <a:pt x="3313477" y="541144"/>
                </a:cubicBezTo>
                <a:close/>
                <a:moveTo>
                  <a:pt x="3328459" y="512379"/>
                </a:moveTo>
                <a:cubicBezTo>
                  <a:pt x="3329058" y="512379"/>
                  <a:pt x="3329058" y="512379"/>
                  <a:pt x="3328459" y="512379"/>
                </a:cubicBezTo>
                <a:cubicBezTo>
                  <a:pt x="3329058" y="512379"/>
                  <a:pt x="3329058" y="512379"/>
                  <a:pt x="3328459" y="512379"/>
                </a:cubicBezTo>
                <a:close/>
                <a:moveTo>
                  <a:pt x="1233397" y="1167386"/>
                </a:moveTo>
                <a:cubicBezTo>
                  <a:pt x="1231000" y="1163191"/>
                  <a:pt x="1228003" y="1167985"/>
                  <a:pt x="1226206" y="1169184"/>
                </a:cubicBezTo>
                <a:cubicBezTo>
                  <a:pt x="1226805" y="1169184"/>
                  <a:pt x="1227404" y="1167985"/>
                  <a:pt x="1228603" y="1167386"/>
                </a:cubicBezTo>
                <a:cubicBezTo>
                  <a:pt x="1231000" y="1165588"/>
                  <a:pt x="1232198" y="1166187"/>
                  <a:pt x="1233397" y="1167386"/>
                </a:cubicBezTo>
                <a:close/>
                <a:moveTo>
                  <a:pt x="1225007" y="1072700"/>
                </a:moveTo>
                <a:cubicBezTo>
                  <a:pt x="1225606" y="1075697"/>
                  <a:pt x="1225007" y="1078693"/>
                  <a:pt x="1223209" y="1081090"/>
                </a:cubicBezTo>
                <a:lnTo>
                  <a:pt x="1223809" y="1080491"/>
                </a:lnTo>
                <a:cubicBezTo>
                  <a:pt x="1225007" y="1079292"/>
                  <a:pt x="1225606" y="1078094"/>
                  <a:pt x="1225606" y="1076296"/>
                </a:cubicBezTo>
                <a:cubicBezTo>
                  <a:pt x="1225606" y="1075098"/>
                  <a:pt x="1225606" y="1073899"/>
                  <a:pt x="1225606" y="1072101"/>
                </a:cubicBezTo>
                <a:cubicBezTo>
                  <a:pt x="1225007" y="1072700"/>
                  <a:pt x="1225007" y="1072700"/>
                  <a:pt x="1225007" y="1072700"/>
                </a:cubicBezTo>
                <a:close/>
                <a:moveTo>
                  <a:pt x="1219614" y="1160794"/>
                </a:moveTo>
                <a:cubicBezTo>
                  <a:pt x="1221411" y="1158996"/>
                  <a:pt x="1222610" y="1159595"/>
                  <a:pt x="1223809" y="1164389"/>
                </a:cubicBezTo>
                <a:cubicBezTo>
                  <a:pt x="1223209" y="1162591"/>
                  <a:pt x="1223209" y="1160794"/>
                  <a:pt x="1222610" y="1160194"/>
                </a:cubicBezTo>
                <a:cubicBezTo>
                  <a:pt x="1221411" y="1158397"/>
                  <a:pt x="1220812" y="1159595"/>
                  <a:pt x="1219614" y="1160794"/>
                </a:cubicBezTo>
                <a:close/>
                <a:moveTo>
                  <a:pt x="1235195" y="1173978"/>
                </a:moveTo>
                <a:cubicBezTo>
                  <a:pt x="1235794" y="1175776"/>
                  <a:pt x="1236993" y="1176375"/>
                  <a:pt x="1239390" y="1175776"/>
                </a:cubicBezTo>
                <a:cubicBezTo>
                  <a:pt x="1236393" y="1177573"/>
                  <a:pt x="1235794" y="1174577"/>
                  <a:pt x="1234596" y="1171581"/>
                </a:cubicBezTo>
                <a:cubicBezTo>
                  <a:pt x="1235195" y="1172180"/>
                  <a:pt x="1235195" y="1173978"/>
                  <a:pt x="1235195" y="1173978"/>
                </a:cubicBezTo>
                <a:close/>
                <a:moveTo>
                  <a:pt x="1486291" y="844377"/>
                </a:moveTo>
                <a:cubicBezTo>
                  <a:pt x="1488088" y="845576"/>
                  <a:pt x="1487489" y="847373"/>
                  <a:pt x="1487489" y="849171"/>
                </a:cubicBezTo>
                <a:cubicBezTo>
                  <a:pt x="1487489" y="852767"/>
                  <a:pt x="1486291" y="854565"/>
                  <a:pt x="1483294" y="856962"/>
                </a:cubicBezTo>
                <a:cubicBezTo>
                  <a:pt x="1485691" y="854565"/>
                  <a:pt x="1487489" y="852767"/>
                  <a:pt x="1487489" y="849171"/>
                </a:cubicBezTo>
                <a:cubicBezTo>
                  <a:pt x="1487489" y="846774"/>
                  <a:pt x="1488088" y="844976"/>
                  <a:pt x="1486291" y="844377"/>
                </a:cubicBezTo>
                <a:close/>
                <a:moveTo>
                  <a:pt x="1501272" y="900110"/>
                </a:moveTo>
                <a:cubicBezTo>
                  <a:pt x="1500673" y="900709"/>
                  <a:pt x="1500673" y="900709"/>
                  <a:pt x="1500673" y="900709"/>
                </a:cubicBezTo>
                <a:cubicBezTo>
                  <a:pt x="1500673" y="900110"/>
                  <a:pt x="1501272" y="900110"/>
                  <a:pt x="1501272" y="900110"/>
                </a:cubicBezTo>
                <a:cubicBezTo>
                  <a:pt x="1503070" y="898312"/>
                  <a:pt x="1504269" y="897113"/>
                  <a:pt x="1504269" y="895915"/>
                </a:cubicBezTo>
                <a:cubicBezTo>
                  <a:pt x="1504269" y="897113"/>
                  <a:pt x="1503669" y="897712"/>
                  <a:pt x="1501272" y="900110"/>
                </a:cubicBezTo>
                <a:close/>
                <a:moveTo>
                  <a:pt x="1659481" y="821005"/>
                </a:moveTo>
                <a:cubicBezTo>
                  <a:pt x="1660080" y="820406"/>
                  <a:pt x="1660080" y="819208"/>
                  <a:pt x="1660080" y="819208"/>
                </a:cubicBezTo>
                <a:cubicBezTo>
                  <a:pt x="1660080" y="819208"/>
                  <a:pt x="1660679" y="818608"/>
                  <a:pt x="1661878" y="818009"/>
                </a:cubicBezTo>
                <a:cubicBezTo>
                  <a:pt x="1660679" y="818009"/>
                  <a:pt x="1660080" y="819208"/>
                  <a:pt x="1660080" y="819208"/>
                </a:cubicBezTo>
                <a:cubicBezTo>
                  <a:pt x="1660080" y="819208"/>
                  <a:pt x="1660080" y="819807"/>
                  <a:pt x="1659481" y="821005"/>
                </a:cubicBezTo>
                <a:close/>
                <a:moveTo>
                  <a:pt x="1794317" y="858160"/>
                </a:moveTo>
                <a:cubicBezTo>
                  <a:pt x="1794317" y="853965"/>
                  <a:pt x="1801509" y="841381"/>
                  <a:pt x="1804505" y="837785"/>
                </a:cubicBezTo>
                <a:cubicBezTo>
                  <a:pt x="1800310" y="843778"/>
                  <a:pt x="1794317" y="854565"/>
                  <a:pt x="1794317" y="858160"/>
                </a:cubicBezTo>
                <a:close/>
                <a:moveTo>
                  <a:pt x="2894584" y="748493"/>
                </a:moveTo>
                <a:cubicBezTo>
                  <a:pt x="2895184" y="748493"/>
                  <a:pt x="2895783" y="748493"/>
                  <a:pt x="2896382" y="747894"/>
                </a:cubicBezTo>
                <a:cubicBezTo>
                  <a:pt x="2898180" y="747295"/>
                  <a:pt x="2900577" y="746695"/>
                  <a:pt x="2902375" y="746096"/>
                </a:cubicBezTo>
                <a:cubicBezTo>
                  <a:pt x="2900577" y="746695"/>
                  <a:pt x="2898180" y="747295"/>
                  <a:pt x="2896382" y="747894"/>
                </a:cubicBezTo>
                <a:cubicBezTo>
                  <a:pt x="2895783" y="747894"/>
                  <a:pt x="2895184" y="747894"/>
                  <a:pt x="2894584" y="748493"/>
                </a:cubicBezTo>
                <a:close/>
                <a:moveTo>
                  <a:pt x="2890389" y="754486"/>
                </a:moveTo>
                <a:cubicBezTo>
                  <a:pt x="2896382" y="755085"/>
                  <a:pt x="2902974" y="755085"/>
                  <a:pt x="2908368" y="756284"/>
                </a:cubicBezTo>
                <a:cubicBezTo>
                  <a:pt x="2911963" y="756883"/>
                  <a:pt x="2914360" y="758082"/>
                  <a:pt x="2916757" y="758082"/>
                </a:cubicBezTo>
                <a:cubicBezTo>
                  <a:pt x="2914360" y="758082"/>
                  <a:pt x="2911364" y="757482"/>
                  <a:pt x="2908368" y="756284"/>
                </a:cubicBezTo>
                <a:cubicBezTo>
                  <a:pt x="2902974" y="755085"/>
                  <a:pt x="2896382" y="755085"/>
                  <a:pt x="2890389" y="754486"/>
                </a:cubicBezTo>
                <a:close/>
                <a:moveTo>
                  <a:pt x="2950916" y="741901"/>
                </a:moveTo>
                <a:cubicBezTo>
                  <a:pt x="2949118" y="743100"/>
                  <a:pt x="2946721" y="743699"/>
                  <a:pt x="2944324" y="744298"/>
                </a:cubicBezTo>
                <a:cubicBezTo>
                  <a:pt x="2946122" y="743699"/>
                  <a:pt x="2948519" y="743100"/>
                  <a:pt x="2950916" y="741901"/>
                </a:cubicBezTo>
                <a:close/>
                <a:moveTo>
                  <a:pt x="1796714" y="874940"/>
                </a:moveTo>
                <a:cubicBezTo>
                  <a:pt x="1797913" y="873741"/>
                  <a:pt x="1799711" y="873142"/>
                  <a:pt x="1800909" y="871944"/>
                </a:cubicBezTo>
                <a:cubicBezTo>
                  <a:pt x="1802108" y="871344"/>
                  <a:pt x="1802707" y="870146"/>
                  <a:pt x="1803306" y="869547"/>
                </a:cubicBezTo>
                <a:cubicBezTo>
                  <a:pt x="1802707" y="870146"/>
                  <a:pt x="1802108" y="871344"/>
                  <a:pt x="1800909" y="871944"/>
                </a:cubicBezTo>
                <a:cubicBezTo>
                  <a:pt x="1799111" y="873142"/>
                  <a:pt x="1797913" y="873741"/>
                  <a:pt x="1796714" y="874940"/>
                </a:cubicBezTo>
                <a:close/>
                <a:moveTo>
                  <a:pt x="1798512" y="864752"/>
                </a:moveTo>
                <a:lnTo>
                  <a:pt x="1798512" y="864752"/>
                </a:lnTo>
                <a:cubicBezTo>
                  <a:pt x="1797913" y="864752"/>
                  <a:pt x="1797314" y="864752"/>
                  <a:pt x="1796714" y="864752"/>
                </a:cubicBezTo>
                <a:cubicBezTo>
                  <a:pt x="1797913" y="864752"/>
                  <a:pt x="1797913" y="864752"/>
                  <a:pt x="1798512" y="864752"/>
                </a:cubicBezTo>
                <a:close/>
                <a:moveTo>
                  <a:pt x="1803306" y="868348"/>
                </a:moveTo>
                <a:cubicBezTo>
                  <a:pt x="1803306" y="867749"/>
                  <a:pt x="1803306" y="866550"/>
                  <a:pt x="1802707" y="865951"/>
                </a:cubicBezTo>
                <a:cubicBezTo>
                  <a:pt x="1803306" y="866550"/>
                  <a:pt x="1803306" y="867749"/>
                  <a:pt x="1803306" y="868348"/>
                </a:cubicBezTo>
                <a:close/>
                <a:moveTo>
                  <a:pt x="3013240" y="675981"/>
                </a:moveTo>
                <a:cubicBezTo>
                  <a:pt x="3009046" y="676580"/>
                  <a:pt x="3005450" y="677779"/>
                  <a:pt x="3004251" y="680176"/>
                </a:cubicBezTo>
                <a:cubicBezTo>
                  <a:pt x="3002454" y="683172"/>
                  <a:pt x="3001854" y="685569"/>
                  <a:pt x="3001255" y="687367"/>
                </a:cubicBezTo>
                <a:cubicBezTo>
                  <a:pt x="3001854" y="684970"/>
                  <a:pt x="3002454" y="683172"/>
                  <a:pt x="3004251" y="680176"/>
                </a:cubicBezTo>
                <a:cubicBezTo>
                  <a:pt x="3006049" y="677779"/>
                  <a:pt x="3009046" y="676580"/>
                  <a:pt x="3013240" y="675981"/>
                </a:cubicBezTo>
                <a:cubicBezTo>
                  <a:pt x="3015038" y="675981"/>
                  <a:pt x="3017435" y="675981"/>
                  <a:pt x="3019833" y="675981"/>
                </a:cubicBezTo>
                <a:cubicBezTo>
                  <a:pt x="3017435" y="675981"/>
                  <a:pt x="3015638" y="675981"/>
                  <a:pt x="3013240" y="675981"/>
                </a:cubicBezTo>
                <a:close/>
                <a:moveTo>
                  <a:pt x="2496666" y="1665982"/>
                </a:moveTo>
                <a:cubicBezTo>
                  <a:pt x="2495468" y="1666581"/>
                  <a:pt x="2494869" y="1666581"/>
                  <a:pt x="2493670" y="1665382"/>
                </a:cubicBezTo>
                <a:cubicBezTo>
                  <a:pt x="2494869" y="1666581"/>
                  <a:pt x="2495468" y="1666581"/>
                  <a:pt x="2496666" y="1665982"/>
                </a:cubicBezTo>
                <a:close/>
                <a:moveTo>
                  <a:pt x="2503258" y="1659989"/>
                </a:moveTo>
                <a:cubicBezTo>
                  <a:pt x="2502060" y="1658790"/>
                  <a:pt x="2500861" y="1657592"/>
                  <a:pt x="2500861" y="1657592"/>
                </a:cubicBezTo>
                <a:cubicBezTo>
                  <a:pt x="2500861" y="1657592"/>
                  <a:pt x="2500861" y="1658191"/>
                  <a:pt x="2500262" y="1658790"/>
                </a:cubicBezTo>
                <a:cubicBezTo>
                  <a:pt x="2501461" y="1659390"/>
                  <a:pt x="2502060" y="1659989"/>
                  <a:pt x="2503258" y="1659989"/>
                </a:cubicBezTo>
                <a:close/>
                <a:moveTo>
                  <a:pt x="1814693" y="805424"/>
                </a:moveTo>
                <a:cubicBezTo>
                  <a:pt x="1815292" y="804825"/>
                  <a:pt x="1816491" y="804226"/>
                  <a:pt x="1817090" y="803626"/>
                </a:cubicBezTo>
                <a:cubicBezTo>
                  <a:pt x="1816491" y="804226"/>
                  <a:pt x="1815891" y="804825"/>
                  <a:pt x="1814693" y="805424"/>
                </a:cubicBezTo>
                <a:cubicBezTo>
                  <a:pt x="1814093" y="806023"/>
                  <a:pt x="1813494" y="806623"/>
                  <a:pt x="1812895" y="807222"/>
                </a:cubicBezTo>
                <a:cubicBezTo>
                  <a:pt x="1813494" y="806623"/>
                  <a:pt x="1814093" y="806023"/>
                  <a:pt x="1814693" y="805424"/>
                </a:cubicBezTo>
                <a:close/>
                <a:moveTo>
                  <a:pt x="1838664" y="827597"/>
                </a:moveTo>
                <a:cubicBezTo>
                  <a:pt x="1837465" y="828197"/>
                  <a:pt x="1835667" y="828197"/>
                  <a:pt x="1833869" y="828796"/>
                </a:cubicBezTo>
                <a:cubicBezTo>
                  <a:pt x="1835667" y="828197"/>
                  <a:pt x="1837465" y="827597"/>
                  <a:pt x="1838664" y="827597"/>
                </a:cubicBezTo>
                <a:cubicBezTo>
                  <a:pt x="1839862" y="826998"/>
                  <a:pt x="1841061" y="826998"/>
                  <a:pt x="1841660" y="826998"/>
                </a:cubicBezTo>
                <a:cubicBezTo>
                  <a:pt x="1841061" y="826998"/>
                  <a:pt x="1839862" y="826998"/>
                  <a:pt x="1838664" y="827597"/>
                </a:cubicBezTo>
                <a:close/>
                <a:moveTo>
                  <a:pt x="1845256" y="826998"/>
                </a:moveTo>
                <a:cubicBezTo>
                  <a:pt x="1844656" y="826998"/>
                  <a:pt x="1844057" y="826399"/>
                  <a:pt x="1843458" y="826399"/>
                </a:cubicBezTo>
                <a:cubicBezTo>
                  <a:pt x="1844057" y="826399"/>
                  <a:pt x="1844656" y="826399"/>
                  <a:pt x="1845256" y="826998"/>
                </a:cubicBezTo>
                <a:close/>
                <a:moveTo>
                  <a:pt x="1933948" y="816211"/>
                </a:moveTo>
                <a:cubicBezTo>
                  <a:pt x="1933948" y="819208"/>
                  <a:pt x="1933948" y="821005"/>
                  <a:pt x="1935746" y="822803"/>
                </a:cubicBezTo>
                <a:cubicBezTo>
                  <a:pt x="1933948" y="821005"/>
                  <a:pt x="1933948" y="819208"/>
                  <a:pt x="1933948" y="816211"/>
                </a:cubicBezTo>
                <a:cubicBezTo>
                  <a:pt x="1933948" y="815013"/>
                  <a:pt x="1933948" y="814413"/>
                  <a:pt x="1933948" y="813215"/>
                </a:cubicBezTo>
                <a:cubicBezTo>
                  <a:pt x="1933349" y="814413"/>
                  <a:pt x="1933349" y="815013"/>
                  <a:pt x="1933948" y="816211"/>
                </a:cubicBezTo>
                <a:close/>
                <a:moveTo>
                  <a:pt x="1939342" y="807222"/>
                </a:moveTo>
                <a:cubicBezTo>
                  <a:pt x="1939941" y="806623"/>
                  <a:pt x="1939941" y="806023"/>
                  <a:pt x="1940540" y="805424"/>
                </a:cubicBezTo>
                <a:cubicBezTo>
                  <a:pt x="1939941" y="806023"/>
                  <a:pt x="1939941" y="806623"/>
                  <a:pt x="1939342" y="807222"/>
                </a:cubicBezTo>
                <a:cubicBezTo>
                  <a:pt x="1938742" y="807821"/>
                  <a:pt x="1938143" y="808421"/>
                  <a:pt x="1938143" y="809020"/>
                </a:cubicBezTo>
                <a:cubicBezTo>
                  <a:pt x="1938143" y="808421"/>
                  <a:pt x="1938742" y="807821"/>
                  <a:pt x="1939342" y="807222"/>
                </a:cubicBezTo>
                <a:close/>
                <a:moveTo>
                  <a:pt x="1937544" y="803626"/>
                </a:moveTo>
                <a:cubicBezTo>
                  <a:pt x="1936345" y="804226"/>
                  <a:pt x="1935746" y="804825"/>
                  <a:pt x="1934547" y="805424"/>
                </a:cubicBezTo>
                <a:cubicBezTo>
                  <a:pt x="1930952" y="808421"/>
                  <a:pt x="1927356" y="809020"/>
                  <a:pt x="1923161" y="809020"/>
                </a:cubicBezTo>
                <a:lnTo>
                  <a:pt x="1923161" y="809020"/>
                </a:lnTo>
                <a:cubicBezTo>
                  <a:pt x="1927356" y="809020"/>
                  <a:pt x="1930952" y="808421"/>
                  <a:pt x="1934547" y="805424"/>
                </a:cubicBezTo>
                <a:cubicBezTo>
                  <a:pt x="1935147" y="804825"/>
                  <a:pt x="1936345" y="804226"/>
                  <a:pt x="1937544" y="803626"/>
                </a:cubicBezTo>
                <a:close/>
                <a:moveTo>
                  <a:pt x="1920165" y="808421"/>
                </a:moveTo>
                <a:cubicBezTo>
                  <a:pt x="1920764" y="808421"/>
                  <a:pt x="1920764" y="808421"/>
                  <a:pt x="1921363" y="808421"/>
                </a:cubicBezTo>
                <a:cubicBezTo>
                  <a:pt x="1920764" y="808421"/>
                  <a:pt x="1920764" y="808421"/>
                  <a:pt x="1920165" y="808421"/>
                </a:cubicBezTo>
                <a:close/>
                <a:moveTo>
                  <a:pt x="1908779" y="832991"/>
                </a:moveTo>
                <a:cubicBezTo>
                  <a:pt x="1908779" y="832991"/>
                  <a:pt x="1908179" y="832991"/>
                  <a:pt x="1908179" y="832991"/>
                </a:cubicBezTo>
                <a:cubicBezTo>
                  <a:pt x="1908179" y="832991"/>
                  <a:pt x="1908179" y="832991"/>
                  <a:pt x="1908779" y="832991"/>
                </a:cubicBezTo>
                <a:close/>
                <a:moveTo>
                  <a:pt x="1903984" y="840182"/>
                </a:moveTo>
                <a:cubicBezTo>
                  <a:pt x="1903984" y="840781"/>
                  <a:pt x="1903385" y="841381"/>
                  <a:pt x="1903385" y="841980"/>
                </a:cubicBezTo>
                <a:cubicBezTo>
                  <a:pt x="1903385" y="841381"/>
                  <a:pt x="1903984" y="840781"/>
                  <a:pt x="1903984" y="840182"/>
                </a:cubicBezTo>
                <a:close/>
                <a:moveTo>
                  <a:pt x="1904584" y="838384"/>
                </a:moveTo>
                <a:cubicBezTo>
                  <a:pt x="1904584" y="838984"/>
                  <a:pt x="1903984" y="838984"/>
                  <a:pt x="1903984" y="839583"/>
                </a:cubicBezTo>
                <a:cubicBezTo>
                  <a:pt x="1904584" y="838984"/>
                  <a:pt x="1904584" y="838384"/>
                  <a:pt x="1904584" y="838384"/>
                </a:cubicBezTo>
                <a:close/>
                <a:moveTo>
                  <a:pt x="1905183" y="835987"/>
                </a:moveTo>
                <a:cubicBezTo>
                  <a:pt x="1905183" y="836586"/>
                  <a:pt x="1904584" y="837186"/>
                  <a:pt x="1904584" y="837785"/>
                </a:cubicBezTo>
                <a:cubicBezTo>
                  <a:pt x="1905183" y="837186"/>
                  <a:pt x="1905183" y="836586"/>
                  <a:pt x="1905183" y="835987"/>
                </a:cubicBezTo>
                <a:close/>
                <a:moveTo>
                  <a:pt x="1903385" y="841980"/>
                </a:moveTo>
                <a:cubicBezTo>
                  <a:pt x="1903385" y="842579"/>
                  <a:pt x="1902786" y="842579"/>
                  <a:pt x="1902786" y="843179"/>
                </a:cubicBezTo>
                <a:cubicBezTo>
                  <a:pt x="1902786" y="843179"/>
                  <a:pt x="1902786" y="843179"/>
                  <a:pt x="1902786" y="843179"/>
                </a:cubicBezTo>
                <a:cubicBezTo>
                  <a:pt x="1902786" y="842579"/>
                  <a:pt x="1903385" y="841980"/>
                  <a:pt x="1903385" y="841980"/>
                </a:cubicBezTo>
                <a:close/>
                <a:moveTo>
                  <a:pt x="1947731" y="831792"/>
                </a:moveTo>
                <a:cubicBezTo>
                  <a:pt x="1949529" y="832991"/>
                  <a:pt x="1948331" y="834189"/>
                  <a:pt x="1945934" y="834189"/>
                </a:cubicBezTo>
                <a:cubicBezTo>
                  <a:pt x="1948331" y="834789"/>
                  <a:pt x="1949529" y="833590"/>
                  <a:pt x="1947731" y="831792"/>
                </a:cubicBezTo>
                <a:close/>
                <a:moveTo>
                  <a:pt x="1918966" y="808421"/>
                </a:moveTo>
                <a:cubicBezTo>
                  <a:pt x="1918367" y="808421"/>
                  <a:pt x="1917768" y="808421"/>
                  <a:pt x="1917768" y="808421"/>
                </a:cubicBezTo>
                <a:cubicBezTo>
                  <a:pt x="1917768" y="808421"/>
                  <a:pt x="1918367" y="808421"/>
                  <a:pt x="1918966" y="808421"/>
                </a:cubicBezTo>
                <a:close/>
                <a:moveTo>
                  <a:pt x="1915371" y="807821"/>
                </a:moveTo>
                <a:cubicBezTo>
                  <a:pt x="1914771" y="807821"/>
                  <a:pt x="1914771" y="807821"/>
                  <a:pt x="1914172" y="807821"/>
                </a:cubicBezTo>
                <a:cubicBezTo>
                  <a:pt x="1914172" y="807821"/>
                  <a:pt x="1914771" y="807821"/>
                  <a:pt x="1915371" y="807821"/>
                </a:cubicBezTo>
                <a:close/>
                <a:moveTo>
                  <a:pt x="1909977" y="806623"/>
                </a:moveTo>
                <a:cubicBezTo>
                  <a:pt x="1909378" y="806623"/>
                  <a:pt x="1908779" y="806623"/>
                  <a:pt x="1908179" y="806023"/>
                </a:cubicBezTo>
                <a:cubicBezTo>
                  <a:pt x="1908779" y="806623"/>
                  <a:pt x="1909378" y="806623"/>
                  <a:pt x="1909977" y="806623"/>
                </a:cubicBezTo>
                <a:close/>
                <a:moveTo>
                  <a:pt x="1900389" y="804825"/>
                </a:moveTo>
                <a:cubicBezTo>
                  <a:pt x="1899790" y="804825"/>
                  <a:pt x="1899190" y="804825"/>
                  <a:pt x="1898591" y="804226"/>
                </a:cubicBezTo>
                <a:cubicBezTo>
                  <a:pt x="1899190" y="804825"/>
                  <a:pt x="1899790" y="804825"/>
                  <a:pt x="1900389" y="804825"/>
                </a:cubicBezTo>
                <a:close/>
                <a:moveTo>
                  <a:pt x="1904584" y="806023"/>
                </a:moveTo>
                <a:cubicBezTo>
                  <a:pt x="1903984" y="806023"/>
                  <a:pt x="1903385" y="806023"/>
                  <a:pt x="1902187" y="805424"/>
                </a:cubicBezTo>
                <a:cubicBezTo>
                  <a:pt x="1903385" y="805424"/>
                  <a:pt x="1903984" y="805424"/>
                  <a:pt x="1904584" y="806023"/>
                </a:cubicBezTo>
                <a:close/>
                <a:moveTo>
                  <a:pt x="1897392" y="804226"/>
                </a:moveTo>
                <a:cubicBezTo>
                  <a:pt x="1896194" y="804226"/>
                  <a:pt x="1895595" y="803626"/>
                  <a:pt x="1894995" y="803626"/>
                </a:cubicBezTo>
                <a:cubicBezTo>
                  <a:pt x="1889003" y="803027"/>
                  <a:pt x="1882411" y="801829"/>
                  <a:pt x="1877017" y="802428"/>
                </a:cubicBezTo>
                <a:cubicBezTo>
                  <a:pt x="1881212" y="801829"/>
                  <a:pt x="1889602" y="803027"/>
                  <a:pt x="1894995" y="803626"/>
                </a:cubicBezTo>
                <a:cubicBezTo>
                  <a:pt x="1895595" y="804226"/>
                  <a:pt x="1896194" y="804226"/>
                  <a:pt x="1897392" y="804226"/>
                </a:cubicBezTo>
                <a:close/>
                <a:moveTo>
                  <a:pt x="1896793" y="844377"/>
                </a:moveTo>
                <a:cubicBezTo>
                  <a:pt x="1894396" y="842579"/>
                  <a:pt x="1892598" y="841381"/>
                  <a:pt x="1890201" y="840182"/>
                </a:cubicBezTo>
                <a:cubicBezTo>
                  <a:pt x="1892598" y="841381"/>
                  <a:pt x="1894396" y="842579"/>
                  <a:pt x="1896793" y="844377"/>
                </a:cubicBezTo>
                <a:cubicBezTo>
                  <a:pt x="1896793" y="844377"/>
                  <a:pt x="1896793" y="844377"/>
                  <a:pt x="1896793" y="844377"/>
                </a:cubicBezTo>
                <a:cubicBezTo>
                  <a:pt x="1896793" y="844377"/>
                  <a:pt x="1896793" y="844377"/>
                  <a:pt x="1896793" y="844377"/>
                </a:cubicBezTo>
                <a:close/>
                <a:moveTo>
                  <a:pt x="1874620" y="803027"/>
                </a:moveTo>
                <a:cubicBezTo>
                  <a:pt x="1872822" y="803626"/>
                  <a:pt x="1871624" y="803626"/>
                  <a:pt x="1869227" y="804226"/>
                </a:cubicBezTo>
                <a:cubicBezTo>
                  <a:pt x="1867429" y="804825"/>
                  <a:pt x="1865032" y="804825"/>
                  <a:pt x="1862035" y="805424"/>
                </a:cubicBezTo>
                <a:cubicBezTo>
                  <a:pt x="1865032" y="805424"/>
                  <a:pt x="1867429" y="804825"/>
                  <a:pt x="1869227" y="804226"/>
                </a:cubicBezTo>
                <a:cubicBezTo>
                  <a:pt x="1871624" y="804226"/>
                  <a:pt x="1873422" y="803626"/>
                  <a:pt x="1874620" y="803027"/>
                </a:cubicBezTo>
                <a:close/>
                <a:moveTo>
                  <a:pt x="1859039" y="828197"/>
                </a:moveTo>
                <a:cubicBezTo>
                  <a:pt x="1861436" y="828197"/>
                  <a:pt x="1865032" y="829395"/>
                  <a:pt x="1868627" y="831193"/>
                </a:cubicBezTo>
                <a:cubicBezTo>
                  <a:pt x="1864432" y="829395"/>
                  <a:pt x="1860837" y="828197"/>
                  <a:pt x="1859039" y="828197"/>
                </a:cubicBezTo>
                <a:close/>
                <a:moveTo>
                  <a:pt x="1828476" y="804825"/>
                </a:moveTo>
                <a:cubicBezTo>
                  <a:pt x="1827277" y="804825"/>
                  <a:pt x="1826079" y="804825"/>
                  <a:pt x="1824880" y="805424"/>
                </a:cubicBezTo>
                <a:cubicBezTo>
                  <a:pt x="1826079" y="804825"/>
                  <a:pt x="1827277" y="804825"/>
                  <a:pt x="1828476" y="804825"/>
                </a:cubicBezTo>
                <a:close/>
                <a:moveTo>
                  <a:pt x="1818888" y="782652"/>
                </a:moveTo>
                <a:cubicBezTo>
                  <a:pt x="1817090" y="780854"/>
                  <a:pt x="1815891" y="780255"/>
                  <a:pt x="1814093" y="780255"/>
                </a:cubicBezTo>
                <a:cubicBezTo>
                  <a:pt x="1815292" y="779655"/>
                  <a:pt x="1817090" y="780255"/>
                  <a:pt x="1818888" y="782652"/>
                </a:cubicBezTo>
                <a:cubicBezTo>
                  <a:pt x="1821285" y="785049"/>
                  <a:pt x="1821285" y="791042"/>
                  <a:pt x="1820685" y="796435"/>
                </a:cubicBezTo>
                <a:cubicBezTo>
                  <a:pt x="1820685" y="798832"/>
                  <a:pt x="1820086" y="800630"/>
                  <a:pt x="1818888" y="802428"/>
                </a:cubicBezTo>
                <a:cubicBezTo>
                  <a:pt x="1820086" y="801229"/>
                  <a:pt x="1820086" y="799432"/>
                  <a:pt x="1820685" y="796435"/>
                </a:cubicBezTo>
                <a:cubicBezTo>
                  <a:pt x="1820685" y="791042"/>
                  <a:pt x="1820685" y="785049"/>
                  <a:pt x="1818888" y="782652"/>
                </a:cubicBezTo>
                <a:close/>
                <a:moveTo>
                  <a:pt x="1814093" y="810218"/>
                </a:moveTo>
                <a:cubicBezTo>
                  <a:pt x="1814093" y="810218"/>
                  <a:pt x="1814693" y="810218"/>
                  <a:pt x="1815292" y="810218"/>
                </a:cubicBezTo>
                <a:cubicBezTo>
                  <a:pt x="1815891" y="810218"/>
                  <a:pt x="1816491" y="810218"/>
                  <a:pt x="1817090" y="810218"/>
                </a:cubicBezTo>
                <a:cubicBezTo>
                  <a:pt x="1816491" y="810218"/>
                  <a:pt x="1815891" y="810218"/>
                  <a:pt x="1815292" y="810218"/>
                </a:cubicBezTo>
                <a:cubicBezTo>
                  <a:pt x="1814693" y="810218"/>
                  <a:pt x="1814693" y="810218"/>
                  <a:pt x="1814093" y="810218"/>
                </a:cubicBezTo>
                <a:close/>
                <a:moveTo>
                  <a:pt x="3045601" y="680775"/>
                </a:moveTo>
                <a:cubicBezTo>
                  <a:pt x="3045601" y="680176"/>
                  <a:pt x="3045002" y="679577"/>
                  <a:pt x="3045002" y="678977"/>
                </a:cubicBezTo>
                <a:cubicBezTo>
                  <a:pt x="3045002" y="678378"/>
                  <a:pt x="3045002" y="677779"/>
                  <a:pt x="3044403" y="677779"/>
                </a:cubicBezTo>
                <a:cubicBezTo>
                  <a:pt x="3044403" y="678378"/>
                  <a:pt x="3044403" y="678378"/>
                  <a:pt x="3045002" y="678977"/>
                </a:cubicBezTo>
                <a:cubicBezTo>
                  <a:pt x="3045601" y="679577"/>
                  <a:pt x="3045601" y="680176"/>
                  <a:pt x="3045601" y="680775"/>
                </a:cubicBezTo>
                <a:close/>
                <a:moveTo>
                  <a:pt x="3041406" y="675981"/>
                </a:moveTo>
                <a:cubicBezTo>
                  <a:pt x="3040208" y="675981"/>
                  <a:pt x="3039009" y="675981"/>
                  <a:pt x="3037211" y="675981"/>
                </a:cubicBezTo>
                <a:cubicBezTo>
                  <a:pt x="3039009" y="675981"/>
                  <a:pt x="3040208" y="675981"/>
                  <a:pt x="3041406" y="675981"/>
                </a:cubicBezTo>
                <a:close/>
                <a:moveTo>
                  <a:pt x="3033017" y="675981"/>
                </a:moveTo>
                <a:cubicBezTo>
                  <a:pt x="3031818" y="675981"/>
                  <a:pt x="3030619" y="675981"/>
                  <a:pt x="3029421" y="675981"/>
                </a:cubicBezTo>
                <a:cubicBezTo>
                  <a:pt x="3030020" y="675981"/>
                  <a:pt x="3031818" y="675981"/>
                  <a:pt x="3033017" y="675981"/>
                </a:cubicBezTo>
                <a:close/>
                <a:moveTo>
                  <a:pt x="3011443" y="661598"/>
                </a:moveTo>
                <a:cubicBezTo>
                  <a:pt x="3009046" y="660999"/>
                  <a:pt x="3006648" y="660400"/>
                  <a:pt x="3004851" y="659801"/>
                </a:cubicBezTo>
                <a:cubicBezTo>
                  <a:pt x="3004251" y="659801"/>
                  <a:pt x="3003652" y="659801"/>
                  <a:pt x="3003652" y="659201"/>
                </a:cubicBezTo>
                <a:cubicBezTo>
                  <a:pt x="3004251" y="659201"/>
                  <a:pt x="3004851" y="659201"/>
                  <a:pt x="3004851" y="659801"/>
                </a:cubicBezTo>
                <a:cubicBezTo>
                  <a:pt x="3006648" y="660400"/>
                  <a:pt x="3009046" y="660400"/>
                  <a:pt x="3011443" y="661598"/>
                </a:cubicBezTo>
                <a:close/>
                <a:moveTo>
                  <a:pt x="2991667" y="715533"/>
                </a:moveTo>
                <a:cubicBezTo>
                  <a:pt x="2990468" y="717331"/>
                  <a:pt x="2988670" y="718530"/>
                  <a:pt x="2987472" y="719129"/>
                </a:cubicBezTo>
                <a:cubicBezTo>
                  <a:pt x="2983876" y="720927"/>
                  <a:pt x="2983277" y="722125"/>
                  <a:pt x="2980280" y="723324"/>
                </a:cubicBezTo>
                <a:cubicBezTo>
                  <a:pt x="2982677" y="722125"/>
                  <a:pt x="2983876" y="720927"/>
                  <a:pt x="2987472" y="719129"/>
                </a:cubicBezTo>
                <a:cubicBezTo>
                  <a:pt x="2988670" y="718530"/>
                  <a:pt x="2989869" y="717331"/>
                  <a:pt x="2991667" y="715533"/>
                </a:cubicBezTo>
                <a:close/>
                <a:moveTo>
                  <a:pt x="2983876" y="676580"/>
                </a:moveTo>
                <a:cubicBezTo>
                  <a:pt x="2983277" y="675382"/>
                  <a:pt x="2982078" y="673584"/>
                  <a:pt x="2981479" y="672385"/>
                </a:cubicBezTo>
                <a:cubicBezTo>
                  <a:pt x="2980280" y="669988"/>
                  <a:pt x="2979082" y="668190"/>
                  <a:pt x="2978483" y="666393"/>
                </a:cubicBezTo>
                <a:cubicBezTo>
                  <a:pt x="2979082" y="668190"/>
                  <a:pt x="2979681" y="670588"/>
                  <a:pt x="2981479" y="672385"/>
                </a:cubicBezTo>
                <a:cubicBezTo>
                  <a:pt x="2982078" y="673584"/>
                  <a:pt x="2983277" y="675382"/>
                  <a:pt x="2983876" y="676580"/>
                </a:cubicBezTo>
                <a:close/>
                <a:moveTo>
                  <a:pt x="2867018" y="742500"/>
                </a:moveTo>
                <a:cubicBezTo>
                  <a:pt x="2866418" y="741901"/>
                  <a:pt x="2865819" y="741302"/>
                  <a:pt x="2865819" y="740703"/>
                </a:cubicBezTo>
                <a:cubicBezTo>
                  <a:pt x="2865819" y="741302"/>
                  <a:pt x="2866418" y="741901"/>
                  <a:pt x="2867018" y="742500"/>
                </a:cubicBezTo>
                <a:cubicBezTo>
                  <a:pt x="2868216" y="744298"/>
                  <a:pt x="2868815" y="745497"/>
                  <a:pt x="2870014" y="746695"/>
                </a:cubicBezTo>
                <a:cubicBezTo>
                  <a:pt x="2868815" y="745497"/>
                  <a:pt x="2868216" y="744298"/>
                  <a:pt x="2867018" y="742500"/>
                </a:cubicBezTo>
                <a:close/>
                <a:moveTo>
                  <a:pt x="1809898" y="833590"/>
                </a:moveTo>
                <a:cubicBezTo>
                  <a:pt x="1811097" y="832991"/>
                  <a:pt x="1812296" y="832392"/>
                  <a:pt x="1813494" y="832392"/>
                </a:cubicBezTo>
                <a:cubicBezTo>
                  <a:pt x="1812296" y="832392"/>
                  <a:pt x="1811097" y="832991"/>
                  <a:pt x="1809898" y="833590"/>
                </a:cubicBezTo>
                <a:close/>
                <a:moveTo>
                  <a:pt x="1791920" y="878536"/>
                </a:moveTo>
                <a:cubicBezTo>
                  <a:pt x="1793718" y="877337"/>
                  <a:pt x="1794917" y="876139"/>
                  <a:pt x="1796714" y="874940"/>
                </a:cubicBezTo>
                <a:cubicBezTo>
                  <a:pt x="1794917" y="876139"/>
                  <a:pt x="1793119" y="877337"/>
                  <a:pt x="1791920" y="878536"/>
                </a:cubicBezTo>
                <a:close/>
                <a:moveTo>
                  <a:pt x="1619329" y="970824"/>
                </a:moveTo>
                <a:cubicBezTo>
                  <a:pt x="1619329" y="970225"/>
                  <a:pt x="1619929" y="970225"/>
                  <a:pt x="1619929" y="969625"/>
                </a:cubicBezTo>
                <a:cubicBezTo>
                  <a:pt x="1619929" y="969625"/>
                  <a:pt x="1619929" y="970225"/>
                  <a:pt x="1619329" y="970824"/>
                </a:cubicBezTo>
                <a:lnTo>
                  <a:pt x="1619329" y="970824"/>
                </a:lnTo>
                <a:close/>
                <a:moveTo>
                  <a:pt x="1627120" y="959438"/>
                </a:moveTo>
                <a:cubicBezTo>
                  <a:pt x="1625921" y="961235"/>
                  <a:pt x="1624723" y="963033"/>
                  <a:pt x="1623524" y="964831"/>
                </a:cubicBezTo>
                <a:cubicBezTo>
                  <a:pt x="1624723" y="963033"/>
                  <a:pt x="1625921" y="960636"/>
                  <a:pt x="1627120" y="959438"/>
                </a:cubicBezTo>
                <a:close/>
                <a:moveTo>
                  <a:pt x="1667271" y="951647"/>
                </a:moveTo>
                <a:cubicBezTo>
                  <a:pt x="1665473" y="955243"/>
                  <a:pt x="1663076" y="958838"/>
                  <a:pt x="1660679" y="962434"/>
                </a:cubicBezTo>
                <a:cubicBezTo>
                  <a:pt x="1660080" y="963633"/>
                  <a:pt x="1658881" y="964831"/>
                  <a:pt x="1657683" y="964831"/>
                </a:cubicBezTo>
                <a:cubicBezTo>
                  <a:pt x="1658881" y="964232"/>
                  <a:pt x="1659481" y="963633"/>
                  <a:pt x="1660679" y="962434"/>
                </a:cubicBezTo>
                <a:cubicBezTo>
                  <a:pt x="1662477" y="958838"/>
                  <a:pt x="1663676" y="958239"/>
                  <a:pt x="1665473" y="954643"/>
                </a:cubicBezTo>
                <a:cubicBezTo>
                  <a:pt x="1666672" y="953445"/>
                  <a:pt x="1667271" y="952846"/>
                  <a:pt x="1667271" y="951647"/>
                </a:cubicBezTo>
                <a:close/>
                <a:moveTo>
                  <a:pt x="1641502" y="958239"/>
                </a:moveTo>
                <a:cubicBezTo>
                  <a:pt x="1639705" y="957041"/>
                  <a:pt x="1638506" y="956441"/>
                  <a:pt x="1637307" y="955842"/>
                </a:cubicBezTo>
                <a:cubicBezTo>
                  <a:pt x="1638506" y="956441"/>
                  <a:pt x="1640304" y="957041"/>
                  <a:pt x="1641502" y="958239"/>
                </a:cubicBezTo>
                <a:cubicBezTo>
                  <a:pt x="1643300" y="959438"/>
                  <a:pt x="1644499" y="960636"/>
                  <a:pt x="1646297" y="961835"/>
                </a:cubicBezTo>
                <a:cubicBezTo>
                  <a:pt x="1645098" y="960037"/>
                  <a:pt x="1643300" y="958838"/>
                  <a:pt x="1641502" y="958239"/>
                </a:cubicBezTo>
                <a:close/>
                <a:moveTo>
                  <a:pt x="1633712" y="955243"/>
                </a:moveTo>
                <a:cubicBezTo>
                  <a:pt x="1631914" y="955243"/>
                  <a:pt x="1630116" y="956441"/>
                  <a:pt x="1628918" y="957640"/>
                </a:cubicBezTo>
                <a:cubicBezTo>
                  <a:pt x="1630116" y="956441"/>
                  <a:pt x="1631914" y="955243"/>
                  <a:pt x="1633712" y="955243"/>
                </a:cubicBezTo>
                <a:close/>
                <a:moveTo>
                  <a:pt x="1598954" y="972022"/>
                </a:moveTo>
                <a:cubicBezTo>
                  <a:pt x="1600752" y="972622"/>
                  <a:pt x="1601950" y="973221"/>
                  <a:pt x="1602550" y="973820"/>
                </a:cubicBezTo>
                <a:cubicBezTo>
                  <a:pt x="1601950" y="973221"/>
                  <a:pt x="1600153" y="972622"/>
                  <a:pt x="1598954" y="972022"/>
                </a:cubicBezTo>
                <a:close/>
                <a:moveTo>
                  <a:pt x="1682852" y="923481"/>
                </a:moveTo>
                <a:cubicBezTo>
                  <a:pt x="1683452" y="921084"/>
                  <a:pt x="1684650" y="918687"/>
                  <a:pt x="1685849" y="916889"/>
                </a:cubicBezTo>
                <a:cubicBezTo>
                  <a:pt x="1687647" y="914492"/>
                  <a:pt x="1688845" y="912095"/>
                  <a:pt x="1690643" y="910297"/>
                </a:cubicBezTo>
                <a:cubicBezTo>
                  <a:pt x="1688845" y="912095"/>
                  <a:pt x="1687047" y="913893"/>
                  <a:pt x="1685849" y="916889"/>
                </a:cubicBezTo>
                <a:cubicBezTo>
                  <a:pt x="1684650" y="918687"/>
                  <a:pt x="1683452" y="920485"/>
                  <a:pt x="1682852" y="923481"/>
                </a:cubicBezTo>
                <a:cubicBezTo>
                  <a:pt x="1681654" y="927077"/>
                  <a:pt x="1679856" y="929474"/>
                  <a:pt x="1678658" y="931272"/>
                </a:cubicBezTo>
                <a:cubicBezTo>
                  <a:pt x="1677459" y="932470"/>
                  <a:pt x="1676860" y="933669"/>
                  <a:pt x="1675661" y="934268"/>
                </a:cubicBezTo>
                <a:cubicBezTo>
                  <a:pt x="1676260" y="933070"/>
                  <a:pt x="1677459" y="932470"/>
                  <a:pt x="1678658" y="931272"/>
                </a:cubicBezTo>
                <a:cubicBezTo>
                  <a:pt x="1679856" y="929474"/>
                  <a:pt x="1681654" y="927077"/>
                  <a:pt x="1682852" y="923481"/>
                </a:cubicBezTo>
                <a:close/>
                <a:moveTo>
                  <a:pt x="1751769" y="881532"/>
                </a:moveTo>
                <a:cubicBezTo>
                  <a:pt x="1751170" y="882731"/>
                  <a:pt x="1751170" y="883330"/>
                  <a:pt x="1750570" y="883929"/>
                </a:cubicBezTo>
                <a:cubicBezTo>
                  <a:pt x="1751170" y="883330"/>
                  <a:pt x="1751170" y="882731"/>
                  <a:pt x="1751769" y="881532"/>
                </a:cubicBezTo>
                <a:cubicBezTo>
                  <a:pt x="1751769" y="880933"/>
                  <a:pt x="1751769" y="880933"/>
                  <a:pt x="1751769" y="880333"/>
                </a:cubicBezTo>
                <a:cubicBezTo>
                  <a:pt x="1752368" y="880333"/>
                  <a:pt x="1752368" y="880933"/>
                  <a:pt x="1751769" y="881532"/>
                </a:cubicBezTo>
                <a:close/>
                <a:moveTo>
                  <a:pt x="1770346" y="784450"/>
                </a:moveTo>
                <a:cubicBezTo>
                  <a:pt x="1770346" y="784450"/>
                  <a:pt x="1768549" y="784450"/>
                  <a:pt x="1767350" y="785049"/>
                </a:cubicBezTo>
                <a:lnTo>
                  <a:pt x="1770346" y="784450"/>
                </a:lnTo>
                <a:cubicBezTo>
                  <a:pt x="1770346" y="784450"/>
                  <a:pt x="1770346" y="784450"/>
                  <a:pt x="1770346" y="784450"/>
                </a:cubicBezTo>
                <a:close/>
                <a:moveTo>
                  <a:pt x="1754166" y="898312"/>
                </a:moveTo>
                <a:cubicBezTo>
                  <a:pt x="1755964" y="901907"/>
                  <a:pt x="1758361" y="904904"/>
                  <a:pt x="1761957" y="907301"/>
                </a:cubicBezTo>
                <a:cubicBezTo>
                  <a:pt x="1763155" y="907900"/>
                  <a:pt x="1763754" y="907900"/>
                  <a:pt x="1764953" y="907900"/>
                </a:cubicBezTo>
                <a:cubicBezTo>
                  <a:pt x="1763754" y="907900"/>
                  <a:pt x="1763155" y="907900"/>
                  <a:pt x="1761957" y="907301"/>
                </a:cubicBezTo>
                <a:cubicBezTo>
                  <a:pt x="1758361" y="904904"/>
                  <a:pt x="1755964" y="901308"/>
                  <a:pt x="1754166" y="898312"/>
                </a:cubicBezTo>
                <a:close/>
                <a:moveTo>
                  <a:pt x="1774541" y="901907"/>
                </a:moveTo>
                <a:cubicBezTo>
                  <a:pt x="1775740" y="900709"/>
                  <a:pt x="1776339" y="899510"/>
                  <a:pt x="1777538" y="898312"/>
                </a:cubicBezTo>
                <a:cubicBezTo>
                  <a:pt x="1779935" y="895315"/>
                  <a:pt x="1781733" y="892319"/>
                  <a:pt x="1783530" y="889323"/>
                </a:cubicBezTo>
                <a:cubicBezTo>
                  <a:pt x="1782332" y="891720"/>
                  <a:pt x="1779935" y="895315"/>
                  <a:pt x="1777538" y="898312"/>
                </a:cubicBezTo>
                <a:cubicBezTo>
                  <a:pt x="1776339" y="899510"/>
                  <a:pt x="1775140" y="900709"/>
                  <a:pt x="1774541" y="901907"/>
                </a:cubicBezTo>
                <a:close/>
                <a:moveTo>
                  <a:pt x="1785328" y="885727"/>
                </a:moveTo>
                <a:cubicBezTo>
                  <a:pt x="1785328" y="885128"/>
                  <a:pt x="1785328" y="885128"/>
                  <a:pt x="1785328" y="885727"/>
                </a:cubicBezTo>
                <a:cubicBezTo>
                  <a:pt x="1785328" y="885128"/>
                  <a:pt x="1785328" y="885128"/>
                  <a:pt x="1785328" y="885727"/>
                </a:cubicBezTo>
                <a:close/>
                <a:moveTo>
                  <a:pt x="1787725" y="882131"/>
                </a:moveTo>
                <a:cubicBezTo>
                  <a:pt x="1787725" y="882131"/>
                  <a:pt x="1787126" y="882731"/>
                  <a:pt x="1787126" y="882731"/>
                </a:cubicBezTo>
                <a:cubicBezTo>
                  <a:pt x="1787126" y="882731"/>
                  <a:pt x="1787725" y="882731"/>
                  <a:pt x="1787725" y="882131"/>
                </a:cubicBezTo>
                <a:close/>
                <a:moveTo>
                  <a:pt x="1789523" y="880933"/>
                </a:moveTo>
                <a:cubicBezTo>
                  <a:pt x="1789523" y="880933"/>
                  <a:pt x="1790122" y="880333"/>
                  <a:pt x="1790122" y="880333"/>
                </a:cubicBezTo>
                <a:cubicBezTo>
                  <a:pt x="1790122" y="880333"/>
                  <a:pt x="1789523" y="880333"/>
                  <a:pt x="1789523" y="880933"/>
                </a:cubicBezTo>
                <a:close/>
                <a:moveTo>
                  <a:pt x="1746975" y="877337"/>
                </a:moveTo>
                <a:cubicBezTo>
                  <a:pt x="1746375" y="877337"/>
                  <a:pt x="1745776" y="877337"/>
                  <a:pt x="1745177" y="877337"/>
                </a:cubicBezTo>
                <a:cubicBezTo>
                  <a:pt x="1743978" y="877337"/>
                  <a:pt x="1742780" y="877337"/>
                  <a:pt x="1740982" y="877337"/>
                </a:cubicBezTo>
                <a:cubicBezTo>
                  <a:pt x="1742180" y="877337"/>
                  <a:pt x="1743978" y="877337"/>
                  <a:pt x="1745177" y="877337"/>
                </a:cubicBezTo>
                <a:cubicBezTo>
                  <a:pt x="1745776" y="877337"/>
                  <a:pt x="1746375" y="877337"/>
                  <a:pt x="1746975" y="877337"/>
                </a:cubicBezTo>
                <a:close/>
                <a:moveTo>
                  <a:pt x="1731993" y="877337"/>
                </a:moveTo>
                <a:lnTo>
                  <a:pt x="1731993" y="877337"/>
                </a:lnTo>
                <a:cubicBezTo>
                  <a:pt x="1731993" y="877337"/>
                  <a:pt x="1731993" y="877936"/>
                  <a:pt x="1725401" y="880933"/>
                </a:cubicBezTo>
                <a:cubicBezTo>
                  <a:pt x="1718809" y="883929"/>
                  <a:pt x="1715812" y="891120"/>
                  <a:pt x="1709820" y="893517"/>
                </a:cubicBezTo>
                <a:cubicBezTo>
                  <a:pt x="1707423" y="894117"/>
                  <a:pt x="1705625" y="895315"/>
                  <a:pt x="1704426" y="896514"/>
                </a:cubicBezTo>
                <a:cubicBezTo>
                  <a:pt x="1703228" y="897712"/>
                  <a:pt x="1702628" y="898312"/>
                  <a:pt x="1701430" y="899510"/>
                </a:cubicBezTo>
                <a:cubicBezTo>
                  <a:pt x="1702628" y="898312"/>
                  <a:pt x="1703228" y="897113"/>
                  <a:pt x="1704426" y="896514"/>
                </a:cubicBezTo>
                <a:cubicBezTo>
                  <a:pt x="1706224" y="895315"/>
                  <a:pt x="1707423" y="894117"/>
                  <a:pt x="1709820" y="893517"/>
                </a:cubicBezTo>
                <a:cubicBezTo>
                  <a:pt x="1715812" y="891120"/>
                  <a:pt x="1718809" y="883929"/>
                  <a:pt x="1725401" y="880933"/>
                </a:cubicBezTo>
                <a:cubicBezTo>
                  <a:pt x="1731993" y="877936"/>
                  <a:pt x="1731993" y="877337"/>
                  <a:pt x="1731993" y="877337"/>
                </a:cubicBezTo>
                <a:close/>
                <a:moveTo>
                  <a:pt x="1715812" y="804825"/>
                </a:moveTo>
                <a:cubicBezTo>
                  <a:pt x="1715812" y="806023"/>
                  <a:pt x="1715812" y="807222"/>
                  <a:pt x="1715213" y="808421"/>
                </a:cubicBezTo>
                <a:cubicBezTo>
                  <a:pt x="1714614" y="809619"/>
                  <a:pt x="1714015" y="810818"/>
                  <a:pt x="1712816" y="811417"/>
                </a:cubicBezTo>
                <a:cubicBezTo>
                  <a:pt x="1714015" y="810818"/>
                  <a:pt x="1714614" y="809619"/>
                  <a:pt x="1715213" y="808421"/>
                </a:cubicBezTo>
                <a:cubicBezTo>
                  <a:pt x="1715812" y="806623"/>
                  <a:pt x="1715812" y="806023"/>
                  <a:pt x="1715812" y="804825"/>
                </a:cubicBezTo>
                <a:cubicBezTo>
                  <a:pt x="1715812" y="803626"/>
                  <a:pt x="1715812" y="803027"/>
                  <a:pt x="1715812" y="802428"/>
                </a:cubicBezTo>
                <a:cubicBezTo>
                  <a:pt x="1715812" y="803027"/>
                  <a:pt x="1715812" y="803626"/>
                  <a:pt x="1715812" y="804825"/>
                </a:cubicBezTo>
                <a:close/>
                <a:moveTo>
                  <a:pt x="1692441" y="816211"/>
                </a:moveTo>
                <a:cubicBezTo>
                  <a:pt x="1691841" y="816211"/>
                  <a:pt x="1691242" y="816211"/>
                  <a:pt x="1691242" y="816211"/>
                </a:cubicBezTo>
                <a:cubicBezTo>
                  <a:pt x="1691242" y="816810"/>
                  <a:pt x="1691841" y="816810"/>
                  <a:pt x="1692441" y="816211"/>
                </a:cubicBezTo>
                <a:close/>
                <a:moveTo>
                  <a:pt x="1692441" y="809619"/>
                </a:moveTo>
                <a:cubicBezTo>
                  <a:pt x="1692441" y="809619"/>
                  <a:pt x="1692441" y="809619"/>
                  <a:pt x="1692441" y="809619"/>
                </a:cubicBezTo>
                <a:cubicBezTo>
                  <a:pt x="1692441" y="809619"/>
                  <a:pt x="1692441" y="809619"/>
                  <a:pt x="1692441" y="809619"/>
                </a:cubicBezTo>
                <a:close/>
                <a:moveTo>
                  <a:pt x="1679856" y="816810"/>
                </a:moveTo>
                <a:cubicBezTo>
                  <a:pt x="1687047" y="812616"/>
                  <a:pt x="1688246" y="809619"/>
                  <a:pt x="1691242" y="809619"/>
                </a:cubicBezTo>
                <a:cubicBezTo>
                  <a:pt x="1688246" y="810218"/>
                  <a:pt x="1686448" y="813215"/>
                  <a:pt x="1679856" y="816810"/>
                </a:cubicBezTo>
                <a:close/>
                <a:moveTo>
                  <a:pt x="1669668" y="819807"/>
                </a:moveTo>
                <a:cubicBezTo>
                  <a:pt x="1666672" y="819807"/>
                  <a:pt x="1664275" y="819208"/>
                  <a:pt x="1663676" y="818608"/>
                </a:cubicBezTo>
                <a:cubicBezTo>
                  <a:pt x="1663076" y="818009"/>
                  <a:pt x="1663076" y="818009"/>
                  <a:pt x="1662477" y="818009"/>
                </a:cubicBezTo>
                <a:cubicBezTo>
                  <a:pt x="1663076" y="818009"/>
                  <a:pt x="1663076" y="818009"/>
                  <a:pt x="1663676" y="818608"/>
                </a:cubicBezTo>
                <a:cubicBezTo>
                  <a:pt x="1664275" y="819807"/>
                  <a:pt x="1666672" y="820406"/>
                  <a:pt x="1669668" y="819807"/>
                </a:cubicBezTo>
                <a:close/>
                <a:moveTo>
                  <a:pt x="1649892" y="823402"/>
                </a:moveTo>
                <a:cubicBezTo>
                  <a:pt x="1649293" y="823402"/>
                  <a:pt x="1649892" y="824002"/>
                  <a:pt x="1650492" y="824601"/>
                </a:cubicBezTo>
                <a:cubicBezTo>
                  <a:pt x="1651091" y="825200"/>
                  <a:pt x="1651690" y="825200"/>
                  <a:pt x="1651690" y="825800"/>
                </a:cubicBezTo>
                <a:cubicBezTo>
                  <a:pt x="1651690" y="825200"/>
                  <a:pt x="1651091" y="825200"/>
                  <a:pt x="1650492" y="824601"/>
                </a:cubicBezTo>
                <a:cubicBezTo>
                  <a:pt x="1649293" y="824601"/>
                  <a:pt x="1649293" y="824002"/>
                  <a:pt x="1649892" y="823402"/>
                </a:cubicBezTo>
                <a:close/>
                <a:moveTo>
                  <a:pt x="1644499" y="834789"/>
                </a:moveTo>
                <a:cubicBezTo>
                  <a:pt x="1643900" y="835388"/>
                  <a:pt x="1643300" y="835987"/>
                  <a:pt x="1643300" y="836586"/>
                </a:cubicBezTo>
                <a:cubicBezTo>
                  <a:pt x="1643300" y="837186"/>
                  <a:pt x="1642701" y="837186"/>
                  <a:pt x="1642701" y="837785"/>
                </a:cubicBezTo>
                <a:cubicBezTo>
                  <a:pt x="1642102" y="838384"/>
                  <a:pt x="1642102" y="839583"/>
                  <a:pt x="1642102" y="840182"/>
                </a:cubicBezTo>
                <a:cubicBezTo>
                  <a:pt x="1642102" y="839583"/>
                  <a:pt x="1642701" y="838984"/>
                  <a:pt x="1642701" y="837785"/>
                </a:cubicBezTo>
                <a:cubicBezTo>
                  <a:pt x="1642701" y="837186"/>
                  <a:pt x="1643300" y="837186"/>
                  <a:pt x="1643300" y="836586"/>
                </a:cubicBezTo>
                <a:cubicBezTo>
                  <a:pt x="1643900" y="835987"/>
                  <a:pt x="1643900" y="835388"/>
                  <a:pt x="1644499" y="834789"/>
                </a:cubicBezTo>
                <a:close/>
                <a:moveTo>
                  <a:pt x="1637907" y="837785"/>
                </a:moveTo>
                <a:cubicBezTo>
                  <a:pt x="1637307" y="837785"/>
                  <a:pt x="1637307" y="837785"/>
                  <a:pt x="1637307" y="838384"/>
                </a:cubicBezTo>
                <a:cubicBezTo>
                  <a:pt x="1637307" y="838984"/>
                  <a:pt x="1636708" y="839583"/>
                  <a:pt x="1636708" y="841381"/>
                </a:cubicBezTo>
                <a:cubicBezTo>
                  <a:pt x="1636708" y="840182"/>
                  <a:pt x="1636708" y="838984"/>
                  <a:pt x="1637307" y="838384"/>
                </a:cubicBezTo>
                <a:cubicBezTo>
                  <a:pt x="1637307" y="837785"/>
                  <a:pt x="1637307" y="837785"/>
                  <a:pt x="1637907" y="837785"/>
                </a:cubicBezTo>
                <a:close/>
                <a:moveTo>
                  <a:pt x="1636109" y="843179"/>
                </a:moveTo>
                <a:cubicBezTo>
                  <a:pt x="1636109" y="847373"/>
                  <a:pt x="1636109" y="847973"/>
                  <a:pt x="1633113" y="850370"/>
                </a:cubicBezTo>
                <a:cubicBezTo>
                  <a:pt x="1632513" y="850969"/>
                  <a:pt x="1631315" y="852168"/>
                  <a:pt x="1630716" y="852767"/>
                </a:cubicBezTo>
                <a:cubicBezTo>
                  <a:pt x="1631315" y="852168"/>
                  <a:pt x="1632513" y="850969"/>
                  <a:pt x="1633113" y="850370"/>
                </a:cubicBezTo>
                <a:cubicBezTo>
                  <a:pt x="1636109" y="847973"/>
                  <a:pt x="1636109" y="847373"/>
                  <a:pt x="1636109" y="843179"/>
                </a:cubicBezTo>
                <a:close/>
                <a:moveTo>
                  <a:pt x="1596557" y="884528"/>
                </a:moveTo>
                <a:cubicBezTo>
                  <a:pt x="1594160" y="886326"/>
                  <a:pt x="1592362" y="888124"/>
                  <a:pt x="1589965" y="890521"/>
                </a:cubicBezTo>
                <a:cubicBezTo>
                  <a:pt x="1588766" y="891720"/>
                  <a:pt x="1586968" y="893517"/>
                  <a:pt x="1584571" y="894716"/>
                </a:cubicBezTo>
                <a:cubicBezTo>
                  <a:pt x="1586369" y="892918"/>
                  <a:pt x="1588167" y="891720"/>
                  <a:pt x="1589965" y="890521"/>
                </a:cubicBezTo>
                <a:cubicBezTo>
                  <a:pt x="1592362" y="888124"/>
                  <a:pt x="1594160" y="886326"/>
                  <a:pt x="1596557" y="884528"/>
                </a:cubicBezTo>
                <a:close/>
                <a:moveTo>
                  <a:pt x="1481496" y="859958"/>
                </a:moveTo>
                <a:cubicBezTo>
                  <a:pt x="1481496" y="861157"/>
                  <a:pt x="1482096" y="862355"/>
                  <a:pt x="1483893" y="865352"/>
                </a:cubicBezTo>
                <a:cubicBezTo>
                  <a:pt x="1482096" y="862954"/>
                  <a:pt x="1481496" y="861157"/>
                  <a:pt x="1481496" y="859958"/>
                </a:cubicBezTo>
                <a:close/>
                <a:moveTo>
                  <a:pt x="1450933" y="945654"/>
                </a:moveTo>
                <a:cubicBezTo>
                  <a:pt x="1451533" y="944456"/>
                  <a:pt x="1452731" y="942658"/>
                  <a:pt x="1453930" y="941459"/>
                </a:cubicBezTo>
                <a:cubicBezTo>
                  <a:pt x="1452132" y="942658"/>
                  <a:pt x="1451533" y="944456"/>
                  <a:pt x="1450933" y="945654"/>
                </a:cubicBezTo>
                <a:cubicBezTo>
                  <a:pt x="1450334" y="946254"/>
                  <a:pt x="1450334" y="946853"/>
                  <a:pt x="1449735" y="946853"/>
                </a:cubicBezTo>
                <a:cubicBezTo>
                  <a:pt x="1449735" y="946853"/>
                  <a:pt x="1450334" y="946254"/>
                  <a:pt x="1450933" y="945654"/>
                </a:cubicBezTo>
                <a:close/>
                <a:moveTo>
                  <a:pt x="1483893" y="964232"/>
                </a:moveTo>
                <a:cubicBezTo>
                  <a:pt x="1484493" y="964831"/>
                  <a:pt x="1485092" y="965430"/>
                  <a:pt x="1486291" y="966030"/>
                </a:cubicBezTo>
                <a:cubicBezTo>
                  <a:pt x="1486291" y="966030"/>
                  <a:pt x="1486291" y="966030"/>
                  <a:pt x="1486291" y="966030"/>
                </a:cubicBezTo>
                <a:cubicBezTo>
                  <a:pt x="1486291" y="966030"/>
                  <a:pt x="1486291" y="966030"/>
                  <a:pt x="1486291" y="966030"/>
                </a:cubicBezTo>
                <a:cubicBezTo>
                  <a:pt x="1485092" y="966030"/>
                  <a:pt x="1484493" y="965430"/>
                  <a:pt x="1483893" y="964232"/>
                </a:cubicBezTo>
                <a:close/>
                <a:moveTo>
                  <a:pt x="1485092" y="956441"/>
                </a:moveTo>
                <a:cubicBezTo>
                  <a:pt x="1485092" y="956441"/>
                  <a:pt x="1485691" y="955842"/>
                  <a:pt x="1485691" y="955842"/>
                </a:cubicBezTo>
                <a:cubicBezTo>
                  <a:pt x="1486291" y="955243"/>
                  <a:pt x="1486291" y="954643"/>
                  <a:pt x="1486890" y="954643"/>
                </a:cubicBezTo>
                <a:cubicBezTo>
                  <a:pt x="1486890" y="955243"/>
                  <a:pt x="1486291" y="955842"/>
                  <a:pt x="1485691" y="955842"/>
                </a:cubicBezTo>
                <a:cubicBezTo>
                  <a:pt x="1485691" y="956441"/>
                  <a:pt x="1485092" y="956441"/>
                  <a:pt x="1485092" y="956441"/>
                </a:cubicBezTo>
                <a:cubicBezTo>
                  <a:pt x="1485092" y="956441"/>
                  <a:pt x="1484493" y="957041"/>
                  <a:pt x="1484493" y="957041"/>
                </a:cubicBezTo>
                <a:cubicBezTo>
                  <a:pt x="1484493" y="957041"/>
                  <a:pt x="1484493" y="957041"/>
                  <a:pt x="1485092" y="956441"/>
                </a:cubicBezTo>
                <a:close/>
                <a:moveTo>
                  <a:pt x="1486890" y="952246"/>
                </a:moveTo>
                <a:cubicBezTo>
                  <a:pt x="1486890" y="951647"/>
                  <a:pt x="1486291" y="951048"/>
                  <a:pt x="1485691" y="950449"/>
                </a:cubicBezTo>
                <a:cubicBezTo>
                  <a:pt x="1486291" y="951048"/>
                  <a:pt x="1486890" y="951647"/>
                  <a:pt x="1486890" y="952246"/>
                </a:cubicBezTo>
                <a:close/>
                <a:moveTo>
                  <a:pt x="1480897" y="937265"/>
                </a:moveTo>
                <a:cubicBezTo>
                  <a:pt x="1482096" y="937265"/>
                  <a:pt x="1482695" y="939062"/>
                  <a:pt x="1482695" y="942059"/>
                </a:cubicBezTo>
                <a:cubicBezTo>
                  <a:pt x="1483294" y="936665"/>
                  <a:pt x="1482695" y="936066"/>
                  <a:pt x="1480897" y="937265"/>
                </a:cubicBezTo>
                <a:close/>
                <a:moveTo>
                  <a:pt x="1479699" y="937864"/>
                </a:moveTo>
                <a:cubicBezTo>
                  <a:pt x="1479099" y="937864"/>
                  <a:pt x="1478500" y="936665"/>
                  <a:pt x="1477301" y="936066"/>
                </a:cubicBezTo>
                <a:cubicBezTo>
                  <a:pt x="1478500" y="936665"/>
                  <a:pt x="1478500" y="939062"/>
                  <a:pt x="1479699" y="937864"/>
                </a:cubicBezTo>
                <a:close/>
                <a:moveTo>
                  <a:pt x="1489287" y="967228"/>
                </a:moveTo>
                <a:cubicBezTo>
                  <a:pt x="1489287" y="967228"/>
                  <a:pt x="1489287" y="967228"/>
                  <a:pt x="1489287" y="967228"/>
                </a:cubicBezTo>
                <a:cubicBezTo>
                  <a:pt x="1489287" y="967228"/>
                  <a:pt x="1488688" y="967228"/>
                  <a:pt x="1489287" y="967228"/>
                </a:cubicBezTo>
                <a:cubicBezTo>
                  <a:pt x="1488688" y="967228"/>
                  <a:pt x="1488688" y="967228"/>
                  <a:pt x="1489287" y="967228"/>
                </a:cubicBezTo>
                <a:close/>
                <a:moveTo>
                  <a:pt x="1491684" y="967827"/>
                </a:moveTo>
                <a:cubicBezTo>
                  <a:pt x="1492283" y="967827"/>
                  <a:pt x="1492283" y="967827"/>
                  <a:pt x="1491684" y="967827"/>
                </a:cubicBezTo>
                <a:cubicBezTo>
                  <a:pt x="1492283" y="967827"/>
                  <a:pt x="1492283" y="967827"/>
                  <a:pt x="1491684" y="967827"/>
                </a:cubicBezTo>
                <a:close/>
                <a:moveTo>
                  <a:pt x="1494680" y="968427"/>
                </a:moveTo>
                <a:cubicBezTo>
                  <a:pt x="1494680" y="968427"/>
                  <a:pt x="1495280" y="968427"/>
                  <a:pt x="1494680" y="968427"/>
                </a:cubicBezTo>
                <a:cubicBezTo>
                  <a:pt x="1495280" y="968427"/>
                  <a:pt x="1494680" y="968427"/>
                  <a:pt x="1494680" y="968427"/>
                </a:cubicBezTo>
                <a:close/>
                <a:moveTo>
                  <a:pt x="1497677" y="967827"/>
                </a:moveTo>
                <a:cubicBezTo>
                  <a:pt x="1497677" y="967827"/>
                  <a:pt x="1498276" y="967827"/>
                  <a:pt x="1497677" y="967827"/>
                </a:cubicBezTo>
                <a:cubicBezTo>
                  <a:pt x="1498276" y="967827"/>
                  <a:pt x="1497677" y="967827"/>
                  <a:pt x="1497677" y="967827"/>
                </a:cubicBezTo>
                <a:close/>
                <a:moveTo>
                  <a:pt x="1500673" y="906102"/>
                </a:moveTo>
                <a:cubicBezTo>
                  <a:pt x="1500074" y="906102"/>
                  <a:pt x="1498875" y="905503"/>
                  <a:pt x="1498875" y="904304"/>
                </a:cubicBezTo>
                <a:cubicBezTo>
                  <a:pt x="1498875" y="905503"/>
                  <a:pt x="1500074" y="905503"/>
                  <a:pt x="1500673" y="906102"/>
                </a:cubicBezTo>
                <a:close/>
                <a:moveTo>
                  <a:pt x="1479099" y="874341"/>
                </a:moveTo>
                <a:cubicBezTo>
                  <a:pt x="1478500" y="874341"/>
                  <a:pt x="1478500" y="874940"/>
                  <a:pt x="1477901" y="874940"/>
                </a:cubicBezTo>
                <a:lnTo>
                  <a:pt x="1477901" y="874940"/>
                </a:lnTo>
                <a:cubicBezTo>
                  <a:pt x="1477901" y="874940"/>
                  <a:pt x="1477901" y="874940"/>
                  <a:pt x="1477901" y="874940"/>
                </a:cubicBezTo>
                <a:cubicBezTo>
                  <a:pt x="1478500" y="874940"/>
                  <a:pt x="1479099" y="874341"/>
                  <a:pt x="1479099" y="874341"/>
                </a:cubicBezTo>
                <a:close/>
                <a:moveTo>
                  <a:pt x="1420970" y="1162591"/>
                </a:moveTo>
                <a:cubicBezTo>
                  <a:pt x="1420370" y="1161992"/>
                  <a:pt x="1420370" y="1161393"/>
                  <a:pt x="1419771" y="1161393"/>
                </a:cubicBezTo>
                <a:lnTo>
                  <a:pt x="1419771" y="1161393"/>
                </a:lnTo>
                <a:cubicBezTo>
                  <a:pt x="1420370" y="1161393"/>
                  <a:pt x="1420970" y="1161992"/>
                  <a:pt x="1420970" y="1162591"/>
                </a:cubicBezTo>
                <a:close/>
                <a:moveTo>
                  <a:pt x="1422168" y="1164989"/>
                </a:moveTo>
                <a:cubicBezTo>
                  <a:pt x="1422168" y="1164389"/>
                  <a:pt x="1421569" y="1163790"/>
                  <a:pt x="1421569" y="1163191"/>
                </a:cubicBezTo>
                <a:cubicBezTo>
                  <a:pt x="1421569" y="1163191"/>
                  <a:pt x="1422168" y="1163790"/>
                  <a:pt x="1422168" y="1164989"/>
                </a:cubicBezTo>
                <a:close/>
                <a:moveTo>
                  <a:pt x="1405988" y="1185963"/>
                </a:moveTo>
                <a:cubicBezTo>
                  <a:pt x="1411981" y="1188360"/>
                  <a:pt x="1413179" y="1191357"/>
                  <a:pt x="1414977" y="1194952"/>
                </a:cubicBezTo>
                <a:cubicBezTo>
                  <a:pt x="1413179" y="1191357"/>
                  <a:pt x="1411981" y="1188360"/>
                  <a:pt x="1405988" y="1185963"/>
                </a:cubicBezTo>
                <a:lnTo>
                  <a:pt x="1405988" y="1185963"/>
                </a:lnTo>
                <a:close/>
                <a:moveTo>
                  <a:pt x="1406587" y="1184765"/>
                </a:moveTo>
                <a:cubicBezTo>
                  <a:pt x="1406587" y="1184765"/>
                  <a:pt x="1406587" y="1184765"/>
                  <a:pt x="1406587" y="1184765"/>
                </a:cubicBezTo>
                <a:cubicBezTo>
                  <a:pt x="1406587" y="1184765"/>
                  <a:pt x="1406587" y="1184765"/>
                  <a:pt x="1406587" y="1184765"/>
                </a:cubicBezTo>
                <a:close/>
                <a:moveTo>
                  <a:pt x="1407786" y="1181768"/>
                </a:moveTo>
                <a:cubicBezTo>
                  <a:pt x="1407786" y="1181768"/>
                  <a:pt x="1407786" y="1181768"/>
                  <a:pt x="1407786" y="1181768"/>
                </a:cubicBezTo>
                <a:cubicBezTo>
                  <a:pt x="1407786" y="1181768"/>
                  <a:pt x="1407786" y="1181768"/>
                  <a:pt x="1407786" y="1181768"/>
                </a:cubicBezTo>
                <a:close/>
                <a:moveTo>
                  <a:pt x="1408385" y="1181169"/>
                </a:moveTo>
                <a:cubicBezTo>
                  <a:pt x="1408385" y="1181169"/>
                  <a:pt x="1408385" y="1181169"/>
                  <a:pt x="1408385" y="1181169"/>
                </a:cubicBezTo>
                <a:cubicBezTo>
                  <a:pt x="1408385" y="1181169"/>
                  <a:pt x="1408385" y="1181169"/>
                  <a:pt x="1408385" y="1181169"/>
                </a:cubicBezTo>
                <a:close/>
                <a:moveTo>
                  <a:pt x="1408984" y="1179970"/>
                </a:moveTo>
                <a:cubicBezTo>
                  <a:pt x="1408984" y="1179970"/>
                  <a:pt x="1408984" y="1179970"/>
                  <a:pt x="1408984" y="1179970"/>
                </a:cubicBezTo>
                <a:cubicBezTo>
                  <a:pt x="1408984" y="1179970"/>
                  <a:pt x="1408984" y="1179970"/>
                  <a:pt x="1408984" y="1179970"/>
                </a:cubicBezTo>
                <a:close/>
                <a:moveTo>
                  <a:pt x="1409583" y="1178772"/>
                </a:moveTo>
                <a:cubicBezTo>
                  <a:pt x="1409583" y="1179371"/>
                  <a:pt x="1409583" y="1179371"/>
                  <a:pt x="1409583" y="1178772"/>
                </a:cubicBezTo>
                <a:cubicBezTo>
                  <a:pt x="1409583" y="1179371"/>
                  <a:pt x="1409583" y="1179371"/>
                  <a:pt x="1409583" y="1178772"/>
                </a:cubicBezTo>
                <a:close/>
                <a:moveTo>
                  <a:pt x="1405389" y="1188960"/>
                </a:moveTo>
                <a:cubicBezTo>
                  <a:pt x="1405988" y="1187761"/>
                  <a:pt x="1405988" y="1187162"/>
                  <a:pt x="1405988" y="1185963"/>
                </a:cubicBezTo>
                <a:cubicBezTo>
                  <a:pt x="1405988" y="1187162"/>
                  <a:pt x="1405389" y="1187761"/>
                  <a:pt x="1405389" y="1188960"/>
                </a:cubicBezTo>
                <a:close/>
                <a:moveTo>
                  <a:pt x="1363439" y="1241096"/>
                </a:moveTo>
                <a:cubicBezTo>
                  <a:pt x="1363439" y="1241096"/>
                  <a:pt x="1363439" y="1241096"/>
                  <a:pt x="1363439" y="1241096"/>
                </a:cubicBezTo>
                <a:cubicBezTo>
                  <a:pt x="1363439" y="1241096"/>
                  <a:pt x="1364039" y="1241096"/>
                  <a:pt x="1364039" y="1241696"/>
                </a:cubicBezTo>
                <a:cubicBezTo>
                  <a:pt x="1364039" y="1241696"/>
                  <a:pt x="1364039" y="1240497"/>
                  <a:pt x="1364039" y="1239299"/>
                </a:cubicBezTo>
                <a:cubicBezTo>
                  <a:pt x="1364039" y="1239299"/>
                  <a:pt x="1364039" y="1240497"/>
                  <a:pt x="1363439" y="1241096"/>
                </a:cubicBezTo>
                <a:close/>
                <a:moveTo>
                  <a:pt x="1364039" y="1236302"/>
                </a:moveTo>
                <a:cubicBezTo>
                  <a:pt x="1364039" y="1235104"/>
                  <a:pt x="1364039" y="1233306"/>
                  <a:pt x="1363439" y="1231508"/>
                </a:cubicBezTo>
                <a:cubicBezTo>
                  <a:pt x="1362840" y="1226714"/>
                  <a:pt x="1362840" y="1226115"/>
                  <a:pt x="1362840" y="1226115"/>
                </a:cubicBezTo>
                <a:cubicBezTo>
                  <a:pt x="1362840" y="1226115"/>
                  <a:pt x="1362840" y="1226115"/>
                  <a:pt x="1362840" y="1226115"/>
                </a:cubicBezTo>
                <a:lnTo>
                  <a:pt x="1362840" y="1233306"/>
                </a:lnTo>
                <a:cubicBezTo>
                  <a:pt x="1363439" y="1232707"/>
                  <a:pt x="1364039" y="1234504"/>
                  <a:pt x="1364039" y="1236302"/>
                </a:cubicBezTo>
                <a:close/>
                <a:moveTo>
                  <a:pt x="1370631" y="1245891"/>
                </a:moveTo>
                <a:cubicBezTo>
                  <a:pt x="1372429" y="1247688"/>
                  <a:pt x="1374226" y="1248887"/>
                  <a:pt x="1374826" y="1250086"/>
                </a:cubicBezTo>
                <a:cubicBezTo>
                  <a:pt x="1374226" y="1248887"/>
                  <a:pt x="1372429" y="1247688"/>
                  <a:pt x="1370631" y="1245891"/>
                </a:cubicBezTo>
                <a:close/>
                <a:moveTo>
                  <a:pt x="1364638" y="1225515"/>
                </a:moveTo>
                <a:cubicBezTo>
                  <a:pt x="1364039" y="1225515"/>
                  <a:pt x="1363439" y="1225515"/>
                  <a:pt x="1363439" y="1226115"/>
                </a:cubicBezTo>
                <a:cubicBezTo>
                  <a:pt x="1364039" y="1225515"/>
                  <a:pt x="1364039" y="1225515"/>
                  <a:pt x="1364638" y="1225515"/>
                </a:cubicBezTo>
                <a:close/>
                <a:moveTo>
                  <a:pt x="1367634" y="1224916"/>
                </a:moveTo>
                <a:cubicBezTo>
                  <a:pt x="1366436" y="1224916"/>
                  <a:pt x="1365836" y="1225515"/>
                  <a:pt x="1365237" y="1225515"/>
                </a:cubicBezTo>
                <a:cubicBezTo>
                  <a:pt x="1365836" y="1224916"/>
                  <a:pt x="1367035" y="1224916"/>
                  <a:pt x="1367634" y="1224916"/>
                </a:cubicBezTo>
                <a:close/>
                <a:moveTo>
                  <a:pt x="1358645" y="1228512"/>
                </a:moveTo>
                <a:cubicBezTo>
                  <a:pt x="1358645" y="1228512"/>
                  <a:pt x="1358645" y="1228512"/>
                  <a:pt x="1358645" y="1228512"/>
                </a:cubicBezTo>
                <a:cubicBezTo>
                  <a:pt x="1358645" y="1228512"/>
                  <a:pt x="1358645" y="1228512"/>
                  <a:pt x="1358645" y="1228512"/>
                </a:cubicBezTo>
                <a:close/>
                <a:moveTo>
                  <a:pt x="1361042" y="1226714"/>
                </a:moveTo>
                <a:cubicBezTo>
                  <a:pt x="1360443" y="1227313"/>
                  <a:pt x="1359844" y="1227313"/>
                  <a:pt x="1359244" y="1227912"/>
                </a:cubicBezTo>
                <a:cubicBezTo>
                  <a:pt x="1360443" y="1227313"/>
                  <a:pt x="1360443" y="1227313"/>
                  <a:pt x="1361042" y="1226714"/>
                </a:cubicBezTo>
                <a:close/>
                <a:moveTo>
                  <a:pt x="1362840" y="1226115"/>
                </a:moveTo>
                <a:cubicBezTo>
                  <a:pt x="1362241" y="1226115"/>
                  <a:pt x="1361642" y="1226714"/>
                  <a:pt x="1361642" y="1226714"/>
                </a:cubicBezTo>
                <a:cubicBezTo>
                  <a:pt x="1361642" y="1226714"/>
                  <a:pt x="1362241" y="1226115"/>
                  <a:pt x="1362840" y="1226115"/>
                </a:cubicBezTo>
                <a:close/>
                <a:moveTo>
                  <a:pt x="1441944" y="1268663"/>
                </a:moveTo>
                <a:lnTo>
                  <a:pt x="1437749" y="1270461"/>
                </a:lnTo>
                <a:lnTo>
                  <a:pt x="1437749" y="1270461"/>
                </a:lnTo>
                <a:lnTo>
                  <a:pt x="1441944" y="1268663"/>
                </a:lnTo>
                <a:close/>
                <a:moveTo>
                  <a:pt x="1549814" y="956441"/>
                </a:moveTo>
                <a:cubicBezTo>
                  <a:pt x="1551012" y="955842"/>
                  <a:pt x="1551611" y="955243"/>
                  <a:pt x="1552810" y="954044"/>
                </a:cubicBezTo>
                <a:cubicBezTo>
                  <a:pt x="1554008" y="953445"/>
                  <a:pt x="1555207" y="952246"/>
                  <a:pt x="1557005" y="952246"/>
                </a:cubicBezTo>
                <a:cubicBezTo>
                  <a:pt x="1555207" y="952846"/>
                  <a:pt x="1553409" y="953445"/>
                  <a:pt x="1552810" y="954044"/>
                </a:cubicBezTo>
                <a:cubicBezTo>
                  <a:pt x="1551611" y="954643"/>
                  <a:pt x="1550413" y="955842"/>
                  <a:pt x="1549814" y="956441"/>
                </a:cubicBezTo>
                <a:close/>
                <a:moveTo>
                  <a:pt x="1571387" y="898911"/>
                </a:moveTo>
                <a:cubicBezTo>
                  <a:pt x="1572586" y="899510"/>
                  <a:pt x="1573185" y="900110"/>
                  <a:pt x="1574384" y="900110"/>
                </a:cubicBezTo>
                <a:cubicBezTo>
                  <a:pt x="1573185" y="900110"/>
                  <a:pt x="1571987" y="900110"/>
                  <a:pt x="1571387" y="898911"/>
                </a:cubicBezTo>
                <a:cubicBezTo>
                  <a:pt x="1570189" y="897712"/>
                  <a:pt x="1567792" y="895915"/>
                  <a:pt x="1564795" y="894117"/>
                </a:cubicBezTo>
                <a:cubicBezTo>
                  <a:pt x="1561200" y="891720"/>
                  <a:pt x="1558803" y="891120"/>
                  <a:pt x="1557005" y="891120"/>
                </a:cubicBezTo>
                <a:cubicBezTo>
                  <a:pt x="1558803" y="891120"/>
                  <a:pt x="1561200" y="891720"/>
                  <a:pt x="1564795" y="894117"/>
                </a:cubicBezTo>
                <a:cubicBezTo>
                  <a:pt x="1567792" y="896514"/>
                  <a:pt x="1569590" y="898312"/>
                  <a:pt x="1571387" y="898911"/>
                </a:cubicBezTo>
                <a:close/>
                <a:moveTo>
                  <a:pt x="1552810" y="898312"/>
                </a:moveTo>
                <a:cubicBezTo>
                  <a:pt x="1552211" y="898312"/>
                  <a:pt x="1551012" y="897712"/>
                  <a:pt x="1549814" y="897113"/>
                </a:cubicBezTo>
                <a:cubicBezTo>
                  <a:pt x="1546817" y="895915"/>
                  <a:pt x="1545619" y="895315"/>
                  <a:pt x="1545019" y="895315"/>
                </a:cubicBezTo>
                <a:cubicBezTo>
                  <a:pt x="1546218" y="895315"/>
                  <a:pt x="1547416" y="895915"/>
                  <a:pt x="1549814" y="897113"/>
                </a:cubicBezTo>
                <a:cubicBezTo>
                  <a:pt x="1551012" y="897712"/>
                  <a:pt x="1552211" y="898312"/>
                  <a:pt x="1552810" y="898312"/>
                </a:cubicBezTo>
                <a:close/>
                <a:moveTo>
                  <a:pt x="1526442" y="961835"/>
                </a:moveTo>
                <a:cubicBezTo>
                  <a:pt x="1532435" y="960636"/>
                  <a:pt x="1537229" y="960037"/>
                  <a:pt x="1539626" y="960037"/>
                </a:cubicBezTo>
                <a:cubicBezTo>
                  <a:pt x="1540825" y="960037"/>
                  <a:pt x="1542023" y="960037"/>
                  <a:pt x="1542622" y="959438"/>
                </a:cubicBezTo>
                <a:cubicBezTo>
                  <a:pt x="1541424" y="959438"/>
                  <a:pt x="1540225" y="960037"/>
                  <a:pt x="1539626" y="960037"/>
                </a:cubicBezTo>
                <a:cubicBezTo>
                  <a:pt x="1537229" y="959438"/>
                  <a:pt x="1532435" y="960636"/>
                  <a:pt x="1526442" y="961835"/>
                </a:cubicBezTo>
                <a:close/>
                <a:moveTo>
                  <a:pt x="1503669" y="964831"/>
                </a:moveTo>
                <a:cubicBezTo>
                  <a:pt x="1503070" y="965430"/>
                  <a:pt x="1501872" y="965430"/>
                  <a:pt x="1501272" y="966030"/>
                </a:cubicBezTo>
                <a:cubicBezTo>
                  <a:pt x="1500673" y="966030"/>
                  <a:pt x="1500673" y="966629"/>
                  <a:pt x="1500074" y="966629"/>
                </a:cubicBezTo>
                <a:cubicBezTo>
                  <a:pt x="1500074" y="966629"/>
                  <a:pt x="1500074" y="966629"/>
                  <a:pt x="1500074" y="966629"/>
                </a:cubicBezTo>
                <a:cubicBezTo>
                  <a:pt x="1500074" y="966629"/>
                  <a:pt x="1500074" y="966629"/>
                  <a:pt x="1500074" y="966629"/>
                </a:cubicBezTo>
                <a:cubicBezTo>
                  <a:pt x="1500673" y="966030"/>
                  <a:pt x="1500673" y="966030"/>
                  <a:pt x="1501272" y="966030"/>
                </a:cubicBezTo>
                <a:cubicBezTo>
                  <a:pt x="1501872" y="965430"/>
                  <a:pt x="1502471" y="965430"/>
                  <a:pt x="1503669" y="964831"/>
                </a:cubicBezTo>
                <a:close/>
                <a:moveTo>
                  <a:pt x="1468312" y="873741"/>
                </a:moveTo>
                <a:cubicBezTo>
                  <a:pt x="1469511" y="872543"/>
                  <a:pt x="1470709" y="872543"/>
                  <a:pt x="1471908" y="873142"/>
                </a:cubicBezTo>
                <a:cubicBezTo>
                  <a:pt x="1473106" y="870745"/>
                  <a:pt x="1470709" y="870745"/>
                  <a:pt x="1468312" y="873741"/>
                </a:cubicBezTo>
                <a:close/>
                <a:moveTo>
                  <a:pt x="1461720" y="882731"/>
                </a:moveTo>
                <a:cubicBezTo>
                  <a:pt x="1461121" y="882731"/>
                  <a:pt x="1461121" y="883330"/>
                  <a:pt x="1460522" y="883330"/>
                </a:cubicBezTo>
                <a:cubicBezTo>
                  <a:pt x="1461121" y="882731"/>
                  <a:pt x="1461720" y="882731"/>
                  <a:pt x="1461720" y="882731"/>
                </a:cubicBezTo>
                <a:close/>
                <a:moveTo>
                  <a:pt x="1458125" y="882131"/>
                </a:moveTo>
                <a:cubicBezTo>
                  <a:pt x="1457525" y="882131"/>
                  <a:pt x="1456926" y="882131"/>
                  <a:pt x="1456327" y="882131"/>
                </a:cubicBezTo>
                <a:cubicBezTo>
                  <a:pt x="1457525" y="882131"/>
                  <a:pt x="1457525" y="882131"/>
                  <a:pt x="1458125" y="882131"/>
                </a:cubicBezTo>
                <a:close/>
                <a:moveTo>
                  <a:pt x="1437749" y="955243"/>
                </a:moveTo>
                <a:cubicBezTo>
                  <a:pt x="1438948" y="955243"/>
                  <a:pt x="1439547" y="953445"/>
                  <a:pt x="1441345" y="951048"/>
                </a:cubicBezTo>
                <a:cubicBezTo>
                  <a:pt x="1439547" y="953445"/>
                  <a:pt x="1438349" y="955243"/>
                  <a:pt x="1437749" y="955243"/>
                </a:cubicBezTo>
                <a:close/>
                <a:moveTo>
                  <a:pt x="1432356" y="943257"/>
                </a:moveTo>
                <a:cubicBezTo>
                  <a:pt x="1433554" y="942658"/>
                  <a:pt x="1434753" y="942059"/>
                  <a:pt x="1435352" y="941459"/>
                </a:cubicBezTo>
                <a:cubicBezTo>
                  <a:pt x="1434154" y="942059"/>
                  <a:pt x="1433554" y="942658"/>
                  <a:pt x="1432356" y="943257"/>
                </a:cubicBezTo>
                <a:close/>
                <a:moveTo>
                  <a:pt x="1425165" y="948051"/>
                </a:moveTo>
                <a:cubicBezTo>
                  <a:pt x="1424565" y="949250"/>
                  <a:pt x="1425165" y="949849"/>
                  <a:pt x="1426962" y="951048"/>
                </a:cubicBezTo>
                <a:cubicBezTo>
                  <a:pt x="1429360" y="952246"/>
                  <a:pt x="1430558" y="952246"/>
                  <a:pt x="1431757" y="952846"/>
                </a:cubicBezTo>
                <a:cubicBezTo>
                  <a:pt x="1432356" y="952846"/>
                  <a:pt x="1432955" y="952846"/>
                  <a:pt x="1433554" y="953445"/>
                </a:cubicBezTo>
                <a:cubicBezTo>
                  <a:pt x="1432955" y="953445"/>
                  <a:pt x="1432356" y="952846"/>
                  <a:pt x="1431757" y="952846"/>
                </a:cubicBezTo>
                <a:cubicBezTo>
                  <a:pt x="1430558" y="952846"/>
                  <a:pt x="1429360" y="952246"/>
                  <a:pt x="1426962" y="951048"/>
                </a:cubicBezTo>
                <a:cubicBezTo>
                  <a:pt x="1425165" y="949849"/>
                  <a:pt x="1424565" y="948651"/>
                  <a:pt x="1425165" y="948051"/>
                </a:cubicBezTo>
                <a:close/>
                <a:moveTo>
                  <a:pt x="1411381" y="1160194"/>
                </a:moveTo>
                <a:cubicBezTo>
                  <a:pt x="1414378" y="1160194"/>
                  <a:pt x="1417374" y="1160794"/>
                  <a:pt x="1419172" y="1161393"/>
                </a:cubicBezTo>
                <a:cubicBezTo>
                  <a:pt x="1419172" y="1161393"/>
                  <a:pt x="1419172" y="1161393"/>
                  <a:pt x="1419172" y="1161393"/>
                </a:cubicBezTo>
                <a:lnTo>
                  <a:pt x="1419172" y="1161393"/>
                </a:lnTo>
                <a:lnTo>
                  <a:pt x="1419172" y="1161393"/>
                </a:lnTo>
                <a:lnTo>
                  <a:pt x="1419172" y="1161393"/>
                </a:lnTo>
                <a:cubicBezTo>
                  <a:pt x="1416775" y="1160194"/>
                  <a:pt x="1414378" y="1160194"/>
                  <a:pt x="1411381" y="1160194"/>
                </a:cubicBezTo>
                <a:close/>
                <a:moveTo>
                  <a:pt x="1525243" y="1193155"/>
                </a:moveTo>
                <a:lnTo>
                  <a:pt x="1523446" y="1192555"/>
                </a:lnTo>
                <a:lnTo>
                  <a:pt x="1523446" y="1192555"/>
                </a:lnTo>
                <a:lnTo>
                  <a:pt x="1525243" y="1193155"/>
                </a:lnTo>
                <a:close/>
                <a:moveTo>
                  <a:pt x="1533034" y="1212931"/>
                </a:moveTo>
                <a:cubicBezTo>
                  <a:pt x="1533034" y="1212931"/>
                  <a:pt x="1533034" y="1212931"/>
                  <a:pt x="1533034" y="1212931"/>
                </a:cubicBezTo>
                <a:cubicBezTo>
                  <a:pt x="1531835" y="1212931"/>
                  <a:pt x="1530637" y="1212931"/>
                  <a:pt x="1530637" y="1213530"/>
                </a:cubicBezTo>
                <a:cubicBezTo>
                  <a:pt x="1530637" y="1213530"/>
                  <a:pt x="1531835" y="1212931"/>
                  <a:pt x="1533034" y="1212931"/>
                </a:cubicBezTo>
                <a:close/>
                <a:moveTo>
                  <a:pt x="1542622" y="1213530"/>
                </a:moveTo>
                <a:cubicBezTo>
                  <a:pt x="1542622" y="1213530"/>
                  <a:pt x="1543222" y="1214129"/>
                  <a:pt x="1543222" y="1214728"/>
                </a:cubicBezTo>
                <a:cubicBezTo>
                  <a:pt x="1543222" y="1214129"/>
                  <a:pt x="1542622" y="1214129"/>
                  <a:pt x="1542622" y="1213530"/>
                </a:cubicBezTo>
                <a:close/>
                <a:moveTo>
                  <a:pt x="1570788" y="951048"/>
                </a:moveTo>
                <a:cubicBezTo>
                  <a:pt x="1569590" y="951048"/>
                  <a:pt x="1568391" y="951048"/>
                  <a:pt x="1567193" y="951048"/>
                </a:cubicBezTo>
                <a:cubicBezTo>
                  <a:pt x="1568391" y="951048"/>
                  <a:pt x="1569590" y="951048"/>
                  <a:pt x="1570788" y="951048"/>
                </a:cubicBezTo>
                <a:close/>
                <a:moveTo>
                  <a:pt x="1592362" y="966030"/>
                </a:moveTo>
                <a:cubicBezTo>
                  <a:pt x="1592362" y="966629"/>
                  <a:pt x="1592362" y="967228"/>
                  <a:pt x="1592961" y="968427"/>
                </a:cubicBezTo>
                <a:cubicBezTo>
                  <a:pt x="1592362" y="967827"/>
                  <a:pt x="1591763" y="966629"/>
                  <a:pt x="1592362" y="966030"/>
                </a:cubicBezTo>
                <a:cubicBezTo>
                  <a:pt x="1592362" y="964831"/>
                  <a:pt x="1594160" y="963633"/>
                  <a:pt x="1595958" y="963033"/>
                </a:cubicBezTo>
                <a:cubicBezTo>
                  <a:pt x="1596557" y="963033"/>
                  <a:pt x="1596557" y="963033"/>
                  <a:pt x="1597156" y="963033"/>
                </a:cubicBezTo>
                <a:cubicBezTo>
                  <a:pt x="1596557" y="963033"/>
                  <a:pt x="1596557" y="963033"/>
                  <a:pt x="1595958" y="963033"/>
                </a:cubicBezTo>
                <a:cubicBezTo>
                  <a:pt x="1594160" y="963633"/>
                  <a:pt x="1592362" y="964831"/>
                  <a:pt x="1592362" y="966030"/>
                </a:cubicBezTo>
                <a:close/>
                <a:moveTo>
                  <a:pt x="1907580" y="1533542"/>
                </a:moveTo>
                <a:cubicBezTo>
                  <a:pt x="1904584" y="1534141"/>
                  <a:pt x="1902187" y="1534741"/>
                  <a:pt x="1899790" y="1535340"/>
                </a:cubicBezTo>
                <a:lnTo>
                  <a:pt x="1905183" y="1534741"/>
                </a:lnTo>
                <a:lnTo>
                  <a:pt x="1907580" y="1533542"/>
                </a:lnTo>
                <a:close/>
                <a:moveTo>
                  <a:pt x="3184633" y="641223"/>
                </a:moveTo>
                <a:cubicBezTo>
                  <a:pt x="3183434" y="641822"/>
                  <a:pt x="3182835" y="643021"/>
                  <a:pt x="3182236" y="643620"/>
                </a:cubicBezTo>
                <a:cubicBezTo>
                  <a:pt x="3182236" y="643021"/>
                  <a:pt x="3183434" y="642422"/>
                  <a:pt x="3184633" y="641223"/>
                </a:cubicBezTo>
                <a:cubicBezTo>
                  <a:pt x="3187030" y="639425"/>
                  <a:pt x="3188828" y="637628"/>
                  <a:pt x="3190626" y="635230"/>
                </a:cubicBezTo>
                <a:cubicBezTo>
                  <a:pt x="3188828" y="637628"/>
                  <a:pt x="3186431" y="640025"/>
                  <a:pt x="3184633" y="641223"/>
                </a:cubicBezTo>
                <a:close/>
                <a:moveTo>
                  <a:pt x="3191824" y="643021"/>
                </a:moveTo>
                <a:cubicBezTo>
                  <a:pt x="3192423" y="643021"/>
                  <a:pt x="3193023" y="643021"/>
                  <a:pt x="3193023" y="643620"/>
                </a:cubicBezTo>
                <a:cubicBezTo>
                  <a:pt x="3193622" y="643620"/>
                  <a:pt x="3194221" y="644220"/>
                  <a:pt x="3194221" y="644220"/>
                </a:cubicBezTo>
                <a:cubicBezTo>
                  <a:pt x="3193622" y="644220"/>
                  <a:pt x="3193622" y="643620"/>
                  <a:pt x="3193023" y="643620"/>
                </a:cubicBezTo>
                <a:cubicBezTo>
                  <a:pt x="3192423" y="643021"/>
                  <a:pt x="3192423" y="643021"/>
                  <a:pt x="3191824" y="643021"/>
                </a:cubicBezTo>
                <a:close/>
                <a:moveTo>
                  <a:pt x="3200813" y="669988"/>
                </a:moveTo>
                <a:cubicBezTo>
                  <a:pt x="3202012" y="669988"/>
                  <a:pt x="3202012" y="668790"/>
                  <a:pt x="3202012" y="668190"/>
                </a:cubicBezTo>
                <a:cubicBezTo>
                  <a:pt x="3202611" y="669389"/>
                  <a:pt x="3202012" y="669988"/>
                  <a:pt x="3200813" y="669988"/>
                </a:cubicBezTo>
                <a:close/>
                <a:moveTo>
                  <a:pt x="3203810" y="641223"/>
                </a:moveTo>
                <a:cubicBezTo>
                  <a:pt x="3204409" y="640624"/>
                  <a:pt x="3204409" y="640025"/>
                  <a:pt x="3204409" y="638826"/>
                </a:cubicBezTo>
                <a:cubicBezTo>
                  <a:pt x="3204409" y="639425"/>
                  <a:pt x="3203810" y="640624"/>
                  <a:pt x="3203810" y="641223"/>
                </a:cubicBezTo>
                <a:close/>
                <a:moveTo>
                  <a:pt x="3211600" y="593881"/>
                </a:moveTo>
                <a:cubicBezTo>
                  <a:pt x="3211600" y="594480"/>
                  <a:pt x="3211001" y="595678"/>
                  <a:pt x="3209802" y="596877"/>
                </a:cubicBezTo>
                <a:cubicBezTo>
                  <a:pt x="3208604" y="598675"/>
                  <a:pt x="3207405" y="599873"/>
                  <a:pt x="3205607" y="601072"/>
                </a:cubicBezTo>
                <a:cubicBezTo>
                  <a:pt x="3206806" y="599873"/>
                  <a:pt x="3208604" y="598675"/>
                  <a:pt x="3209802" y="596877"/>
                </a:cubicBezTo>
                <a:cubicBezTo>
                  <a:pt x="3211001" y="595678"/>
                  <a:pt x="3211600" y="594480"/>
                  <a:pt x="3211600" y="593881"/>
                </a:cubicBezTo>
                <a:close/>
                <a:moveTo>
                  <a:pt x="3199615" y="602870"/>
                </a:moveTo>
                <a:cubicBezTo>
                  <a:pt x="3199016" y="602870"/>
                  <a:pt x="3198416" y="602870"/>
                  <a:pt x="3197817" y="602870"/>
                </a:cubicBezTo>
                <a:cubicBezTo>
                  <a:pt x="3196618" y="602870"/>
                  <a:pt x="3195420" y="602870"/>
                  <a:pt x="3194821" y="603469"/>
                </a:cubicBezTo>
                <a:cubicBezTo>
                  <a:pt x="3195420" y="603469"/>
                  <a:pt x="3196618" y="602870"/>
                  <a:pt x="3197817" y="602870"/>
                </a:cubicBezTo>
                <a:cubicBezTo>
                  <a:pt x="3198416" y="603469"/>
                  <a:pt x="3199016" y="603469"/>
                  <a:pt x="3199615" y="602870"/>
                </a:cubicBezTo>
                <a:cubicBezTo>
                  <a:pt x="3201412" y="602870"/>
                  <a:pt x="3203210" y="602270"/>
                  <a:pt x="3204409" y="601671"/>
                </a:cubicBezTo>
                <a:cubicBezTo>
                  <a:pt x="3203210" y="602270"/>
                  <a:pt x="3201412" y="602870"/>
                  <a:pt x="3199615" y="602870"/>
                </a:cubicBezTo>
                <a:close/>
                <a:moveTo>
                  <a:pt x="3208604" y="592083"/>
                </a:moveTo>
                <a:cubicBezTo>
                  <a:pt x="3210402" y="592083"/>
                  <a:pt x="3211001" y="592083"/>
                  <a:pt x="3211600" y="593281"/>
                </a:cubicBezTo>
                <a:cubicBezTo>
                  <a:pt x="3211600" y="592083"/>
                  <a:pt x="3210402" y="592083"/>
                  <a:pt x="3208604" y="592083"/>
                </a:cubicBezTo>
                <a:close/>
                <a:moveTo>
                  <a:pt x="3182236" y="629837"/>
                </a:moveTo>
                <a:cubicBezTo>
                  <a:pt x="3181037" y="631635"/>
                  <a:pt x="3179839" y="632833"/>
                  <a:pt x="3179239" y="632833"/>
                </a:cubicBezTo>
                <a:cubicBezTo>
                  <a:pt x="3180438" y="632833"/>
                  <a:pt x="3181037" y="631635"/>
                  <a:pt x="3182236" y="629837"/>
                </a:cubicBezTo>
                <a:close/>
                <a:moveTo>
                  <a:pt x="3180438" y="648414"/>
                </a:moveTo>
                <a:cubicBezTo>
                  <a:pt x="3180438" y="649613"/>
                  <a:pt x="3181637" y="650812"/>
                  <a:pt x="3182835" y="652010"/>
                </a:cubicBezTo>
                <a:cubicBezTo>
                  <a:pt x="3184633" y="653209"/>
                  <a:pt x="3185831" y="654407"/>
                  <a:pt x="3186431" y="655606"/>
                </a:cubicBezTo>
                <a:cubicBezTo>
                  <a:pt x="3185831" y="654407"/>
                  <a:pt x="3184633" y="652609"/>
                  <a:pt x="3182835" y="652010"/>
                </a:cubicBezTo>
                <a:cubicBezTo>
                  <a:pt x="3181637" y="650812"/>
                  <a:pt x="3181037" y="649613"/>
                  <a:pt x="3180438" y="648414"/>
                </a:cubicBezTo>
                <a:close/>
                <a:moveTo>
                  <a:pt x="3205008" y="575303"/>
                </a:moveTo>
                <a:cubicBezTo>
                  <a:pt x="3205008" y="572307"/>
                  <a:pt x="3203210" y="570509"/>
                  <a:pt x="3200813" y="569310"/>
                </a:cubicBezTo>
                <a:cubicBezTo>
                  <a:pt x="3203210" y="570509"/>
                  <a:pt x="3205008" y="572307"/>
                  <a:pt x="3205008" y="575303"/>
                </a:cubicBezTo>
                <a:cubicBezTo>
                  <a:pt x="3205008" y="580697"/>
                  <a:pt x="3206207" y="583094"/>
                  <a:pt x="3209802" y="584292"/>
                </a:cubicBezTo>
                <a:cubicBezTo>
                  <a:pt x="3205607" y="583094"/>
                  <a:pt x="3205008" y="580697"/>
                  <a:pt x="3205008" y="575303"/>
                </a:cubicBezTo>
                <a:close/>
                <a:moveTo>
                  <a:pt x="3183434" y="618451"/>
                </a:moveTo>
                <a:cubicBezTo>
                  <a:pt x="3182835" y="619649"/>
                  <a:pt x="3183434" y="620249"/>
                  <a:pt x="3183434" y="621447"/>
                </a:cubicBezTo>
                <a:cubicBezTo>
                  <a:pt x="3182835" y="620249"/>
                  <a:pt x="3182835" y="619649"/>
                  <a:pt x="3183434" y="618451"/>
                </a:cubicBezTo>
                <a:cubicBezTo>
                  <a:pt x="3184034" y="617252"/>
                  <a:pt x="3185831" y="615454"/>
                  <a:pt x="3188228" y="613057"/>
                </a:cubicBezTo>
                <a:cubicBezTo>
                  <a:pt x="3189427" y="611859"/>
                  <a:pt x="3190626" y="611259"/>
                  <a:pt x="3191225" y="610061"/>
                </a:cubicBezTo>
                <a:cubicBezTo>
                  <a:pt x="3190626" y="611259"/>
                  <a:pt x="3189427" y="611859"/>
                  <a:pt x="3188228" y="613057"/>
                </a:cubicBezTo>
                <a:cubicBezTo>
                  <a:pt x="3185831" y="615454"/>
                  <a:pt x="3183434" y="617252"/>
                  <a:pt x="3183434" y="618451"/>
                </a:cubicBezTo>
                <a:close/>
                <a:moveTo>
                  <a:pt x="3116315" y="610061"/>
                </a:moveTo>
                <a:cubicBezTo>
                  <a:pt x="3114518" y="609462"/>
                  <a:pt x="3113319" y="608862"/>
                  <a:pt x="3112121" y="607664"/>
                </a:cubicBezTo>
                <a:cubicBezTo>
                  <a:pt x="3113319" y="608862"/>
                  <a:pt x="3114518" y="609462"/>
                  <a:pt x="3116315" y="610061"/>
                </a:cubicBezTo>
                <a:close/>
                <a:moveTo>
                  <a:pt x="3121110" y="610061"/>
                </a:moveTo>
                <a:cubicBezTo>
                  <a:pt x="3121110" y="610660"/>
                  <a:pt x="3120510" y="610660"/>
                  <a:pt x="3119911" y="611259"/>
                </a:cubicBezTo>
                <a:cubicBezTo>
                  <a:pt x="3120510" y="610660"/>
                  <a:pt x="3121110" y="610660"/>
                  <a:pt x="3121110" y="610061"/>
                </a:cubicBezTo>
                <a:close/>
                <a:moveTo>
                  <a:pt x="3093543" y="584891"/>
                </a:moveTo>
                <a:cubicBezTo>
                  <a:pt x="3096540" y="586689"/>
                  <a:pt x="3098937" y="589086"/>
                  <a:pt x="3101334" y="590884"/>
                </a:cubicBezTo>
                <a:cubicBezTo>
                  <a:pt x="3098937" y="588487"/>
                  <a:pt x="3096540" y="586689"/>
                  <a:pt x="3093543" y="584891"/>
                </a:cubicBezTo>
                <a:cubicBezTo>
                  <a:pt x="3092345" y="584292"/>
                  <a:pt x="3091745" y="583693"/>
                  <a:pt x="3091146" y="583094"/>
                </a:cubicBezTo>
                <a:cubicBezTo>
                  <a:pt x="3091745" y="583094"/>
                  <a:pt x="3092345" y="583693"/>
                  <a:pt x="3093543" y="584891"/>
                </a:cubicBezTo>
                <a:close/>
                <a:moveTo>
                  <a:pt x="3064179" y="720327"/>
                </a:moveTo>
                <a:cubicBezTo>
                  <a:pt x="3062381" y="720327"/>
                  <a:pt x="3061182" y="720327"/>
                  <a:pt x="3059385" y="720327"/>
                </a:cubicBezTo>
                <a:cubicBezTo>
                  <a:pt x="3060583" y="720327"/>
                  <a:pt x="3062381" y="720327"/>
                  <a:pt x="3064179" y="720327"/>
                </a:cubicBezTo>
                <a:close/>
                <a:moveTo>
                  <a:pt x="3065977" y="719129"/>
                </a:moveTo>
                <a:cubicBezTo>
                  <a:pt x="3064778" y="717930"/>
                  <a:pt x="3061182" y="716132"/>
                  <a:pt x="3056988" y="715533"/>
                </a:cubicBezTo>
                <a:cubicBezTo>
                  <a:pt x="3056388" y="715533"/>
                  <a:pt x="3055190" y="714934"/>
                  <a:pt x="3054590" y="714934"/>
                </a:cubicBezTo>
                <a:cubicBezTo>
                  <a:pt x="3053392" y="714335"/>
                  <a:pt x="3052793" y="714335"/>
                  <a:pt x="3052193" y="713735"/>
                </a:cubicBezTo>
                <a:cubicBezTo>
                  <a:pt x="3051594" y="713136"/>
                  <a:pt x="3050995" y="711937"/>
                  <a:pt x="3050995" y="710140"/>
                </a:cubicBezTo>
                <a:cubicBezTo>
                  <a:pt x="3050995" y="711937"/>
                  <a:pt x="3050995" y="712537"/>
                  <a:pt x="3052193" y="713735"/>
                </a:cubicBezTo>
                <a:cubicBezTo>
                  <a:pt x="3052793" y="714335"/>
                  <a:pt x="3053392" y="714934"/>
                  <a:pt x="3054590" y="714934"/>
                </a:cubicBezTo>
                <a:cubicBezTo>
                  <a:pt x="3055190" y="714934"/>
                  <a:pt x="3055789" y="715533"/>
                  <a:pt x="3056988" y="715533"/>
                </a:cubicBezTo>
                <a:cubicBezTo>
                  <a:pt x="3061182" y="716732"/>
                  <a:pt x="3065377" y="717930"/>
                  <a:pt x="3065977" y="719129"/>
                </a:cubicBezTo>
                <a:close/>
                <a:moveTo>
                  <a:pt x="3065977" y="698154"/>
                </a:moveTo>
                <a:cubicBezTo>
                  <a:pt x="3065977" y="699353"/>
                  <a:pt x="3065377" y="699952"/>
                  <a:pt x="3064179" y="699952"/>
                </a:cubicBezTo>
                <a:cubicBezTo>
                  <a:pt x="3065377" y="699952"/>
                  <a:pt x="3065377" y="699353"/>
                  <a:pt x="3065977" y="698154"/>
                </a:cubicBezTo>
                <a:close/>
                <a:moveTo>
                  <a:pt x="3065377" y="689764"/>
                </a:moveTo>
                <a:cubicBezTo>
                  <a:pt x="3065377" y="686768"/>
                  <a:pt x="3063579" y="682573"/>
                  <a:pt x="3061782" y="679577"/>
                </a:cubicBezTo>
                <a:cubicBezTo>
                  <a:pt x="3063579" y="682573"/>
                  <a:pt x="3064778" y="686169"/>
                  <a:pt x="3065377" y="689764"/>
                </a:cubicBezTo>
                <a:close/>
                <a:moveTo>
                  <a:pt x="3057587" y="674783"/>
                </a:moveTo>
                <a:cubicBezTo>
                  <a:pt x="3056988" y="674183"/>
                  <a:pt x="3056388" y="674183"/>
                  <a:pt x="3055789" y="674183"/>
                </a:cubicBezTo>
                <a:cubicBezTo>
                  <a:pt x="3052793" y="673584"/>
                  <a:pt x="3050995" y="674183"/>
                  <a:pt x="3049197" y="673584"/>
                </a:cubicBezTo>
                <a:cubicBezTo>
                  <a:pt x="3047998" y="672985"/>
                  <a:pt x="3046800" y="672385"/>
                  <a:pt x="3045002" y="671187"/>
                </a:cubicBezTo>
                <a:cubicBezTo>
                  <a:pt x="3046201" y="672385"/>
                  <a:pt x="3047998" y="673584"/>
                  <a:pt x="3049197" y="673584"/>
                </a:cubicBezTo>
                <a:cubicBezTo>
                  <a:pt x="3050995" y="674183"/>
                  <a:pt x="3053392" y="674183"/>
                  <a:pt x="3055789" y="674183"/>
                </a:cubicBezTo>
                <a:cubicBezTo>
                  <a:pt x="3056388" y="674183"/>
                  <a:pt x="3056988" y="674183"/>
                  <a:pt x="3057587" y="674783"/>
                </a:cubicBezTo>
                <a:close/>
                <a:moveTo>
                  <a:pt x="3034814" y="666393"/>
                </a:moveTo>
                <a:cubicBezTo>
                  <a:pt x="3033616" y="666393"/>
                  <a:pt x="3032417" y="666393"/>
                  <a:pt x="3031818" y="666992"/>
                </a:cubicBezTo>
                <a:cubicBezTo>
                  <a:pt x="3031219" y="666992"/>
                  <a:pt x="3030619" y="666992"/>
                  <a:pt x="3030020" y="666992"/>
                </a:cubicBezTo>
                <a:cubicBezTo>
                  <a:pt x="3030619" y="666992"/>
                  <a:pt x="3031219" y="666992"/>
                  <a:pt x="3031818" y="666992"/>
                </a:cubicBezTo>
                <a:cubicBezTo>
                  <a:pt x="3033017" y="666992"/>
                  <a:pt x="3033616" y="666393"/>
                  <a:pt x="3034814" y="666393"/>
                </a:cubicBezTo>
                <a:close/>
                <a:moveTo>
                  <a:pt x="3009046" y="607664"/>
                </a:moveTo>
                <a:cubicBezTo>
                  <a:pt x="3007847" y="609462"/>
                  <a:pt x="3007248" y="611859"/>
                  <a:pt x="3006049" y="613657"/>
                </a:cubicBezTo>
                <a:cubicBezTo>
                  <a:pt x="3005450" y="614855"/>
                  <a:pt x="3004851" y="615454"/>
                  <a:pt x="3004251" y="616653"/>
                </a:cubicBezTo>
                <a:cubicBezTo>
                  <a:pt x="3004851" y="616054"/>
                  <a:pt x="3005450" y="614855"/>
                  <a:pt x="3006049" y="613657"/>
                </a:cubicBezTo>
                <a:cubicBezTo>
                  <a:pt x="3007248" y="611259"/>
                  <a:pt x="3008446" y="609462"/>
                  <a:pt x="3009046" y="607664"/>
                </a:cubicBezTo>
                <a:cubicBezTo>
                  <a:pt x="3010843" y="604068"/>
                  <a:pt x="3012042" y="600473"/>
                  <a:pt x="3012042" y="596278"/>
                </a:cubicBezTo>
                <a:cubicBezTo>
                  <a:pt x="3012641" y="600473"/>
                  <a:pt x="3011443" y="603469"/>
                  <a:pt x="3009046" y="607664"/>
                </a:cubicBezTo>
                <a:close/>
                <a:moveTo>
                  <a:pt x="2992865" y="639425"/>
                </a:moveTo>
                <a:cubicBezTo>
                  <a:pt x="2990468" y="645418"/>
                  <a:pt x="2988071" y="645418"/>
                  <a:pt x="2985075" y="648414"/>
                </a:cubicBezTo>
                <a:cubicBezTo>
                  <a:pt x="2984475" y="649014"/>
                  <a:pt x="2983876" y="649613"/>
                  <a:pt x="2983277" y="650812"/>
                </a:cubicBezTo>
                <a:cubicBezTo>
                  <a:pt x="2983876" y="649613"/>
                  <a:pt x="2984475" y="649014"/>
                  <a:pt x="2985075" y="648414"/>
                </a:cubicBezTo>
                <a:cubicBezTo>
                  <a:pt x="2988071" y="645418"/>
                  <a:pt x="2990468" y="646017"/>
                  <a:pt x="2992865" y="639425"/>
                </a:cubicBezTo>
                <a:close/>
                <a:moveTo>
                  <a:pt x="2980280" y="656205"/>
                </a:moveTo>
                <a:cubicBezTo>
                  <a:pt x="2979082" y="658003"/>
                  <a:pt x="2979082" y="660400"/>
                  <a:pt x="2978483" y="661598"/>
                </a:cubicBezTo>
                <a:cubicBezTo>
                  <a:pt x="2979082" y="659801"/>
                  <a:pt x="2979082" y="658003"/>
                  <a:pt x="2980280" y="656205"/>
                </a:cubicBezTo>
                <a:close/>
                <a:moveTo>
                  <a:pt x="2967097" y="702948"/>
                </a:moveTo>
                <a:cubicBezTo>
                  <a:pt x="2965898" y="704746"/>
                  <a:pt x="2964699" y="706544"/>
                  <a:pt x="2964100" y="708342"/>
                </a:cubicBezTo>
                <a:cubicBezTo>
                  <a:pt x="2961703" y="711937"/>
                  <a:pt x="2958107" y="713735"/>
                  <a:pt x="2953912" y="714934"/>
                </a:cubicBezTo>
                <a:cubicBezTo>
                  <a:pt x="2952115" y="715533"/>
                  <a:pt x="2950317" y="716132"/>
                  <a:pt x="2948519" y="716732"/>
                </a:cubicBezTo>
                <a:cubicBezTo>
                  <a:pt x="2950317" y="716132"/>
                  <a:pt x="2952115" y="715533"/>
                  <a:pt x="2953912" y="714934"/>
                </a:cubicBezTo>
                <a:cubicBezTo>
                  <a:pt x="2958107" y="713735"/>
                  <a:pt x="2961703" y="711937"/>
                  <a:pt x="2964100" y="708342"/>
                </a:cubicBezTo>
                <a:cubicBezTo>
                  <a:pt x="2964699" y="707143"/>
                  <a:pt x="2965898" y="704746"/>
                  <a:pt x="2967097" y="702948"/>
                </a:cubicBezTo>
                <a:close/>
                <a:moveTo>
                  <a:pt x="2941328" y="721526"/>
                </a:moveTo>
                <a:cubicBezTo>
                  <a:pt x="2940728" y="721526"/>
                  <a:pt x="2939530" y="721526"/>
                  <a:pt x="2937732" y="722125"/>
                </a:cubicBezTo>
                <a:cubicBezTo>
                  <a:pt x="2937133" y="722125"/>
                  <a:pt x="2936534" y="722125"/>
                  <a:pt x="2936534" y="722125"/>
                </a:cubicBezTo>
                <a:cubicBezTo>
                  <a:pt x="2937133" y="722125"/>
                  <a:pt x="2937133" y="722125"/>
                  <a:pt x="2937732" y="722125"/>
                </a:cubicBezTo>
                <a:cubicBezTo>
                  <a:pt x="2939530" y="722125"/>
                  <a:pt x="2940129" y="722125"/>
                  <a:pt x="2941328" y="721526"/>
                </a:cubicBezTo>
                <a:close/>
                <a:moveTo>
                  <a:pt x="2913761" y="735908"/>
                </a:moveTo>
                <a:cubicBezTo>
                  <a:pt x="2913162" y="735908"/>
                  <a:pt x="2912563" y="735908"/>
                  <a:pt x="2911963" y="735908"/>
                </a:cubicBezTo>
                <a:cubicBezTo>
                  <a:pt x="2912563" y="735908"/>
                  <a:pt x="2913162" y="735908"/>
                  <a:pt x="2913761" y="735908"/>
                </a:cubicBezTo>
                <a:close/>
                <a:moveTo>
                  <a:pt x="2907768" y="735309"/>
                </a:moveTo>
                <a:cubicBezTo>
                  <a:pt x="2905970" y="735309"/>
                  <a:pt x="2905371" y="735908"/>
                  <a:pt x="2906570" y="738306"/>
                </a:cubicBezTo>
                <a:cubicBezTo>
                  <a:pt x="2905371" y="735908"/>
                  <a:pt x="2905970" y="735309"/>
                  <a:pt x="2907768" y="735309"/>
                </a:cubicBezTo>
                <a:close/>
                <a:moveTo>
                  <a:pt x="2898180" y="635230"/>
                </a:moveTo>
                <a:lnTo>
                  <a:pt x="2898180" y="635230"/>
                </a:lnTo>
                <a:cubicBezTo>
                  <a:pt x="2899978" y="635230"/>
                  <a:pt x="2899978" y="637028"/>
                  <a:pt x="2899378" y="638227"/>
                </a:cubicBezTo>
                <a:cubicBezTo>
                  <a:pt x="2899978" y="637028"/>
                  <a:pt x="2899978" y="635230"/>
                  <a:pt x="2898180" y="635230"/>
                </a:cubicBezTo>
                <a:close/>
                <a:moveTo>
                  <a:pt x="2890989" y="675981"/>
                </a:moveTo>
                <a:cubicBezTo>
                  <a:pt x="2890989" y="677180"/>
                  <a:pt x="2890389" y="677779"/>
                  <a:pt x="2890389" y="678378"/>
                </a:cubicBezTo>
                <a:cubicBezTo>
                  <a:pt x="2890989" y="677779"/>
                  <a:pt x="2890989" y="677180"/>
                  <a:pt x="2890989" y="675981"/>
                </a:cubicBezTo>
                <a:cubicBezTo>
                  <a:pt x="2890989" y="674783"/>
                  <a:pt x="2892187" y="672985"/>
                  <a:pt x="2893386" y="671187"/>
                </a:cubicBezTo>
                <a:cubicBezTo>
                  <a:pt x="2892187" y="672985"/>
                  <a:pt x="2891588" y="674783"/>
                  <a:pt x="2890989" y="675981"/>
                </a:cubicBezTo>
                <a:close/>
                <a:moveTo>
                  <a:pt x="2884996" y="743100"/>
                </a:moveTo>
                <a:cubicBezTo>
                  <a:pt x="2884397" y="742500"/>
                  <a:pt x="2884397" y="741901"/>
                  <a:pt x="2883797" y="740703"/>
                </a:cubicBezTo>
                <a:cubicBezTo>
                  <a:pt x="2883198" y="740103"/>
                  <a:pt x="2883198" y="738905"/>
                  <a:pt x="2882000" y="738306"/>
                </a:cubicBezTo>
                <a:cubicBezTo>
                  <a:pt x="2880202" y="735908"/>
                  <a:pt x="2877205" y="734710"/>
                  <a:pt x="2874209" y="733511"/>
                </a:cubicBezTo>
                <a:cubicBezTo>
                  <a:pt x="2877205" y="734710"/>
                  <a:pt x="2880202" y="735908"/>
                  <a:pt x="2882000" y="738306"/>
                </a:cubicBezTo>
                <a:cubicBezTo>
                  <a:pt x="2882599" y="738905"/>
                  <a:pt x="2883198" y="740103"/>
                  <a:pt x="2883797" y="740703"/>
                </a:cubicBezTo>
                <a:cubicBezTo>
                  <a:pt x="2883797" y="741901"/>
                  <a:pt x="2884397" y="742500"/>
                  <a:pt x="2884996" y="743100"/>
                </a:cubicBezTo>
                <a:close/>
                <a:moveTo>
                  <a:pt x="2871213" y="732912"/>
                </a:moveTo>
                <a:cubicBezTo>
                  <a:pt x="2868216" y="732313"/>
                  <a:pt x="2865220" y="731714"/>
                  <a:pt x="2862823" y="731714"/>
                </a:cubicBezTo>
                <a:cubicBezTo>
                  <a:pt x="2862224" y="731714"/>
                  <a:pt x="2861624" y="731714"/>
                  <a:pt x="2861025" y="731714"/>
                </a:cubicBezTo>
                <a:cubicBezTo>
                  <a:pt x="2861624" y="731714"/>
                  <a:pt x="2862224" y="731714"/>
                  <a:pt x="2862823" y="731714"/>
                </a:cubicBezTo>
                <a:cubicBezTo>
                  <a:pt x="2865220" y="731714"/>
                  <a:pt x="2868216" y="732313"/>
                  <a:pt x="2871213" y="732912"/>
                </a:cubicBezTo>
                <a:close/>
                <a:moveTo>
                  <a:pt x="2721993" y="641223"/>
                </a:moveTo>
                <a:cubicBezTo>
                  <a:pt x="2721394" y="641822"/>
                  <a:pt x="2720795" y="641822"/>
                  <a:pt x="2720196" y="642422"/>
                </a:cubicBezTo>
                <a:cubicBezTo>
                  <a:pt x="2720795" y="642422"/>
                  <a:pt x="2721394" y="641822"/>
                  <a:pt x="2721993" y="641223"/>
                </a:cubicBezTo>
                <a:cubicBezTo>
                  <a:pt x="2723192" y="640624"/>
                  <a:pt x="2724391" y="639425"/>
                  <a:pt x="2724391" y="637628"/>
                </a:cubicBezTo>
                <a:cubicBezTo>
                  <a:pt x="2724391" y="639425"/>
                  <a:pt x="2723192" y="641223"/>
                  <a:pt x="2721993" y="641223"/>
                </a:cubicBezTo>
                <a:close/>
                <a:moveTo>
                  <a:pt x="2606334" y="633433"/>
                </a:moveTo>
                <a:cubicBezTo>
                  <a:pt x="2605734" y="633433"/>
                  <a:pt x="2605135" y="633433"/>
                  <a:pt x="2604536" y="633433"/>
                </a:cubicBezTo>
                <a:cubicBezTo>
                  <a:pt x="2603337" y="633433"/>
                  <a:pt x="2602738" y="634032"/>
                  <a:pt x="2603337" y="634631"/>
                </a:cubicBezTo>
                <a:cubicBezTo>
                  <a:pt x="2603337" y="634032"/>
                  <a:pt x="2603936" y="633433"/>
                  <a:pt x="2604536" y="633433"/>
                </a:cubicBezTo>
                <a:cubicBezTo>
                  <a:pt x="2605734" y="633433"/>
                  <a:pt x="2606334" y="633433"/>
                  <a:pt x="2606334" y="633433"/>
                </a:cubicBezTo>
                <a:close/>
                <a:moveTo>
                  <a:pt x="2212610" y="712537"/>
                </a:moveTo>
                <a:cubicBezTo>
                  <a:pt x="2214408" y="713735"/>
                  <a:pt x="2215008" y="716132"/>
                  <a:pt x="2213809" y="718530"/>
                </a:cubicBezTo>
                <a:cubicBezTo>
                  <a:pt x="2214408" y="716132"/>
                  <a:pt x="2213809" y="713136"/>
                  <a:pt x="2212610" y="712537"/>
                </a:cubicBezTo>
                <a:close/>
                <a:moveTo>
                  <a:pt x="1729596" y="792240"/>
                </a:moveTo>
                <a:lnTo>
                  <a:pt x="1759559" y="786847"/>
                </a:lnTo>
                <a:cubicBezTo>
                  <a:pt x="1759559" y="783850"/>
                  <a:pt x="1760758" y="781453"/>
                  <a:pt x="1762556" y="780854"/>
                </a:cubicBezTo>
                <a:cubicBezTo>
                  <a:pt x="1763155" y="780854"/>
                  <a:pt x="1763754" y="780854"/>
                  <a:pt x="1764354" y="780854"/>
                </a:cubicBezTo>
                <a:cubicBezTo>
                  <a:pt x="1765552" y="780854"/>
                  <a:pt x="1766751" y="780854"/>
                  <a:pt x="1766751" y="777858"/>
                </a:cubicBezTo>
                <a:cubicBezTo>
                  <a:pt x="1766751" y="775461"/>
                  <a:pt x="1767949" y="773663"/>
                  <a:pt x="1769747" y="773663"/>
                </a:cubicBezTo>
                <a:cubicBezTo>
                  <a:pt x="1770346" y="773663"/>
                  <a:pt x="1771545" y="774262"/>
                  <a:pt x="1772144" y="776060"/>
                </a:cubicBezTo>
                <a:cubicBezTo>
                  <a:pt x="1772743" y="777858"/>
                  <a:pt x="1773942" y="779655"/>
                  <a:pt x="1774541" y="781453"/>
                </a:cubicBezTo>
                <a:cubicBezTo>
                  <a:pt x="1775140" y="782053"/>
                  <a:pt x="1775140" y="782652"/>
                  <a:pt x="1775140" y="783850"/>
                </a:cubicBezTo>
                <a:cubicBezTo>
                  <a:pt x="1775140" y="783850"/>
                  <a:pt x="1775140" y="784450"/>
                  <a:pt x="1775140" y="784450"/>
                </a:cubicBezTo>
                <a:lnTo>
                  <a:pt x="1785928" y="782652"/>
                </a:lnTo>
                <a:cubicBezTo>
                  <a:pt x="1785928" y="782652"/>
                  <a:pt x="1785928" y="782652"/>
                  <a:pt x="1785928" y="782652"/>
                </a:cubicBezTo>
                <a:cubicBezTo>
                  <a:pt x="1785928" y="782652"/>
                  <a:pt x="1785928" y="782652"/>
                  <a:pt x="1785328" y="782652"/>
                </a:cubicBezTo>
                <a:cubicBezTo>
                  <a:pt x="1785328" y="782652"/>
                  <a:pt x="1784729" y="782053"/>
                  <a:pt x="1784729" y="782053"/>
                </a:cubicBezTo>
                <a:cubicBezTo>
                  <a:pt x="1784729" y="781453"/>
                  <a:pt x="1784729" y="781453"/>
                  <a:pt x="1785328" y="780854"/>
                </a:cubicBezTo>
                <a:cubicBezTo>
                  <a:pt x="1785928" y="780854"/>
                  <a:pt x="1785928" y="780854"/>
                  <a:pt x="1785928" y="780854"/>
                </a:cubicBezTo>
                <a:cubicBezTo>
                  <a:pt x="1786527" y="780854"/>
                  <a:pt x="1786527" y="782053"/>
                  <a:pt x="1786527" y="782652"/>
                </a:cubicBezTo>
                <a:cubicBezTo>
                  <a:pt x="1786527" y="782652"/>
                  <a:pt x="1786527" y="782652"/>
                  <a:pt x="1786527" y="783251"/>
                </a:cubicBezTo>
                <a:lnTo>
                  <a:pt x="1809898" y="779056"/>
                </a:lnTo>
                <a:cubicBezTo>
                  <a:pt x="1809898" y="780255"/>
                  <a:pt x="1810498" y="781453"/>
                  <a:pt x="1811097" y="782053"/>
                </a:cubicBezTo>
                <a:cubicBezTo>
                  <a:pt x="1810498" y="782053"/>
                  <a:pt x="1809898" y="780854"/>
                  <a:pt x="1809898" y="779056"/>
                </a:cubicBezTo>
                <a:lnTo>
                  <a:pt x="1809898" y="779056"/>
                </a:lnTo>
                <a:cubicBezTo>
                  <a:pt x="1809898" y="777858"/>
                  <a:pt x="1809898" y="776659"/>
                  <a:pt x="1809898" y="775461"/>
                </a:cubicBezTo>
                <a:cubicBezTo>
                  <a:pt x="1810498" y="771266"/>
                  <a:pt x="1811696" y="768868"/>
                  <a:pt x="1814093" y="766471"/>
                </a:cubicBezTo>
                <a:cubicBezTo>
                  <a:pt x="1814693" y="765872"/>
                  <a:pt x="1815891" y="765273"/>
                  <a:pt x="1816491" y="764074"/>
                </a:cubicBezTo>
                <a:cubicBezTo>
                  <a:pt x="1817689" y="763475"/>
                  <a:pt x="1818288" y="762276"/>
                  <a:pt x="1819487" y="761078"/>
                </a:cubicBezTo>
                <a:cubicBezTo>
                  <a:pt x="1820086" y="760479"/>
                  <a:pt x="1820685" y="759879"/>
                  <a:pt x="1821285" y="759280"/>
                </a:cubicBezTo>
                <a:cubicBezTo>
                  <a:pt x="1822483" y="758082"/>
                  <a:pt x="1823082" y="756284"/>
                  <a:pt x="1824281" y="755085"/>
                </a:cubicBezTo>
                <a:cubicBezTo>
                  <a:pt x="1825480" y="752688"/>
                  <a:pt x="1826678" y="750890"/>
                  <a:pt x="1827277" y="749092"/>
                </a:cubicBezTo>
                <a:cubicBezTo>
                  <a:pt x="1828476" y="744298"/>
                  <a:pt x="1827877" y="743699"/>
                  <a:pt x="1833869" y="737706"/>
                </a:cubicBezTo>
                <a:cubicBezTo>
                  <a:pt x="1835667" y="735908"/>
                  <a:pt x="1844057" y="725122"/>
                  <a:pt x="1847653" y="722125"/>
                </a:cubicBezTo>
                <a:cubicBezTo>
                  <a:pt x="1848252" y="721526"/>
                  <a:pt x="1848252" y="721526"/>
                  <a:pt x="1848851" y="721526"/>
                </a:cubicBezTo>
                <a:cubicBezTo>
                  <a:pt x="1848851" y="721526"/>
                  <a:pt x="1848851" y="721526"/>
                  <a:pt x="1848851" y="721526"/>
                </a:cubicBezTo>
                <a:cubicBezTo>
                  <a:pt x="1849451" y="721526"/>
                  <a:pt x="1849451" y="720927"/>
                  <a:pt x="1850050" y="720927"/>
                </a:cubicBezTo>
                <a:cubicBezTo>
                  <a:pt x="1850649" y="720927"/>
                  <a:pt x="1850649" y="720327"/>
                  <a:pt x="1851248" y="720327"/>
                </a:cubicBezTo>
                <a:cubicBezTo>
                  <a:pt x="1852447" y="719728"/>
                  <a:pt x="1853046" y="719129"/>
                  <a:pt x="1853046" y="718530"/>
                </a:cubicBezTo>
                <a:cubicBezTo>
                  <a:pt x="1853046" y="718530"/>
                  <a:pt x="1853046" y="717930"/>
                  <a:pt x="1853046" y="717331"/>
                </a:cubicBezTo>
                <a:cubicBezTo>
                  <a:pt x="1853046" y="716732"/>
                  <a:pt x="1853046" y="715533"/>
                  <a:pt x="1852447" y="714934"/>
                </a:cubicBezTo>
                <a:cubicBezTo>
                  <a:pt x="1852447" y="714335"/>
                  <a:pt x="1852447" y="713136"/>
                  <a:pt x="1853645" y="712537"/>
                </a:cubicBezTo>
                <a:cubicBezTo>
                  <a:pt x="1853645" y="711937"/>
                  <a:pt x="1854245" y="711937"/>
                  <a:pt x="1854844" y="711338"/>
                </a:cubicBezTo>
                <a:cubicBezTo>
                  <a:pt x="1856642" y="709540"/>
                  <a:pt x="1859039" y="707743"/>
                  <a:pt x="1862035" y="706544"/>
                </a:cubicBezTo>
                <a:cubicBezTo>
                  <a:pt x="1863234" y="705945"/>
                  <a:pt x="1864432" y="705345"/>
                  <a:pt x="1865631" y="704746"/>
                </a:cubicBezTo>
                <a:cubicBezTo>
                  <a:pt x="1866829" y="704147"/>
                  <a:pt x="1868028" y="703548"/>
                  <a:pt x="1868627" y="702948"/>
                </a:cubicBezTo>
                <a:cubicBezTo>
                  <a:pt x="1869826" y="702349"/>
                  <a:pt x="1871024" y="701750"/>
                  <a:pt x="1872223" y="701151"/>
                </a:cubicBezTo>
                <a:cubicBezTo>
                  <a:pt x="1873422" y="700551"/>
                  <a:pt x="1874620" y="699952"/>
                  <a:pt x="1875819" y="698753"/>
                </a:cubicBezTo>
                <a:cubicBezTo>
                  <a:pt x="1878216" y="696956"/>
                  <a:pt x="1881212" y="695158"/>
                  <a:pt x="1883010" y="693360"/>
                </a:cubicBezTo>
                <a:cubicBezTo>
                  <a:pt x="1884208" y="692161"/>
                  <a:pt x="1884808" y="691562"/>
                  <a:pt x="1884808" y="690364"/>
                </a:cubicBezTo>
                <a:cubicBezTo>
                  <a:pt x="1886006" y="687967"/>
                  <a:pt x="1886605" y="687367"/>
                  <a:pt x="1887804" y="687367"/>
                </a:cubicBezTo>
                <a:cubicBezTo>
                  <a:pt x="1888403" y="687367"/>
                  <a:pt x="1889602" y="687967"/>
                  <a:pt x="1890800" y="689165"/>
                </a:cubicBezTo>
                <a:cubicBezTo>
                  <a:pt x="1892598" y="690364"/>
                  <a:pt x="1893797" y="690963"/>
                  <a:pt x="1894995" y="690963"/>
                </a:cubicBezTo>
                <a:cubicBezTo>
                  <a:pt x="1895595" y="690963"/>
                  <a:pt x="1896194" y="690963"/>
                  <a:pt x="1896793" y="690963"/>
                </a:cubicBezTo>
                <a:cubicBezTo>
                  <a:pt x="1897392" y="690963"/>
                  <a:pt x="1898591" y="690963"/>
                  <a:pt x="1899190" y="690364"/>
                </a:cubicBezTo>
                <a:cubicBezTo>
                  <a:pt x="1899790" y="690364"/>
                  <a:pt x="1900389" y="690364"/>
                  <a:pt x="1900389" y="689764"/>
                </a:cubicBezTo>
                <a:cubicBezTo>
                  <a:pt x="1903385" y="687967"/>
                  <a:pt x="1906382" y="683772"/>
                  <a:pt x="1906981" y="681375"/>
                </a:cubicBezTo>
                <a:cubicBezTo>
                  <a:pt x="1907580" y="678378"/>
                  <a:pt x="1926757" y="675981"/>
                  <a:pt x="1929753" y="675981"/>
                </a:cubicBezTo>
                <a:cubicBezTo>
                  <a:pt x="1930353" y="675981"/>
                  <a:pt x="1931551" y="675981"/>
                  <a:pt x="1932150" y="675981"/>
                </a:cubicBezTo>
                <a:cubicBezTo>
                  <a:pt x="1934547" y="675981"/>
                  <a:pt x="1936944" y="675382"/>
                  <a:pt x="1938143" y="673584"/>
                </a:cubicBezTo>
                <a:cubicBezTo>
                  <a:pt x="1938742" y="672985"/>
                  <a:pt x="1938742" y="672385"/>
                  <a:pt x="1939342" y="672385"/>
                </a:cubicBezTo>
                <a:cubicBezTo>
                  <a:pt x="1939941" y="671786"/>
                  <a:pt x="1940540" y="671187"/>
                  <a:pt x="1941139" y="670588"/>
                </a:cubicBezTo>
                <a:cubicBezTo>
                  <a:pt x="1941739" y="670588"/>
                  <a:pt x="1942338" y="670588"/>
                  <a:pt x="1942937" y="670588"/>
                </a:cubicBezTo>
                <a:cubicBezTo>
                  <a:pt x="1943536" y="670588"/>
                  <a:pt x="1943536" y="670588"/>
                  <a:pt x="1944136" y="670588"/>
                </a:cubicBezTo>
                <a:cubicBezTo>
                  <a:pt x="1945334" y="670588"/>
                  <a:pt x="1946533" y="669988"/>
                  <a:pt x="1948331" y="668190"/>
                </a:cubicBezTo>
                <a:cubicBezTo>
                  <a:pt x="1948930" y="667591"/>
                  <a:pt x="1949529" y="666393"/>
                  <a:pt x="1950129" y="665194"/>
                </a:cubicBezTo>
                <a:cubicBezTo>
                  <a:pt x="1951327" y="663396"/>
                  <a:pt x="1954324" y="662198"/>
                  <a:pt x="1957320" y="660999"/>
                </a:cubicBezTo>
                <a:cubicBezTo>
                  <a:pt x="1960316" y="659801"/>
                  <a:pt x="1964511" y="658602"/>
                  <a:pt x="1967507" y="657404"/>
                </a:cubicBezTo>
                <a:cubicBezTo>
                  <a:pt x="1969904" y="656804"/>
                  <a:pt x="1971702" y="656205"/>
                  <a:pt x="1972901" y="655006"/>
                </a:cubicBezTo>
                <a:cubicBezTo>
                  <a:pt x="1974099" y="654407"/>
                  <a:pt x="1975298" y="653808"/>
                  <a:pt x="1976497" y="653209"/>
                </a:cubicBezTo>
                <a:cubicBezTo>
                  <a:pt x="1977695" y="652609"/>
                  <a:pt x="1978894" y="652010"/>
                  <a:pt x="1980092" y="652010"/>
                </a:cubicBezTo>
                <a:cubicBezTo>
                  <a:pt x="1982489" y="651411"/>
                  <a:pt x="1984287" y="650812"/>
                  <a:pt x="1986684" y="650812"/>
                </a:cubicBezTo>
                <a:cubicBezTo>
                  <a:pt x="1989081" y="650812"/>
                  <a:pt x="1992078" y="650212"/>
                  <a:pt x="1994475" y="649613"/>
                </a:cubicBezTo>
                <a:cubicBezTo>
                  <a:pt x="1995673" y="649014"/>
                  <a:pt x="1996872" y="648414"/>
                  <a:pt x="1998070" y="647815"/>
                </a:cubicBezTo>
                <a:cubicBezTo>
                  <a:pt x="1999269" y="647216"/>
                  <a:pt x="1999868" y="646617"/>
                  <a:pt x="2000468" y="645418"/>
                </a:cubicBezTo>
                <a:cubicBezTo>
                  <a:pt x="2001067" y="644220"/>
                  <a:pt x="2002265" y="642422"/>
                  <a:pt x="2002865" y="641223"/>
                </a:cubicBezTo>
                <a:cubicBezTo>
                  <a:pt x="2004662" y="638826"/>
                  <a:pt x="2007060" y="637028"/>
                  <a:pt x="2009457" y="634032"/>
                </a:cubicBezTo>
                <a:cubicBezTo>
                  <a:pt x="2010056" y="633433"/>
                  <a:pt x="2010056" y="632833"/>
                  <a:pt x="2010655" y="632234"/>
                </a:cubicBezTo>
                <a:cubicBezTo>
                  <a:pt x="2010655" y="631635"/>
                  <a:pt x="2011255" y="631035"/>
                  <a:pt x="2011255" y="630436"/>
                </a:cubicBezTo>
                <a:cubicBezTo>
                  <a:pt x="2011255" y="629238"/>
                  <a:pt x="2010655" y="628039"/>
                  <a:pt x="2010056" y="626841"/>
                </a:cubicBezTo>
                <a:cubicBezTo>
                  <a:pt x="2008857" y="624443"/>
                  <a:pt x="2006460" y="622646"/>
                  <a:pt x="2004063" y="620848"/>
                </a:cubicBezTo>
                <a:cubicBezTo>
                  <a:pt x="2002865" y="620249"/>
                  <a:pt x="2002265" y="619649"/>
                  <a:pt x="2001067" y="619050"/>
                </a:cubicBezTo>
                <a:cubicBezTo>
                  <a:pt x="2000468" y="619050"/>
                  <a:pt x="2000468" y="618451"/>
                  <a:pt x="1999868" y="618451"/>
                </a:cubicBezTo>
                <a:cubicBezTo>
                  <a:pt x="1999269" y="617851"/>
                  <a:pt x="1998070" y="617851"/>
                  <a:pt x="1997471" y="617252"/>
                </a:cubicBezTo>
                <a:cubicBezTo>
                  <a:pt x="1996872" y="617252"/>
                  <a:pt x="1996872" y="616653"/>
                  <a:pt x="1996273" y="616653"/>
                </a:cubicBezTo>
                <a:cubicBezTo>
                  <a:pt x="1995673" y="616653"/>
                  <a:pt x="1994475" y="616054"/>
                  <a:pt x="1993875" y="616054"/>
                </a:cubicBezTo>
                <a:cubicBezTo>
                  <a:pt x="1993276" y="616054"/>
                  <a:pt x="1993276" y="616054"/>
                  <a:pt x="1992677" y="616054"/>
                </a:cubicBezTo>
                <a:cubicBezTo>
                  <a:pt x="1991478" y="616054"/>
                  <a:pt x="1990879" y="615454"/>
                  <a:pt x="1989681" y="615454"/>
                </a:cubicBezTo>
                <a:cubicBezTo>
                  <a:pt x="1989681" y="615454"/>
                  <a:pt x="1989681" y="615454"/>
                  <a:pt x="1989681" y="615454"/>
                </a:cubicBezTo>
                <a:cubicBezTo>
                  <a:pt x="1987883" y="615454"/>
                  <a:pt x="1986085" y="616054"/>
                  <a:pt x="1984886" y="616054"/>
                </a:cubicBezTo>
                <a:cubicBezTo>
                  <a:pt x="1984287" y="616054"/>
                  <a:pt x="1984287" y="616054"/>
                  <a:pt x="1983688" y="616054"/>
                </a:cubicBezTo>
                <a:cubicBezTo>
                  <a:pt x="1982489" y="616054"/>
                  <a:pt x="1981890" y="615454"/>
                  <a:pt x="1981890" y="614256"/>
                </a:cubicBezTo>
                <a:cubicBezTo>
                  <a:pt x="1981291" y="612458"/>
                  <a:pt x="1980692" y="611259"/>
                  <a:pt x="1980092" y="611859"/>
                </a:cubicBezTo>
                <a:cubicBezTo>
                  <a:pt x="1979493" y="611859"/>
                  <a:pt x="1978894" y="612458"/>
                  <a:pt x="1977695" y="613657"/>
                </a:cubicBezTo>
                <a:cubicBezTo>
                  <a:pt x="1977096" y="614256"/>
                  <a:pt x="1977096" y="614256"/>
                  <a:pt x="1976497" y="614256"/>
                </a:cubicBezTo>
                <a:cubicBezTo>
                  <a:pt x="1974699" y="614855"/>
                  <a:pt x="1971702" y="613057"/>
                  <a:pt x="1968107" y="611259"/>
                </a:cubicBezTo>
                <a:cubicBezTo>
                  <a:pt x="1967507" y="610660"/>
                  <a:pt x="1966309" y="610660"/>
                  <a:pt x="1965710" y="610061"/>
                </a:cubicBezTo>
                <a:cubicBezTo>
                  <a:pt x="1963912" y="609462"/>
                  <a:pt x="1962114" y="608263"/>
                  <a:pt x="1960316" y="608263"/>
                </a:cubicBezTo>
                <a:cubicBezTo>
                  <a:pt x="1959118" y="608263"/>
                  <a:pt x="1958518" y="607664"/>
                  <a:pt x="1957919" y="607664"/>
                </a:cubicBezTo>
                <a:cubicBezTo>
                  <a:pt x="1956121" y="607664"/>
                  <a:pt x="1954923" y="608263"/>
                  <a:pt x="1954324" y="608862"/>
                </a:cubicBezTo>
                <a:cubicBezTo>
                  <a:pt x="1953724" y="608862"/>
                  <a:pt x="1953125" y="609462"/>
                  <a:pt x="1953125" y="610061"/>
                </a:cubicBezTo>
                <a:cubicBezTo>
                  <a:pt x="1951327" y="611859"/>
                  <a:pt x="1950728" y="614256"/>
                  <a:pt x="1949529" y="616054"/>
                </a:cubicBezTo>
                <a:cubicBezTo>
                  <a:pt x="1948930" y="617252"/>
                  <a:pt x="1948930" y="617851"/>
                  <a:pt x="1948331" y="618451"/>
                </a:cubicBezTo>
                <a:cubicBezTo>
                  <a:pt x="1948331" y="619050"/>
                  <a:pt x="1947731" y="619050"/>
                  <a:pt x="1947731" y="619050"/>
                </a:cubicBezTo>
                <a:cubicBezTo>
                  <a:pt x="1946533" y="620249"/>
                  <a:pt x="1945934" y="620249"/>
                  <a:pt x="1944136" y="620848"/>
                </a:cubicBezTo>
                <a:cubicBezTo>
                  <a:pt x="1941139" y="621447"/>
                  <a:pt x="1939941" y="621447"/>
                  <a:pt x="1935746" y="626241"/>
                </a:cubicBezTo>
                <a:cubicBezTo>
                  <a:pt x="1933948" y="628638"/>
                  <a:pt x="1930952" y="630436"/>
                  <a:pt x="1928555" y="631635"/>
                </a:cubicBezTo>
                <a:cubicBezTo>
                  <a:pt x="1925558" y="632833"/>
                  <a:pt x="1922562" y="634032"/>
                  <a:pt x="1920165" y="635230"/>
                </a:cubicBezTo>
                <a:cubicBezTo>
                  <a:pt x="1918966" y="635830"/>
                  <a:pt x="1918367" y="636429"/>
                  <a:pt x="1918367" y="637028"/>
                </a:cubicBezTo>
                <a:cubicBezTo>
                  <a:pt x="1917768" y="638826"/>
                  <a:pt x="1920764" y="640624"/>
                  <a:pt x="1918367" y="641822"/>
                </a:cubicBezTo>
                <a:cubicBezTo>
                  <a:pt x="1917768" y="642422"/>
                  <a:pt x="1917168" y="642422"/>
                  <a:pt x="1917168" y="642422"/>
                </a:cubicBezTo>
                <a:cubicBezTo>
                  <a:pt x="1917168" y="642422"/>
                  <a:pt x="1916569" y="642422"/>
                  <a:pt x="1916569" y="643021"/>
                </a:cubicBezTo>
                <a:cubicBezTo>
                  <a:pt x="1916569" y="643021"/>
                  <a:pt x="1916569" y="643021"/>
                  <a:pt x="1916569" y="643620"/>
                </a:cubicBezTo>
                <a:cubicBezTo>
                  <a:pt x="1916569" y="644220"/>
                  <a:pt x="1917168" y="644220"/>
                  <a:pt x="1917168" y="645418"/>
                </a:cubicBezTo>
                <a:cubicBezTo>
                  <a:pt x="1917168" y="646017"/>
                  <a:pt x="1917168" y="646017"/>
                  <a:pt x="1917768" y="646617"/>
                </a:cubicBezTo>
                <a:cubicBezTo>
                  <a:pt x="1918367" y="648414"/>
                  <a:pt x="1915970" y="649613"/>
                  <a:pt x="1912374" y="651411"/>
                </a:cubicBezTo>
                <a:cubicBezTo>
                  <a:pt x="1906981" y="653808"/>
                  <a:pt x="1897992" y="656804"/>
                  <a:pt x="1893198" y="659801"/>
                </a:cubicBezTo>
                <a:cubicBezTo>
                  <a:pt x="1893198" y="659801"/>
                  <a:pt x="1893198" y="659801"/>
                  <a:pt x="1893198" y="659801"/>
                </a:cubicBezTo>
                <a:cubicBezTo>
                  <a:pt x="1886006" y="665194"/>
                  <a:pt x="1878815" y="668790"/>
                  <a:pt x="1875219" y="668790"/>
                </a:cubicBezTo>
                <a:cubicBezTo>
                  <a:pt x="1869227" y="669389"/>
                  <a:pt x="1862035" y="674183"/>
                  <a:pt x="1859039" y="671187"/>
                </a:cubicBezTo>
                <a:cubicBezTo>
                  <a:pt x="1858440" y="671187"/>
                  <a:pt x="1858440" y="670588"/>
                  <a:pt x="1858440" y="669988"/>
                </a:cubicBezTo>
                <a:cubicBezTo>
                  <a:pt x="1858440" y="669988"/>
                  <a:pt x="1858440" y="669988"/>
                  <a:pt x="1858440" y="669988"/>
                </a:cubicBezTo>
                <a:cubicBezTo>
                  <a:pt x="1858440" y="669389"/>
                  <a:pt x="1857840" y="668790"/>
                  <a:pt x="1857241" y="668790"/>
                </a:cubicBezTo>
                <a:cubicBezTo>
                  <a:pt x="1854844" y="668790"/>
                  <a:pt x="1848851" y="671786"/>
                  <a:pt x="1844057" y="674783"/>
                </a:cubicBezTo>
                <a:cubicBezTo>
                  <a:pt x="1842859" y="675382"/>
                  <a:pt x="1842259" y="675981"/>
                  <a:pt x="1841061" y="676580"/>
                </a:cubicBezTo>
                <a:cubicBezTo>
                  <a:pt x="1840461" y="677180"/>
                  <a:pt x="1839263" y="677779"/>
                  <a:pt x="1838664" y="677779"/>
                </a:cubicBezTo>
                <a:cubicBezTo>
                  <a:pt x="1836866" y="678977"/>
                  <a:pt x="1835667" y="678977"/>
                  <a:pt x="1834469" y="678977"/>
                </a:cubicBezTo>
                <a:cubicBezTo>
                  <a:pt x="1833869" y="678977"/>
                  <a:pt x="1833270" y="678977"/>
                  <a:pt x="1833270" y="678378"/>
                </a:cubicBezTo>
                <a:cubicBezTo>
                  <a:pt x="1833270" y="677779"/>
                  <a:pt x="1832671" y="677779"/>
                  <a:pt x="1832671" y="677180"/>
                </a:cubicBezTo>
                <a:cubicBezTo>
                  <a:pt x="1832671" y="677180"/>
                  <a:pt x="1832671" y="676580"/>
                  <a:pt x="1832671" y="675981"/>
                </a:cubicBezTo>
                <a:cubicBezTo>
                  <a:pt x="1832671" y="675382"/>
                  <a:pt x="1832671" y="675382"/>
                  <a:pt x="1832671" y="675382"/>
                </a:cubicBezTo>
                <a:cubicBezTo>
                  <a:pt x="1832671" y="674783"/>
                  <a:pt x="1832071" y="674783"/>
                  <a:pt x="1831472" y="674783"/>
                </a:cubicBezTo>
                <a:cubicBezTo>
                  <a:pt x="1830873" y="674783"/>
                  <a:pt x="1829674" y="675382"/>
                  <a:pt x="1829075" y="675382"/>
                </a:cubicBezTo>
                <a:cubicBezTo>
                  <a:pt x="1828476" y="675382"/>
                  <a:pt x="1827877" y="675981"/>
                  <a:pt x="1827277" y="675981"/>
                </a:cubicBezTo>
                <a:cubicBezTo>
                  <a:pt x="1826079" y="676580"/>
                  <a:pt x="1824880" y="676580"/>
                  <a:pt x="1823082" y="677180"/>
                </a:cubicBezTo>
                <a:cubicBezTo>
                  <a:pt x="1822483" y="677180"/>
                  <a:pt x="1821884" y="677779"/>
                  <a:pt x="1821285" y="677779"/>
                </a:cubicBezTo>
                <a:cubicBezTo>
                  <a:pt x="1820685" y="677779"/>
                  <a:pt x="1820086" y="678378"/>
                  <a:pt x="1820086" y="678378"/>
                </a:cubicBezTo>
                <a:cubicBezTo>
                  <a:pt x="1817689" y="679577"/>
                  <a:pt x="1818888" y="680176"/>
                  <a:pt x="1820086" y="680176"/>
                </a:cubicBezTo>
                <a:cubicBezTo>
                  <a:pt x="1821285" y="680176"/>
                  <a:pt x="1821884" y="680775"/>
                  <a:pt x="1821285" y="681974"/>
                </a:cubicBezTo>
                <a:cubicBezTo>
                  <a:pt x="1821285" y="681974"/>
                  <a:pt x="1820685" y="682573"/>
                  <a:pt x="1820685" y="682573"/>
                </a:cubicBezTo>
                <a:cubicBezTo>
                  <a:pt x="1820086" y="683172"/>
                  <a:pt x="1819487" y="683772"/>
                  <a:pt x="1817689" y="684371"/>
                </a:cubicBezTo>
                <a:cubicBezTo>
                  <a:pt x="1817090" y="684970"/>
                  <a:pt x="1816491" y="684970"/>
                  <a:pt x="1815891" y="685569"/>
                </a:cubicBezTo>
                <a:cubicBezTo>
                  <a:pt x="1814093" y="686768"/>
                  <a:pt x="1812296" y="686768"/>
                  <a:pt x="1811097" y="686768"/>
                </a:cubicBezTo>
                <a:cubicBezTo>
                  <a:pt x="1809299" y="686768"/>
                  <a:pt x="1807501" y="686169"/>
                  <a:pt x="1806303" y="685569"/>
                </a:cubicBezTo>
                <a:cubicBezTo>
                  <a:pt x="1805703" y="684970"/>
                  <a:pt x="1805104" y="684970"/>
                  <a:pt x="1805104" y="684970"/>
                </a:cubicBezTo>
                <a:cubicBezTo>
                  <a:pt x="1805104" y="684970"/>
                  <a:pt x="1805104" y="684970"/>
                  <a:pt x="1804505" y="684970"/>
                </a:cubicBezTo>
                <a:cubicBezTo>
                  <a:pt x="1803906" y="685569"/>
                  <a:pt x="1803306" y="686768"/>
                  <a:pt x="1802707" y="689764"/>
                </a:cubicBezTo>
                <a:cubicBezTo>
                  <a:pt x="1802707" y="690364"/>
                  <a:pt x="1802108" y="690963"/>
                  <a:pt x="1802108" y="691562"/>
                </a:cubicBezTo>
                <a:cubicBezTo>
                  <a:pt x="1802108" y="692161"/>
                  <a:pt x="1801509" y="692761"/>
                  <a:pt x="1800909" y="692761"/>
                </a:cubicBezTo>
                <a:cubicBezTo>
                  <a:pt x="1799711" y="693959"/>
                  <a:pt x="1798512" y="694559"/>
                  <a:pt x="1797314" y="695158"/>
                </a:cubicBezTo>
                <a:cubicBezTo>
                  <a:pt x="1796115" y="695158"/>
                  <a:pt x="1795516" y="695757"/>
                  <a:pt x="1794317" y="695158"/>
                </a:cubicBezTo>
                <a:cubicBezTo>
                  <a:pt x="1793718" y="695158"/>
                  <a:pt x="1793119" y="695158"/>
                  <a:pt x="1793119" y="695158"/>
                </a:cubicBezTo>
                <a:cubicBezTo>
                  <a:pt x="1792520" y="695158"/>
                  <a:pt x="1792520" y="695158"/>
                  <a:pt x="1791920" y="695158"/>
                </a:cubicBezTo>
                <a:cubicBezTo>
                  <a:pt x="1791321" y="695158"/>
                  <a:pt x="1791321" y="695158"/>
                  <a:pt x="1791321" y="695158"/>
                </a:cubicBezTo>
                <a:cubicBezTo>
                  <a:pt x="1790122" y="695158"/>
                  <a:pt x="1790122" y="696356"/>
                  <a:pt x="1790122" y="699353"/>
                </a:cubicBezTo>
                <a:cubicBezTo>
                  <a:pt x="1790122" y="701750"/>
                  <a:pt x="1790122" y="703548"/>
                  <a:pt x="1788924" y="704746"/>
                </a:cubicBezTo>
                <a:cubicBezTo>
                  <a:pt x="1788325" y="705345"/>
                  <a:pt x="1787725" y="705945"/>
                  <a:pt x="1786527" y="706544"/>
                </a:cubicBezTo>
                <a:cubicBezTo>
                  <a:pt x="1785328" y="707143"/>
                  <a:pt x="1784130" y="707743"/>
                  <a:pt x="1782332" y="708342"/>
                </a:cubicBezTo>
                <a:cubicBezTo>
                  <a:pt x="1780534" y="708941"/>
                  <a:pt x="1778736" y="709540"/>
                  <a:pt x="1776938" y="710739"/>
                </a:cubicBezTo>
                <a:cubicBezTo>
                  <a:pt x="1771545" y="713735"/>
                  <a:pt x="1767949" y="717331"/>
                  <a:pt x="1766751" y="719728"/>
                </a:cubicBezTo>
                <a:cubicBezTo>
                  <a:pt x="1765552" y="722724"/>
                  <a:pt x="1763155" y="723923"/>
                  <a:pt x="1761957" y="721526"/>
                </a:cubicBezTo>
                <a:cubicBezTo>
                  <a:pt x="1761357" y="720927"/>
                  <a:pt x="1761357" y="720327"/>
                  <a:pt x="1760758" y="720327"/>
                </a:cubicBezTo>
                <a:cubicBezTo>
                  <a:pt x="1760159" y="720327"/>
                  <a:pt x="1759559" y="720327"/>
                  <a:pt x="1758960" y="720327"/>
                </a:cubicBezTo>
                <a:cubicBezTo>
                  <a:pt x="1757762" y="720327"/>
                  <a:pt x="1756563" y="721526"/>
                  <a:pt x="1756563" y="722724"/>
                </a:cubicBezTo>
                <a:cubicBezTo>
                  <a:pt x="1756563" y="723324"/>
                  <a:pt x="1755964" y="723923"/>
                  <a:pt x="1755964" y="724522"/>
                </a:cubicBezTo>
                <a:cubicBezTo>
                  <a:pt x="1755365" y="725721"/>
                  <a:pt x="1754765" y="726320"/>
                  <a:pt x="1753567" y="727519"/>
                </a:cubicBezTo>
                <a:cubicBezTo>
                  <a:pt x="1752967" y="728118"/>
                  <a:pt x="1752368" y="728717"/>
                  <a:pt x="1751170" y="729916"/>
                </a:cubicBezTo>
                <a:cubicBezTo>
                  <a:pt x="1749971" y="730515"/>
                  <a:pt x="1748772" y="732313"/>
                  <a:pt x="1746975" y="734111"/>
                </a:cubicBezTo>
                <a:cubicBezTo>
                  <a:pt x="1746375" y="734710"/>
                  <a:pt x="1745177" y="735908"/>
                  <a:pt x="1744578" y="736508"/>
                </a:cubicBezTo>
                <a:cubicBezTo>
                  <a:pt x="1740383" y="741302"/>
                  <a:pt x="1736188" y="746096"/>
                  <a:pt x="1736188" y="746096"/>
                </a:cubicBezTo>
                <a:cubicBezTo>
                  <a:pt x="1736188" y="746096"/>
                  <a:pt x="1734989" y="748493"/>
                  <a:pt x="1734989" y="753287"/>
                </a:cubicBezTo>
                <a:cubicBezTo>
                  <a:pt x="1734989" y="756883"/>
                  <a:pt x="1734989" y="758681"/>
                  <a:pt x="1734989" y="759879"/>
                </a:cubicBezTo>
                <a:cubicBezTo>
                  <a:pt x="1734989" y="759879"/>
                  <a:pt x="1734989" y="760479"/>
                  <a:pt x="1734989" y="760479"/>
                </a:cubicBezTo>
                <a:cubicBezTo>
                  <a:pt x="1734989" y="760479"/>
                  <a:pt x="1735589" y="760479"/>
                  <a:pt x="1736787" y="760479"/>
                </a:cubicBezTo>
                <a:cubicBezTo>
                  <a:pt x="1738585" y="760479"/>
                  <a:pt x="1741581" y="761677"/>
                  <a:pt x="1742180" y="765273"/>
                </a:cubicBezTo>
                <a:cubicBezTo>
                  <a:pt x="1743379" y="770067"/>
                  <a:pt x="1743379" y="770666"/>
                  <a:pt x="1742180" y="771865"/>
                </a:cubicBezTo>
                <a:cubicBezTo>
                  <a:pt x="1741581" y="772464"/>
                  <a:pt x="1740982" y="772464"/>
                  <a:pt x="1739783" y="773063"/>
                </a:cubicBezTo>
                <a:cubicBezTo>
                  <a:pt x="1737986" y="774262"/>
                  <a:pt x="1737386" y="774861"/>
                  <a:pt x="1737386" y="776060"/>
                </a:cubicBezTo>
                <a:cubicBezTo>
                  <a:pt x="1737386" y="776659"/>
                  <a:pt x="1737986" y="777258"/>
                  <a:pt x="1739184" y="777858"/>
                </a:cubicBezTo>
                <a:cubicBezTo>
                  <a:pt x="1739783" y="778457"/>
                  <a:pt x="1739783" y="779056"/>
                  <a:pt x="1739783" y="780255"/>
                </a:cubicBezTo>
                <a:cubicBezTo>
                  <a:pt x="1739783" y="781453"/>
                  <a:pt x="1739783" y="782652"/>
                  <a:pt x="1739184" y="783850"/>
                </a:cubicBezTo>
                <a:cubicBezTo>
                  <a:pt x="1738585" y="786847"/>
                  <a:pt x="1737386" y="789843"/>
                  <a:pt x="1736188" y="791641"/>
                </a:cubicBezTo>
                <a:lnTo>
                  <a:pt x="1736188" y="791641"/>
                </a:lnTo>
                <a:lnTo>
                  <a:pt x="1736188" y="791641"/>
                </a:lnTo>
                <a:cubicBezTo>
                  <a:pt x="1734390" y="789843"/>
                  <a:pt x="1733191" y="789244"/>
                  <a:pt x="1731394" y="789244"/>
                </a:cubicBezTo>
                <a:cubicBezTo>
                  <a:pt x="1730794" y="789244"/>
                  <a:pt x="1730794" y="789244"/>
                  <a:pt x="1730195" y="789244"/>
                </a:cubicBezTo>
                <a:cubicBezTo>
                  <a:pt x="1728996" y="789843"/>
                  <a:pt x="1728996" y="790442"/>
                  <a:pt x="1730195" y="791641"/>
                </a:cubicBezTo>
                <a:cubicBezTo>
                  <a:pt x="1728397" y="791042"/>
                  <a:pt x="1728996" y="791641"/>
                  <a:pt x="1729596" y="792240"/>
                </a:cubicBezTo>
                <a:cubicBezTo>
                  <a:pt x="1729596" y="792240"/>
                  <a:pt x="1729596" y="792240"/>
                  <a:pt x="1729596" y="792240"/>
                </a:cubicBezTo>
                <a:close/>
                <a:moveTo>
                  <a:pt x="1534832" y="910297"/>
                </a:moveTo>
                <a:cubicBezTo>
                  <a:pt x="1534232" y="912694"/>
                  <a:pt x="1533034" y="914492"/>
                  <a:pt x="1531236" y="915691"/>
                </a:cubicBezTo>
                <a:cubicBezTo>
                  <a:pt x="1533034" y="913893"/>
                  <a:pt x="1534232" y="912095"/>
                  <a:pt x="1534832" y="910297"/>
                </a:cubicBezTo>
                <a:cubicBezTo>
                  <a:pt x="1535431" y="909099"/>
                  <a:pt x="1535431" y="907900"/>
                  <a:pt x="1536030" y="906702"/>
                </a:cubicBezTo>
                <a:cubicBezTo>
                  <a:pt x="1535431" y="907301"/>
                  <a:pt x="1535431" y="909099"/>
                  <a:pt x="1534832" y="910297"/>
                </a:cubicBezTo>
                <a:close/>
                <a:moveTo>
                  <a:pt x="1487489" y="840781"/>
                </a:moveTo>
                <a:lnTo>
                  <a:pt x="1487489" y="840781"/>
                </a:lnTo>
                <a:cubicBezTo>
                  <a:pt x="1486890" y="840781"/>
                  <a:pt x="1486890" y="840781"/>
                  <a:pt x="1486291" y="840781"/>
                </a:cubicBezTo>
                <a:cubicBezTo>
                  <a:pt x="1486890" y="840781"/>
                  <a:pt x="1487489" y="840781"/>
                  <a:pt x="1487489" y="840781"/>
                </a:cubicBezTo>
                <a:close/>
                <a:moveTo>
                  <a:pt x="1474904" y="841980"/>
                </a:moveTo>
                <a:cubicBezTo>
                  <a:pt x="1474305" y="841980"/>
                  <a:pt x="1473706" y="841980"/>
                  <a:pt x="1473106" y="842579"/>
                </a:cubicBezTo>
                <a:cubicBezTo>
                  <a:pt x="1473706" y="841980"/>
                  <a:pt x="1474305" y="841381"/>
                  <a:pt x="1474904" y="841980"/>
                </a:cubicBezTo>
                <a:close/>
                <a:moveTo>
                  <a:pt x="1460522" y="849770"/>
                </a:moveTo>
                <a:cubicBezTo>
                  <a:pt x="1460522" y="850370"/>
                  <a:pt x="1461121" y="850969"/>
                  <a:pt x="1462320" y="850969"/>
                </a:cubicBezTo>
                <a:cubicBezTo>
                  <a:pt x="1461720" y="850370"/>
                  <a:pt x="1461121" y="849770"/>
                  <a:pt x="1460522" y="849770"/>
                </a:cubicBezTo>
                <a:close/>
                <a:moveTo>
                  <a:pt x="1458724" y="848572"/>
                </a:moveTo>
                <a:cubicBezTo>
                  <a:pt x="1458125" y="848572"/>
                  <a:pt x="1457525" y="848572"/>
                  <a:pt x="1456327" y="849171"/>
                </a:cubicBezTo>
                <a:cubicBezTo>
                  <a:pt x="1457525" y="848572"/>
                  <a:pt x="1458125" y="848572"/>
                  <a:pt x="1458724" y="848572"/>
                </a:cubicBezTo>
                <a:close/>
                <a:moveTo>
                  <a:pt x="1450334" y="885727"/>
                </a:moveTo>
                <a:cubicBezTo>
                  <a:pt x="1450933" y="885128"/>
                  <a:pt x="1452132" y="884528"/>
                  <a:pt x="1452731" y="883929"/>
                </a:cubicBezTo>
                <a:cubicBezTo>
                  <a:pt x="1453930" y="882731"/>
                  <a:pt x="1455128" y="882131"/>
                  <a:pt x="1455728" y="882131"/>
                </a:cubicBezTo>
                <a:cubicBezTo>
                  <a:pt x="1454529" y="882731"/>
                  <a:pt x="1453930" y="882731"/>
                  <a:pt x="1452731" y="883929"/>
                </a:cubicBezTo>
                <a:cubicBezTo>
                  <a:pt x="1451533" y="885128"/>
                  <a:pt x="1450933" y="885727"/>
                  <a:pt x="1450334" y="885727"/>
                </a:cubicBezTo>
                <a:close/>
                <a:moveTo>
                  <a:pt x="1432356" y="936066"/>
                </a:moveTo>
                <a:cubicBezTo>
                  <a:pt x="1431757" y="936066"/>
                  <a:pt x="1430558" y="936066"/>
                  <a:pt x="1430558" y="936066"/>
                </a:cubicBezTo>
                <a:cubicBezTo>
                  <a:pt x="1431157" y="935467"/>
                  <a:pt x="1431757" y="936066"/>
                  <a:pt x="1432356" y="936066"/>
                </a:cubicBezTo>
                <a:cubicBezTo>
                  <a:pt x="1434753" y="936066"/>
                  <a:pt x="1435951" y="937265"/>
                  <a:pt x="1436551" y="937864"/>
                </a:cubicBezTo>
                <a:cubicBezTo>
                  <a:pt x="1436551" y="938463"/>
                  <a:pt x="1436551" y="939062"/>
                  <a:pt x="1435951" y="940261"/>
                </a:cubicBezTo>
                <a:cubicBezTo>
                  <a:pt x="1436551" y="939662"/>
                  <a:pt x="1436551" y="938463"/>
                  <a:pt x="1436551" y="937864"/>
                </a:cubicBezTo>
                <a:cubicBezTo>
                  <a:pt x="1435951" y="936665"/>
                  <a:pt x="1434753" y="936066"/>
                  <a:pt x="1432356" y="936066"/>
                </a:cubicBezTo>
                <a:close/>
                <a:moveTo>
                  <a:pt x="1426363" y="934867"/>
                </a:moveTo>
                <a:cubicBezTo>
                  <a:pt x="1425764" y="934867"/>
                  <a:pt x="1425764" y="934867"/>
                  <a:pt x="1426363" y="934867"/>
                </a:cubicBezTo>
                <a:cubicBezTo>
                  <a:pt x="1425165" y="934268"/>
                  <a:pt x="1425165" y="933669"/>
                  <a:pt x="1425165" y="933070"/>
                </a:cubicBezTo>
                <a:cubicBezTo>
                  <a:pt x="1425165" y="933669"/>
                  <a:pt x="1425165" y="934268"/>
                  <a:pt x="1426363" y="934867"/>
                </a:cubicBezTo>
                <a:cubicBezTo>
                  <a:pt x="1425764" y="934867"/>
                  <a:pt x="1425764" y="934867"/>
                  <a:pt x="1426363" y="934867"/>
                </a:cubicBezTo>
                <a:close/>
                <a:moveTo>
                  <a:pt x="1423367" y="920485"/>
                </a:moveTo>
                <a:cubicBezTo>
                  <a:pt x="1423367" y="919286"/>
                  <a:pt x="1422767" y="918687"/>
                  <a:pt x="1421569" y="918687"/>
                </a:cubicBezTo>
                <a:cubicBezTo>
                  <a:pt x="1422767" y="918687"/>
                  <a:pt x="1423367" y="919286"/>
                  <a:pt x="1423367" y="920485"/>
                </a:cubicBezTo>
                <a:close/>
                <a:moveTo>
                  <a:pt x="1361042" y="1416084"/>
                </a:moveTo>
                <a:cubicBezTo>
                  <a:pt x="1361042" y="1415485"/>
                  <a:pt x="1361042" y="1415485"/>
                  <a:pt x="1361042" y="1414886"/>
                </a:cubicBezTo>
                <a:cubicBezTo>
                  <a:pt x="1361042" y="1415485"/>
                  <a:pt x="1361042" y="1416084"/>
                  <a:pt x="1361042" y="1416084"/>
                </a:cubicBezTo>
                <a:close/>
                <a:moveTo>
                  <a:pt x="1360443" y="1419081"/>
                </a:moveTo>
                <a:cubicBezTo>
                  <a:pt x="1360443" y="1418482"/>
                  <a:pt x="1360443" y="1418482"/>
                  <a:pt x="1361042" y="1417882"/>
                </a:cubicBezTo>
                <a:cubicBezTo>
                  <a:pt x="1360443" y="1418482"/>
                  <a:pt x="1360443" y="1418482"/>
                  <a:pt x="1360443" y="1419081"/>
                </a:cubicBezTo>
                <a:close/>
                <a:moveTo>
                  <a:pt x="1358645" y="1422077"/>
                </a:moveTo>
                <a:cubicBezTo>
                  <a:pt x="1358645" y="1421478"/>
                  <a:pt x="1358645" y="1421478"/>
                  <a:pt x="1359244" y="1420879"/>
                </a:cubicBezTo>
                <a:cubicBezTo>
                  <a:pt x="1359244" y="1421478"/>
                  <a:pt x="1359244" y="1421478"/>
                  <a:pt x="1358645" y="1422077"/>
                </a:cubicBezTo>
                <a:close/>
                <a:moveTo>
                  <a:pt x="1409583" y="1416084"/>
                </a:moveTo>
                <a:lnTo>
                  <a:pt x="1409583" y="1414886"/>
                </a:lnTo>
                <a:cubicBezTo>
                  <a:pt x="1409583" y="1414287"/>
                  <a:pt x="1409583" y="1413687"/>
                  <a:pt x="1409583" y="1413687"/>
                </a:cubicBezTo>
                <a:lnTo>
                  <a:pt x="1409583" y="1414886"/>
                </a:lnTo>
                <a:cubicBezTo>
                  <a:pt x="1409583" y="1416084"/>
                  <a:pt x="1407786" y="1417283"/>
                  <a:pt x="1402392" y="1415485"/>
                </a:cubicBezTo>
                <a:cubicBezTo>
                  <a:pt x="1407186" y="1417283"/>
                  <a:pt x="1408984" y="1417283"/>
                  <a:pt x="1409583" y="1416084"/>
                </a:cubicBezTo>
                <a:cubicBezTo>
                  <a:pt x="1409583" y="1416684"/>
                  <a:pt x="1409583" y="1416684"/>
                  <a:pt x="1409583" y="1416084"/>
                </a:cubicBezTo>
                <a:close/>
                <a:moveTo>
                  <a:pt x="1459323" y="1483203"/>
                </a:moveTo>
                <a:cubicBezTo>
                  <a:pt x="1459922" y="1483203"/>
                  <a:pt x="1460522" y="1482604"/>
                  <a:pt x="1461121" y="1482005"/>
                </a:cubicBezTo>
                <a:cubicBezTo>
                  <a:pt x="1460522" y="1482604"/>
                  <a:pt x="1459922" y="1483203"/>
                  <a:pt x="1459323" y="1483203"/>
                </a:cubicBezTo>
                <a:close/>
                <a:moveTo>
                  <a:pt x="1464717" y="1479008"/>
                </a:moveTo>
                <a:cubicBezTo>
                  <a:pt x="1465316" y="1478409"/>
                  <a:pt x="1466514" y="1477210"/>
                  <a:pt x="1467114" y="1476611"/>
                </a:cubicBezTo>
                <a:cubicBezTo>
                  <a:pt x="1465915" y="1477810"/>
                  <a:pt x="1465316" y="1478409"/>
                  <a:pt x="1464717" y="1479008"/>
                </a:cubicBezTo>
                <a:close/>
                <a:moveTo>
                  <a:pt x="1461720" y="1481405"/>
                </a:moveTo>
                <a:cubicBezTo>
                  <a:pt x="1462320" y="1480806"/>
                  <a:pt x="1462919" y="1480207"/>
                  <a:pt x="1463518" y="1479607"/>
                </a:cubicBezTo>
                <a:cubicBezTo>
                  <a:pt x="1462919" y="1480806"/>
                  <a:pt x="1462320" y="1481405"/>
                  <a:pt x="1461720" y="1481405"/>
                </a:cubicBezTo>
                <a:close/>
                <a:moveTo>
                  <a:pt x="1470110" y="1455637"/>
                </a:moveTo>
                <a:cubicBezTo>
                  <a:pt x="1470709" y="1455037"/>
                  <a:pt x="1470709" y="1454438"/>
                  <a:pt x="1471309" y="1453839"/>
                </a:cubicBezTo>
                <a:cubicBezTo>
                  <a:pt x="1470709" y="1454438"/>
                  <a:pt x="1470709" y="1455037"/>
                  <a:pt x="1470110" y="1455637"/>
                </a:cubicBezTo>
                <a:close/>
                <a:moveTo>
                  <a:pt x="1468912" y="1458633"/>
                </a:moveTo>
                <a:cubicBezTo>
                  <a:pt x="1468912" y="1458034"/>
                  <a:pt x="1469511" y="1457434"/>
                  <a:pt x="1470110" y="1456236"/>
                </a:cubicBezTo>
                <a:cubicBezTo>
                  <a:pt x="1469511" y="1456835"/>
                  <a:pt x="1468912" y="1458034"/>
                  <a:pt x="1468912" y="1458633"/>
                </a:cubicBezTo>
                <a:close/>
                <a:moveTo>
                  <a:pt x="1471908" y="1453239"/>
                </a:moveTo>
                <a:cubicBezTo>
                  <a:pt x="1472507" y="1452640"/>
                  <a:pt x="1473106" y="1451442"/>
                  <a:pt x="1473706" y="1450842"/>
                </a:cubicBezTo>
                <a:cubicBezTo>
                  <a:pt x="1473106" y="1451442"/>
                  <a:pt x="1472507" y="1452041"/>
                  <a:pt x="1471908" y="1453239"/>
                </a:cubicBezTo>
                <a:close/>
                <a:moveTo>
                  <a:pt x="1476702" y="1448445"/>
                </a:moveTo>
                <a:cubicBezTo>
                  <a:pt x="1476702" y="1448445"/>
                  <a:pt x="1476702" y="1448445"/>
                  <a:pt x="1476702" y="1448445"/>
                </a:cubicBezTo>
                <a:cubicBezTo>
                  <a:pt x="1476702" y="1448445"/>
                  <a:pt x="1476702" y="1448445"/>
                  <a:pt x="1476702" y="1448445"/>
                </a:cubicBezTo>
                <a:close/>
                <a:moveTo>
                  <a:pt x="1473706" y="1450243"/>
                </a:moveTo>
                <a:cubicBezTo>
                  <a:pt x="1474305" y="1449644"/>
                  <a:pt x="1474904" y="1449044"/>
                  <a:pt x="1475504" y="1449044"/>
                </a:cubicBezTo>
                <a:cubicBezTo>
                  <a:pt x="1474904" y="1449044"/>
                  <a:pt x="1474305" y="1449644"/>
                  <a:pt x="1473706" y="1450243"/>
                </a:cubicBezTo>
                <a:close/>
                <a:moveTo>
                  <a:pt x="1524644" y="1216526"/>
                </a:moveTo>
                <a:cubicBezTo>
                  <a:pt x="1524644" y="1216526"/>
                  <a:pt x="1525243" y="1216526"/>
                  <a:pt x="1525243" y="1215927"/>
                </a:cubicBezTo>
                <a:cubicBezTo>
                  <a:pt x="1524644" y="1216526"/>
                  <a:pt x="1524644" y="1216526"/>
                  <a:pt x="1524644" y="1216526"/>
                </a:cubicBezTo>
                <a:close/>
                <a:moveTo>
                  <a:pt x="1522846" y="1217725"/>
                </a:moveTo>
                <a:cubicBezTo>
                  <a:pt x="1522846" y="1217725"/>
                  <a:pt x="1522846" y="1217725"/>
                  <a:pt x="1522846" y="1217725"/>
                </a:cubicBezTo>
                <a:cubicBezTo>
                  <a:pt x="1522846" y="1217725"/>
                  <a:pt x="1522846" y="1217725"/>
                  <a:pt x="1522846" y="1217725"/>
                </a:cubicBezTo>
                <a:close/>
                <a:moveTo>
                  <a:pt x="1521048" y="1218324"/>
                </a:moveTo>
                <a:cubicBezTo>
                  <a:pt x="1521648" y="1218324"/>
                  <a:pt x="1521648" y="1218324"/>
                  <a:pt x="1521048" y="1218324"/>
                </a:cubicBezTo>
                <a:cubicBezTo>
                  <a:pt x="1521648" y="1218324"/>
                  <a:pt x="1521648" y="1218324"/>
                  <a:pt x="1521048" y="1218324"/>
                </a:cubicBezTo>
                <a:close/>
                <a:moveTo>
                  <a:pt x="1519850" y="1218923"/>
                </a:moveTo>
                <a:cubicBezTo>
                  <a:pt x="1519850" y="1218923"/>
                  <a:pt x="1519850" y="1218923"/>
                  <a:pt x="1519850" y="1218923"/>
                </a:cubicBezTo>
                <a:cubicBezTo>
                  <a:pt x="1519850" y="1218923"/>
                  <a:pt x="1519850" y="1218923"/>
                  <a:pt x="1519850" y="1218923"/>
                </a:cubicBezTo>
                <a:close/>
                <a:moveTo>
                  <a:pt x="1528240" y="1214728"/>
                </a:moveTo>
                <a:cubicBezTo>
                  <a:pt x="1528839" y="1214728"/>
                  <a:pt x="1528839" y="1214129"/>
                  <a:pt x="1529438" y="1214129"/>
                </a:cubicBezTo>
                <a:cubicBezTo>
                  <a:pt x="1528839" y="1214129"/>
                  <a:pt x="1528240" y="1214728"/>
                  <a:pt x="1528240" y="1214728"/>
                </a:cubicBezTo>
                <a:close/>
                <a:moveTo>
                  <a:pt x="1526442" y="1215927"/>
                </a:moveTo>
                <a:cubicBezTo>
                  <a:pt x="1526442" y="1215927"/>
                  <a:pt x="1527041" y="1215927"/>
                  <a:pt x="1527041" y="1215328"/>
                </a:cubicBezTo>
                <a:cubicBezTo>
                  <a:pt x="1527041" y="1215328"/>
                  <a:pt x="1526442" y="1215328"/>
                  <a:pt x="1526442" y="1215927"/>
                </a:cubicBezTo>
                <a:close/>
                <a:moveTo>
                  <a:pt x="1549814" y="1218923"/>
                </a:moveTo>
                <a:cubicBezTo>
                  <a:pt x="1551611" y="1219523"/>
                  <a:pt x="1552810" y="1219523"/>
                  <a:pt x="1554608" y="1220122"/>
                </a:cubicBezTo>
                <a:cubicBezTo>
                  <a:pt x="1552810" y="1218923"/>
                  <a:pt x="1551611" y="1218923"/>
                  <a:pt x="1549814" y="1218923"/>
                </a:cubicBezTo>
                <a:close/>
                <a:moveTo>
                  <a:pt x="3341043" y="498596"/>
                </a:moveTo>
                <a:cubicBezTo>
                  <a:pt x="3341643" y="498596"/>
                  <a:pt x="3342242" y="498596"/>
                  <a:pt x="3342841" y="497997"/>
                </a:cubicBezTo>
                <a:cubicBezTo>
                  <a:pt x="3344639" y="497997"/>
                  <a:pt x="3345238" y="497397"/>
                  <a:pt x="3345238" y="496798"/>
                </a:cubicBezTo>
                <a:cubicBezTo>
                  <a:pt x="3344639" y="497397"/>
                  <a:pt x="3344040" y="497397"/>
                  <a:pt x="3342841" y="497997"/>
                </a:cubicBezTo>
                <a:cubicBezTo>
                  <a:pt x="3342242" y="498596"/>
                  <a:pt x="3341643" y="498596"/>
                  <a:pt x="3341043" y="498596"/>
                </a:cubicBezTo>
                <a:close/>
                <a:moveTo>
                  <a:pt x="3332054" y="504589"/>
                </a:moveTo>
                <a:cubicBezTo>
                  <a:pt x="3332654" y="504589"/>
                  <a:pt x="3333852" y="503989"/>
                  <a:pt x="3334451" y="503390"/>
                </a:cubicBezTo>
                <a:cubicBezTo>
                  <a:pt x="3335050" y="502791"/>
                  <a:pt x="3335050" y="502791"/>
                  <a:pt x="3335050" y="502192"/>
                </a:cubicBezTo>
                <a:cubicBezTo>
                  <a:pt x="3335050" y="502192"/>
                  <a:pt x="3334451" y="502791"/>
                  <a:pt x="3334451" y="503390"/>
                </a:cubicBezTo>
                <a:cubicBezTo>
                  <a:pt x="3333253" y="503989"/>
                  <a:pt x="3332654" y="503989"/>
                  <a:pt x="3332054" y="504589"/>
                </a:cubicBezTo>
                <a:close/>
                <a:moveTo>
                  <a:pt x="3318271" y="499795"/>
                </a:moveTo>
                <a:cubicBezTo>
                  <a:pt x="3318870" y="499795"/>
                  <a:pt x="3319470" y="499795"/>
                  <a:pt x="3320668" y="500394"/>
                </a:cubicBezTo>
                <a:cubicBezTo>
                  <a:pt x="3320069" y="499795"/>
                  <a:pt x="3318870" y="499795"/>
                  <a:pt x="3318271" y="499795"/>
                </a:cubicBezTo>
                <a:close/>
                <a:moveTo>
                  <a:pt x="3316473" y="506986"/>
                </a:moveTo>
                <a:cubicBezTo>
                  <a:pt x="3318870" y="507585"/>
                  <a:pt x="3321267" y="508784"/>
                  <a:pt x="3323065" y="509383"/>
                </a:cubicBezTo>
                <a:cubicBezTo>
                  <a:pt x="3323664" y="509383"/>
                  <a:pt x="3323664" y="509982"/>
                  <a:pt x="3324264" y="509982"/>
                </a:cubicBezTo>
                <a:cubicBezTo>
                  <a:pt x="3323664" y="509982"/>
                  <a:pt x="3323664" y="509383"/>
                  <a:pt x="3323065" y="509383"/>
                </a:cubicBezTo>
                <a:cubicBezTo>
                  <a:pt x="3321267" y="508784"/>
                  <a:pt x="3318870" y="507585"/>
                  <a:pt x="3316473" y="506986"/>
                </a:cubicBezTo>
                <a:close/>
                <a:moveTo>
                  <a:pt x="3311080" y="508784"/>
                </a:moveTo>
                <a:cubicBezTo>
                  <a:pt x="3311080" y="510581"/>
                  <a:pt x="3313477" y="511780"/>
                  <a:pt x="3315874" y="511780"/>
                </a:cubicBezTo>
                <a:cubicBezTo>
                  <a:pt x="3313477" y="511780"/>
                  <a:pt x="3311080" y="510581"/>
                  <a:pt x="3311080" y="508784"/>
                </a:cubicBezTo>
                <a:close/>
                <a:moveTo>
                  <a:pt x="3291903" y="535152"/>
                </a:moveTo>
                <a:cubicBezTo>
                  <a:pt x="3294300" y="533354"/>
                  <a:pt x="3298495" y="531556"/>
                  <a:pt x="3302690" y="530957"/>
                </a:cubicBezTo>
                <a:cubicBezTo>
                  <a:pt x="3305087" y="530357"/>
                  <a:pt x="3306885" y="530357"/>
                  <a:pt x="3308683" y="530357"/>
                </a:cubicBezTo>
                <a:cubicBezTo>
                  <a:pt x="3306885" y="530357"/>
                  <a:pt x="3305087" y="530357"/>
                  <a:pt x="3302690" y="530957"/>
                </a:cubicBezTo>
                <a:cubicBezTo>
                  <a:pt x="3298495" y="531556"/>
                  <a:pt x="3294300" y="533354"/>
                  <a:pt x="3291903" y="535152"/>
                </a:cubicBezTo>
                <a:close/>
                <a:moveTo>
                  <a:pt x="3288307" y="537549"/>
                </a:moveTo>
                <a:cubicBezTo>
                  <a:pt x="3287708" y="537549"/>
                  <a:pt x="3287109" y="537549"/>
                  <a:pt x="3285910" y="537549"/>
                </a:cubicBezTo>
                <a:cubicBezTo>
                  <a:pt x="3286509" y="537549"/>
                  <a:pt x="3287708" y="537549"/>
                  <a:pt x="3288307" y="537549"/>
                </a:cubicBezTo>
                <a:close/>
                <a:moveTo>
                  <a:pt x="3190026" y="542343"/>
                </a:moveTo>
                <a:cubicBezTo>
                  <a:pt x="3190026" y="542942"/>
                  <a:pt x="3190026" y="543541"/>
                  <a:pt x="3190626" y="544141"/>
                </a:cubicBezTo>
                <a:cubicBezTo>
                  <a:pt x="3191225" y="546538"/>
                  <a:pt x="3191225" y="547736"/>
                  <a:pt x="3191225" y="548935"/>
                </a:cubicBezTo>
                <a:cubicBezTo>
                  <a:pt x="3191225" y="547736"/>
                  <a:pt x="3191225" y="546538"/>
                  <a:pt x="3190626" y="544141"/>
                </a:cubicBezTo>
                <a:cubicBezTo>
                  <a:pt x="3190026" y="543541"/>
                  <a:pt x="3190026" y="542942"/>
                  <a:pt x="3190026" y="542343"/>
                </a:cubicBezTo>
                <a:close/>
                <a:moveTo>
                  <a:pt x="3176243" y="576502"/>
                </a:moveTo>
                <a:cubicBezTo>
                  <a:pt x="3177442" y="577101"/>
                  <a:pt x="3177442" y="577700"/>
                  <a:pt x="3177442" y="578899"/>
                </a:cubicBezTo>
                <a:cubicBezTo>
                  <a:pt x="3176842" y="580697"/>
                  <a:pt x="3175644" y="581296"/>
                  <a:pt x="3176243" y="581895"/>
                </a:cubicBezTo>
                <a:cubicBezTo>
                  <a:pt x="3175644" y="581296"/>
                  <a:pt x="3176842" y="580697"/>
                  <a:pt x="3177442" y="578899"/>
                </a:cubicBezTo>
                <a:cubicBezTo>
                  <a:pt x="3178041" y="577700"/>
                  <a:pt x="3177442" y="577101"/>
                  <a:pt x="3176243" y="576502"/>
                </a:cubicBezTo>
                <a:close/>
                <a:moveTo>
                  <a:pt x="3157666" y="565715"/>
                </a:moveTo>
                <a:cubicBezTo>
                  <a:pt x="3160063" y="566913"/>
                  <a:pt x="3161861" y="567512"/>
                  <a:pt x="3163059" y="568711"/>
                </a:cubicBezTo>
                <a:cubicBezTo>
                  <a:pt x="3163658" y="569310"/>
                  <a:pt x="3164257" y="569910"/>
                  <a:pt x="3164257" y="570509"/>
                </a:cubicBezTo>
                <a:cubicBezTo>
                  <a:pt x="3164257" y="570509"/>
                  <a:pt x="3164857" y="571108"/>
                  <a:pt x="3164857" y="571108"/>
                </a:cubicBezTo>
                <a:cubicBezTo>
                  <a:pt x="3164857" y="571108"/>
                  <a:pt x="3164257" y="570509"/>
                  <a:pt x="3164257" y="570509"/>
                </a:cubicBezTo>
                <a:cubicBezTo>
                  <a:pt x="3164257" y="569910"/>
                  <a:pt x="3163658" y="569310"/>
                  <a:pt x="3163059" y="568711"/>
                </a:cubicBezTo>
                <a:cubicBezTo>
                  <a:pt x="3161861" y="568112"/>
                  <a:pt x="3160063" y="566913"/>
                  <a:pt x="3157666" y="565715"/>
                </a:cubicBezTo>
                <a:close/>
                <a:moveTo>
                  <a:pt x="3134294" y="560920"/>
                </a:moveTo>
                <a:cubicBezTo>
                  <a:pt x="3134893" y="560321"/>
                  <a:pt x="3136092" y="560321"/>
                  <a:pt x="3136691" y="560321"/>
                </a:cubicBezTo>
                <a:cubicBezTo>
                  <a:pt x="3135492" y="560920"/>
                  <a:pt x="3134893" y="560920"/>
                  <a:pt x="3134294" y="560920"/>
                </a:cubicBezTo>
                <a:close/>
                <a:moveTo>
                  <a:pt x="3125904" y="565115"/>
                </a:moveTo>
                <a:cubicBezTo>
                  <a:pt x="3127702" y="565115"/>
                  <a:pt x="3129500" y="564516"/>
                  <a:pt x="3131897" y="562718"/>
                </a:cubicBezTo>
                <a:cubicBezTo>
                  <a:pt x="3129500" y="564516"/>
                  <a:pt x="3127702" y="565115"/>
                  <a:pt x="3125904" y="565115"/>
                </a:cubicBezTo>
                <a:close/>
                <a:moveTo>
                  <a:pt x="3127103" y="570509"/>
                </a:moveTo>
                <a:cubicBezTo>
                  <a:pt x="3128301" y="571108"/>
                  <a:pt x="3128900" y="572307"/>
                  <a:pt x="3130099" y="572906"/>
                </a:cubicBezTo>
                <a:cubicBezTo>
                  <a:pt x="3128900" y="572307"/>
                  <a:pt x="3127702" y="571108"/>
                  <a:pt x="3127103" y="570509"/>
                </a:cubicBezTo>
                <a:close/>
                <a:moveTo>
                  <a:pt x="3112720" y="572307"/>
                </a:moveTo>
                <a:cubicBezTo>
                  <a:pt x="3113919" y="572906"/>
                  <a:pt x="3114518" y="574104"/>
                  <a:pt x="3115716" y="574704"/>
                </a:cubicBezTo>
                <a:cubicBezTo>
                  <a:pt x="3118713" y="577101"/>
                  <a:pt x="3123507" y="578899"/>
                  <a:pt x="3127103" y="578899"/>
                </a:cubicBezTo>
                <a:cubicBezTo>
                  <a:pt x="3123507" y="578299"/>
                  <a:pt x="3118713" y="576502"/>
                  <a:pt x="3115716" y="574704"/>
                </a:cubicBezTo>
                <a:cubicBezTo>
                  <a:pt x="3115117" y="574104"/>
                  <a:pt x="3113919" y="572906"/>
                  <a:pt x="3112720" y="572307"/>
                </a:cubicBezTo>
                <a:close/>
                <a:moveTo>
                  <a:pt x="3089948" y="578299"/>
                </a:moveTo>
                <a:cubicBezTo>
                  <a:pt x="3091146" y="576502"/>
                  <a:pt x="3095341" y="574704"/>
                  <a:pt x="3100135" y="572307"/>
                </a:cubicBezTo>
                <a:cubicBezTo>
                  <a:pt x="3103731" y="570509"/>
                  <a:pt x="3106128" y="569910"/>
                  <a:pt x="3108525" y="569910"/>
                </a:cubicBezTo>
                <a:cubicBezTo>
                  <a:pt x="3106727" y="569910"/>
                  <a:pt x="3103731" y="570509"/>
                  <a:pt x="3100135" y="572307"/>
                </a:cubicBezTo>
                <a:cubicBezTo>
                  <a:pt x="3095341" y="575303"/>
                  <a:pt x="3091146" y="577101"/>
                  <a:pt x="3089948" y="578299"/>
                </a:cubicBezTo>
                <a:close/>
                <a:moveTo>
                  <a:pt x="3083355" y="563318"/>
                </a:moveTo>
                <a:cubicBezTo>
                  <a:pt x="3082756" y="563917"/>
                  <a:pt x="3082157" y="565115"/>
                  <a:pt x="3081558" y="565715"/>
                </a:cubicBezTo>
                <a:cubicBezTo>
                  <a:pt x="3080959" y="566314"/>
                  <a:pt x="3080359" y="566913"/>
                  <a:pt x="3079760" y="567512"/>
                </a:cubicBezTo>
                <a:cubicBezTo>
                  <a:pt x="3080359" y="566913"/>
                  <a:pt x="3080959" y="566314"/>
                  <a:pt x="3081558" y="565715"/>
                </a:cubicBezTo>
                <a:cubicBezTo>
                  <a:pt x="3082157" y="565115"/>
                  <a:pt x="3082756" y="563917"/>
                  <a:pt x="3083355" y="563318"/>
                </a:cubicBezTo>
                <a:close/>
                <a:moveTo>
                  <a:pt x="3043204" y="578899"/>
                </a:moveTo>
                <a:cubicBezTo>
                  <a:pt x="3045002" y="577101"/>
                  <a:pt x="3046201" y="575902"/>
                  <a:pt x="3049197" y="574704"/>
                </a:cubicBezTo>
                <a:cubicBezTo>
                  <a:pt x="3050995" y="574104"/>
                  <a:pt x="3052793" y="573505"/>
                  <a:pt x="3055190" y="572307"/>
                </a:cubicBezTo>
                <a:cubicBezTo>
                  <a:pt x="3058785" y="570509"/>
                  <a:pt x="3062980" y="568112"/>
                  <a:pt x="3069572" y="564516"/>
                </a:cubicBezTo>
                <a:cubicBezTo>
                  <a:pt x="3070771" y="563917"/>
                  <a:pt x="3071969" y="563318"/>
                  <a:pt x="3073168" y="562718"/>
                </a:cubicBezTo>
                <a:cubicBezTo>
                  <a:pt x="3071969" y="563318"/>
                  <a:pt x="3070771" y="563917"/>
                  <a:pt x="3069572" y="564516"/>
                </a:cubicBezTo>
                <a:cubicBezTo>
                  <a:pt x="3062980" y="568112"/>
                  <a:pt x="3058785" y="570509"/>
                  <a:pt x="3055190" y="572307"/>
                </a:cubicBezTo>
                <a:cubicBezTo>
                  <a:pt x="3053392" y="573505"/>
                  <a:pt x="3050995" y="574104"/>
                  <a:pt x="3049197" y="574704"/>
                </a:cubicBezTo>
                <a:cubicBezTo>
                  <a:pt x="3046201" y="575902"/>
                  <a:pt x="3045002" y="577101"/>
                  <a:pt x="3043204" y="578899"/>
                </a:cubicBezTo>
                <a:close/>
                <a:moveTo>
                  <a:pt x="3028822" y="589686"/>
                </a:moveTo>
                <a:cubicBezTo>
                  <a:pt x="3031818" y="587289"/>
                  <a:pt x="3037211" y="584891"/>
                  <a:pt x="3039609" y="582494"/>
                </a:cubicBezTo>
                <a:cubicBezTo>
                  <a:pt x="3040807" y="581296"/>
                  <a:pt x="3041406" y="580697"/>
                  <a:pt x="3042006" y="580097"/>
                </a:cubicBezTo>
                <a:cubicBezTo>
                  <a:pt x="3041406" y="580697"/>
                  <a:pt x="3040807" y="581895"/>
                  <a:pt x="3039609" y="582494"/>
                </a:cubicBezTo>
                <a:cubicBezTo>
                  <a:pt x="3037811" y="585491"/>
                  <a:pt x="3031818" y="587888"/>
                  <a:pt x="3028822" y="589686"/>
                </a:cubicBezTo>
                <a:close/>
                <a:moveTo>
                  <a:pt x="3027024" y="593881"/>
                </a:moveTo>
                <a:cubicBezTo>
                  <a:pt x="3027024" y="593881"/>
                  <a:pt x="3027623" y="594480"/>
                  <a:pt x="3027623" y="595079"/>
                </a:cubicBezTo>
                <a:cubicBezTo>
                  <a:pt x="3028222" y="595678"/>
                  <a:pt x="3028222" y="596877"/>
                  <a:pt x="3028822" y="598075"/>
                </a:cubicBezTo>
                <a:cubicBezTo>
                  <a:pt x="3029421" y="599274"/>
                  <a:pt x="3030020" y="600473"/>
                  <a:pt x="3030619" y="601671"/>
                </a:cubicBezTo>
                <a:cubicBezTo>
                  <a:pt x="3030020" y="600473"/>
                  <a:pt x="3029421" y="599274"/>
                  <a:pt x="3028822" y="598075"/>
                </a:cubicBezTo>
                <a:cubicBezTo>
                  <a:pt x="3028222" y="596877"/>
                  <a:pt x="3027623" y="596278"/>
                  <a:pt x="3027623" y="595079"/>
                </a:cubicBezTo>
                <a:cubicBezTo>
                  <a:pt x="3027623" y="594480"/>
                  <a:pt x="3027024" y="594480"/>
                  <a:pt x="3027024" y="593881"/>
                </a:cubicBezTo>
                <a:cubicBezTo>
                  <a:pt x="3026425" y="592682"/>
                  <a:pt x="3026425" y="592083"/>
                  <a:pt x="3027623" y="590884"/>
                </a:cubicBezTo>
                <a:cubicBezTo>
                  <a:pt x="3026425" y="592083"/>
                  <a:pt x="3026425" y="593281"/>
                  <a:pt x="3027024" y="593881"/>
                </a:cubicBezTo>
                <a:close/>
                <a:moveTo>
                  <a:pt x="3023428" y="577700"/>
                </a:moveTo>
                <a:cubicBezTo>
                  <a:pt x="3022230" y="578899"/>
                  <a:pt x="3021031" y="578299"/>
                  <a:pt x="3018035" y="579498"/>
                </a:cubicBezTo>
                <a:cubicBezTo>
                  <a:pt x="3016836" y="580097"/>
                  <a:pt x="3015638" y="580097"/>
                  <a:pt x="3014439" y="581296"/>
                </a:cubicBezTo>
                <a:cubicBezTo>
                  <a:pt x="3015638" y="580697"/>
                  <a:pt x="3016836" y="580097"/>
                  <a:pt x="3018035" y="579498"/>
                </a:cubicBezTo>
                <a:cubicBezTo>
                  <a:pt x="3021031" y="578899"/>
                  <a:pt x="3022230" y="578899"/>
                  <a:pt x="3023428" y="577700"/>
                </a:cubicBezTo>
                <a:close/>
                <a:moveTo>
                  <a:pt x="2902375" y="583094"/>
                </a:moveTo>
                <a:cubicBezTo>
                  <a:pt x="2902974" y="582494"/>
                  <a:pt x="2903573" y="581296"/>
                  <a:pt x="2904173" y="580697"/>
                </a:cubicBezTo>
                <a:cubicBezTo>
                  <a:pt x="2906570" y="577700"/>
                  <a:pt x="2909566" y="575902"/>
                  <a:pt x="2913761" y="574104"/>
                </a:cubicBezTo>
                <a:cubicBezTo>
                  <a:pt x="2909566" y="575902"/>
                  <a:pt x="2905970" y="578299"/>
                  <a:pt x="2904173" y="580697"/>
                </a:cubicBezTo>
                <a:cubicBezTo>
                  <a:pt x="2903573" y="581895"/>
                  <a:pt x="2902974" y="582494"/>
                  <a:pt x="2902375" y="583094"/>
                </a:cubicBezTo>
                <a:close/>
                <a:moveTo>
                  <a:pt x="2891588" y="615454"/>
                </a:moveTo>
                <a:cubicBezTo>
                  <a:pt x="2892786" y="615454"/>
                  <a:pt x="2893386" y="613657"/>
                  <a:pt x="2892786" y="611859"/>
                </a:cubicBezTo>
                <a:cubicBezTo>
                  <a:pt x="2892187" y="609462"/>
                  <a:pt x="2892786" y="607664"/>
                  <a:pt x="2894584" y="605866"/>
                </a:cubicBezTo>
                <a:cubicBezTo>
                  <a:pt x="2892786" y="607664"/>
                  <a:pt x="2892187" y="609462"/>
                  <a:pt x="2892786" y="611859"/>
                </a:cubicBezTo>
                <a:cubicBezTo>
                  <a:pt x="2893386" y="613657"/>
                  <a:pt x="2892786" y="615454"/>
                  <a:pt x="2891588" y="615454"/>
                </a:cubicBezTo>
                <a:close/>
                <a:moveTo>
                  <a:pt x="2885595" y="614855"/>
                </a:moveTo>
                <a:cubicBezTo>
                  <a:pt x="2885595" y="615454"/>
                  <a:pt x="2885595" y="616653"/>
                  <a:pt x="2885595" y="617851"/>
                </a:cubicBezTo>
                <a:cubicBezTo>
                  <a:pt x="2885595" y="618451"/>
                  <a:pt x="2885595" y="619050"/>
                  <a:pt x="2885595" y="619649"/>
                </a:cubicBezTo>
                <a:cubicBezTo>
                  <a:pt x="2885595" y="619050"/>
                  <a:pt x="2885595" y="618451"/>
                  <a:pt x="2885595" y="617851"/>
                </a:cubicBezTo>
                <a:cubicBezTo>
                  <a:pt x="2885595" y="616653"/>
                  <a:pt x="2885595" y="615454"/>
                  <a:pt x="2885595" y="614855"/>
                </a:cubicBezTo>
                <a:close/>
                <a:moveTo>
                  <a:pt x="2883198" y="631635"/>
                </a:moveTo>
                <a:cubicBezTo>
                  <a:pt x="2880801" y="631635"/>
                  <a:pt x="2879003" y="629238"/>
                  <a:pt x="2882000" y="627440"/>
                </a:cubicBezTo>
                <a:cubicBezTo>
                  <a:pt x="2884397" y="625642"/>
                  <a:pt x="2885595" y="624443"/>
                  <a:pt x="2885595" y="622646"/>
                </a:cubicBezTo>
                <a:cubicBezTo>
                  <a:pt x="2884996" y="624443"/>
                  <a:pt x="2884397" y="625642"/>
                  <a:pt x="2882000" y="627440"/>
                </a:cubicBezTo>
                <a:cubicBezTo>
                  <a:pt x="2879003" y="629238"/>
                  <a:pt x="2880801" y="631635"/>
                  <a:pt x="2883198" y="631635"/>
                </a:cubicBezTo>
                <a:close/>
                <a:moveTo>
                  <a:pt x="2880202" y="684970"/>
                </a:moveTo>
                <a:cubicBezTo>
                  <a:pt x="2880801" y="684371"/>
                  <a:pt x="2881400" y="684371"/>
                  <a:pt x="2882000" y="683772"/>
                </a:cubicBezTo>
                <a:cubicBezTo>
                  <a:pt x="2883198" y="683172"/>
                  <a:pt x="2883797" y="681974"/>
                  <a:pt x="2884996" y="681974"/>
                </a:cubicBezTo>
                <a:cubicBezTo>
                  <a:pt x="2886195" y="681974"/>
                  <a:pt x="2886794" y="681375"/>
                  <a:pt x="2887393" y="681375"/>
                </a:cubicBezTo>
                <a:cubicBezTo>
                  <a:pt x="2886794" y="681375"/>
                  <a:pt x="2885595" y="681974"/>
                  <a:pt x="2884996" y="681974"/>
                </a:cubicBezTo>
                <a:cubicBezTo>
                  <a:pt x="2884397" y="681974"/>
                  <a:pt x="2883198" y="683172"/>
                  <a:pt x="2882000" y="683772"/>
                </a:cubicBezTo>
                <a:cubicBezTo>
                  <a:pt x="2881400" y="683772"/>
                  <a:pt x="2880801" y="684371"/>
                  <a:pt x="2880202" y="684970"/>
                </a:cubicBezTo>
                <a:close/>
                <a:moveTo>
                  <a:pt x="2876007" y="675981"/>
                </a:moveTo>
                <a:cubicBezTo>
                  <a:pt x="2876606" y="678378"/>
                  <a:pt x="2876606" y="680775"/>
                  <a:pt x="2876007" y="683172"/>
                </a:cubicBezTo>
                <a:cubicBezTo>
                  <a:pt x="2876007" y="684371"/>
                  <a:pt x="2876007" y="684970"/>
                  <a:pt x="2876007" y="684970"/>
                </a:cubicBezTo>
                <a:cubicBezTo>
                  <a:pt x="2876007" y="685569"/>
                  <a:pt x="2876606" y="686169"/>
                  <a:pt x="2877205" y="686169"/>
                </a:cubicBezTo>
                <a:cubicBezTo>
                  <a:pt x="2876606" y="686169"/>
                  <a:pt x="2876606" y="686169"/>
                  <a:pt x="2876007" y="684970"/>
                </a:cubicBezTo>
                <a:cubicBezTo>
                  <a:pt x="2876007" y="684371"/>
                  <a:pt x="2876007" y="683772"/>
                  <a:pt x="2876007" y="683172"/>
                </a:cubicBezTo>
                <a:cubicBezTo>
                  <a:pt x="2876606" y="680775"/>
                  <a:pt x="2876606" y="678378"/>
                  <a:pt x="2876007" y="675981"/>
                </a:cubicBezTo>
                <a:close/>
                <a:moveTo>
                  <a:pt x="2856231" y="653209"/>
                </a:moveTo>
                <a:cubicBezTo>
                  <a:pt x="2857429" y="653808"/>
                  <a:pt x="2858628" y="654407"/>
                  <a:pt x="2859826" y="655006"/>
                </a:cubicBezTo>
                <a:cubicBezTo>
                  <a:pt x="2862224" y="656205"/>
                  <a:pt x="2865220" y="658602"/>
                  <a:pt x="2868815" y="662797"/>
                </a:cubicBezTo>
                <a:cubicBezTo>
                  <a:pt x="2871213" y="665793"/>
                  <a:pt x="2873010" y="668790"/>
                  <a:pt x="2874808" y="671187"/>
                </a:cubicBezTo>
                <a:cubicBezTo>
                  <a:pt x="2873610" y="668790"/>
                  <a:pt x="2871812" y="666393"/>
                  <a:pt x="2868815" y="662797"/>
                </a:cubicBezTo>
                <a:cubicBezTo>
                  <a:pt x="2865220" y="658602"/>
                  <a:pt x="2862823" y="656205"/>
                  <a:pt x="2859826" y="655006"/>
                </a:cubicBezTo>
                <a:cubicBezTo>
                  <a:pt x="2858029" y="654407"/>
                  <a:pt x="2856830" y="653808"/>
                  <a:pt x="2856231" y="653209"/>
                </a:cubicBezTo>
                <a:close/>
                <a:moveTo>
                  <a:pt x="2848440" y="645418"/>
                </a:moveTo>
                <a:cubicBezTo>
                  <a:pt x="2849639" y="646017"/>
                  <a:pt x="2850238" y="647216"/>
                  <a:pt x="2850238" y="647815"/>
                </a:cubicBezTo>
                <a:cubicBezTo>
                  <a:pt x="2850238" y="648414"/>
                  <a:pt x="2850238" y="648414"/>
                  <a:pt x="2850238" y="649014"/>
                </a:cubicBezTo>
                <a:cubicBezTo>
                  <a:pt x="2850238" y="649014"/>
                  <a:pt x="2850238" y="648414"/>
                  <a:pt x="2850238" y="647815"/>
                </a:cubicBezTo>
                <a:cubicBezTo>
                  <a:pt x="2850238" y="647216"/>
                  <a:pt x="2849639" y="646617"/>
                  <a:pt x="2848440" y="645418"/>
                </a:cubicBezTo>
                <a:close/>
                <a:moveTo>
                  <a:pt x="2836455" y="641223"/>
                </a:moveTo>
                <a:cubicBezTo>
                  <a:pt x="2835855" y="641223"/>
                  <a:pt x="2835256" y="641223"/>
                  <a:pt x="2835256" y="641223"/>
                </a:cubicBezTo>
                <a:cubicBezTo>
                  <a:pt x="2835855" y="641223"/>
                  <a:pt x="2835855" y="641223"/>
                  <a:pt x="2836455" y="641223"/>
                </a:cubicBezTo>
                <a:cubicBezTo>
                  <a:pt x="2837054" y="641223"/>
                  <a:pt x="2837653" y="641223"/>
                  <a:pt x="2838253" y="641223"/>
                </a:cubicBezTo>
                <a:cubicBezTo>
                  <a:pt x="2837653" y="640624"/>
                  <a:pt x="2837054" y="640624"/>
                  <a:pt x="2836455" y="641223"/>
                </a:cubicBezTo>
                <a:close/>
                <a:moveTo>
                  <a:pt x="2828065" y="631035"/>
                </a:moveTo>
                <a:cubicBezTo>
                  <a:pt x="2830462" y="632234"/>
                  <a:pt x="2832260" y="632833"/>
                  <a:pt x="2832859" y="634032"/>
                </a:cubicBezTo>
                <a:cubicBezTo>
                  <a:pt x="2832260" y="632833"/>
                  <a:pt x="2830462" y="632234"/>
                  <a:pt x="2828065" y="631035"/>
                </a:cubicBezTo>
                <a:close/>
                <a:moveTo>
                  <a:pt x="2754354" y="628039"/>
                </a:moveTo>
                <a:cubicBezTo>
                  <a:pt x="2753755" y="627440"/>
                  <a:pt x="2753755" y="625642"/>
                  <a:pt x="2753755" y="623245"/>
                </a:cubicBezTo>
                <a:cubicBezTo>
                  <a:pt x="2753755" y="625642"/>
                  <a:pt x="2753755" y="627440"/>
                  <a:pt x="2754354" y="628039"/>
                </a:cubicBezTo>
                <a:close/>
                <a:moveTo>
                  <a:pt x="2745365" y="642422"/>
                </a:moveTo>
                <a:cubicBezTo>
                  <a:pt x="2743567" y="642422"/>
                  <a:pt x="2741769" y="642422"/>
                  <a:pt x="2739972" y="642422"/>
                </a:cubicBezTo>
                <a:cubicBezTo>
                  <a:pt x="2742369" y="642422"/>
                  <a:pt x="2743567" y="642422"/>
                  <a:pt x="2745365" y="642422"/>
                </a:cubicBezTo>
                <a:cubicBezTo>
                  <a:pt x="2750759" y="641822"/>
                  <a:pt x="2753755" y="638826"/>
                  <a:pt x="2756152" y="635830"/>
                </a:cubicBezTo>
                <a:cubicBezTo>
                  <a:pt x="2753755" y="638826"/>
                  <a:pt x="2750759" y="641822"/>
                  <a:pt x="2745365" y="642422"/>
                </a:cubicBezTo>
                <a:close/>
                <a:moveTo>
                  <a:pt x="2727387" y="647216"/>
                </a:moveTo>
                <a:cubicBezTo>
                  <a:pt x="2727986" y="646617"/>
                  <a:pt x="2728585" y="646017"/>
                  <a:pt x="2728585" y="645418"/>
                </a:cubicBezTo>
                <a:cubicBezTo>
                  <a:pt x="2730383" y="642422"/>
                  <a:pt x="2733979" y="642422"/>
                  <a:pt x="2738174" y="642422"/>
                </a:cubicBezTo>
                <a:cubicBezTo>
                  <a:pt x="2733979" y="642422"/>
                  <a:pt x="2730982" y="642422"/>
                  <a:pt x="2728585" y="645418"/>
                </a:cubicBezTo>
                <a:cubicBezTo>
                  <a:pt x="2727986" y="646617"/>
                  <a:pt x="2727986" y="647216"/>
                  <a:pt x="2727387" y="647216"/>
                </a:cubicBezTo>
                <a:close/>
                <a:moveTo>
                  <a:pt x="2714203" y="631635"/>
                </a:moveTo>
                <a:cubicBezTo>
                  <a:pt x="2716001" y="631635"/>
                  <a:pt x="2718398" y="631635"/>
                  <a:pt x="2720196" y="631635"/>
                </a:cubicBezTo>
                <a:cubicBezTo>
                  <a:pt x="2721993" y="631635"/>
                  <a:pt x="2723192" y="632234"/>
                  <a:pt x="2723791" y="632833"/>
                </a:cubicBezTo>
                <a:cubicBezTo>
                  <a:pt x="2723192" y="632234"/>
                  <a:pt x="2721993" y="631635"/>
                  <a:pt x="2720196" y="631635"/>
                </a:cubicBezTo>
                <a:cubicBezTo>
                  <a:pt x="2718398" y="631635"/>
                  <a:pt x="2716001" y="631635"/>
                  <a:pt x="2714203" y="631635"/>
                </a:cubicBezTo>
                <a:close/>
                <a:moveTo>
                  <a:pt x="2644687" y="632234"/>
                </a:moveTo>
                <a:cubicBezTo>
                  <a:pt x="2641091" y="632833"/>
                  <a:pt x="2638694" y="633433"/>
                  <a:pt x="2636297" y="634032"/>
                </a:cubicBezTo>
                <a:cubicBezTo>
                  <a:pt x="2638694" y="633433"/>
                  <a:pt x="2641691" y="633433"/>
                  <a:pt x="2644687" y="632234"/>
                </a:cubicBezTo>
                <a:cubicBezTo>
                  <a:pt x="2645886" y="631635"/>
                  <a:pt x="2647084" y="631635"/>
                  <a:pt x="2648283" y="631635"/>
                </a:cubicBezTo>
                <a:cubicBezTo>
                  <a:pt x="2647683" y="631635"/>
                  <a:pt x="2646485" y="632234"/>
                  <a:pt x="2644687" y="632234"/>
                </a:cubicBezTo>
                <a:close/>
                <a:moveTo>
                  <a:pt x="2627308" y="643620"/>
                </a:moveTo>
                <a:cubicBezTo>
                  <a:pt x="2627308" y="643620"/>
                  <a:pt x="2626709" y="643620"/>
                  <a:pt x="2627308" y="643620"/>
                </a:cubicBezTo>
                <a:cubicBezTo>
                  <a:pt x="2626709" y="643620"/>
                  <a:pt x="2627308" y="643620"/>
                  <a:pt x="2627308" y="643620"/>
                </a:cubicBezTo>
                <a:close/>
                <a:moveTo>
                  <a:pt x="2615922" y="639425"/>
                </a:moveTo>
                <a:cubicBezTo>
                  <a:pt x="2614723" y="639425"/>
                  <a:pt x="2613525" y="639425"/>
                  <a:pt x="2612326" y="639425"/>
                </a:cubicBezTo>
                <a:lnTo>
                  <a:pt x="2612326" y="639425"/>
                </a:lnTo>
                <a:cubicBezTo>
                  <a:pt x="2613525" y="639425"/>
                  <a:pt x="2615323" y="639425"/>
                  <a:pt x="2615922" y="639425"/>
                </a:cubicBezTo>
                <a:close/>
                <a:moveTo>
                  <a:pt x="2613525" y="632234"/>
                </a:moveTo>
                <a:cubicBezTo>
                  <a:pt x="2612926" y="633433"/>
                  <a:pt x="2611727" y="633433"/>
                  <a:pt x="2611128" y="634032"/>
                </a:cubicBezTo>
                <a:cubicBezTo>
                  <a:pt x="2611727" y="633433"/>
                  <a:pt x="2612326" y="633433"/>
                  <a:pt x="2613525" y="632234"/>
                </a:cubicBezTo>
                <a:close/>
                <a:moveTo>
                  <a:pt x="2459511" y="670588"/>
                </a:moveTo>
                <a:cubicBezTo>
                  <a:pt x="2458912" y="671187"/>
                  <a:pt x="2458313" y="671187"/>
                  <a:pt x="2457114" y="671187"/>
                </a:cubicBezTo>
                <a:cubicBezTo>
                  <a:pt x="2457714" y="671786"/>
                  <a:pt x="2458313" y="671187"/>
                  <a:pt x="2459511" y="670588"/>
                </a:cubicBezTo>
                <a:close/>
                <a:moveTo>
                  <a:pt x="2439136" y="669389"/>
                </a:moveTo>
                <a:cubicBezTo>
                  <a:pt x="2436140" y="669389"/>
                  <a:pt x="2433743" y="669389"/>
                  <a:pt x="2433143" y="669389"/>
                </a:cubicBezTo>
                <a:cubicBezTo>
                  <a:pt x="2434342" y="669389"/>
                  <a:pt x="2436140" y="669389"/>
                  <a:pt x="2439136" y="669389"/>
                </a:cubicBezTo>
                <a:cubicBezTo>
                  <a:pt x="2440934" y="669389"/>
                  <a:pt x="2442133" y="669389"/>
                  <a:pt x="2443930" y="669389"/>
                </a:cubicBezTo>
                <a:cubicBezTo>
                  <a:pt x="2442732" y="669389"/>
                  <a:pt x="2440934" y="669389"/>
                  <a:pt x="2439136" y="669389"/>
                </a:cubicBezTo>
                <a:close/>
                <a:moveTo>
                  <a:pt x="2373815" y="678977"/>
                </a:moveTo>
                <a:cubicBezTo>
                  <a:pt x="2373216" y="680775"/>
                  <a:pt x="2373216" y="681375"/>
                  <a:pt x="2372017" y="681375"/>
                </a:cubicBezTo>
                <a:cubicBezTo>
                  <a:pt x="2373216" y="681375"/>
                  <a:pt x="2373216" y="680775"/>
                  <a:pt x="2373815" y="678977"/>
                </a:cubicBezTo>
                <a:close/>
                <a:moveTo>
                  <a:pt x="2272538" y="708342"/>
                </a:moveTo>
                <a:cubicBezTo>
                  <a:pt x="2273137" y="708342"/>
                  <a:pt x="2273137" y="707743"/>
                  <a:pt x="2273737" y="707743"/>
                </a:cubicBezTo>
                <a:cubicBezTo>
                  <a:pt x="2273137" y="708342"/>
                  <a:pt x="2272538" y="708342"/>
                  <a:pt x="2272538" y="708342"/>
                </a:cubicBezTo>
                <a:close/>
                <a:moveTo>
                  <a:pt x="2263549" y="712537"/>
                </a:moveTo>
                <a:cubicBezTo>
                  <a:pt x="2264148" y="712537"/>
                  <a:pt x="2264148" y="713136"/>
                  <a:pt x="2264747" y="713136"/>
                </a:cubicBezTo>
                <a:cubicBezTo>
                  <a:pt x="2264747" y="713136"/>
                  <a:pt x="2265347" y="713735"/>
                  <a:pt x="2265347" y="713735"/>
                </a:cubicBezTo>
                <a:cubicBezTo>
                  <a:pt x="2265347" y="713735"/>
                  <a:pt x="2264747" y="713136"/>
                  <a:pt x="2264747" y="713136"/>
                </a:cubicBezTo>
                <a:cubicBezTo>
                  <a:pt x="2264747" y="713136"/>
                  <a:pt x="2264148" y="712537"/>
                  <a:pt x="2263549" y="712537"/>
                </a:cubicBezTo>
                <a:close/>
                <a:moveTo>
                  <a:pt x="2258755" y="716732"/>
                </a:moveTo>
                <a:cubicBezTo>
                  <a:pt x="2258155" y="716732"/>
                  <a:pt x="2258155" y="716732"/>
                  <a:pt x="2257556" y="716732"/>
                </a:cubicBezTo>
                <a:cubicBezTo>
                  <a:pt x="2257556" y="716732"/>
                  <a:pt x="2258155" y="716732"/>
                  <a:pt x="2258755" y="716732"/>
                </a:cubicBezTo>
                <a:cubicBezTo>
                  <a:pt x="2259354" y="716732"/>
                  <a:pt x="2259953" y="716132"/>
                  <a:pt x="2260552" y="715533"/>
                </a:cubicBezTo>
                <a:cubicBezTo>
                  <a:pt x="2259953" y="716132"/>
                  <a:pt x="2259354" y="716732"/>
                  <a:pt x="2258755" y="716732"/>
                </a:cubicBezTo>
                <a:close/>
                <a:moveTo>
                  <a:pt x="2232387" y="705345"/>
                </a:moveTo>
                <a:cubicBezTo>
                  <a:pt x="2231787" y="705945"/>
                  <a:pt x="2230589" y="705945"/>
                  <a:pt x="2229990" y="705945"/>
                </a:cubicBezTo>
                <a:cubicBezTo>
                  <a:pt x="2228791" y="706544"/>
                  <a:pt x="2227592" y="706544"/>
                  <a:pt x="2226993" y="706544"/>
                </a:cubicBezTo>
                <a:cubicBezTo>
                  <a:pt x="2227592" y="706544"/>
                  <a:pt x="2228791" y="706544"/>
                  <a:pt x="2229990" y="705945"/>
                </a:cubicBezTo>
                <a:cubicBezTo>
                  <a:pt x="2230589" y="705945"/>
                  <a:pt x="2231787" y="705345"/>
                  <a:pt x="2232387" y="705345"/>
                </a:cubicBezTo>
                <a:cubicBezTo>
                  <a:pt x="2232986" y="704746"/>
                  <a:pt x="2234184" y="704746"/>
                  <a:pt x="2234784" y="704746"/>
                </a:cubicBezTo>
                <a:cubicBezTo>
                  <a:pt x="2234184" y="704746"/>
                  <a:pt x="2233585" y="704746"/>
                  <a:pt x="2232387" y="705345"/>
                </a:cubicBezTo>
                <a:close/>
                <a:moveTo>
                  <a:pt x="2230589" y="700551"/>
                </a:moveTo>
                <a:cubicBezTo>
                  <a:pt x="2229990" y="701151"/>
                  <a:pt x="2229390" y="701750"/>
                  <a:pt x="2228791" y="702349"/>
                </a:cubicBezTo>
                <a:cubicBezTo>
                  <a:pt x="2229990" y="701750"/>
                  <a:pt x="2230589" y="701151"/>
                  <a:pt x="2230589" y="700551"/>
                </a:cubicBezTo>
                <a:close/>
                <a:moveTo>
                  <a:pt x="2197030" y="734111"/>
                </a:moveTo>
                <a:cubicBezTo>
                  <a:pt x="2196430" y="735309"/>
                  <a:pt x="2195232" y="735908"/>
                  <a:pt x="2194632" y="735309"/>
                </a:cubicBezTo>
                <a:cubicBezTo>
                  <a:pt x="2195232" y="735309"/>
                  <a:pt x="2195831" y="734710"/>
                  <a:pt x="2197030" y="734111"/>
                </a:cubicBezTo>
                <a:cubicBezTo>
                  <a:pt x="2197629" y="732912"/>
                  <a:pt x="2198827" y="732912"/>
                  <a:pt x="2200026" y="732313"/>
                </a:cubicBezTo>
                <a:cubicBezTo>
                  <a:pt x="2198827" y="732313"/>
                  <a:pt x="2197629" y="732912"/>
                  <a:pt x="2197030" y="734111"/>
                </a:cubicBezTo>
                <a:close/>
                <a:moveTo>
                  <a:pt x="1528240" y="841980"/>
                </a:moveTo>
                <a:cubicBezTo>
                  <a:pt x="1528240" y="841980"/>
                  <a:pt x="1528839" y="841381"/>
                  <a:pt x="1528839" y="840781"/>
                </a:cubicBezTo>
                <a:cubicBezTo>
                  <a:pt x="1530637" y="838384"/>
                  <a:pt x="1531236" y="837186"/>
                  <a:pt x="1530637" y="834789"/>
                </a:cubicBezTo>
                <a:cubicBezTo>
                  <a:pt x="1530637" y="833590"/>
                  <a:pt x="1530637" y="832392"/>
                  <a:pt x="1531236" y="829994"/>
                </a:cubicBezTo>
                <a:cubicBezTo>
                  <a:pt x="1530637" y="831792"/>
                  <a:pt x="1530637" y="832991"/>
                  <a:pt x="1530637" y="834789"/>
                </a:cubicBezTo>
                <a:cubicBezTo>
                  <a:pt x="1531236" y="837186"/>
                  <a:pt x="1530637" y="838384"/>
                  <a:pt x="1528839" y="840781"/>
                </a:cubicBezTo>
                <a:cubicBezTo>
                  <a:pt x="1528839" y="841381"/>
                  <a:pt x="1528240" y="841980"/>
                  <a:pt x="1528240" y="841980"/>
                </a:cubicBezTo>
                <a:close/>
                <a:moveTo>
                  <a:pt x="1524045" y="874341"/>
                </a:moveTo>
                <a:cubicBezTo>
                  <a:pt x="1524644" y="874341"/>
                  <a:pt x="1525243" y="874940"/>
                  <a:pt x="1525243" y="874940"/>
                </a:cubicBezTo>
                <a:cubicBezTo>
                  <a:pt x="1525243" y="874341"/>
                  <a:pt x="1524644" y="874341"/>
                  <a:pt x="1524045" y="874341"/>
                </a:cubicBezTo>
                <a:close/>
                <a:moveTo>
                  <a:pt x="1519251" y="873741"/>
                </a:moveTo>
                <a:cubicBezTo>
                  <a:pt x="1519251" y="872543"/>
                  <a:pt x="1518651" y="871944"/>
                  <a:pt x="1519251" y="871944"/>
                </a:cubicBezTo>
                <a:cubicBezTo>
                  <a:pt x="1518651" y="871944"/>
                  <a:pt x="1519251" y="872543"/>
                  <a:pt x="1519251" y="873741"/>
                </a:cubicBezTo>
                <a:close/>
                <a:moveTo>
                  <a:pt x="1516853" y="877936"/>
                </a:moveTo>
                <a:cubicBezTo>
                  <a:pt x="1518052" y="879135"/>
                  <a:pt x="1519251" y="880333"/>
                  <a:pt x="1519251" y="880933"/>
                </a:cubicBezTo>
                <a:cubicBezTo>
                  <a:pt x="1519251" y="880933"/>
                  <a:pt x="1519251" y="880933"/>
                  <a:pt x="1519850" y="880933"/>
                </a:cubicBezTo>
                <a:cubicBezTo>
                  <a:pt x="1519850" y="880933"/>
                  <a:pt x="1519850" y="880933"/>
                  <a:pt x="1519251" y="880933"/>
                </a:cubicBezTo>
                <a:cubicBezTo>
                  <a:pt x="1519251" y="880333"/>
                  <a:pt x="1518052" y="879135"/>
                  <a:pt x="1516853" y="877936"/>
                </a:cubicBezTo>
                <a:close/>
                <a:moveTo>
                  <a:pt x="1512059" y="875539"/>
                </a:moveTo>
                <a:cubicBezTo>
                  <a:pt x="1512059" y="875539"/>
                  <a:pt x="1512659" y="874940"/>
                  <a:pt x="1512659" y="874940"/>
                </a:cubicBezTo>
                <a:cubicBezTo>
                  <a:pt x="1512659" y="874940"/>
                  <a:pt x="1512659" y="875539"/>
                  <a:pt x="1512059" y="875539"/>
                </a:cubicBezTo>
                <a:close/>
                <a:moveTo>
                  <a:pt x="1510262" y="883929"/>
                </a:moveTo>
                <a:cubicBezTo>
                  <a:pt x="1510262" y="883330"/>
                  <a:pt x="1510861" y="882731"/>
                  <a:pt x="1510861" y="882131"/>
                </a:cubicBezTo>
                <a:cubicBezTo>
                  <a:pt x="1511460" y="880933"/>
                  <a:pt x="1511460" y="880333"/>
                  <a:pt x="1511460" y="879135"/>
                </a:cubicBezTo>
                <a:cubicBezTo>
                  <a:pt x="1511460" y="880333"/>
                  <a:pt x="1510861" y="881532"/>
                  <a:pt x="1510861" y="882131"/>
                </a:cubicBezTo>
                <a:cubicBezTo>
                  <a:pt x="1510262" y="882731"/>
                  <a:pt x="1510262" y="883330"/>
                  <a:pt x="1510262" y="883929"/>
                </a:cubicBezTo>
                <a:close/>
                <a:moveTo>
                  <a:pt x="1508464" y="888124"/>
                </a:moveTo>
                <a:cubicBezTo>
                  <a:pt x="1509063" y="887525"/>
                  <a:pt x="1509063" y="886326"/>
                  <a:pt x="1509662" y="885128"/>
                </a:cubicBezTo>
                <a:cubicBezTo>
                  <a:pt x="1509063" y="886326"/>
                  <a:pt x="1509063" y="887525"/>
                  <a:pt x="1508464" y="888124"/>
                </a:cubicBezTo>
                <a:close/>
                <a:moveTo>
                  <a:pt x="1506666" y="890521"/>
                </a:moveTo>
                <a:cubicBezTo>
                  <a:pt x="1507265" y="890521"/>
                  <a:pt x="1507265" y="889922"/>
                  <a:pt x="1507864" y="889323"/>
                </a:cubicBezTo>
                <a:cubicBezTo>
                  <a:pt x="1507864" y="889922"/>
                  <a:pt x="1507265" y="890521"/>
                  <a:pt x="1506666" y="890521"/>
                </a:cubicBezTo>
                <a:close/>
                <a:moveTo>
                  <a:pt x="1450334" y="843778"/>
                </a:moveTo>
                <a:lnTo>
                  <a:pt x="1450334" y="843778"/>
                </a:lnTo>
                <a:cubicBezTo>
                  <a:pt x="1450334" y="843778"/>
                  <a:pt x="1449735" y="844377"/>
                  <a:pt x="1449735" y="844377"/>
                </a:cubicBezTo>
                <a:cubicBezTo>
                  <a:pt x="1449735" y="844377"/>
                  <a:pt x="1450334" y="843778"/>
                  <a:pt x="1450334" y="843778"/>
                </a:cubicBezTo>
                <a:lnTo>
                  <a:pt x="1474904" y="838984"/>
                </a:lnTo>
                <a:cubicBezTo>
                  <a:pt x="1474904" y="838984"/>
                  <a:pt x="1474904" y="838984"/>
                  <a:pt x="1474904" y="838984"/>
                </a:cubicBezTo>
                <a:cubicBezTo>
                  <a:pt x="1474904" y="838984"/>
                  <a:pt x="1474904" y="838984"/>
                  <a:pt x="1474904" y="838984"/>
                </a:cubicBezTo>
                <a:lnTo>
                  <a:pt x="1474904" y="838984"/>
                </a:lnTo>
                <a:cubicBezTo>
                  <a:pt x="1471309" y="838984"/>
                  <a:pt x="1468312" y="838984"/>
                  <a:pt x="1465316" y="838984"/>
                </a:cubicBezTo>
                <a:cubicBezTo>
                  <a:pt x="1463518" y="838984"/>
                  <a:pt x="1462320" y="838984"/>
                  <a:pt x="1460522" y="839583"/>
                </a:cubicBezTo>
                <a:cubicBezTo>
                  <a:pt x="1458724" y="839583"/>
                  <a:pt x="1457525" y="840182"/>
                  <a:pt x="1456327" y="840781"/>
                </a:cubicBezTo>
                <a:cubicBezTo>
                  <a:pt x="1456327" y="840781"/>
                  <a:pt x="1456327" y="840781"/>
                  <a:pt x="1453330" y="842579"/>
                </a:cubicBezTo>
                <a:cubicBezTo>
                  <a:pt x="1452132" y="842579"/>
                  <a:pt x="1450933" y="843179"/>
                  <a:pt x="1450334" y="843778"/>
                </a:cubicBezTo>
                <a:close/>
                <a:moveTo>
                  <a:pt x="1443742" y="887525"/>
                </a:moveTo>
                <a:cubicBezTo>
                  <a:pt x="1443143" y="887525"/>
                  <a:pt x="1443143" y="887525"/>
                  <a:pt x="1443143" y="887525"/>
                </a:cubicBezTo>
                <a:cubicBezTo>
                  <a:pt x="1443143" y="887525"/>
                  <a:pt x="1443742" y="887525"/>
                  <a:pt x="1443742" y="887525"/>
                </a:cubicBezTo>
                <a:cubicBezTo>
                  <a:pt x="1444341" y="887525"/>
                  <a:pt x="1444341" y="887525"/>
                  <a:pt x="1444941" y="887525"/>
                </a:cubicBezTo>
                <a:cubicBezTo>
                  <a:pt x="1444341" y="887525"/>
                  <a:pt x="1444341" y="887525"/>
                  <a:pt x="1443742" y="887525"/>
                </a:cubicBezTo>
                <a:close/>
                <a:moveTo>
                  <a:pt x="1439547" y="890521"/>
                </a:moveTo>
                <a:cubicBezTo>
                  <a:pt x="1439547" y="891120"/>
                  <a:pt x="1438948" y="891120"/>
                  <a:pt x="1438948" y="891720"/>
                </a:cubicBezTo>
                <a:cubicBezTo>
                  <a:pt x="1438948" y="891120"/>
                  <a:pt x="1439547" y="891120"/>
                  <a:pt x="1439547" y="890521"/>
                </a:cubicBezTo>
                <a:cubicBezTo>
                  <a:pt x="1439547" y="889922"/>
                  <a:pt x="1439547" y="889922"/>
                  <a:pt x="1440146" y="889922"/>
                </a:cubicBezTo>
                <a:cubicBezTo>
                  <a:pt x="1439547" y="889922"/>
                  <a:pt x="1439547" y="890521"/>
                  <a:pt x="1439547" y="890521"/>
                </a:cubicBezTo>
                <a:close/>
                <a:moveTo>
                  <a:pt x="1414378" y="918088"/>
                </a:moveTo>
                <a:cubicBezTo>
                  <a:pt x="1414378" y="918687"/>
                  <a:pt x="1414378" y="918687"/>
                  <a:pt x="1414977" y="919286"/>
                </a:cubicBezTo>
                <a:cubicBezTo>
                  <a:pt x="1414378" y="918687"/>
                  <a:pt x="1414378" y="918687"/>
                  <a:pt x="1414378" y="918088"/>
                </a:cubicBezTo>
                <a:cubicBezTo>
                  <a:pt x="1414378" y="916290"/>
                  <a:pt x="1423367" y="910297"/>
                  <a:pt x="1428760" y="905503"/>
                </a:cubicBezTo>
                <a:cubicBezTo>
                  <a:pt x="1426363" y="906102"/>
                  <a:pt x="1432356" y="901907"/>
                  <a:pt x="1422168" y="910297"/>
                </a:cubicBezTo>
                <a:cubicBezTo>
                  <a:pt x="1417374" y="914492"/>
                  <a:pt x="1414378" y="915691"/>
                  <a:pt x="1414378" y="918088"/>
                </a:cubicBezTo>
                <a:close/>
                <a:moveTo>
                  <a:pt x="1195043" y="1011574"/>
                </a:moveTo>
                <a:cubicBezTo>
                  <a:pt x="1195643" y="1011574"/>
                  <a:pt x="1195643" y="1011574"/>
                  <a:pt x="1196242" y="1011574"/>
                </a:cubicBezTo>
                <a:cubicBezTo>
                  <a:pt x="1196242" y="1011574"/>
                  <a:pt x="1196242" y="1011574"/>
                  <a:pt x="1196242" y="1011574"/>
                </a:cubicBezTo>
                <a:lnTo>
                  <a:pt x="1195043" y="1011574"/>
                </a:lnTo>
                <a:close/>
                <a:moveTo>
                  <a:pt x="1596557" y="1320201"/>
                </a:moveTo>
                <a:lnTo>
                  <a:pt x="1597156" y="1318403"/>
                </a:lnTo>
                <a:cubicBezTo>
                  <a:pt x="1597156" y="1318403"/>
                  <a:pt x="1596557" y="1318403"/>
                  <a:pt x="1596557" y="1318403"/>
                </a:cubicBezTo>
                <a:lnTo>
                  <a:pt x="1595958" y="1318403"/>
                </a:lnTo>
                <a:lnTo>
                  <a:pt x="1596557" y="1320201"/>
                </a:lnTo>
                <a:close/>
                <a:moveTo>
                  <a:pt x="1598355" y="1323197"/>
                </a:moveTo>
                <a:cubicBezTo>
                  <a:pt x="1598355" y="1323197"/>
                  <a:pt x="1598355" y="1323197"/>
                  <a:pt x="1598355" y="1323197"/>
                </a:cubicBezTo>
                <a:cubicBezTo>
                  <a:pt x="1598355" y="1323197"/>
                  <a:pt x="1598355" y="1323197"/>
                  <a:pt x="1598355" y="1323197"/>
                </a:cubicBezTo>
                <a:lnTo>
                  <a:pt x="1598355" y="1323197"/>
                </a:lnTo>
                <a:close/>
                <a:moveTo>
                  <a:pt x="1604947" y="1326193"/>
                </a:moveTo>
                <a:cubicBezTo>
                  <a:pt x="1604347" y="1325594"/>
                  <a:pt x="1603748" y="1325594"/>
                  <a:pt x="1602550" y="1324995"/>
                </a:cubicBezTo>
                <a:cubicBezTo>
                  <a:pt x="1603149" y="1324995"/>
                  <a:pt x="1603748" y="1325594"/>
                  <a:pt x="1604947" y="1326193"/>
                </a:cubicBezTo>
                <a:close/>
                <a:moveTo>
                  <a:pt x="1624124" y="1327392"/>
                </a:moveTo>
                <a:cubicBezTo>
                  <a:pt x="1622326" y="1326793"/>
                  <a:pt x="1619929" y="1326193"/>
                  <a:pt x="1616932" y="1326793"/>
                </a:cubicBezTo>
                <a:cubicBezTo>
                  <a:pt x="1615734" y="1326793"/>
                  <a:pt x="1615134" y="1327392"/>
                  <a:pt x="1614535" y="1327392"/>
                </a:cubicBezTo>
                <a:cubicBezTo>
                  <a:pt x="1618131" y="1327392"/>
                  <a:pt x="1621726" y="1327392"/>
                  <a:pt x="1624124" y="1327392"/>
                </a:cubicBezTo>
                <a:close/>
                <a:moveTo>
                  <a:pt x="1553409" y="1797223"/>
                </a:moveTo>
                <a:cubicBezTo>
                  <a:pt x="1554008" y="1798421"/>
                  <a:pt x="1555207" y="1800219"/>
                  <a:pt x="1555806" y="1800818"/>
                </a:cubicBezTo>
                <a:cubicBezTo>
                  <a:pt x="1555806" y="1800818"/>
                  <a:pt x="1555806" y="1800818"/>
                  <a:pt x="1555806" y="1800818"/>
                </a:cubicBezTo>
                <a:cubicBezTo>
                  <a:pt x="1555207" y="1799021"/>
                  <a:pt x="1554008" y="1797822"/>
                  <a:pt x="1553409" y="1797223"/>
                </a:cubicBezTo>
                <a:close/>
                <a:moveTo>
                  <a:pt x="4006837" y="1662985"/>
                </a:moveTo>
                <a:cubicBezTo>
                  <a:pt x="4006837" y="1662985"/>
                  <a:pt x="4006837" y="1662386"/>
                  <a:pt x="4006237" y="1662386"/>
                </a:cubicBezTo>
                <a:cubicBezTo>
                  <a:pt x="4006237" y="1662386"/>
                  <a:pt x="4006237" y="1662386"/>
                  <a:pt x="4006237" y="1662386"/>
                </a:cubicBezTo>
                <a:lnTo>
                  <a:pt x="4006237" y="1662386"/>
                </a:lnTo>
                <a:cubicBezTo>
                  <a:pt x="4006237" y="1662386"/>
                  <a:pt x="4006237" y="1662386"/>
                  <a:pt x="4006237" y="1662386"/>
                </a:cubicBezTo>
                <a:cubicBezTo>
                  <a:pt x="4006237" y="1662386"/>
                  <a:pt x="4006237" y="1662386"/>
                  <a:pt x="4006237" y="1662386"/>
                </a:cubicBezTo>
                <a:cubicBezTo>
                  <a:pt x="4006237" y="1662386"/>
                  <a:pt x="4006237" y="1662985"/>
                  <a:pt x="4006837" y="1662985"/>
                </a:cubicBezTo>
                <a:close/>
                <a:moveTo>
                  <a:pt x="4299282" y="1547925"/>
                </a:moveTo>
                <a:cubicBezTo>
                  <a:pt x="4301080" y="1552120"/>
                  <a:pt x="4299882" y="1556914"/>
                  <a:pt x="4304077" y="1553318"/>
                </a:cubicBezTo>
                <a:cubicBezTo>
                  <a:pt x="4308272" y="1549123"/>
                  <a:pt x="4301080" y="1543130"/>
                  <a:pt x="4308272" y="1533542"/>
                </a:cubicBezTo>
                <a:cubicBezTo>
                  <a:pt x="4313066" y="1526950"/>
                  <a:pt x="4323253" y="1531145"/>
                  <a:pt x="4326849" y="1531145"/>
                </a:cubicBezTo>
                <a:cubicBezTo>
                  <a:pt x="4331044" y="1531744"/>
                  <a:pt x="4335838" y="1535939"/>
                  <a:pt x="4337037" y="1541333"/>
                </a:cubicBezTo>
                <a:cubicBezTo>
                  <a:pt x="4338235" y="1546726"/>
                  <a:pt x="4343629" y="1550322"/>
                  <a:pt x="4343029" y="1541932"/>
                </a:cubicBezTo>
                <a:cubicBezTo>
                  <a:pt x="4342430" y="1531744"/>
                  <a:pt x="4334640" y="1521557"/>
                  <a:pt x="4334640" y="1528149"/>
                </a:cubicBezTo>
                <a:cubicBezTo>
                  <a:pt x="4334640" y="1534741"/>
                  <a:pt x="4329246" y="1527549"/>
                  <a:pt x="4329845" y="1522755"/>
                </a:cubicBezTo>
                <a:cubicBezTo>
                  <a:pt x="4330445" y="1517961"/>
                  <a:pt x="4324452" y="1511369"/>
                  <a:pt x="4321456" y="1507773"/>
                </a:cubicBezTo>
                <a:cubicBezTo>
                  <a:pt x="4316062" y="1502380"/>
                  <a:pt x="4317860" y="1480207"/>
                  <a:pt x="4323853" y="1470618"/>
                </a:cubicBezTo>
                <a:cubicBezTo>
                  <a:pt x="4329845" y="1461030"/>
                  <a:pt x="4332842" y="1454438"/>
                  <a:pt x="4332243" y="1450243"/>
                </a:cubicBezTo>
                <a:cubicBezTo>
                  <a:pt x="4331643" y="1446048"/>
                  <a:pt x="4332243" y="1445449"/>
                  <a:pt x="4335239" y="1444850"/>
                </a:cubicBezTo>
                <a:cubicBezTo>
                  <a:pt x="4338235" y="1444250"/>
                  <a:pt x="4337636" y="1441254"/>
                  <a:pt x="4341831" y="1440655"/>
                </a:cubicBezTo>
                <a:cubicBezTo>
                  <a:pt x="4349022" y="1439456"/>
                  <a:pt x="4348423" y="1444250"/>
                  <a:pt x="4352618" y="1444850"/>
                </a:cubicBezTo>
                <a:cubicBezTo>
                  <a:pt x="4356813" y="1445449"/>
                  <a:pt x="4367600" y="1453239"/>
                  <a:pt x="4370596" y="1461629"/>
                </a:cubicBezTo>
                <a:cubicBezTo>
                  <a:pt x="4372993" y="1470019"/>
                  <a:pt x="4377787" y="1468821"/>
                  <a:pt x="4374192" y="1459232"/>
                </a:cubicBezTo>
                <a:cubicBezTo>
                  <a:pt x="4370596" y="1449644"/>
                  <a:pt x="4361008" y="1446048"/>
                  <a:pt x="4360409" y="1433463"/>
                </a:cubicBezTo>
                <a:cubicBezTo>
                  <a:pt x="4359809" y="1420879"/>
                  <a:pt x="4348423" y="1411889"/>
                  <a:pt x="4348423" y="1401702"/>
                </a:cubicBezTo>
                <a:cubicBezTo>
                  <a:pt x="4348423" y="1391514"/>
                  <a:pt x="4343029" y="1381926"/>
                  <a:pt x="4343029" y="1374135"/>
                </a:cubicBezTo>
                <a:cubicBezTo>
                  <a:pt x="4343629" y="1366944"/>
                  <a:pt x="4341232" y="1366944"/>
                  <a:pt x="4340033" y="1369341"/>
                </a:cubicBezTo>
                <a:cubicBezTo>
                  <a:pt x="4338834" y="1371738"/>
                  <a:pt x="4337636" y="1369341"/>
                  <a:pt x="4339434" y="1364547"/>
                </a:cubicBezTo>
                <a:cubicBezTo>
                  <a:pt x="4341232" y="1359753"/>
                  <a:pt x="4340033" y="1356157"/>
                  <a:pt x="4338235" y="1356157"/>
                </a:cubicBezTo>
                <a:cubicBezTo>
                  <a:pt x="4336438" y="1356157"/>
                  <a:pt x="4335838" y="1347767"/>
                  <a:pt x="4338235" y="1347767"/>
                </a:cubicBezTo>
                <a:cubicBezTo>
                  <a:pt x="4340633" y="1347767"/>
                  <a:pt x="4340633" y="1347168"/>
                  <a:pt x="4338834" y="1342973"/>
                </a:cubicBezTo>
                <a:cubicBezTo>
                  <a:pt x="4337636" y="1338778"/>
                  <a:pt x="4338235" y="1333385"/>
                  <a:pt x="4340633" y="1336381"/>
                </a:cubicBezTo>
                <a:cubicBezTo>
                  <a:pt x="4343029" y="1339377"/>
                  <a:pt x="4344827" y="1338179"/>
                  <a:pt x="4343029" y="1331587"/>
                </a:cubicBezTo>
                <a:cubicBezTo>
                  <a:pt x="4340633" y="1324995"/>
                  <a:pt x="4344228" y="1318403"/>
                  <a:pt x="4340633" y="1316006"/>
                </a:cubicBezTo>
                <a:cubicBezTo>
                  <a:pt x="4335239" y="1313009"/>
                  <a:pt x="4335838" y="1298627"/>
                  <a:pt x="4340633" y="1308814"/>
                </a:cubicBezTo>
                <a:cubicBezTo>
                  <a:pt x="4344827" y="1318403"/>
                  <a:pt x="4343029" y="1311211"/>
                  <a:pt x="4343629" y="1307616"/>
                </a:cubicBezTo>
                <a:cubicBezTo>
                  <a:pt x="4344228" y="1303421"/>
                  <a:pt x="4336438" y="1296829"/>
                  <a:pt x="4335838" y="1292634"/>
                </a:cubicBezTo>
                <a:cubicBezTo>
                  <a:pt x="4335239" y="1288439"/>
                  <a:pt x="4333441" y="1284244"/>
                  <a:pt x="4333441" y="1281248"/>
                </a:cubicBezTo>
                <a:cubicBezTo>
                  <a:pt x="4334040" y="1278251"/>
                  <a:pt x="4332842" y="1277053"/>
                  <a:pt x="4331044" y="1274656"/>
                </a:cubicBezTo>
                <a:cubicBezTo>
                  <a:pt x="4329845" y="1272259"/>
                  <a:pt x="4329246" y="1268663"/>
                  <a:pt x="4330445" y="1266266"/>
                </a:cubicBezTo>
                <a:cubicBezTo>
                  <a:pt x="4331044" y="1263869"/>
                  <a:pt x="4329845" y="1260273"/>
                  <a:pt x="4325051" y="1263270"/>
                </a:cubicBezTo>
                <a:cubicBezTo>
                  <a:pt x="4320856" y="1266266"/>
                  <a:pt x="4318459" y="1267464"/>
                  <a:pt x="4322654" y="1271659"/>
                </a:cubicBezTo>
                <a:cubicBezTo>
                  <a:pt x="4328048" y="1277053"/>
                  <a:pt x="4323253" y="1281847"/>
                  <a:pt x="4326849" y="1286641"/>
                </a:cubicBezTo>
                <a:cubicBezTo>
                  <a:pt x="4329246" y="1290237"/>
                  <a:pt x="4318459" y="1311211"/>
                  <a:pt x="4313665" y="1300425"/>
                </a:cubicBezTo>
                <a:cubicBezTo>
                  <a:pt x="4311268" y="1295630"/>
                  <a:pt x="4303477" y="1302822"/>
                  <a:pt x="4307073" y="1312410"/>
                </a:cubicBezTo>
                <a:cubicBezTo>
                  <a:pt x="4311867" y="1324995"/>
                  <a:pt x="4302878" y="1326793"/>
                  <a:pt x="4305275" y="1335782"/>
                </a:cubicBezTo>
                <a:cubicBezTo>
                  <a:pt x="4307672" y="1344771"/>
                  <a:pt x="4305874" y="1349565"/>
                  <a:pt x="4308272" y="1353161"/>
                </a:cubicBezTo>
                <a:cubicBezTo>
                  <a:pt x="4313665" y="1361551"/>
                  <a:pt x="4301080" y="1352561"/>
                  <a:pt x="4308272" y="1362749"/>
                </a:cubicBezTo>
                <a:cubicBezTo>
                  <a:pt x="4312467" y="1368142"/>
                  <a:pt x="4313665" y="1378929"/>
                  <a:pt x="4313066" y="1387319"/>
                </a:cubicBezTo>
                <a:cubicBezTo>
                  <a:pt x="4312467" y="1395709"/>
                  <a:pt x="4313066" y="1414287"/>
                  <a:pt x="4311867" y="1416684"/>
                </a:cubicBezTo>
                <a:cubicBezTo>
                  <a:pt x="4310669" y="1419081"/>
                  <a:pt x="4311268" y="1425074"/>
                  <a:pt x="4311268" y="1428669"/>
                </a:cubicBezTo>
                <a:cubicBezTo>
                  <a:pt x="4311268" y="1431666"/>
                  <a:pt x="4307672" y="1442453"/>
                  <a:pt x="4307672" y="1442453"/>
                </a:cubicBezTo>
                <a:cubicBezTo>
                  <a:pt x="4307672" y="1442453"/>
                  <a:pt x="4301080" y="1453239"/>
                  <a:pt x="4304676" y="1466423"/>
                </a:cubicBezTo>
                <a:cubicBezTo>
                  <a:pt x="4309470" y="1483203"/>
                  <a:pt x="4301680" y="1498784"/>
                  <a:pt x="4302279" y="1507773"/>
                </a:cubicBezTo>
                <a:cubicBezTo>
                  <a:pt x="4302878" y="1516762"/>
                  <a:pt x="4301080" y="1525152"/>
                  <a:pt x="4298683" y="1528149"/>
                </a:cubicBezTo>
                <a:cubicBezTo>
                  <a:pt x="4297485" y="1529946"/>
                  <a:pt x="4297485" y="1543730"/>
                  <a:pt x="4299282" y="1547925"/>
                </a:cubicBezTo>
                <a:close/>
                <a:moveTo>
                  <a:pt x="2735177" y="462040"/>
                </a:moveTo>
                <a:cubicBezTo>
                  <a:pt x="2740571" y="460842"/>
                  <a:pt x="2741170" y="460842"/>
                  <a:pt x="2747762" y="462639"/>
                </a:cubicBezTo>
                <a:cubicBezTo>
                  <a:pt x="2754354" y="464437"/>
                  <a:pt x="2750159" y="467434"/>
                  <a:pt x="2747163" y="466235"/>
                </a:cubicBezTo>
                <a:cubicBezTo>
                  <a:pt x="2744167" y="465037"/>
                  <a:pt x="2741769" y="465636"/>
                  <a:pt x="2736975" y="467434"/>
                </a:cubicBezTo>
                <a:cubicBezTo>
                  <a:pt x="2732181" y="469232"/>
                  <a:pt x="2732780" y="471029"/>
                  <a:pt x="2736376" y="471629"/>
                </a:cubicBezTo>
                <a:cubicBezTo>
                  <a:pt x="2739372" y="472228"/>
                  <a:pt x="2742369" y="471029"/>
                  <a:pt x="2746564" y="473426"/>
                </a:cubicBezTo>
                <a:cubicBezTo>
                  <a:pt x="2750759" y="475824"/>
                  <a:pt x="2751957" y="477621"/>
                  <a:pt x="2761545" y="478820"/>
                </a:cubicBezTo>
                <a:cubicBezTo>
                  <a:pt x="2771134" y="479419"/>
                  <a:pt x="2774730" y="482416"/>
                  <a:pt x="2779524" y="481217"/>
                </a:cubicBezTo>
                <a:cubicBezTo>
                  <a:pt x="2784318" y="480618"/>
                  <a:pt x="2783719" y="477621"/>
                  <a:pt x="2783119" y="474026"/>
                </a:cubicBezTo>
                <a:cubicBezTo>
                  <a:pt x="2782520" y="470430"/>
                  <a:pt x="2782520" y="467434"/>
                  <a:pt x="2785516" y="471029"/>
                </a:cubicBezTo>
                <a:cubicBezTo>
                  <a:pt x="2786715" y="472827"/>
                  <a:pt x="2787913" y="475824"/>
                  <a:pt x="2792108" y="474625"/>
                </a:cubicBezTo>
                <a:cubicBezTo>
                  <a:pt x="2796303" y="473426"/>
                  <a:pt x="2792108" y="469232"/>
                  <a:pt x="2787913" y="465037"/>
                </a:cubicBezTo>
                <a:cubicBezTo>
                  <a:pt x="2783719" y="460842"/>
                  <a:pt x="2790311" y="461441"/>
                  <a:pt x="2793906" y="463838"/>
                </a:cubicBezTo>
                <a:cubicBezTo>
                  <a:pt x="2798101" y="466235"/>
                  <a:pt x="2796303" y="468632"/>
                  <a:pt x="2800498" y="469232"/>
                </a:cubicBezTo>
                <a:cubicBezTo>
                  <a:pt x="2804693" y="469831"/>
                  <a:pt x="2803495" y="463838"/>
                  <a:pt x="2801098" y="460842"/>
                </a:cubicBezTo>
                <a:cubicBezTo>
                  <a:pt x="2798701" y="457845"/>
                  <a:pt x="2799899" y="456047"/>
                  <a:pt x="2803495" y="456647"/>
                </a:cubicBezTo>
                <a:cubicBezTo>
                  <a:pt x="2807090" y="457246"/>
                  <a:pt x="2807690" y="455448"/>
                  <a:pt x="2808888" y="462040"/>
                </a:cubicBezTo>
                <a:cubicBezTo>
                  <a:pt x="2810686" y="469232"/>
                  <a:pt x="2816679" y="462639"/>
                  <a:pt x="2825069" y="457845"/>
                </a:cubicBezTo>
                <a:cubicBezTo>
                  <a:pt x="2833458" y="453650"/>
                  <a:pt x="2829264" y="451253"/>
                  <a:pt x="2828664" y="447658"/>
                </a:cubicBezTo>
                <a:cubicBezTo>
                  <a:pt x="2827466" y="442264"/>
                  <a:pt x="2830462" y="444661"/>
                  <a:pt x="2833458" y="447058"/>
                </a:cubicBezTo>
                <a:cubicBezTo>
                  <a:pt x="2836455" y="449455"/>
                  <a:pt x="2840650" y="448856"/>
                  <a:pt x="2843646" y="447058"/>
                </a:cubicBezTo>
                <a:cubicBezTo>
                  <a:pt x="2846043" y="445261"/>
                  <a:pt x="2847841" y="445261"/>
                  <a:pt x="2849039" y="448257"/>
                </a:cubicBezTo>
                <a:cubicBezTo>
                  <a:pt x="2850238" y="451253"/>
                  <a:pt x="2854433" y="451853"/>
                  <a:pt x="2864621" y="448856"/>
                </a:cubicBezTo>
                <a:cubicBezTo>
                  <a:pt x="2874808" y="445860"/>
                  <a:pt x="2868815" y="444062"/>
                  <a:pt x="2868815" y="440466"/>
                </a:cubicBezTo>
                <a:cubicBezTo>
                  <a:pt x="2868815" y="436871"/>
                  <a:pt x="2877805" y="435073"/>
                  <a:pt x="2882599" y="435672"/>
                </a:cubicBezTo>
                <a:cubicBezTo>
                  <a:pt x="2887393" y="436271"/>
                  <a:pt x="2887393" y="436871"/>
                  <a:pt x="2889790" y="435073"/>
                </a:cubicBezTo>
                <a:cubicBezTo>
                  <a:pt x="2892187" y="432676"/>
                  <a:pt x="2895184" y="430878"/>
                  <a:pt x="2898779" y="433874"/>
                </a:cubicBezTo>
                <a:cubicBezTo>
                  <a:pt x="2902974" y="436871"/>
                  <a:pt x="2904772" y="435672"/>
                  <a:pt x="2912563" y="432077"/>
                </a:cubicBezTo>
                <a:cubicBezTo>
                  <a:pt x="2920353" y="428481"/>
                  <a:pt x="2932339" y="429679"/>
                  <a:pt x="2935335" y="428481"/>
                </a:cubicBezTo>
                <a:cubicBezTo>
                  <a:pt x="2937732" y="427282"/>
                  <a:pt x="2939530" y="425485"/>
                  <a:pt x="2942526" y="427282"/>
                </a:cubicBezTo>
                <a:cubicBezTo>
                  <a:pt x="2944923" y="429080"/>
                  <a:pt x="2946122" y="429080"/>
                  <a:pt x="2952714" y="429679"/>
                </a:cubicBezTo>
                <a:cubicBezTo>
                  <a:pt x="2959306" y="430279"/>
                  <a:pt x="2965299" y="429679"/>
                  <a:pt x="2972490" y="426683"/>
                </a:cubicBezTo>
                <a:cubicBezTo>
                  <a:pt x="2979681" y="423687"/>
                  <a:pt x="3003053" y="421290"/>
                  <a:pt x="3012641" y="421290"/>
                </a:cubicBezTo>
                <a:cubicBezTo>
                  <a:pt x="3022230" y="421290"/>
                  <a:pt x="3034215" y="417095"/>
                  <a:pt x="3043204" y="413499"/>
                </a:cubicBezTo>
                <a:cubicBezTo>
                  <a:pt x="3051594" y="409304"/>
                  <a:pt x="3048598" y="405109"/>
                  <a:pt x="3047399" y="398517"/>
                </a:cubicBezTo>
                <a:cubicBezTo>
                  <a:pt x="3046201" y="391925"/>
                  <a:pt x="3034215" y="391326"/>
                  <a:pt x="3028222" y="393124"/>
                </a:cubicBezTo>
                <a:cubicBezTo>
                  <a:pt x="3022829" y="394922"/>
                  <a:pt x="3016836" y="396719"/>
                  <a:pt x="3012042" y="396719"/>
                </a:cubicBezTo>
                <a:cubicBezTo>
                  <a:pt x="3007248" y="396719"/>
                  <a:pt x="3004851" y="396120"/>
                  <a:pt x="3000656" y="400315"/>
                </a:cubicBezTo>
                <a:cubicBezTo>
                  <a:pt x="2996461" y="404510"/>
                  <a:pt x="2990468" y="402712"/>
                  <a:pt x="2986872" y="402113"/>
                </a:cubicBezTo>
                <a:cubicBezTo>
                  <a:pt x="2982677" y="401514"/>
                  <a:pt x="2977284" y="402712"/>
                  <a:pt x="2970093" y="405109"/>
                </a:cubicBezTo>
                <a:cubicBezTo>
                  <a:pt x="2962902" y="407506"/>
                  <a:pt x="2961703" y="409304"/>
                  <a:pt x="2958707" y="406308"/>
                </a:cubicBezTo>
                <a:cubicBezTo>
                  <a:pt x="2955710" y="403911"/>
                  <a:pt x="2950916" y="404510"/>
                  <a:pt x="2941927" y="406907"/>
                </a:cubicBezTo>
                <a:cubicBezTo>
                  <a:pt x="2933537" y="409304"/>
                  <a:pt x="2932938" y="408106"/>
                  <a:pt x="2932938" y="404510"/>
                </a:cubicBezTo>
                <a:cubicBezTo>
                  <a:pt x="2932938" y="400914"/>
                  <a:pt x="2926945" y="400315"/>
                  <a:pt x="2918555" y="399116"/>
                </a:cubicBezTo>
                <a:cubicBezTo>
                  <a:pt x="2910165" y="397918"/>
                  <a:pt x="2908368" y="402113"/>
                  <a:pt x="2907768" y="405708"/>
                </a:cubicBezTo>
                <a:cubicBezTo>
                  <a:pt x="2907169" y="409304"/>
                  <a:pt x="2903573" y="409304"/>
                  <a:pt x="2899978" y="409903"/>
                </a:cubicBezTo>
                <a:cubicBezTo>
                  <a:pt x="2895783" y="410503"/>
                  <a:pt x="2895783" y="409304"/>
                  <a:pt x="2897581" y="406308"/>
                </a:cubicBezTo>
                <a:cubicBezTo>
                  <a:pt x="2899978" y="403311"/>
                  <a:pt x="2895783" y="400914"/>
                  <a:pt x="2892786" y="406907"/>
                </a:cubicBezTo>
                <a:cubicBezTo>
                  <a:pt x="2889790" y="413499"/>
                  <a:pt x="2880801" y="412300"/>
                  <a:pt x="2876606" y="411701"/>
                </a:cubicBezTo>
                <a:cubicBezTo>
                  <a:pt x="2872411" y="411102"/>
                  <a:pt x="2864621" y="413499"/>
                  <a:pt x="2858029" y="414098"/>
                </a:cubicBezTo>
                <a:cubicBezTo>
                  <a:pt x="2851437" y="414698"/>
                  <a:pt x="2850837" y="412300"/>
                  <a:pt x="2847841" y="411102"/>
                </a:cubicBezTo>
                <a:cubicBezTo>
                  <a:pt x="2844844" y="409903"/>
                  <a:pt x="2840650" y="408106"/>
                  <a:pt x="2844844" y="414098"/>
                </a:cubicBezTo>
                <a:cubicBezTo>
                  <a:pt x="2849039" y="420091"/>
                  <a:pt x="2839451" y="416495"/>
                  <a:pt x="2835855" y="415896"/>
                </a:cubicBezTo>
                <a:cubicBezTo>
                  <a:pt x="2831661" y="415297"/>
                  <a:pt x="2829264" y="416495"/>
                  <a:pt x="2832260" y="422488"/>
                </a:cubicBezTo>
                <a:cubicBezTo>
                  <a:pt x="2835256" y="427882"/>
                  <a:pt x="2829863" y="424885"/>
                  <a:pt x="2828065" y="420690"/>
                </a:cubicBezTo>
                <a:cubicBezTo>
                  <a:pt x="2825668" y="416495"/>
                  <a:pt x="2820274" y="418893"/>
                  <a:pt x="2817877" y="423087"/>
                </a:cubicBezTo>
                <a:cubicBezTo>
                  <a:pt x="2815480" y="427282"/>
                  <a:pt x="2804693" y="427282"/>
                  <a:pt x="2804693" y="427282"/>
                </a:cubicBezTo>
                <a:cubicBezTo>
                  <a:pt x="2804693" y="427282"/>
                  <a:pt x="2800498" y="424885"/>
                  <a:pt x="2797502" y="425485"/>
                </a:cubicBezTo>
                <a:cubicBezTo>
                  <a:pt x="2793906" y="426084"/>
                  <a:pt x="2790311" y="427882"/>
                  <a:pt x="2796903" y="430279"/>
                </a:cubicBezTo>
                <a:cubicBezTo>
                  <a:pt x="2803495" y="432676"/>
                  <a:pt x="2798701" y="433874"/>
                  <a:pt x="2793307" y="433275"/>
                </a:cubicBezTo>
                <a:cubicBezTo>
                  <a:pt x="2787913" y="432676"/>
                  <a:pt x="2785516" y="435672"/>
                  <a:pt x="2789112" y="436271"/>
                </a:cubicBezTo>
                <a:cubicBezTo>
                  <a:pt x="2793307" y="436871"/>
                  <a:pt x="2797502" y="437470"/>
                  <a:pt x="2799300" y="441066"/>
                </a:cubicBezTo>
                <a:cubicBezTo>
                  <a:pt x="2801697" y="444661"/>
                  <a:pt x="2795105" y="442863"/>
                  <a:pt x="2790910" y="441665"/>
                </a:cubicBezTo>
                <a:cubicBezTo>
                  <a:pt x="2786116" y="440466"/>
                  <a:pt x="2783119" y="439268"/>
                  <a:pt x="2780123" y="439867"/>
                </a:cubicBezTo>
                <a:cubicBezTo>
                  <a:pt x="2777127" y="440466"/>
                  <a:pt x="2774730" y="440466"/>
                  <a:pt x="2778924" y="445860"/>
                </a:cubicBezTo>
                <a:cubicBezTo>
                  <a:pt x="2781322" y="449455"/>
                  <a:pt x="2782520" y="451253"/>
                  <a:pt x="2773531" y="447058"/>
                </a:cubicBezTo>
                <a:cubicBezTo>
                  <a:pt x="2766939" y="444062"/>
                  <a:pt x="2773531" y="451253"/>
                  <a:pt x="2768137" y="450055"/>
                </a:cubicBezTo>
                <a:cubicBezTo>
                  <a:pt x="2762744" y="448856"/>
                  <a:pt x="2765141" y="451853"/>
                  <a:pt x="2770535" y="456047"/>
                </a:cubicBezTo>
                <a:cubicBezTo>
                  <a:pt x="2775928" y="460242"/>
                  <a:pt x="2769935" y="460242"/>
                  <a:pt x="2765740" y="457246"/>
                </a:cubicBezTo>
                <a:cubicBezTo>
                  <a:pt x="2761545" y="454250"/>
                  <a:pt x="2759748" y="455448"/>
                  <a:pt x="2755553" y="457845"/>
                </a:cubicBezTo>
                <a:cubicBezTo>
                  <a:pt x="2751358" y="460242"/>
                  <a:pt x="2745964" y="459643"/>
                  <a:pt x="2736975" y="459044"/>
                </a:cubicBezTo>
                <a:cubicBezTo>
                  <a:pt x="2727986" y="458445"/>
                  <a:pt x="2729784" y="459643"/>
                  <a:pt x="2729784" y="462040"/>
                </a:cubicBezTo>
                <a:cubicBezTo>
                  <a:pt x="2729784" y="462639"/>
                  <a:pt x="2729784" y="463838"/>
                  <a:pt x="2735177" y="462040"/>
                </a:cubicBezTo>
                <a:close/>
                <a:moveTo>
                  <a:pt x="3519627" y="352373"/>
                </a:moveTo>
                <a:cubicBezTo>
                  <a:pt x="3528017" y="348777"/>
                  <a:pt x="3530414" y="354171"/>
                  <a:pt x="3529215" y="358366"/>
                </a:cubicBezTo>
                <a:cubicBezTo>
                  <a:pt x="3528017" y="362561"/>
                  <a:pt x="3531013" y="367954"/>
                  <a:pt x="3538204" y="366756"/>
                </a:cubicBezTo>
                <a:cubicBezTo>
                  <a:pt x="3545396" y="365557"/>
                  <a:pt x="3547194" y="376344"/>
                  <a:pt x="3557381" y="375146"/>
                </a:cubicBezTo>
                <a:cubicBezTo>
                  <a:pt x="3567569" y="373947"/>
                  <a:pt x="3570565" y="378741"/>
                  <a:pt x="3575360" y="382337"/>
                </a:cubicBezTo>
                <a:cubicBezTo>
                  <a:pt x="3579555" y="385333"/>
                  <a:pt x="3592139" y="385932"/>
                  <a:pt x="3604724" y="384734"/>
                </a:cubicBezTo>
                <a:cubicBezTo>
                  <a:pt x="3617309" y="383535"/>
                  <a:pt x="3620904" y="377543"/>
                  <a:pt x="3613713" y="370351"/>
                </a:cubicBezTo>
                <a:cubicBezTo>
                  <a:pt x="3606522" y="363160"/>
                  <a:pt x="3610716" y="363160"/>
                  <a:pt x="3614911" y="363160"/>
                </a:cubicBezTo>
                <a:cubicBezTo>
                  <a:pt x="3619106" y="363160"/>
                  <a:pt x="3622103" y="357767"/>
                  <a:pt x="3623301" y="352972"/>
                </a:cubicBezTo>
                <a:cubicBezTo>
                  <a:pt x="3624500" y="347579"/>
                  <a:pt x="3629893" y="341586"/>
                  <a:pt x="3622702" y="340388"/>
                </a:cubicBezTo>
                <a:cubicBezTo>
                  <a:pt x="3615511" y="339189"/>
                  <a:pt x="3609518" y="339189"/>
                  <a:pt x="3606522" y="341586"/>
                </a:cubicBezTo>
                <a:cubicBezTo>
                  <a:pt x="3603525" y="343983"/>
                  <a:pt x="3602327" y="343983"/>
                  <a:pt x="3599330" y="343983"/>
                </a:cubicBezTo>
                <a:cubicBezTo>
                  <a:pt x="3596933" y="343983"/>
                  <a:pt x="3593338" y="344583"/>
                  <a:pt x="3590941" y="348178"/>
                </a:cubicBezTo>
                <a:cubicBezTo>
                  <a:pt x="3588544" y="351774"/>
                  <a:pt x="3572962" y="353572"/>
                  <a:pt x="3584948" y="346980"/>
                </a:cubicBezTo>
                <a:cubicBezTo>
                  <a:pt x="3595735" y="340987"/>
                  <a:pt x="3607121" y="328402"/>
                  <a:pt x="3593338" y="330799"/>
                </a:cubicBezTo>
                <a:cubicBezTo>
                  <a:pt x="3576558" y="333796"/>
                  <a:pt x="3553785" y="331998"/>
                  <a:pt x="3553785" y="331998"/>
                </a:cubicBezTo>
                <a:cubicBezTo>
                  <a:pt x="3553785" y="331998"/>
                  <a:pt x="3542399" y="331399"/>
                  <a:pt x="3539403" y="334994"/>
                </a:cubicBezTo>
                <a:cubicBezTo>
                  <a:pt x="3537006" y="338590"/>
                  <a:pt x="3535208" y="339788"/>
                  <a:pt x="3538804" y="341586"/>
                </a:cubicBezTo>
                <a:cubicBezTo>
                  <a:pt x="3541800" y="343384"/>
                  <a:pt x="3536407" y="342785"/>
                  <a:pt x="3532212" y="341586"/>
                </a:cubicBezTo>
                <a:cubicBezTo>
                  <a:pt x="3527418" y="339788"/>
                  <a:pt x="3524421" y="348777"/>
                  <a:pt x="3514234" y="347579"/>
                </a:cubicBezTo>
                <a:cubicBezTo>
                  <a:pt x="3505244" y="347579"/>
                  <a:pt x="3511237" y="356568"/>
                  <a:pt x="3519627" y="352373"/>
                </a:cubicBezTo>
                <a:close/>
                <a:moveTo>
                  <a:pt x="4278907" y="560321"/>
                </a:moveTo>
                <a:cubicBezTo>
                  <a:pt x="4284301" y="564516"/>
                  <a:pt x="4292691" y="567512"/>
                  <a:pt x="4296885" y="558523"/>
                </a:cubicBezTo>
                <a:cubicBezTo>
                  <a:pt x="4301080" y="550134"/>
                  <a:pt x="4304676" y="551332"/>
                  <a:pt x="4307073" y="556126"/>
                </a:cubicBezTo>
                <a:cubicBezTo>
                  <a:pt x="4309470" y="560920"/>
                  <a:pt x="4314264" y="559123"/>
                  <a:pt x="4317261" y="558523"/>
                </a:cubicBezTo>
                <a:cubicBezTo>
                  <a:pt x="4320257" y="557924"/>
                  <a:pt x="4332243" y="557924"/>
                  <a:pt x="4338235" y="554328"/>
                </a:cubicBezTo>
                <a:cubicBezTo>
                  <a:pt x="4344228" y="550134"/>
                  <a:pt x="4354416" y="551931"/>
                  <a:pt x="4348423" y="554928"/>
                </a:cubicBezTo>
                <a:cubicBezTo>
                  <a:pt x="4343029" y="557924"/>
                  <a:pt x="4349622" y="560920"/>
                  <a:pt x="4358011" y="558523"/>
                </a:cubicBezTo>
                <a:cubicBezTo>
                  <a:pt x="4366401" y="556126"/>
                  <a:pt x="4367600" y="560920"/>
                  <a:pt x="4371195" y="554928"/>
                </a:cubicBezTo>
                <a:cubicBezTo>
                  <a:pt x="4374791" y="548336"/>
                  <a:pt x="4362206" y="548935"/>
                  <a:pt x="4357412" y="547736"/>
                </a:cubicBezTo>
                <a:cubicBezTo>
                  <a:pt x="4352618" y="547137"/>
                  <a:pt x="4346026" y="537549"/>
                  <a:pt x="4350221" y="530357"/>
                </a:cubicBezTo>
                <a:cubicBezTo>
                  <a:pt x="4354416" y="523166"/>
                  <a:pt x="4362206" y="526163"/>
                  <a:pt x="4363405" y="529159"/>
                </a:cubicBezTo>
                <a:cubicBezTo>
                  <a:pt x="4364603" y="531556"/>
                  <a:pt x="4364004" y="533354"/>
                  <a:pt x="4359809" y="534552"/>
                </a:cubicBezTo>
                <a:cubicBezTo>
                  <a:pt x="4355614" y="536350"/>
                  <a:pt x="4356813" y="539347"/>
                  <a:pt x="4363405" y="542942"/>
                </a:cubicBezTo>
                <a:cubicBezTo>
                  <a:pt x="4369997" y="546538"/>
                  <a:pt x="4376589" y="545939"/>
                  <a:pt x="4380184" y="548336"/>
                </a:cubicBezTo>
                <a:cubicBezTo>
                  <a:pt x="4384379" y="550733"/>
                  <a:pt x="4388574" y="548935"/>
                  <a:pt x="4393968" y="547736"/>
                </a:cubicBezTo>
                <a:cubicBezTo>
                  <a:pt x="4399361" y="545939"/>
                  <a:pt x="4402358" y="542343"/>
                  <a:pt x="4401758" y="539946"/>
                </a:cubicBezTo>
                <a:cubicBezTo>
                  <a:pt x="4401159" y="537549"/>
                  <a:pt x="4407751" y="532755"/>
                  <a:pt x="4401159" y="530957"/>
                </a:cubicBezTo>
                <a:cubicBezTo>
                  <a:pt x="4393968" y="528560"/>
                  <a:pt x="4382582" y="519571"/>
                  <a:pt x="4373593" y="523166"/>
                </a:cubicBezTo>
                <a:cubicBezTo>
                  <a:pt x="4365203" y="526762"/>
                  <a:pt x="4358011" y="518971"/>
                  <a:pt x="4355015" y="517773"/>
                </a:cubicBezTo>
                <a:cubicBezTo>
                  <a:pt x="4352019" y="515975"/>
                  <a:pt x="4350221" y="518372"/>
                  <a:pt x="4343629" y="512379"/>
                </a:cubicBezTo>
                <a:cubicBezTo>
                  <a:pt x="4338834" y="508784"/>
                  <a:pt x="4329845" y="508184"/>
                  <a:pt x="4336438" y="513578"/>
                </a:cubicBezTo>
                <a:cubicBezTo>
                  <a:pt x="4343029" y="518971"/>
                  <a:pt x="4334040" y="517773"/>
                  <a:pt x="4331643" y="514776"/>
                </a:cubicBezTo>
                <a:cubicBezTo>
                  <a:pt x="4329246" y="512379"/>
                  <a:pt x="4323253" y="517773"/>
                  <a:pt x="4326849" y="521968"/>
                </a:cubicBezTo>
                <a:cubicBezTo>
                  <a:pt x="4332243" y="528560"/>
                  <a:pt x="4320257" y="529758"/>
                  <a:pt x="4318459" y="525563"/>
                </a:cubicBezTo>
                <a:cubicBezTo>
                  <a:pt x="4316062" y="519571"/>
                  <a:pt x="4308272" y="521368"/>
                  <a:pt x="4307672" y="518372"/>
                </a:cubicBezTo>
                <a:cubicBezTo>
                  <a:pt x="4307073" y="515376"/>
                  <a:pt x="4299882" y="512979"/>
                  <a:pt x="4297485" y="512979"/>
                </a:cubicBezTo>
                <a:cubicBezTo>
                  <a:pt x="4295087" y="512979"/>
                  <a:pt x="4291492" y="506986"/>
                  <a:pt x="4292091" y="504589"/>
                </a:cubicBezTo>
                <a:cubicBezTo>
                  <a:pt x="4292691" y="502192"/>
                  <a:pt x="4283702" y="502192"/>
                  <a:pt x="4281903" y="505787"/>
                </a:cubicBezTo>
                <a:cubicBezTo>
                  <a:pt x="4280106" y="509982"/>
                  <a:pt x="4279507" y="509982"/>
                  <a:pt x="4277109" y="508784"/>
                </a:cubicBezTo>
                <a:cubicBezTo>
                  <a:pt x="4274712" y="508184"/>
                  <a:pt x="4272315" y="511181"/>
                  <a:pt x="4271716" y="513578"/>
                </a:cubicBezTo>
                <a:cubicBezTo>
                  <a:pt x="4271117" y="515975"/>
                  <a:pt x="4267521" y="517173"/>
                  <a:pt x="4266322" y="517173"/>
                </a:cubicBezTo>
                <a:cubicBezTo>
                  <a:pt x="4265124" y="517173"/>
                  <a:pt x="4262127" y="517773"/>
                  <a:pt x="4265723" y="521368"/>
                </a:cubicBezTo>
                <a:cubicBezTo>
                  <a:pt x="4268720" y="524365"/>
                  <a:pt x="4266322" y="524964"/>
                  <a:pt x="4263326" y="523765"/>
                </a:cubicBezTo>
                <a:cubicBezTo>
                  <a:pt x="4259731" y="523166"/>
                  <a:pt x="4254936" y="529159"/>
                  <a:pt x="4257333" y="532755"/>
                </a:cubicBezTo>
                <a:cubicBezTo>
                  <a:pt x="4259731" y="536350"/>
                  <a:pt x="4257932" y="536350"/>
                  <a:pt x="4256135" y="535152"/>
                </a:cubicBezTo>
                <a:cubicBezTo>
                  <a:pt x="4254337" y="534552"/>
                  <a:pt x="4250741" y="538747"/>
                  <a:pt x="4257932" y="545939"/>
                </a:cubicBezTo>
                <a:cubicBezTo>
                  <a:pt x="4263925" y="553130"/>
                  <a:pt x="4274113" y="556126"/>
                  <a:pt x="4278907" y="560321"/>
                </a:cubicBezTo>
                <a:close/>
                <a:moveTo>
                  <a:pt x="1492883" y="1934456"/>
                </a:moveTo>
                <a:lnTo>
                  <a:pt x="1494680" y="1933258"/>
                </a:lnTo>
                <a:cubicBezTo>
                  <a:pt x="1494081" y="1932659"/>
                  <a:pt x="1493482" y="1933258"/>
                  <a:pt x="1492883" y="1934456"/>
                </a:cubicBezTo>
                <a:close/>
                <a:moveTo>
                  <a:pt x="940951" y="924680"/>
                </a:moveTo>
                <a:cubicBezTo>
                  <a:pt x="943348" y="924680"/>
                  <a:pt x="945146" y="926478"/>
                  <a:pt x="942150" y="928875"/>
                </a:cubicBezTo>
                <a:cubicBezTo>
                  <a:pt x="939153" y="931272"/>
                  <a:pt x="939753" y="931871"/>
                  <a:pt x="942749" y="933070"/>
                </a:cubicBezTo>
                <a:cubicBezTo>
                  <a:pt x="945745" y="933669"/>
                  <a:pt x="946944" y="934268"/>
                  <a:pt x="943948" y="936066"/>
                </a:cubicBezTo>
                <a:cubicBezTo>
                  <a:pt x="941550" y="937864"/>
                  <a:pt x="944547" y="939662"/>
                  <a:pt x="948143" y="939662"/>
                </a:cubicBezTo>
                <a:cubicBezTo>
                  <a:pt x="952337" y="939662"/>
                  <a:pt x="958929" y="942658"/>
                  <a:pt x="958929" y="942658"/>
                </a:cubicBezTo>
                <a:cubicBezTo>
                  <a:pt x="958929" y="942658"/>
                  <a:pt x="966121" y="944456"/>
                  <a:pt x="969716" y="943257"/>
                </a:cubicBezTo>
                <a:cubicBezTo>
                  <a:pt x="973312" y="942658"/>
                  <a:pt x="973911" y="942658"/>
                  <a:pt x="973911" y="938463"/>
                </a:cubicBezTo>
                <a:cubicBezTo>
                  <a:pt x="973312" y="934268"/>
                  <a:pt x="978705" y="939662"/>
                  <a:pt x="982301" y="940860"/>
                </a:cubicBezTo>
                <a:cubicBezTo>
                  <a:pt x="986496" y="941459"/>
                  <a:pt x="990092" y="940261"/>
                  <a:pt x="994886" y="935467"/>
                </a:cubicBezTo>
                <a:cubicBezTo>
                  <a:pt x="999680" y="931272"/>
                  <a:pt x="1007471" y="931272"/>
                  <a:pt x="1014662" y="933070"/>
                </a:cubicBezTo>
                <a:cubicBezTo>
                  <a:pt x="1021853" y="934867"/>
                  <a:pt x="1029044" y="937864"/>
                  <a:pt x="1029644" y="931871"/>
                </a:cubicBezTo>
                <a:cubicBezTo>
                  <a:pt x="1030243" y="925878"/>
                  <a:pt x="1033239" y="927676"/>
                  <a:pt x="1038034" y="923481"/>
                </a:cubicBezTo>
                <a:cubicBezTo>
                  <a:pt x="1043427" y="919286"/>
                  <a:pt x="1046423" y="916290"/>
                  <a:pt x="1051218" y="914492"/>
                </a:cubicBezTo>
                <a:cubicBezTo>
                  <a:pt x="1056012" y="912694"/>
                  <a:pt x="1054214" y="909099"/>
                  <a:pt x="1055413" y="904304"/>
                </a:cubicBezTo>
                <a:cubicBezTo>
                  <a:pt x="1056611" y="899510"/>
                  <a:pt x="1057210" y="899510"/>
                  <a:pt x="1059607" y="900110"/>
                </a:cubicBezTo>
                <a:cubicBezTo>
                  <a:pt x="1062005" y="900709"/>
                  <a:pt x="1063802" y="895915"/>
                  <a:pt x="1068597" y="888723"/>
                </a:cubicBezTo>
                <a:cubicBezTo>
                  <a:pt x="1073990" y="881532"/>
                  <a:pt x="1075788" y="876738"/>
                  <a:pt x="1082380" y="873741"/>
                </a:cubicBezTo>
                <a:cubicBezTo>
                  <a:pt x="1083578" y="873142"/>
                  <a:pt x="1084777" y="872543"/>
                  <a:pt x="1085376" y="871944"/>
                </a:cubicBezTo>
                <a:cubicBezTo>
                  <a:pt x="1090770" y="868947"/>
                  <a:pt x="1094965" y="867149"/>
                  <a:pt x="1099759" y="867749"/>
                </a:cubicBezTo>
                <a:cubicBezTo>
                  <a:pt x="1105152" y="868348"/>
                  <a:pt x="1105152" y="864752"/>
                  <a:pt x="1106351" y="862355"/>
                </a:cubicBezTo>
                <a:cubicBezTo>
                  <a:pt x="1106950" y="859958"/>
                  <a:pt x="1109347" y="861157"/>
                  <a:pt x="1108748" y="864153"/>
                </a:cubicBezTo>
                <a:cubicBezTo>
                  <a:pt x="1108149" y="867149"/>
                  <a:pt x="1112943" y="864752"/>
                  <a:pt x="1112943" y="856962"/>
                </a:cubicBezTo>
                <a:cubicBezTo>
                  <a:pt x="1112943" y="849770"/>
                  <a:pt x="1112344" y="852767"/>
                  <a:pt x="1115340" y="845576"/>
                </a:cubicBezTo>
                <a:cubicBezTo>
                  <a:pt x="1118936" y="838384"/>
                  <a:pt x="1117138" y="832991"/>
                  <a:pt x="1110546" y="832392"/>
                </a:cubicBezTo>
                <a:cubicBezTo>
                  <a:pt x="1105752" y="831792"/>
                  <a:pt x="1099759" y="831193"/>
                  <a:pt x="1098560" y="829395"/>
                </a:cubicBezTo>
                <a:cubicBezTo>
                  <a:pt x="1098560" y="829395"/>
                  <a:pt x="1098560" y="829395"/>
                  <a:pt x="1097961" y="829395"/>
                </a:cubicBezTo>
                <a:lnTo>
                  <a:pt x="1097961" y="829395"/>
                </a:lnTo>
                <a:cubicBezTo>
                  <a:pt x="1097362" y="828796"/>
                  <a:pt x="1097961" y="828197"/>
                  <a:pt x="1099160" y="827597"/>
                </a:cubicBezTo>
                <a:cubicBezTo>
                  <a:pt x="1104553" y="825200"/>
                  <a:pt x="1103354" y="821005"/>
                  <a:pt x="1096763" y="822803"/>
                </a:cubicBezTo>
                <a:cubicBezTo>
                  <a:pt x="1090170" y="824601"/>
                  <a:pt x="1088373" y="829395"/>
                  <a:pt x="1083578" y="829395"/>
                </a:cubicBezTo>
                <a:cubicBezTo>
                  <a:pt x="1079384" y="829395"/>
                  <a:pt x="1076986" y="829395"/>
                  <a:pt x="1083578" y="825800"/>
                </a:cubicBezTo>
                <a:cubicBezTo>
                  <a:pt x="1090170" y="822204"/>
                  <a:pt x="1088972" y="820406"/>
                  <a:pt x="1084777" y="821605"/>
                </a:cubicBezTo>
                <a:cubicBezTo>
                  <a:pt x="1080582" y="822803"/>
                  <a:pt x="1073990" y="816211"/>
                  <a:pt x="1070394" y="822204"/>
                </a:cubicBezTo>
                <a:cubicBezTo>
                  <a:pt x="1066799" y="828197"/>
                  <a:pt x="1062604" y="832991"/>
                  <a:pt x="1057210" y="833590"/>
                </a:cubicBezTo>
                <a:cubicBezTo>
                  <a:pt x="1051817" y="834189"/>
                  <a:pt x="1052416" y="834189"/>
                  <a:pt x="1052416" y="836586"/>
                </a:cubicBezTo>
                <a:cubicBezTo>
                  <a:pt x="1052416" y="838984"/>
                  <a:pt x="1054813" y="837186"/>
                  <a:pt x="1056611" y="839583"/>
                </a:cubicBezTo>
                <a:cubicBezTo>
                  <a:pt x="1059008" y="841980"/>
                  <a:pt x="1060806" y="844976"/>
                  <a:pt x="1052416" y="846774"/>
                </a:cubicBezTo>
                <a:cubicBezTo>
                  <a:pt x="1044026" y="849171"/>
                  <a:pt x="1043427" y="847973"/>
                  <a:pt x="1042229" y="851568"/>
                </a:cubicBezTo>
                <a:cubicBezTo>
                  <a:pt x="1041030" y="855164"/>
                  <a:pt x="1039831" y="855164"/>
                  <a:pt x="1036835" y="852168"/>
                </a:cubicBezTo>
                <a:cubicBezTo>
                  <a:pt x="1033239" y="849770"/>
                  <a:pt x="1030842" y="851568"/>
                  <a:pt x="1027247" y="846774"/>
                </a:cubicBezTo>
                <a:cubicBezTo>
                  <a:pt x="1023651" y="842579"/>
                  <a:pt x="1021254" y="841381"/>
                  <a:pt x="1015860" y="841381"/>
                </a:cubicBezTo>
                <a:cubicBezTo>
                  <a:pt x="1010467" y="841980"/>
                  <a:pt x="1008669" y="843778"/>
                  <a:pt x="1011666" y="845576"/>
                </a:cubicBezTo>
                <a:cubicBezTo>
                  <a:pt x="1014662" y="846774"/>
                  <a:pt x="1012864" y="847973"/>
                  <a:pt x="1011066" y="849770"/>
                </a:cubicBezTo>
                <a:cubicBezTo>
                  <a:pt x="1009268" y="852168"/>
                  <a:pt x="1006871" y="853965"/>
                  <a:pt x="1006871" y="856962"/>
                </a:cubicBezTo>
                <a:cubicBezTo>
                  <a:pt x="1007471" y="859958"/>
                  <a:pt x="1007471" y="861157"/>
                  <a:pt x="1005074" y="860557"/>
                </a:cubicBezTo>
                <a:cubicBezTo>
                  <a:pt x="1002676" y="859958"/>
                  <a:pt x="1002676" y="862355"/>
                  <a:pt x="1002077" y="862954"/>
                </a:cubicBezTo>
                <a:cubicBezTo>
                  <a:pt x="1001478" y="863554"/>
                  <a:pt x="1000879" y="863554"/>
                  <a:pt x="997882" y="862954"/>
                </a:cubicBezTo>
                <a:cubicBezTo>
                  <a:pt x="995485" y="862355"/>
                  <a:pt x="993088" y="868348"/>
                  <a:pt x="994287" y="873142"/>
                </a:cubicBezTo>
                <a:cubicBezTo>
                  <a:pt x="995485" y="877936"/>
                  <a:pt x="1000279" y="885128"/>
                  <a:pt x="994287" y="885128"/>
                </a:cubicBezTo>
                <a:cubicBezTo>
                  <a:pt x="988294" y="885128"/>
                  <a:pt x="987095" y="888124"/>
                  <a:pt x="982900" y="892319"/>
                </a:cubicBezTo>
                <a:cubicBezTo>
                  <a:pt x="978705" y="896514"/>
                  <a:pt x="973911" y="900709"/>
                  <a:pt x="970915" y="902507"/>
                </a:cubicBezTo>
                <a:cubicBezTo>
                  <a:pt x="968518" y="903705"/>
                  <a:pt x="973312" y="906702"/>
                  <a:pt x="976308" y="907301"/>
                </a:cubicBezTo>
                <a:cubicBezTo>
                  <a:pt x="979305" y="907900"/>
                  <a:pt x="986496" y="912095"/>
                  <a:pt x="973911" y="910297"/>
                </a:cubicBezTo>
                <a:cubicBezTo>
                  <a:pt x="961327" y="908499"/>
                  <a:pt x="960727" y="907900"/>
                  <a:pt x="958929" y="912694"/>
                </a:cubicBezTo>
                <a:cubicBezTo>
                  <a:pt x="957132" y="916889"/>
                  <a:pt x="955334" y="919286"/>
                  <a:pt x="950540" y="915691"/>
                </a:cubicBezTo>
                <a:cubicBezTo>
                  <a:pt x="945146" y="912095"/>
                  <a:pt x="943948" y="908499"/>
                  <a:pt x="941550" y="911496"/>
                </a:cubicBezTo>
                <a:cubicBezTo>
                  <a:pt x="939153" y="913893"/>
                  <a:pt x="939753" y="915091"/>
                  <a:pt x="942150" y="916290"/>
                </a:cubicBezTo>
                <a:cubicBezTo>
                  <a:pt x="944547" y="917488"/>
                  <a:pt x="943948" y="918687"/>
                  <a:pt x="939753" y="920485"/>
                </a:cubicBezTo>
                <a:cubicBezTo>
                  <a:pt x="937955" y="921683"/>
                  <a:pt x="938554" y="924680"/>
                  <a:pt x="940951" y="924680"/>
                </a:cubicBezTo>
                <a:close/>
                <a:moveTo>
                  <a:pt x="1275346" y="978614"/>
                </a:moveTo>
                <a:cubicBezTo>
                  <a:pt x="1271151" y="980412"/>
                  <a:pt x="1275945" y="982809"/>
                  <a:pt x="1275945" y="982809"/>
                </a:cubicBezTo>
                <a:cubicBezTo>
                  <a:pt x="1275945" y="982809"/>
                  <a:pt x="1275945" y="982809"/>
                  <a:pt x="1278942" y="980412"/>
                </a:cubicBezTo>
                <a:cubicBezTo>
                  <a:pt x="1282537" y="978015"/>
                  <a:pt x="1280140" y="976817"/>
                  <a:pt x="1275346" y="978614"/>
                </a:cubicBezTo>
                <a:close/>
                <a:moveTo>
                  <a:pt x="1278342" y="949250"/>
                </a:moveTo>
                <a:cubicBezTo>
                  <a:pt x="1274148" y="953445"/>
                  <a:pt x="1278342" y="953445"/>
                  <a:pt x="1278342" y="953445"/>
                </a:cubicBezTo>
                <a:cubicBezTo>
                  <a:pt x="1278342" y="953445"/>
                  <a:pt x="1278342" y="953445"/>
                  <a:pt x="1282537" y="950449"/>
                </a:cubicBezTo>
                <a:cubicBezTo>
                  <a:pt x="1286133" y="947452"/>
                  <a:pt x="1283137" y="945055"/>
                  <a:pt x="1278342" y="949250"/>
                </a:cubicBezTo>
                <a:close/>
                <a:moveTo>
                  <a:pt x="8089091" y="2772241"/>
                </a:moveTo>
                <a:cubicBezTo>
                  <a:pt x="8086095" y="2768646"/>
                  <a:pt x="8087293" y="2766848"/>
                  <a:pt x="8084296" y="2768646"/>
                </a:cubicBezTo>
                <a:cubicBezTo>
                  <a:pt x="8081300" y="2770444"/>
                  <a:pt x="8081300" y="2770444"/>
                  <a:pt x="8081300" y="2770444"/>
                </a:cubicBezTo>
                <a:cubicBezTo>
                  <a:pt x="8081300" y="2770444"/>
                  <a:pt x="8078304" y="2773440"/>
                  <a:pt x="8083098" y="2774638"/>
                </a:cubicBezTo>
                <a:cubicBezTo>
                  <a:pt x="8087293" y="2775238"/>
                  <a:pt x="8092087" y="2775837"/>
                  <a:pt x="8089091" y="2772241"/>
                </a:cubicBezTo>
                <a:close/>
                <a:moveTo>
                  <a:pt x="8806421" y="4170947"/>
                </a:moveTo>
                <a:cubicBezTo>
                  <a:pt x="8802826" y="4172745"/>
                  <a:pt x="8802826" y="4172745"/>
                  <a:pt x="8802826" y="4172745"/>
                </a:cubicBezTo>
                <a:cubicBezTo>
                  <a:pt x="8802826" y="4172745"/>
                  <a:pt x="8800429" y="4177539"/>
                  <a:pt x="8805223" y="4176940"/>
                </a:cubicBezTo>
                <a:cubicBezTo>
                  <a:pt x="8810617" y="4176340"/>
                  <a:pt x="8810017" y="4174542"/>
                  <a:pt x="8810017" y="4172745"/>
                </a:cubicBezTo>
                <a:cubicBezTo>
                  <a:pt x="8810617" y="4170347"/>
                  <a:pt x="8810017" y="4169149"/>
                  <a:pt x="8806421" y="4170947"/>
                </a:cubicBezTo>
                <a:close/>
                <a:moveTo>
                  <a:pt x="8911893" y="3069481"/>
                </a:moveTo>
                <a:cubicBezTo>
                  <a:pt x="8911893" y="3069481"/>
                  <a:pt x="8916089" y="3071279"/>
                  <a:pt x="8919684" y="3073676"/>
                </a:cubicBezTo>
                <a:cubicBezTo>
                  <a:pt x="8923879" y="3076073"/>
                  <a:pt x="8924479" y="3074276"/>
                  <a:pt x="8927475" y="3068882"/>
                </a:cubicBezTo>
                <a:cubicBezTo>
                  <a:pt x="8930471" y="3063489"/>
                  <a:pt x="8922081" y="3064687"/>
                  <a:pt x="8913691" y="3064687"/>
                </a:cubicBezTo>
                <a:cubicBezTo>
                  <a:pt x="8905301" y="3065286"/>
                  <a:pt x="8911893" y="3069481"/>
                  <a:pt x="8911893" y="3069481"/>
                </a:cubicBezTo>
                <a:close/>
                <a:moveTo>
                  <a:pt x="8932269" y="3073676"/>
                </a:moveTo>
                <a:cubicBezTo>
                  <a:pt x="8937063" y="3076073"/>
                  <a:pt x="8938861" y="3074875"/>
                  <a:pt x="8940659" y="3073077"/>
                </a:cubicBezTo>
                <a:cubicBezTo>
                  <a:pt x="8942457" y="3070680"/>
                  <a:pt x="8941258" y="3068882"/>
                  <a:pt x="8938262" y="3068283"/>
                </a:cubicBezTo>
                <a:cubicBezTo>
                  <a:pt x="8935864" y="3067683"/>
                  <a:pt x="8931670" y="3068283"/>
                  <a:pt x="8931670" y="3068283"/>
                </a:cubicBezTo>
                <a:cubicBezTo>
                  <a:pt x="8931670" y="3068283"/>
                  <a:pt x="8927475" y="3071279"/>
                  <a:pt x="8932269" y="3073676"/>
                </a:cubicBezTo>
                <a:close/>
                <a:moveTo>
                  <a:pt x="8905901" y="2977792"/>
                </a:moveTo>
                <a:cubicBezTo>
                  <a:pt x="8907100" y="2980789"/>
                  <a:pt x="8907100" y="2981987"/>
                  <a:pt x="8910096" y="2979590"/>
                </a:cubicBezTo>
                <a:cubicBezTo>
                  <a:pt x="8913092" y="2977193"/>
                  <a:pt x="8911294" y="2972998"/>
                  <a:pt x="8910695" y="2971200"/>
                </a:cubicBezTo>
                <a:cubicBezTo>
                  <a:pt x="8910096" y="2968803"/>
                  <a:pt x="8910695" y="2965807"/>
                  <a:pt x="8906500" y="2967005"/>
                </a:cubicBezTo>
                <a:cubicBezTo>
                  <a:pt x="8902305" y="2967605"/>
                  <a:pt x="8903504" y="2971800"/>
                  <a:pt x="8903504" y="2971800"/>
                </a:cubicBezTo>
                <a:cubicBezTo>
                  <a:pt x="8903504" y="2971800"/>
                  <a:pt x="8904702" y="2974796"/>
                  <a:pt x="8905901" y="2977792"/>
                </a:cubicBezTo>
                <a:close/>
                <a:moveTo>
                  <a:pt x="8889720" y="3081467"/>
                </a:moveTo>
                <a:cubicBezTo>
                  <a:pt x="8889720" y="3081467"/>
                  <a:pt x="8889121" y="3083864"/>
                  <a:pt x="8887323" y="3088658"/>
                </a:cubicBezTo>
                <a:cubicBezTo>
                  <a:pt x="8884926" y="3093452"/>
                  <a:pt x="8886724" y="3092254"/>
                  <a:pt x="8889121" y="3089857"/>
                </a:cubicBezTo>
                <a:cubicBezTo>
                  <a:pt x="8891519" y="3087459"/>
                  <a:pt x="8891519" y="3088658"/>
                  <a:pt x="8893316" y="3084463"/>
                </a:cubicBezTo>
                <a:cubicBezTo>
                  <a:pt x="8894515" y="3079669"/>
                  <a:pt x="8889720" y="3081467"/>
                  <a:pt x="8889720" y="3081467"/>
                </a:cubicBezTo>
                <a:close/>
                <a:moveTo>
                  <a:pt x="8901706" y="3073676"/>
                </a:moveTo>
                <a:cubicBezTo>
                  <a:pt x="8897511" y="3073676"/>
                  <a:pt x="8895713" y="3076673"/>
                  <a:pt x="8895713" y="3076673"/>
                </a:cubicBezTo>
                <a:cubicBezTo>
                  <a:pt x="8895713" y="3076673"/>
                  <a:pt x="8892118" y="3080868"/>
                  <a:pt x="8896911" y="3079070"/>
                </a:cubicBezTo>
                <a:cubicBezTo>
                  <a:pt x="8901706" y="3077272"/>
                  <a:pt x="8905301" y="3073676"/>
                  <a:pt x="8901706" y="3073676"/>
                </a:cubicBezTo>
                <a:close/>
                <a:moveTo>
                  <a:pt x="8907699" y="3059294"/>
                </a:moveTo>
                <a:cubicBezTo>
                  <a:pt x="8907699" y="3059294"/>
                  <a:pt x="8903504" y="3061691"/>
                  <a:pt x="8905301" y="3063489"/>
                </a:cubicBezTo>
                <a:cubicBezTo>
                  <a:pt x="8906500" y="3065886"/>
                  <a:pt x="8908897" y="3064088"/>
                  <a:pt x="8909497" y="3062290"/>
                </a:cubicBezTo>
                <a:cubicBezTo>
                  <a:pt x="8910096" y="3060492"/>
                  <a:pt x="8907699" y="3059294"/>
                  <a:pt x="8907699" y="3059294"/>
                </a:cubicBezTo>
                <a:close/>
                <a:moveTo>
                  <a:pt x="8667989" y="4312376"/>
                </a:moveTo>
                <a:lnTo>
                  <a:pt x="8666791" y="4318368"/>
                </a:lnTo>
                <a:cubicBezTo>
                  <a:pt x="8666791" y="4318368"/>
                  <a:pt x="8664394" y="4329155"/>
                  <a:pt x="8664993" y="4331552"/>
                </a:cubicBezTo>
                <a:cubicBezTo>
                  <a:pt x="8665592" y="4333949"/>
                  <a:pt x="8667390" y="4327357"/>
                  <a:pt x="8669787" y="4319567"/>
                </a:cubicBezTo>
                <a:cubicBezTo>
                  <a:pt x="8672184" y="4311776"/>
                  <a:pt x="8667989" y="4312376"/>
                  <a:pt x="8667989" y="4312376"/>
                </a:cubicBezTo>
                <a:close/>
                <a:moveTo>
                  <a:pt x="9277450" y="3420656"/>
                </a:moveTo>
                <a:cubicBezTo>
                  <a:pt x="9276851" y="3424851"/>
                  <a:pt x="9273256" y="3436836"/>
                  <a:pt x="9269660" y="3440432"/>
                </a:cubicBezTo>
                <a:cubicBezTo>
                  <a:pt x="9266065" y="3444627"/>
                  <a:pt x="9266664" y="3448822"/>
                  <a:pt x="9267263" y="3453616"/>
                </a:cubicBezTo>
                <a:cubicBezTo>
                  <a:pt x="9267862" y="3457811"/>
                  <a:pt x="9270859" y="3459009"/>
                  <a:pt x="9254079" y="3498562"/>
                </a:cubicBezTo>
                <a:cubicBezTo>
                  <a:pt x="9237299" y="3538113"/>
                  <a:pt x="9231307" y="3539911"/>
                  <a:pt x="9228909" y="3547702"/>
                </a:cubicBezTo>
                <a:cubicBezTo>
                  <a:pt x="9226512" y="3554893"/>
                  <a:pt x="9217523" y="3565680"/>
                  <a:pt x="9213328" y="3573471"/>
                </a:cubicBezTo>
                <a:cubicBezTo>
                  <a:pt x="9209134" y="3581860"/>
                  <a:pt x="9206137" y="3579464"/>
                  <a:pt x="9202541" y="3586055"/>
                </a:cubicBezTo>
                <a:cubicBezTo>
                  <a:pt x="9198347" y="3592648"/>
                  <a:pt x="9196548" y="3592648"/>
                  <a:pt x="9194152" y="3592648"/>
                </a:cubicBezTo>
                <a:cubicBezTo>
                  <a:pt x="9191755" y="3592648"/>
                  <a:pt x="9189957" y="3595044"/>
                  <a:pt x="9186361" y="3599839"/>
                </a:cubicBezTo>
                <a:cubicBezTo>
                  <a:pt x="9182166" y="3604034"/>
                  <a:pt x="9179769" y="3602236"/>
                  <a:pt x="9182166" y="3607030"/>
                </a:cubicBezTo>
                <a:cubicBezTo>
                  <a:pt x="9184563" y="3611824"/>
                  <a:pt x="9181567" y="3614820"/>
                  <a:pt x="9177971" y="3620214"/>
                </a:cubicBezTo>
                <a:cubicBezTo>
                  <a:pt x="9173776" y="3625608"/>
                  <a:pt x="9171379" y="3630402"/>
                  <a:pt x="9171379" y="3633997"/>
                </a:cubicBezTo>
                <a:cubicBezTo>
                  <a:pt x="9171379" y="3637593"/>
                  <a:pt x="9170181" y="3644185"/>
                  <a:pt x="9165386" y="3650777"/>
                </a:cubicBezTo>
                <a:cubicBezTo>
                  <a:pt x="9160592" y="3657369"/>
                  <a:pt x="9156997" y="3666358"/>
                  <a:pt x="9152802" y="3675347"/>
                </a:cubicBezTo>
                <a:cubicBezTo>
                  <a:pt x="9148607" y="3684336"/>
                  <a:pt x="9145610" y="3677744"/>
                  <a:pt x="9143214" y="3674149"/>
                </a:cubicBezTo>
                <a:cubicBezTo>
                  <a:pt x="9140816" y="3670553"/>
                  <a:pt x="9134225" y="3671152"/>
                  <a:pt x="9133026" y="3673550"/>
                </a:cubicBezTo>
                <a:cubicBezTo>
                  <a:pt x="9131827" y="3675946"/>
                  <a:pt x="9131228" y="3676546"/>
                  <a:pt x="9128232" y="3674748"/>
                </a:cubicBezTo>
                <a:cubicBezTo>
                  <a:pt x="9125235" y="3672950"/>
                  <a:pt x="9126434" y="3675347"/>
                  <a:pt x="9128232" y="3679542"/>
                </a:cubicBezTo>
                <a:cubicBezTo>
                  <a:pt x="9130029" y="3683737"/>
                  <a:pt x="9131827" y="3684936"/>
                  <a:pt x="9128831" y="3685535"/>
                </a:cubicBezTo>
                <a:cubicBezTo>
                  <a:pt x="9125835" y="3686134"/>
                  <a:pt x="9126434" y="3685535"/>
                  <a:pt x="9126434" y="3689131"/>
                </a:cubicBezTo>
                <a:cubicBezTo>
                  <a:pt x="9126434" y="3692726"/>
                  <a:pt x="9125835" y="3693326"/>
                  <a:pt x="9124036" y="3693326"/>
                </a:cubicBezTo>
                <a:cubicBezTo>
                  <a:pt x="9122239" y="3693925"/>
                  <a:pt x="9119842" y="3696322"/>
                  <a:pt x="9120441" y="3698719"/>
                </a:cubicBezTo>
                <a:cubicBezTo>
                  <a:pt x="9121040" y="3701116"/>
                  <a:pt x="9119243" y="3702914"/>
                  <a:pt x="9118044" y="3704712"/>
                </a:cubicBezTo>
                <a:cubicBezTo>
                  <a:pt x="9116845" y="3707109"/>
                  <a:pt x="9118643" y="3710105"/>
                  <a:pt x="9117445" y="3717896"/>
                </a:cubicBezTo>
                <a:cubicBezTo>
                  <a:pt x="9116246" y="3725087"/>
                  <a:pt x="9110853" y="3728083"/>
                  <a:pt x="9107257" y="3726286"/>
                </a:cubicBezTo>
                <a:cubicBezTo>
                  <a:pt x="9103661" y="3724488"/>
                  <a:pt x="9104860" y="3725686"/>
                  <a:pt x="9103661" y="3729282"/>
                </a:cubicBezTo>
                <a:cubicBezTo>
                  <a:pt x="9103062" y="3733477"/>
                  <a:pt x="9105459" y="3733477"/>
                  <a:pt x="9106058" y="3737672"/>
                </a:cubicBezTo>
                <a:cubicBezTo>
                  <a:pt x="9106657" y="3742466"/>
                  <a:pt x="9105459" y="3740069"/>
                  <a:pt x="9109055" y="3741267"/>
                </a:cubicBezTo>
                <a:cubicBezTo>
                  <a:pt x="9112650" y="3742466"/>
                  <a:pt x="9112051" y="3740668"/>
                  <a:pt x="9113250" y="3737072"/>
                </a:cubicBezTo>
                <a:cubicBezTo>
                  <a:pt x="9113849" y="3732878"/>
                  <a:pt x="9117445" y="3732878"/>
                  <a:pt x="9117445" y="3737072"/>
                </a:cubicBezTo>
                <a:cubicBezTo>
                  <a:pt x="9117445" y="3741267"/>
                  <a:pt x="9110254" y="3753253"/>
                  <a:pt x="9107856" y="3757448"/>
                </a:cubicBezTo>
                <a:cubicBezTo>
                  <a:pt x="9105459" y="3761643"/>
                  <a:pt x="9100665" y="3772430"/>
                  <a:pt x="9100665" y="3777224"/>
                </a:cubicBezTo>
                <a:cubicBezTo>
                  <a:pt x="9100665" y="3782018"/>
                  <a:pt x="9098867" y="3794004"/>
                  <a:pt x="9094073" y="3802993"/>
                </a:cubicBezTo>
                <a:cubicBezTo>
                  <a:pt x="9089279" y="3811383"/>
                  <a:pt x="9089878" y="3820372"/>
                  <a:pt x="9089878" y="3826364"/>
                </a:cubicBezTo>
                <a:cubicBezTo>
                  <a:pt x="9089878" y="3832357"/>
                  <a:pt x="9084485" y="3842545"/>
                  <a:pt x="9079690" y="3847339"/>
                </a:cubicBezTo>
                <a:cubicBezTo>
                  <a:pt x="9075495" y="3852133"/>
                  <a:pt x="9064708" y="3880898"/>
                  <a:pt x="9061113" y="3889288"/>
                </a:cubicBezTo>
                <a:cubicBezTo>
                  <a:pt x="9056918" y="3897678"/>
                  <a:pt x="9055719" y="3912061"/>
                  <a:pt x="9055719" y="3912061"/>
                </a:cubicBezTo>
                <a:cubicBezTo>
                  <a:pt x="9055719" y="3912061"/>
                  <a:pt x="9052124" y="3916855"/>
                  <a:pt x="9043734" y="3924046"/>
                </a:cubicBezTo>
                <a:cubicBezTo>
                  <a:pt x="9035344" y="3931237"/>
                  <a:pt x="9029352" y="3964197"/>
                  <a:pt x="9024557" y="3977981"/>
                </a:cubicBezTo>
                <a:cubicBezTo>
                  <a:pt x="9019763" y="3991764"/>
                  <a:pt x="9016766" y="3992363"/>
                  <a:pt x="9014969" y="3995359"/>
                </a:cubicBezTo>
                <a:cubicBezTo>
                  <a:pt x="9010774" y="4001952"/>
                  <a:pt x="9004781" y="4006746"/>
                  <a:pt x="8998788" y="4012739"/>
                </a:cubicBezTo>
                <a:cubicBezTo>
                  <a:pt x="8992795" y="4018132"/>
                  <a:pt x="8983806" y="4036110"/>
                  <a:pt x="8983207" y="4041504"/>
                </a:cubicBezTo>
                <a:cubicBezTo>
                  <a:pt x="8982608" y="4046897"/>
                  <a:pt x="8976016" y="4053489"/>
                  <a:pt x="8973020" y="4052890"/>
                </a:cubicBezTo>
                <a:cubicBezTo>
                  <a:pt x="8970622" y="4052290"/>
                  <a:pt x="8966428" y="4057085"/>
                  <a:pt x="8965229" y="4060680"/>
                </a:cubicBezTo>
                <a:cubicBezTo>
                  <a:pt x="8964031" y="4064875"/>
                  <a:pt x="8961034" y="4069070"/>
                  <a:pt x="8956839" y="4072666"/>
                </a:cubicBezTo>
                <a:cubicBezTo>
                  <a:pt x="8952644" y="4075662"/>
                  <a:pt x="8946652" y="4082854"/>
                  <a:pt x="8945453" y="4096637"/>
                </a:cubicBezTo>
                <a:cubicBezTo>
                  <a:pt x="8944853" y="4109821"/>
                  <a:pt x="8929272" y="4116413"/>
                  <a:pt x="8916089" y="4122406"/>
                </a:cubicBezTo>
                <a:cubicBezTo>
                  <a:pt x="8902904" y="4128998"/>
                  <a:pt x="8904702" y="4130796"/>
                  <a:pt x="8905901" y="4136788"/>
                </a:cubicBezTo>
                <a:cubicBezTo>
                  <a:pt x="8906500" y="4142781"/>
                  <a:pt x="8906500" y="4141582"/>
                  <a:pt x="8903504" y="4144579"/>
                </a:cubicBezTo>
                <a:cubicBezTo>
                  <a:pt x="8900508" y="4147575"/>
                  <a:pt x="8896312" y="4143980"/>
                  <a:pt x="8887922" y="4143980"/>
                </a:cubicBezTo>
                <a:cubicBezTo>
                  <a:pt x="8879533" y="4143380"/>
                  <a:pt x="8878334" y="4138586"/>
                  <a:pt x="8875937" y="4140384"/>
                </a:cubicBezTo>
                <a:cubicBezTo>
                  <a:pt x="8873540" y="4142781"/>
                  <a:pt x="8865750" y="4145777"/>
                  <a:pt x="8859158" y="4145777"/>
                </a:cubicBezTo>
                <a:cubicBezTo>
                  <a:pt x="8852566" y="4145178"/>
                  <a:pt x="8853764" y="4143380"/>
                  <a:pt x="8857360" y="4141582"/>
                </a:cubicBezTo>
                <a:cubicBezTo>
                  <a:pt x="8861555" y="4139785"/>
                  <a:pt x="8860955" y="4137387"/>
                  <a:pt x="8854962" y="4138586"/>
                </a:cubicBezTo>
                <a:cubicBezTo>
                  <a:pt x="8849569" y="4139185"/>
                  <a:pt x="8847771" y="4140983"/>
                  <a:pt x="8842977" y="4138586"/>
                </a:cubicBezTo>
                <a:cubicBezTo>
                  <a:pt x="8838183" y="4136189"/>
                  <a:pt x="8838183" y="4140384"/>
                  <a:pt x="8833988" y="4142781"/>
                </a:cubicBezTo>
                <a:cubicBezTo>
                  <a:pt x="8829793" y="4145178"/>
                  <a:pt x="8831591" y="4146976"/>
                  <a:pt x="8830991" y="4152969"/>
                </a:cubicBezTo>
                <a:cubicBezTo>
                  <a:pt x="8830392" y="4158962"/>
                  <a:pt x="8815410" y="4166152"/>
                  <a:pt x="8811216" y="4165553"/>
                </a:cubicBezTo>
                <a:cubicBezTo>
                  <a:pt x="8807020" y="4164954"/>
                  <a:pt x="8807020" y="4169748"/>
                  <a:pt x="8804024" y="4170947"/>
                </a:cubicBezTo>
                <a:cubicBezTo>
                  <a:pt x="8801028" y="4172145"/>
                  <a:pt x="8797432" y="4170347"/>
                  <a:pt x="8788443" y="4178737"/>
                </a:cubicBezTo>
                <a:cubicBezTo>
                  <a:pt x="8779454" y="4187127"/>
                  <a:pt x="8780653" y="4182333"/>
                  <a:pt x="8775259" y="4182932"/>
                </a:cubicBezTo>
                <a:cubicBezTo>
                  <a:pt x="8769866" y="4183532"/>
                  <a:pt x="8763274" y="4188326"/>
                  <a:pt x="8758479" y="4193120"/>
                </a:cubicBezTo>
                <a:cubicBezTo>
                  <a:pt x="8753686" y="4197914"/>
                  <a:pt x="8742299" y="4208701"/>
                  <a:pt x="8735707" y="4211698"/>
                </a:cubicBezTo>
                <a:cubicBezTo>
                  <a:pt x="8728516" y="4214694"/>
                  <a:pt x="8724321" y="4218889"/>
                  <a:pt x="8720726" y="4224882"/>
                </a:cubicBezTo>
                <a:cubicBezTo>
                  <a:pt x="8716530" y="4230275"/>
                  <a:pt x="8713534" y="4233271"/>
                  <a:pt x="8712935" y="4229676"/>
                </a:cubicBezTo>
                <a:cubicBezTo>
                  <a:pt x="8712336" y="4225481"/>
                  <a:pt x="8707541" y="4227279"/>
                  <a:pt x="8703946" y="4227279"/>
                </a:cubicBezTo>
                <a:cubicBezTo>
                  <a:pt x="8700350" y="4226680"/>
                  <a:pt x="8701548" y="4227279"/>
                  <a:pt x="8702147" y="4232672"/>
                </a:cubicBezTo>
                <a:cubicBezTo>
                  <a:pt x="8702747" y="4238065"/>
                  <a:pt x="8702147" y="4242260"/>
                  <a:pt x="8699151" y="4242860"/>
                </a:cubicBezTo>
                <a:cubicBezTo>
                  <a:pt x="8696155" y="4243459"/>
                  <a:pt x="8696755" y="4245257"/>
                  <a:pt x="8696755" y="4247654"/>
                </a:cubicBezTo>
                <a:cubicBezTo>
                  <a:pt x="8696155" y="4250051"/>
                  <a:pt x="8696755" y="4250650"/>
                  <a:pt x="8695556" y="4256044"/>
                </a:cubicBezTo>
                <a:cubicBezTo>
                  <a:pt x="8694357" y="4261437"/>
                  <a:pt x="8692559" y="4263235"/>
                  <a:pt x="8688365" y="4262036"/>
                </a:cubicBezTo>
                <a:cubicBezTo>
                  <a:pt x="8684169" y="4260838"/>
                  <a:pt x="8684169" y="4266231"/>
                  <a:pt x="8682971" y="4274022"/>
                </a:cubicBezTo>
                <a:cubicBezTo>
                  <a:pt x="8681773" y="4281813"/>
                  <a:pt x="8678176" y="4287806"/>
                  <a:pt x="8673982" y="4293199"/>
                </a:cubicBezTo>
                <a:cubicBezTo>
                  <a:pt x="8669787" y="4298592"/>
                  <a:pt x="8668588" y="4303387"/>
                  <a:pt x="8670386" y="4305184"/>
                </a:cubicBezTo>
                <a:cubicBezTo>
                  <a:pt x="8672184" y="4306383"/>
                  <a:pt x="8674581" y="4308780"/>
                  <a:pt x="8670985" y="4309379"/>
                </a:cubicBezTo>
                <a:cubicBezTo>
                  <a:pt x="8667390" y="4309978"/>
                  <a:pt x="8668588" y="4312975"/>
                  <a:pt x="8666791" y="4315372"/>
                </a:cubicBezTo>
                <a:cubicBezTo>
                  <a:pt x="8665592" y="4317769"/>
                  <a:pt x="8659599" y="4326159"/>
                  <a:pt x="8659000" y="4334549"/>
                </a:cubicBezTo>
                <a:cubicBezTo>
                  <a:pt x="8658401" y="4342938"/>
                  <a:pt x="8651809" y="4349531"/>
                  <a:pt x="8650011" y="4354924"/>
                </a:cubicBezTo>
                <a:cubicBezTo>
                  <a:pt x="8648213" y="4360318"/>
                  <a:pt x="8647015" y="4359119"/>
                  <a:pt x="8646415" y="4356722"/>
                </a:cubicBezTo>
                <a:cubicBezTo>
                  <a:pt x="8645816" y="4354325"/>
                  <a:pt x="8644018" y="4352527"/>
                  <a:pt x="8644018" y="4356722"/>
                </a:cubicBezTo>
                <a:cubicBezTo>
                  <a:pt x="8644617" y="4360917"/>
                  <a:pt x="8643419" y="4360318"/>
                  <a:pt x="8639824" y="4362115"/>
                </a:cubicBezTo>
                <a:cubicBezTo>
                  <a:pt x="8636227" y="4364513"/>
                  <a:pt x="8635628" y="4366310"/>
                  <a:pt x="8620646" y="4378296"/>
                </a:cubicBezTo>
                <a:cubicBezTo>
                  <a:pt x="8598473" y="4395675"/>
                  <a:pt x="8572105" y="4435826"/>
                  <a:pt x="8559521" y="4455003"/>
                </a:cubicBezTo>
                <a:cubicBezTo>
                  <a:pt x="8546936" y="4474180"/>
                  <a:pt x="8508582" y="4494555"/>
                  <a:pt x="8500792" y="4496353"/>
                </a:cubicBezTo>
                <a:cubicBezTo>
                  <a:pt x="8496597" y="4496952"/>
                  <a:pt x="8496597" y="4492158"/>
                  <a:pt x="8492402" y="4496353"/>
                </a:cubicBezTo>
                <a:cubicBezTo>
                  <a:pt x="8490005" y="4498750"/>
                  <a:pt x="8487009" y="4502945"/>
                  <a:pt x="8487009" y="4502945"/>
                </a:cubicBezTo>
                <a:cubicBezTo>
                  <a:pt x="8484012" y="4506541"/>
                  <a:pt x="8478619" y="4512533"/>
                  <a:pt x="8473225" y="4523919"/>
                </a:cubicBezTo>
                <a:cubicBezTo>
                  <a:pt x="8467831" y="4535905"/>
                  <a:pt x="8452850" y="4549688"/>
                  <a:pt x="8446857" y="4552085"/>
                </a:cubicBezTo>
                <a:cubicBezTo>
                  <a:pt x="8443861" y="4553284"/>
                  <a:pt x="8439067" y="4555681"/>
                  <a:pt x="8434871" y="4558677"/>
                </a:cubicBezTo>
                <a:cubicBezTo>
                  <a:pt x="8434871" y="4558677"/>
                  <a:pt x="8434871" y="4558677"/>
                  <a:pt x="8434871" y="4558078"/>
                </a:cubicBezTo>
                <a:cubicBezTo>
                  <a:pt x="8434871" y="4558677"/>
                  <a:pt x="8434871" y="4558677"/>
                  <a:pt x="8435471" y="4559277"/>
                </a:cubicBezTo>
                <a:cubicBezTo>
                  <a:pt x="8430677" y="4562273"/>
                  <a:pt x="8426481" y="4565868"/>
                  <a:pt x="8423485" y="4569464"/>
                </a:cubicBezTo>
                <a:cubicBezTo>
                  <a:pt x="8418092" y="4576655"/>
                  <a:pt x="8414496" y="4582648"/>
                  <a:pt x="8408503" y="4583248"/>
                </a:cubicBezTo>
                <a:cubicBezTo>
                  <a:pt x="8402510" y="4583847"/>
                  <a:pt x="8401911" y="4586244"/>
                  <a:pt x="8392323" y="4593435"/>
                </a:cubicBezTo>
                <a:cubicBezTo>
                  <a:pt x="8382735" y="4600626"/>
                  <a:pt x="8375543" y="4598828"/>
                  <a:pt x="8373147" y="4597031"/>
                </a:cubicBezTo>
                <a:cubicBezTo>
                  <a:pt x="8370750" y="4594633"/>
                  <a:pt x="8371349" y="4594034"/>
                  <a:pt x="8362360" y="4593435"/>
                </a:cubicBezTo>
                <a:cubicBezTo>
                  <a:pt x="8353371" y="4592836"/>
                  <a:pt x="8341385" y="4580251"/>
                  <a:pt x="8338988" y="4575457"/>
                </a:cubicBezTo>
                <a:cubicBezTo>
                  <a:pt x="8336591" y="4571262"/>
                  <a:pt x="8329400" y="4570063"/>
                  <a:pt x="8322808" y="4567067"/>
                </a:cubicBezTo>
                <a:cubicBezTo>
                  <a:pt x="8316216" y="4564071"/>
                  <a:pt x="8317414" y="4557479"/>
                  <a:pt x="8316216" y="4552085"/>
                </a:cubicBezTo>
                <a:cubicBezTo>
                  <a:pt x="8315616" y="4546692"/>
                  <a:pt x="8315616" y="4542497"/>
                  <a:pt x="8318013" y="4540100"/>
                </a:cubicBezTo>
                <a:cubicBezTo>
                  <a:pt x="8320411" y="4537702"/>
                  <a:pt x="8324605" y="4528713"/>
                  <a:pt x="8325804" y="4525118"/>
                </a:cubicBezTo>
                <a:cubicBezTo>
                  <a:pt x="8327002" y="4520923"/>
                  <a:pt x="8330598" y="4514930"/>
                  <a:pt x="8327601" y="4514930"/>
                </a:cubicBezTo>
                <a:cubicBezTo>
                  <a:pt x="8324605" y="4515530"/>
                  <a:pt x="8322209" y="4522121"/>
                  <a:pt x="8321609" y="4526316"/>
                </a:cubicBezTo>
                <a:cubicBezTo>
                  <a:pt x="8321010" y="4530511"/>
                  <a:pt x="8316815" y="4537702"/>
                  <a:pt x="8313819" y="4539501"/>
                </a:cubicBezTo>
                <a:cubicBezTo>
                  <a:pt x="8310822" y="4541298"/>
                  <a:pt x="8310822" y="4543695"/>
                  <a:pt x="8309623" y="4547890"/>
                </a:cubicBezTo>
                <a:cubicBezTo>
                  <a:pt x="8309024" y="4552684"/>
                  <a:pt x="8306627" y="4556280"/>
                  <a:pt x="8304230" y="4562872"/>
                </a:cubicBezTo>
                <a:cubicBezTo>
                  <a:pt x="8301833" y="4569464"/>
                  <a:pt x="8307826" y="4585644"/>
                  <a:pt x="8312620" y="4590439"/>
                </a:cubicBezTo>
                <a:cubicBezTo>
                  <a:pt x="8317414" y="4595233"/>
                  <a:pt x="8317414" y="4600626"/>
                  <a:pt x="8316216" y="4602424"/>
                </a:cubicBezTo>
                <a:cubicBezTo>
                  <a:pt x="8315017" y="4604222"/>
                  <a:pt x="8311421" y="4610215"/>
                  <a:pt x="8304830" y="4616807"/>
                </a:cubicBezTo>
                <a:cubicBezTo>
                  <a:pt x="8297638" y="4623399"/>
                  <a:pt x="8297638" y="4625197"/>
                  <a:pt x="8296440" y="4629392"/>
                </a:cubicBezTo>
                <a:cubicBezTo>
                  <a:pt x="8295840" y="4633586"/>
                  <a:pt x="8297039" y="4643774"/>
                  <a:pt x="8302432" y="4645572"/>
                </a:cubicBezTo>
                <a:cubicBezTo>
                  <a:pt x="8307826" y="4647370"/>
                  <a:pt x="8307826" y="4649168"/>
                  <a:pt x="8306028" y="4651565"/>
                </a:cubicBezTo>
                <a:cubicBezTo>
                  <a:pt x="8303631" y="4653962"/>
                  <a:pt x="8305429" y="4653363"/>
                  <a:pt x="8303631" y="4659355"/>
                </a:cubicBezTo>
                <a:cubicBezTo>
                  <a:pt x="8301833" y="4665348"/>
                  <a:pt x="8295241" y="4672539"/>
                  <a:pt x="8290447" y="4677334"/>
                </a:cubicBezTo>
                <a:cubicBezTo>
                  <a:pt x="8285652" y="4681528"/>
                  <a:pt x="8270670" y="4693514"/>
                  <a:pt x="8265877" y="4698308"/>
                </a:cubicBezTo>
                <a:cubicBezTo>
                  <a:pt x="8261082" y="4703701"/>
                  <a:pt x="8256888" y="4705499"/>
                  <a:pt x="8249097" y="4713290"/>
                </a:cubicBezTo>
                <a:cubicBezTo>
                  <a:pt x="8241906" y="4721081"/>
                  <a:pt x="8225126" y="4726474"/>
                  <a:pt x="8218534" y="4727073"/>
                </a:cubicBezTo>
                <a:cubicBezTo>
                  <a:pt x="8211942" y="4727672"/>
                  <a:pt x="8199357" y="4732467"/>
                  <a:pt x="8188570" y="4731867"/>
                </a:cubicBezTo>
                <a:cubicBezTo>
                  <a:pt x="8177783" y="4731268"/>
                  <a:pt x="8171191" y="4730070"/>
                  <a:pt x="8158007" y="4731867"/>
                </a:cubicBezTo>
                <a:cubicBezTo>
                  <a:pt x="8144823" y="4733665"/>
                  <a:pt x="8142426" y="4731268"/>
                  <a:pt x="8138231" y="4726474"/>
                </a:cubicBezTo>
                <a:cubicBezTo>
                  <a:pt x="8134036" y="4722279"/>
                  <a:pt x="8131639" y="4719882"/>
                  <a:pt x="8126246" y="4724077"/>
                </a:cubicBezTo>
                <a:cubicBezTo>
                  <a:pt x="8120852" y="4728272"/>
                  <a:pt x="8122051" y="4731268"/>
                  <a:pt x="8123848" y="4736661"/>
                </a:cubicBezTo>
                <a:cubicBezTo>
                  <a:pt x="8125646" y="4742055"/>
                  <a:pt x="8111863" y="4754640"/>
                  <a:pt x="8108267" y="4754041"/>
                </a:cubicBezTo>
                <a:cubicBezTo>
                  <a:pt x="8104073" y="4753441"/>
                  <a:pt x="8100477" y="4769022"/>
                  <a:pt x="8096881" y="4773817"/>
                </a:cubicBezTo>
                <a:cubicBezTo>
                  <a:pt x="8093286" y="4778611"/>
                  <a:pt x="8091488" y="4781008"/>
                  <a:pt x="8092686" y="4784004"/>
                </a:cubicBezTo>
                <a:cubicBezTo>
                  <a:pt x="8094485" y="4787600"/>
                  <a:pt x="8093286" y="4788199"/>
                  <a:pt x="8090289" y="4791795"/>
                </a:cubicBezTo>
                <a:cubicBezTo>
                  <a:pt x="8087293" y="4795990"/>
                  <a:pt x="8084896" y="4797188"/>
                  <a:pt x="8066318" y="4796589"/>
                </a:cubicBezTo>
                <a:cubicBezTo>
                  <a:pt x="8048340" y="4795990"/>
                  <a:pt x="8046543" y="4789398"/>
                  <a:pt x="8038752" y="4785802"/>
                </a:cubicBezTo>
                <a:cubicBezTo>
                  <a:pt x="8030961" y="4782207"/>
                  <a:pt x="8025568" y="4783405"/>
                  <a:pt x="8030362" y="4782207"/>
                </a:cubicBezTo>
                <a:cubicBezTo>
                  <a:pt x="8035156" y="4781607"/>
                  <a:pt x="8032759" y="4778012"/>
                  <a:pt x="8024968" y="4781008"/>
                </a:cubicBezTo>
                <a:cubicBezTo>
                  <a:pt x="8017178" y="4784004"/>
                  <a:pt x="8017777" y="4794791"/>
                  <a:pt x="8015979" y="4799585"/>
                </a:cubicBezTo>
                <a:cubicBezTo>
                  <a:pt x="8014182" y="4804379"/>
                  <a:pt x="8009986" y="4815766"/>
                  <a:pt x="8005792" y="4821159"/>
                </a:cubicBezTo>
                <a:cubicBezTo>
                  <a:pt x="8001597" y="4826553"/>
                  <a:pt x="8001597" y="4831347"/>
                  <a:pt x="8005193" y="4833744"/>
                </a:cubicBezTo>
                <a:cubicBezTo>
                  <a:pt x="8008788" y="4836141"/>
                  <a:pt x="8011784" y="4834343"/>
                  <a:pt x="8009986" y="4841534"/>
                </a:cubicBezTo>
                <a:cubicBezTo>
                  <a:pt x="8008189" y="4848726"/>
                  <a:pt x="8009387" y="4846928"/>
                  <a:pt x="8014182" y="4844531"/>
                </a:cubicBezTo>
                <a:cubicBezTo>
                  <a:pt x="8018376" y="4842134"/>
                  <a:pt x="8016579" y="4840935"/>
                  <a:pt x="8016579" y="4836740"/>
                </a:cubicBezTo>
                <a:cubicBezTo>
                  <a:pt x="8016579" y="4832545"/>
                  <a:pt x="8017777" y="4834343"/>
                  <a:pt x="8023171" y="4833744"/>
                </a:cubicBezTo>
                <a:cubicBezTo>
                  <a:pt x="8028564" y="4833145"/>
                  <a:pt x="8028564" y="4833145"/>
                  <a:pt x="8029763" y="4836141"/>
                </a:cubicBezTo>
                <a:cubicBezTo>
                  <a:pt x="8030362" y="4839138"/>
                  <a:pt x="8029164" y="4843332"/>
                  <a:pt x="8026167" y="4845729"/>
                </a:cubicBezTo>
                <a:cubicBezTo>
                  <a:pt x="8023770" y="4848127"/>
                  <a:pt x="8022572" y="4855318"/>
                  <a:pt x="8018376" y="4860112"/>
                </a:cubicBezTo>
                <a:cubicBezTo>
                  <a:pt x="8014182" y="4864906"/>
                  <a:pt x="8005193" y="4860112"/>
                  <a:pt x="8003394" y="4854719"/>
                </a:cubicBezTo>
                <a:cubicBezTo>
                  <a:pt x="8002196" y="4849325"/>
                  <a:pt x="7998601" y="4846928"/>
                  <a:pt x="7993806" y="4849924"/>
                </a:cubicBezTo>
                <a:cubicBezTo>
                  <a:pt x="7989012" y="4852921"/>
                  <a:pt x="7990810" y="4855917"/>
                  <a:pt x="7996203" y="4861310"/>
                </a:cubicBezTo>
                <a:cubicBezTo>
                  <a:pt x="8001597" y="4866704"/>
                  <a:pt x="7993207" y="4867903"/>
                  <a:pt x="7987214" y="4868502"/>
                </a:cubicBezTo>
                <a:cubicBezTo>
                  <a:pt x="7972832" y="4870300"/>
                  <a:pt x="7959048" y="4884682"/>
                  <a:pt x="7957251" y="4889476"/>
                </a:cubicBezTo>
                <a:cubicBezTo>
                  <a:pt x="7955453" y="4894870"/>
                  <a:pt x="7953655" y="4901462"/>
                  <a:pt x="7951258" y="4903859"/>
                </a:cubicBezTo>
                <a:cubicBezTo>
                  <a:pt x="7948861" y="4906256"/>
                  <a:pt x="7947662" y="4908054"/>
                  <a:pt x="7947063" y="4911050"/>
                </a:cubicBezTo>
                <a:cubicBezTo>
                  <a:pt x="7946463" y="4913447"/>
                  <a:pt x="7944666" y="4914646"/>
                  <a:pt x="7943467" y="4918241"/>
                </a:cubicBezTo>
                <a:cubicBezTo>
                  <a:pt x="7942269" y="4921837"/>
                  <a:pt x="7941670" y="4920639"/>
                  <a:pt x="7937474" y="4920639"/>
                </a:cubicBezTo>
                <a:cubicBezTo>
                  <a:pt x="7933280" y="4921238"/>
                  <a:pt x="7932681" y="4923036"/>
                  <a:pt x="7932081" y="4926631"/>
                </a:cubicBezTo>
                <a:cubicBezTo>
                  <a:pt x="7931482" y="4930227"/>
                  <a:pt x="7929684" y="4932025"/>
                  <a:pt x="7920695" y="4930826"/>
                </a:cubicBezTo>
                <a:cubicBezTo>
                  <a:pt x="7911706" y="4929628"/>
                  <a:pt x="7908710" y="4931426"/>
                  <a:pt x="7908110" y="4935021"/>
                </a:cubicBezTo>
                <a:cubicBezTo>
                  <a:pt x="7907511" y="4938617"/>
                  <a:pt x="7902717" y="4940415"/>
                  <a:pt x="7899121" y="4936819"/>
                </a:cubicBezTo>
                <a:cubicBezTo>
                  <a:pt x="7895525" y="4932624"/>
                  <a:pt x="7874551" y="4948805"/>
                  <a:pt x="7859569" y="4966183"/>
                </a:cubicBezTo>
                <a:cubicBezTo>
                  <a:pt x="7844587" y="4984162"/>
                  <a:pt x="7853576" y="4987158"/>
                  <a:pt x="7854775" y="4994949"/>
                </a:cubicBezTo>
                <a:cubicBezTo>
                  <a:pt x="7855973" y="5002739"/>
                  <a:pt x="7855973" y="5002140"/>
                  <a:pt x="7857771" y="5002739"/>
                </a:cubicBezTo>
                <a:cubicBezTo>
                  <a:pt x="7859569" y="5003338"/>
                  <a:pt x="7860168" y="5004537"/>
                  <a:pt x="7865561" y="5006335"/>
                </a:cubicBezTo>
                <a:cubicBezTo>
                  <a:pt x="7870955" y="5008133"/>
                  <a:pt x="7873951" y="5014725"/>
                  <a:pt x="7869757" y="5016523"/>
                </a:cubicBezTo>
                <a:cubicBezTo>
                  <a:pt x="7865561" y="5018320"/>
                  <a:pt x="7863764" y="5031504"/>
                  <a:pt x="7855374" y="5032703"/>
                </a:cubicBezTo>
                <a:cubicBezTo>
                  <a:pt x="7846984" y="5033902"/>
                  <a:pt x="7851179" y="5035100"/>
                  <a:pt x="7852977" y="5036898"/>
                </a:cubicBezTo>
                <a:cubicBezTo>
                  <a:pt x="7855374" y="5038096"/>
                  <a:pt x="7855374" y="5039894"/>
                  <a:pt x="7851779" y="5041093"/>
                </a:cubicBezTo>
                <a:cubicBezTo>
                  <a:pt x="7847583" y="5042291"/>
                  <a:pt x="7849381" y="5044089"/>
                  <a:pt x="7846385" y="5044688"/>
                </a:cubicBezTo>
                <a:cubicBezTo>
                  <a:pt x="7843389" y="5045288"/>
                  <a:pt x="7843988" y="5045288"/>
                  <a:pt x="7840392" y="5047685"/>
                </a:cubicBezTo>
                <a:cubicBezTo>
                  <a:pt x="7836797" y="5050082"/>
                  <a:pt x="7834999" y="5050681"/>
                  <a:pt x="7832601" y="5051280"/>
                </a:cubicBezTo>
                <a:cubicBezTo>
                  <a:pt x="7830204" y="5051880"/>
                  <a:pt x="7817620" y="5056074"/>
                  <a:pt x="7814623" y="5056674"/>
                </a:cubicBezTo>
                <a:cubicBezTo>
                  <a:pt x="7811028" y="5057273"/>
                  <a:pt x="7804436" y="5062067"/>
                  <a:pt x="7801439" y="5063266"/>
                </a:cubicBezTo>
                <a:cubicBezTo>
                  <a:pt x="7798443" y="5063865"/>
                  <a:pt x="7794248" y="5067461"/>
                  <a:pt x="7788255" y="5070457"/>
                </a:cubicBezTo>
                <a:cubicBezTo>
                  <a:pt x="7782862" y="5073454"/>
                  <a:pt x="7778068" y="5077649"/>
                  <a:pt x="7783461" y="5077649"/>
                </a:cubicBezTo>
                <a:cubicBezTo>
                  <a:pt x="7788855" y="5077049"/>
                  <a:pt x="7784659" y="5081244"/>
                  <a:pt x="7784659" y="5081244"/>
                </a:cubicBezTo>
                <a:cubicBezTo>
                  <a:pt x="7784659" y="5081244"/>
                  <a:pt x="7776269" y="5087836"/>
                  <a:pt x="7768479" y="5094428"/>
                </a:cubicBezTo>
                <a:cubicBezTo>
                  <a:pt x="7760689" y="5101619"/>
                  <a:pt x="7753498" y="5100421"/>
                  <a:pt x="7748703" y="5096226"/>
                </a:cubicBezTo>
                <a:cubicBezTo>
                  <a:pt x="7743909" y="5092031"/>
                  <a:pt x="7745108" y="5096825"/>
                  <a:pt x="7745108" y="5099822"/>
                </a:cubicBezTo>
                <a:cubicBezTo>
                  <a:pt x="7745108" y="5102818"/>
                  <a:pt x="7742710" y="5107013"/>
                  <a:pt x="7734320" y="5109410"/>
                </a:cubicBezTo>
                <a:cubicBezTo>
                  <a:pt x="7725931" y="5111807"/>
                  <a:pt x="7721137" y="5117800"/>
                  <a:pt x="7718140" y="5121395"/>
                </a:cubicBezTo>
                <a:cubicBezTo>
                  <a:pt x="7715144" y="5124991"/>
                  <a:pt x="7712747" y="5127388"/>
                  <a:pt x="7707353" y="5127987"/>
                </a:cubicBezTo>
                <a:cubicBezTo>
                  <a:pt x="7701960" y="5128587"/>
                  <a:pt x="7703757" y="5132182"/>
                  <a:pt x="7706754" y="5132182"/>
                </a:cubicBezTo>
                <a:cubicBezTo>
                  <a:pt x="7709151" y="5132182"/>
                  <a:pt x="7708552" y="5135179"/>
                  <a:pt x="7708552" y="5135179"/>
                </a:cubicBezTo>
                <a:cubicBezTo>
                  <a:pt x="7708552" y="5135179"/>
                  <a:pt x="7707953" y="5137576"/>
                  <a:pt x="7705556" y="5144168"/>
                </a:cubicBezTo>
                <a:cubicBezTo>
                  <a:pt x="7703158" y="5151359"/>
                  <a:pt x="7703158" y="5150760"/>
                  <a:pt x="7699563" y="5150760"/>
                </a:cubicBezTo>
                <a:cubicBezTo>
                  <a:pt x="7695967" y="5150760"/>
                  <a:pt x="7683382" y="5151359"/>
                  <a:pt x="7683382" y="5151359"/>
                </a:cubicBezTo>
                <a:cubicBezTo>
                  <a:pt x="7683382" y="5151359"/>
                  <a:pt x="7686378" y="5152558"/>
                  <a:pt x="7691772" y="5154356"/>
                </a:cubicBezTo>
                <a:cubicBezTo>
                  <a:pt x="7697166" y="5156153"/>
                  <a:pt x="7697166" y="5159749"/>
                  <a:pt x="7695368" y="5163345"/>
                </a:cubicBezTo>
                <a:cubicBezTo>
                  <a:pt x="7693570" y="5166940"/>
                  <a:pt x="7693570" y="5171135"/>
                  <a:pt x="7695368" y="5175330"/>
                </a:cubicBezTo>
                <a:cubicBezTo>
                  <a:pt x="7697166" y="5178326"/>
                  <a:pt x="7697166" y="5180724"/>
                  <a:pt x="7695368" y="5181922"/>
                </a:cubicBezTo>
                <a:cubicBezTo>
                  <a:pt x="7695368" y="5181922"/>
                  <a:pt x="7694768" y="5181323"/>
                  <a:pt x="7694768" y="5180724"/>
                </a:cubicBezTo>
                <a:cubicBezTo>
                  <a:pt x="7694768" y="5181323"/>
                  <a:pt x="7694768" y="5181922"/>
                  <a:pt x="7694768" y="5181922"/>
                </a:cubicBezTo>
                <a:cubicBezTo>
                  <a:pt x="7695368" y="5181922"/>
                  <a:pt x="7695368" y="5181922"/>
                  <a:pt x="7695967" y="5181323"/>
                </a:cubicBezTo>
                <a:cubicBezTo>
                  <a:pt x="7695967" y="5181922"/>
                  <a:pt x="7696566" y="5181922"/>
                  <a:pt x="7696566" y="5181922"/>
                </a:cubicBezTo>
                <a:lnTo>
                  <a:pt x="7694768" y="5181922"/>
                </a:lnTo>
                <a:cubicBezTo>
                  <a:pt x="7694169" y="5182521"/>
                  <a:pt x="7693570" y="5181922"/>
                  <a:pt x="7693570" y="5181922"/>
                </a:cubicBezTo>
                <a:cubicBezTo>
                  <a:pt x="7688776" y="5182521"/>
                  <a:pt x="7688776" y="5182521"/>
                  <a:pt x="7685779" y="5177727"/>
                </a:cubicBezTo>
                <a:cubicBezTo>
                  <a:pt x="7682783" y="5172933"/>
                  <a:pt x="7678588" y="5172334"/>
                  <a:pt x="7673794" y="5175929"/>
                </a:cubicBezTo>
                <a:cubicBezTo>
                  <a:pt x="7669599" y="5179525"/>
                  <a:pt x="7669599" y="5178926"/>
                  <a:pt x="7664805" y="5178926"/>
                </a:cubicBezTo>
                <a:cubicBezTo>
                  <a:pt x="7660011" y="5178926"/>
                  <a:pt x="7657614" y="5180124"/>
                  <a:pt x="7654018" y="5178326"/>
                </a:cubicBezTo>
                <a:cubicBezTo>
                  <a:pt x="7649823" y="5176529"/>
                  <a:pt x="7647426" y="5181922"/>
                  <a:pt x="7643830" y="5178926"/>
                </a:cubicBezTo>
                <a:cubicBezTo>
                  <a:pt x="7639635" y="5175929"/>
                  <a:pt x="7633643" y="5184918"/>
                  <a:pt x="7630646" y="5187915"/>
                </a:cubicBezTo>
                <a:cubicBezTo>
                  <a:pt x="7627051" y="5190911"/>
                  <a:pt x="7618062" y="5204695"/>
                  <a:pt x="7612668" y="5213684"/>
                </a:cubicBezTo>
                <a:cubicBezTo>
                  <a:pt x="7607275" y="5223272"/>
                  <a:pt x="7599484" y="5222073"/>
                  <a:pt x="7589296" y="5219077"/>
                </a:cubicBezTo>
                <a:cubicBezTo>
                  <a:pt x="7579109" y="5216680"/>
                  <a:pt x="7583903" y="5211287"/>
                  <a:pt x="7585102" y="5202897"/>
                </a:cubicBezTo>
                <a:cubicBezTo>
                  <a:pt x="7586899" y="5194507"/>
                  <a:pt x="7592293" y="5195706"/>
                  <a:pt x="7590495" y="5202297"/>
                </a:cubicBezTo>
                <a:cubicBezTo>
                  <a:pt x="7589296" y="5208290"/>
                  <a:pt x="7591694" y="5205893"/>
                  <a:pt x="7593491" y="5201698"/>
                </a:cubicBezTo>
                <a:cubicBezTo>
                  <a:pt x="7595289" y="5197503"/>
                  <a:pt x="7596487" y="5195706"/>
                  <a:pt x="7597686" y="5197503"/>
                </a:cubicBezTo>
                <a:cubicBezTo>
                  <a:pt x="7598885" y="5199900"/>
                  <a:pt x="7598285" y="5201698"/>
                  <a:pt x="7594690" y="5205294"/>
                </a:cubicBezTo>
                <a:cubicBezTo>
                  <a:pt x="7591094" y="5208889"/>
                  <a:pt x="7589296" y="5210687"/>
                  <a:pt x="7594091" y="5211886"/>
                </a:cubicBezTo>
                <a:cubicBezTo>
                  <a:pt x="7598885" y="5213084"/>
                  <a:pt x="7600683" y="5203496"/>
                  <a:pt x="7602480" y="5198702"/>
                </a:cubicBezTo>
                <a:cubicBezTo>
                  <a:pt x="7604278" y="5194507"/>
                  <a:pt x="7606675" y="5194507"/>
                  <a:pt x="7613267" y="5192709"/>
                </a:cubicBezTo>
                <a:cubicBezTo>
                  <a:pt x="7619859" y="5190312"/>
                  <a:pt x="7618661" y="5186716"/>
                  <a:pt x="7621657" y="5180724"/>
                </a:cubicBezTo>
                <a:cubicBezTo>
                  <a:pt x="7625253" y="5175330"/>
                  <a:pt x="7625253" y="5172933"/>
                  <a:pt x="7621657" y="5171735"/>
                </a:cubicBezTo>
                <a:cubicBezTo>
                  <a:pt x="7618062" y="5170536"/>
                  <a:pt x="7615665" y="5168139"/>
                  <a:pt x="7611469" y="5169936"/>
                </a:cubicBezTo>
                <a:cubicBezTo>
                  <a:pt x="7607275" y="5171735"/>
                  <a:pt x="7606675" y="5170536"/>
                  <a:pt x="7603080" y="5169337"/>
                </a:cubicBezTo>
                <a:cubicBezTo>
                  <a:pt x="7598885" y="5168738"/>
                  <a:pt x="7598285" y="5168139"/>
                  <a:pt x="7592892" y="5168738"/>
                </a:cubicBezTo>
                <a:cubicBezTo>
                  <a:pt x="7587498" y="5169337"/>
                  <a:pt x="7592293" y="5174731"/>
                  <a:pt x="7592293" y="5174731"/>
                </a:cubicBezTo>
                <a:cubicBezTo>
                  <a:pt x="7592293" y="5174731"/>
                  <a:pt x="7591094" y="5175330"/>
                  <a:pt x="7586300" y="5181922"/>
                </a:cubicBezTo>
                <a:cubicBezTo>
                  <a:pt x="7581505" y="5187915"/>
                  <a:pt x="7580307" y="5184319"/>
                  <a:pt x="7576712" y="5184918"/>
                </a:cubicBezTo>
                <a:cubicBezTo>
                  <a:pt x="7573116" y="5185518"/>
                  <a:pt x="7573715" y="5182521"/>
                  <a:pt x="7577311" y="5179525"/>
                </a:cubicBezTo>
                <a:cubicBezTo>
                  <a:pt x="7581505" y="5175929"/>
                  <a:pt x="7582704" y="5172334"/>
                  <a:pt x="7582704" y="5169337"/>
                </a:cubicBezTo>
                <a:cubicBezTo>
                  <a:pt x="7583304" y="5166940"/>
                  <a:pt x="7583903" y="5166341"/>
                  <a:pt x="7588098" y="5162745"/>
                </a:cubicBezTo>
                <a:cubicBezTo>
                  <a:pt x="7592293" y="5159150"/>
                  <a:pt x="7591094" y="5157352"/>
                  <a:pt x="7590495" y="5151359"/>
                </a:cubicBezTo>
                <a:cubicBezTo>
                  <a:pt x="7589895" y="5145366"/>
                  <a:pt x="7594690" y="5148962"/>
                  <a:pt x="7594690" y="5152558"/>
                </a:cubicBezTo>
                <a:cubicBezTo>
                  <a:pt x="7594690" y="5156153"/>
                  <a:pt x="7597087" y="5155554"/>
                  <a:pt x="7597087" y="5155554"/>
                </a:cubicBezTo>
                <a:cubicBezTo>
                  <a:pt x="7597087" y="5155554"/>
                  <a:pt x="7600683" y="5153157"/>
                  <a:pt x="7604877" y="5152558"/>
                </a:cubicBezTo>
                <a:cubicBezTo>
                  <a:pt x="7609073" y="5151958"/>
                  <a:pt x="7609672" y="5156753"/>
                  <a:pt x="7610271" y="5153756"/>
                </a:cubicBezTo>
                <a:cubicBezTo>
                  <a:pt x="7610870" y="5151359"/>
                  <a:pt x="7610870" y="5148962"/>
                  <a:pt x="7613866" y="5151359"/>
                </a:cubicBezTo>
                <a:cubicBezTo>
                  <a:pt x="7616863" y="5153756"/>
                  <a:pt x="7613267" y="5155554"/>
                  <a:pt x="7609672" y="5161547"/>
                </a:cubicBezTo>
                <a:cubicBezTo>
                  <a:pt x="7606076" y="5166940"/>
                  <a:pt x="7611469" y="5163944"/>
                  <a:pt x="7613866" y="5162745"/>
                </a:cubicBezTo>
                <a:cubicBezTo>
                  <a:pt x="7616264" y="5162146"/>
                  <a:pt x="7621058" y="5158551"/>
                  <a:pt x="7620458" y="5156153"/>
                </a:cubicBezTo>
                <a:cubicBezTo>
                  <a:pt x="7619859" y="5153756"/>
                  <a:pt x="7619859" y="5151958"/>
                  <a:pt x="7622856" y="5146565"/>
                </a:cubicBezTo>
                <a:cubicBezTo>
                  <a:pt x="7625852" y="5141171"/>
                  <a:pt x="7628249" y="5132782"/>
                  <a:pt x="7625253" y="5129186"/>
                </a:cubicBezTo>
                <a:cubicBezTo>
                  <a:pt x="7621657" y="5125590"/>
                  <a:pt x="7618661" y="5126190"/>
                  <a:pt x="7619859" y="5128587"/>
                </a:cubicBezTo>
                <a:cubicBezTo>
                  <a:pt x="7621058" y="5130984"/>
                  <a:pt x="7620458" y="5131583"/>
                  <a:pt x="7615665" y="5133980"/>
                </a:cubicBezTo>
                <a:cubicBezTo>
                  <a:pt x="7610271" y="5136377"/>
                  <a:pt x="7612069" y="5134580"/>
                  <a:pt x="7612668" y="5138175"/>
                </a:cubicBezTo>
                <a:cubicBezTo>
                  <a:pt x="7613267" y="5141771"/>
                  <a:pt x="7610870" y="5143569"/>
                  <a:pt x="7607874" y="5145366"/>
                </a:cubicBezTo>
                <a:cubicBezTo>
                  <a:pt x="7604877" y="5147164"/>
                  <a:pt x="7605476" y="5144168"/>
                  <a:pt x="7607275" y="5139973"/>
                </a:cubicBezTo>
                <a:cubicBezTo>
                  <a:pt x="7609672" y="5135778"/>
                  <a:pt x="7607874" y="5136976"/>
                  <a:pt x="7604877" y="5138175"/>
                </a:cubicBezTo>
                <a:cubicBezTo>
                  <a:pt x="7601881" y="5139374"/>
                  <a:pt x="7601881" y="5145966"/>
                  <a:pt x="7598885" y="5149561"/>
                </a:cubicBezTo>
                <a:cubicBezTo>
                  <a:pt x="7595888" y="5153157"/>
                  <a:pt x="7596487" y="5145966"/>
                  <a:pt x="7598885" y="5142969"/>
                </a:cubicBezTo>
                <a:cubicBezTo>
                  <a:pt x="7601282" y="5139973"/>
                  <a:pt x="7600084" y="5136976"/>
                  <a:pt x="7600084" y="5132182"/>
                </a:cubicBezTo>
                <a:cubicBezTo>
                  <a:pt x="7600084" y="5127388"/>
                  <a:pt x="7601282" y="5127987"/>
                  <a:pt x="7604877" y="5129785"/>
                </a:cubicBezTo>
                <a:cubicBezTo>
                  <a:pt x="7607275" y="5130385"/>
                  <a:pt x="7607874" y="5130984"/>
                  <a:pt x="7607874" y="5131583"/>
                </a:cubicBezTo>
                <a:cubicBezTo>
                  <a:pt x="7607874" y="5130984"/>
                  <a:pt x="7607275" y="5124991"/>
                  <a:pt x="7607275" y="5121995"/>
                </a:cubicBezTo>
                <a:cubicBezTo>
                  <a:pt x="7607275" y="5118399"/>
                  <a:pt x="7609073" y="5114804"/>
                  <a:pt x="7610271" y="5110009"/>
                </a:cubicBezTo>
                <a:cubicBezTo>
                  <a:pt x="7611469" y="5105215"/>
                  <a:pt x="7612668" y="5105215"/>
                  <a:pt x="7619859" y="5104616"/>
                </a:cubicBezTo>
                <a:cubicBezTo>
                  <a:pt x="7627051" y="5104016"/>
                  <a:pt x="7624054" y="5104016"/>
                  <a:pt x="7628249" y="5101619"/>
                </a:cubicBezTo>
                <a:cubicBezTo>
                  <a:pt x="7632444" y="5099222"/>
                  <a:pt x="7630646" y="5094428"/>
                  <a:pt x="7627650" y="5096825"/>
                </a:cubicBezTo>
                <a:cubicBezTo>
                  <a:pt x="7624654" y="5099222"/>
                  <a:pt x="7625253" y="5098623"/>
                  <a:pt x="7624654" y="5094428"/>
                </a:cubicBezTo>
                <a:cubicBezTo>
                  <a:pt x="7624054" y="5090233"/>
                  <a:pt x="7625253" y="5089035"/>
                  <a:pt x="7628848" y="5089035"/>
                </a:cubicBezTo>
                <a:cubicBezTo>
                  <a:pt x="7632444" y="5089035"/>
                  <a:pt x="7633044" y="5086038"/>
                  <a:pt x="7629447" y="5078847"/>
                </a:cubicBezTo>
                <a:cubicBezTo>
                  <a:pt x="7625253" y="5071656"/>
                  <a:pt x="7635440" y="5066862"/>
                  <a:pt x="7639036" y="5062067"/>
                </a:cubicBezTo>
                <a:cubicBezTo>
                  <a:pt x="7642632" y="5056674"/>
                  <a:pt x="7643231" y="5056674"/>
                  <a:pt x="7649224" y="5056674"/>
                </a:cubicBezTo>
                <a:cubicBezTo>
                  <a:pt x="7654617" y="5057273"/>
                  <a:pt x="7653418" y="5057273"/>
                  <a:pt x="7653418" y="5054277"/>
                </a:cubicBezTo>
                <a:cubicBezTo>
                  <a:pt x="7653418" y="5051880"/>
                  <a:pt x="7653418" y="5050681"/>
                  <a:pt x="7657614" y="5045887"/>
                </a:cubicBezTo>
                <a:cubicBezTo>
                  <a:pt x="7661808" y="5040493"/>
                  <a:pt x="7657614" y="5038096"/>
                  <a:pt x="7654018" y="5042891"/>
                </a:cubicBezTo>
                <a:cubicBezTo>
                  <a:pt x="7650422" y="5047685"/>
                  <a:pt x="7648625" y="5047085"/>
                  <a:pt x="7648625" y="5047085"/>
                </a:cubicBezTo>
                <a:cubicBezTo>
                  <a:pt x="7648625" y="5047085"/>
                  <a:pt x="7654018" y="5036898"/>
                  <a:pt x="7657015" y="5033302"/>
                </a:cubicBezTo>
                <a:cubicBezTo>
                  <a:pt x="7660011" y="5029107"/>
                  <a:pt x="7663007" y="5024313"/>
                  <a:pt x="7670198" y="5020118"/>
                </a:cubicBezTo>
                <a:cubicBezTo>
                  <a:pt x="7677389" y="5015923"/>
                  <a:pt x="7676191" y="5017721"/>
                  <a:pt x="7672596" y="5015324"/>
                </a:cubicBezTo>
                <a:cubicBezTo>
                  <a:pt x="7668400" y="5012927"/>
                  <a:pt x="7664805" y="5008133"/>
                  <a:pt x="7667202" y="5003338"/>
                </a:cubicBezTo>
                <a:cubicBezTo>
                  <a:pt x="7669599" y="4997945"/>
                  <a:pt x="7671397" y="5000942"/>
                  <a:pt x="7671397" y="5005736"/>
                </a:cubicBezTo>
                <a:cubicBezTo>
                  <a:pt x="7671397" y="5009931"/>
                  <a:pt x="7670198" y="5011728"/>
                  <a:pt x="7675592" y="5007533"/>
                </a:cubicBezTo>
                <a:cubicBezTo>
                  <a:pt x="7680986" y="5003338"/>
                  <a:pt x="7681585" y="5006934"/>
                  <a:pt x="7686978" y="5011728"/>
                </a:cubicBezTo>
                <a:cubicBezTo>
                  <a:pt x="7692371" y="5017122"/>
                  <a:pt x="7691173" y="5012328"/>
                  <a:pt x="7690574" y="5009331"/>
                </a:cubicBezTo>
                <a:cubicBezTo>
                  <a:pt x="7689975" y="5006335"/>
                  <a:pt x="7691173" y="5003938"/>
                  <a:pt x="7694768" y="5003938"/>
                </a:cubicBezTo>
                <a:cubicBezTo>
                  <a:pt x="7698364" y="5003938"/>
                  <a:pt x="7698964" y="5003938"/>
                  <a:pt x="7698964" y="5000942"/>
                </a:cubicBezTo>
                <a:cubicBezTo>
                  <a:pt x="7698364" y="4997945"/>
                  <a:pt x="7686378" y="4995548"/>
                  <a:pt x="7680986" y="4992552"/>
                </a:cubicBezTo>
                <a:cubicBezTo>
                  <a:pt x="7675592" y="4989555"/>
                  <a:pt x="7680986" y="4987757"/>
                  <a:pt x="7689375" y="4988357"/>
                </a:cubicBezTo>
                <a:cubicBezTo>
                  <a:pt x="7697765" y="4988956"/>
                  <a:pt x="7691772" y="4985960"/>
                  <a:pt x="7687577" y="4983562"/>
                </a:cubicBezTo>
                <a:cubicBezTo>
                  <a:pt x="7683382" y="4981165"/>
                  <a:pt x="7687577" y="4976971"/>
                  <a:pt x="7691173" y="4976971"/>
                </a:cubicBezTo>
                <a:cubicBezTo>
                  <a:pt x="7694768" y="4976971"/>
                  <a:pt x="7694768" y="4976371"/>
                  <a:pt x="7699563" y="4975772"/>
                </a:cubicBezTo>
                <a:cubicBezTo>
                  <a:pt x="7704956" y="4975172"/>
                  <a:pt x="7704956" y="4972176"/>
                  <a:pt x="7704357" y="4968581"/>
                </a:cubicBezTo>
                <a:cubicBezTo>
                  <a:pt x="7703757" y="4964386"/>
                  <a:pt x="7703158" y="4966183"/>
                  <a:pt x="7703757" y="4961989"/>
                </a:cubicBezTo>
                <a:cubicBezTo>
                  <a:pt x="7704357" y="4957794"/>
                  <a:pt x="7704357" y="4956595"/>
                  <a:pt x="7701360" y="4956595"/>
                </a:cubicBezTo>
                <a:cubicBezTo>
                  <a:pt x="7697765" y="4956595"/>
                  <a:pt x="7697765" y="4952400"/>
                  <a:pt x="7697765" y="4949404"/>
                </a:cubicBezTo>
                <a:cubicBezTo>
                  <a:pt x="7697765" y="4946407"/>
                  <a:pt x="7695967" y="4944610"/>
                  <a:pt x="7693570" y="4946407"/>
                </a:cubicBezTo>
                <a:cubicBezTo>
                  <a:pt x="7691173" y="4948205"/>
                  <a:pt x="7690574" y="4947606"/>
                  <a:pt x="7685180" y="4948805"/>
                </a:cubicBezTo>
                <a:cubicBezTo>
                  <a:pt x="7679787" y="4950003"/>
                  <a:pt x="7678588" y="4951201"/>
                  <a:pt x="7678588" y="4956595"/>
                </a:cubicBezTo>
                <a:cubicBezTo>
                  <a:pt x="7678588" y="4961989"/>
                  <a:pt x="7674393" y="4961989"/>
                  <a:pt x="7673794" y="4957794"/>
                </a:cubicBezTo>
                <a:cubicBezTo>
                  <a:pt x="7673195" y="4953599"/>
                  <a:pt x="7676191" y="4947606"/>
                  <a:pt x="7678588" y="4945209"/>
                </a:cubicBezTo>
                <a:cubicBezTo>
                  <a:pt x="7680986" y="4942812"/>
                  <a:pt x="7683982" y="4942812"/>
                  <a:pt x="7687577" y="4939816"/>
                </a:cubicBezTo>
                <a:cubicBezTo>
                  <a:pt x="7691772" y="4937418"/>
                  <a:pt x="7694169" y="4937418"/>
                  <a:pt x="7700761" y="4937418"/>
                </a:cubicBezTo>
                <a:cubicBezTo>
                  <a:pt x="7707353" y="4936819"/>
                  <a:pt x="7706754" y="4933223"/>
                  <a:pt x="7705556" y="4931426"/>
                </a:cubicBezTo>
                <a:cubicBezTo>
                  <a:pt x="7704357" y="4929029"/>
                  <a:pt x="7703158" y="4929029"/>
                  <a:pt x="7702559" y="4926032"/>
                </a:cubicBezTo>
                <a:cubicBezTo>
                  <a:pt x="7701960" y="4922436"/>
                  <a:pt x="7707353" y="4921238"/>
                  <a:pt x="7717541" y="4920639"/>
                </a:cubicBezTo>
                <a:cubicBezTo>
                  <a:pt x="7727728" y="4920040"/>
                  <a:pt x="7724133" y="4923635"/>
                  <a:pt x="7724133" y="4929029"/>
                </a:cubicBezTo>
                <a:cubicBezTo>
                  <a:pt x="7723534" y="4934422"/>
                  <a:pt x="7713946" y="4939816"/>
                  <a:pt x="7713946" y="4939816"/>
                </a:cubicBezTo>
                <a:cubicBezTo>
                  <a:pt x="7713946" y="4939816"/>
                  <a:pt x="7716342" y="4943411"/>
                  <a:pt x="7721137" y="4938018"/>
                </a:cubicBezTo>
                <a:cubicBezTo>
                  <a:pt x="7725331" y="4932624"/>
                  <a:pt x="7727129" y="4934422"/>
                  <a:pt x="7725331" y="4938617"/>
                </a:cubicBezTo>
                <a:cubicBezTo>
                  <a:pt x="7723534" y="4942812"/>
                  <a:pt x="7720537" y="4944011"/>
                  <a:pt x="7715144" y="4948805"/>
                </a:cubicBezTo>
                <a:cubicBezTo>
                  <a:pt x="7709750" y="4953599"/>
                  <a:pt x="7715743" y="4952400"/>
                  <a:pt x="7718739" y="4952400"/>
                </a:cubicBezTo>
                <a:cubicBezTo>
                  <a:pt x="7721736" y="4952400"/>
                  <a:pt x="7722935" y="4951801"/>
                  <a:pt x="7724133" y="4950003"/>
                </a:cubicBezTo>
                <a:cubicBezTo>
                  <a:pt x="7725331" y="4947606"/>
                  <a:pt x="7727728" y="4945209"/>
                  <a:pt x="7734320" y="4942812"/>
                </a:cubicBezTo>
                <a:cubicBezTo>
                  <a:pt x="7740913" y="4940415"/>
                  <a:pt x="7740313" y="4937418"/>
                  <a:pt x="7736118" y="4938617"/>
                </a:cubicBezTo>
                <a:cubicBezTo>
                  <a:pt x="7731924" y="4939816"/>
                  <a:pt x="7733122" y="4937418"/>
                  <a:pt x="7734920" y="4934422"/>
                </a:cubicBezTo>
                <a:cubicBezTo>
                  <a:pt x="7736718" y="4931426"/>
                  <a:pt x="7737317" y="4927830"/>
                  <a:pt x="7743909" y="4924834"/>
                </a:cubicBezTo>
                <a:cubicBezTo>
                  <a:pt x="7750501" y="4921837"/>
                  <a:pt x="7748703" y="4921837"/>
                  <a:pt x="7748104" y="4919440"/>
                </a:cubicBezTo>
                <a:cubicBezTo>
                  <a:pt x="7747505" y="4917043"/>
                  <a:pt x="7747505" y="4912249"/>
                  <a:pt x="7753498" y="4912848"/>
                </a:cubicBezTo>
                <a:cubicBezTo>
                  <a:pt x="7759490" y="4913447"/>
                  <a:pt x="7760689" y="4912848"/>
                  <a:pt x="7757692" y="4909852"/>
                </a:cubicBezTo>
                <a:cubicBezTo>
                  <a:pt x="7754696" y="4906855"/>
                  <a:pt x="7755895" y="4905657"/>
                  <a:pt x="7758291" y="4902660"/>
                </a:cubicBezTo>
                <a:cubicBezTo>
                  <a:pt x="7760689" y="4900263"/>
                  <a:pt x="7773273" y="4896668"/>
                  <a:pt x="7779266" y="4894270"/>
                </a:cubicBezTo>
                <a:cubicBezTo>
                  <a:pt x="7784659" y="4891874"/>
                  <a:pt x="7788855" y="4891874"/>
                  <a:pt x="7789454" y="4888877"/>
                </a:cubicBezTo>
                <a:cubicBezTo>
                  <a:pt x="7790053" y="4886480"/>
                  <a:pt x="7788855" y="4887079"/>
                  <a:pt x="7793049" y="4882285"/>
                </a:cubicBezTo>
                <a:cubicBezTo>
                  <a:pt x="7797244" y="4877491"/>
                  <a:pt x="7793649" y="4878090"/>
                  <a:pt x="7791851" y="4876292"/>
                </a:cubicBezTo>
                <a:cubicBezTo>
                  <a:pt x="7790053" y="4874495"/>
                  <a:pt x="7790053" y="4875693"/>
                  <a:pt x="7783461" y="4871498"/>
                </a:cubicBezTo>
                <a:cubicBezTo>
                  <a:pt x="7776869" y="4867303"/>
                  <a:pt x="7788255" y="4862509"/>
                  <a:pt x="7793049" y="4859513"/>
                </a:cubicBezTo>
                <a:cubicBezTo>
                  <a:pt x="7797844" y="4857116"/>
                  <a:pt x="7796645" y="4857116"/>
                  <a:pt x="7798443" y="4854119"/>
                </a:cubicBezTo>
                <a:cubicBezTo>
                  <a:pt x="7800240" y="4851722"/>
                  <a:pt x="7800840" y="4849325"/>
                  <a:pt x="7800240" y="4845729"/>
                </a:cubicBezTo>
                <a:cubicBezTo>
                  <a:pt x="7799641" y="4841534"/>
                  <a:pt x="7801439" y="4839737"/>
                  <a:pt x="7805634" y="4838538"/>
                </a:cubicBezTo>
                <a:cubicBezTo>
                  <a:pt x="7809829" y="4837339"/>
                  <a:pt x="7815222" y="4832545"/>
                  <a:pt x="7818219" y="4821758"/>
                </a:cubicBezTo>
                <a:cubicBezTo>
                  <a:pt x="7821215" y="4811571"/>
                  <a:pt x="7823612" y="4810972"/>
                  <a:pt x="7827208" y="4811571"/>
                </a:cubicBezTo>
                <a:cubicBezTo>
                  <a:pt x="7830804" y="4812170"/>
                  <a:pt x="7830204" y="4809773"/>
                  <a:pt x="7830204" y="4804979"/>
                </a:cubicBezTo>
                <a:cubicBezTo>
                  <a:pt x="7830204" y="4800185"/>
                  <a:pt x="7834999" y="4800784"/>
                  <a:pt x="7834999" y="4805578"/>
                </a:cubicBezTo>
                <a:cubicBezTo>
                  <a:pt x="7834999" y="4810372"/>
                  <a:pt x="7837995" y="4804979"/>
                  <a:pt x="7839193" y="4801383"/>
                </a:cubicBezTo>
                <a:cubicBezTo>
                  <a:pt x="7840392" y="4797788"/>
                  <a:pt x="7843389" y="4795990"/>
                  <a:pt x="7840991" y="4791196"/>
                </a:cubicBezTo>
                <a:cubicBezTo>
                  <a:pt x="7838594" y="4786401"/>
                  <a:pt x="7841590" y="4785203"/>
                  <a:pt x="7845186" y="4784603"/>
                </a:cubicBezTo>
                <a:cubicBezTo>
                  <a:pt x="7848182" y="4784004"/>
                  <a:pt x="7847583" y="4785203"/>
                  <a:pt x="7852977" y="4781008"/>
                </a:cubicBezTo>
                <a:cubicBezTo>
                  <a:pt x="7858370" y="4776813"/>
                  <a:pt x="7855374" y="4773817"/>
                  <a:pt x="7851779" y="4776813"/>
                </a:cubicBezTo>
                <a:cubicBezTo>
                  <a:pt x="7848182" y="4779809"/>
                  <a:pt x="7848782" y="4778611"/>
                  <a:pt x="7846984" y="4773817"/>
                </a:cubicBezTo>
                <a:cubicBezTo>
                  <a:pt x="7845186" y="4769022"/>
                  <a:pt x="7839793" y="4772618"/>
                  <a:pt x="7838594" y="4778012"/>
                </a:cubicBezTo>
                <a:cubicBezTo>
                  <a:pt x="7837396" y="4783405"/>
                  <a:pt x="7830204" y="4780408"/>
                  <a:pt x="7825410" y="4779809"/>
                </a:cubicBezTo>
                <a:cubicBezTo>
                  <a:pt x="7820616" y="4779210"/>
                  <a:pt x="7823013" y="4774416"/>
                  <a:pt x="7826010" y="4772618"/>
                </a:cubicBezTo>
                <a:cubicBezTo>
                  <a:pt x="7829006" y="4770820"/>
                  <a:pt x="7828407" y="4770820"/>
                  <a:pt x="7827208" y="4764827"/>
                </a:cubicBezTo>
                <a:cubicBezTo>
                  <a:pt x="7826010" y="4758835"/>
                  <a:pt x="7837396" y="4749246"/>
                  <a:pt x="7840392" y="4741456"/>
                </a:cubicBezTo>
                <a:cubicBezTo>
                  <a:pt x="7842789" y="4733665"/>
                  <a:pt x="7848782" y="4727672"/>
                  <a:pt x="7851779" y="4724077"/>
                </a:cubicBezTo>
                <a:cubicBezTo>
                  <a:pt x="7854775" y="4720481"/>
                  <a:pt x="7857771" y="4709694"/>
                  <a:pt x="7862565" y="4707297"/>
                </a:cubicBezTo>
                <a:cubicBezTo>
                  <a:pt x="7867360" y="4704900"/>
                  <a:pt x="7869757" y="4700705"/>
                  <a:pt x="7874551" y="4695911"/>
                </a:cubicBezTo>
                <a:cubicBezTo>
                  <a:pt x="7879345" y="4691117"/>
                  <a:pt x="7883540" y="4680929"/>
                  <a:pt x="7884739" y="4672539"/>
                </a:cubicBezTo>
                <a:cubicBezTo>
                  <a:pt x="7885937" y="4664149"/>
                  <a:pt x="7889532" y="4656359"/>
                  <a:pt x="7894327" y="4649767"/>
                </a:cubicBezTo>
                <a:cubicBezTo>
                  <a:pt x="7899121" y="4643175"/>
                  <a:pt x="7905713" y="4623998"/>
                  <a:pt x="7909309" y="4614410"/>
                </a:cubicBezTo>
                <a:cubicBezTo>
                  <a:pt x="7912904" y="4604821"/>
                  <a:pt x="7917099" y="4609016"/>
                  <a:pt x="7920695" y="4610215"/>
                </a:cubicBezTo>
                <a:cubicBezTo>
                  <a:pt x="7924291" y="4610814"/>
                  <a:pt x="7926688" y="4606020"/>
                  <a:pt x="7928485" y="4601825"/>
                </a:cubicBezTo>
                <a:cubicBezTo>
                  <a:pt x="7930283" y="4597630"/>
                  <a:pt x="7933879" y="4592836"/>
                  <a:pt x="7936875" y="4589839"/>
                </a:cubicBezTo>
                <a:cubicBezTo>
                  <a:pt x="7940471" y="4587443"/>
                  <a:pt x="7948861" y="4576056"/>
                  <a:pt x="7952456" y="4570063"/>
                </a:cubicBezTo>
                <a:cubicBezTo>
                  <a:pt x="7956652" y="4564670"/>
                  <a:pt x="7962644" y="4559277"/>
                  <a:pt x="7963843" y="4555681"/>
                </a:cubicBezTo>
                <a:cubicBezTo>
                  <a:pt x="7964442" y="4552085"/>
                  <a:pt x="7963243" y="4548490"/>
                  <a:pt x="7965041" y="4547890"/>
                </a:cubicBezTo>
                <a:cubicBezTo>
                  <a:pt x="7966839" y="4547291"/>
                  <a:pt x="7967438" y="4547291"/>
                  <a:pt x="7970434" y="4544894"/>
                </a:cubicBezTo>
                <a:cubicBezTo>
                  <a:pt x="7972832" y="4542497"/>
                  <a:pt x="7974630" y="4540699"/>
                  <a:pt x="7981821" y="4536504"/>
                </a:cubicBezTo>
                <a:cubicBezTo>
                  <a:pt x="7989012" y="4531710"/>
                  <a:pt x="7989012" y="4528114"/>
                  <a:pt x="7990810" y="4524519"/>
                </a:cubicBezTo>
                <a:cubicBezTo>
                  <a:pt x="7992608" y="4521522"/>
                  <a:pt x="7998601" y="4511335"/>
                  <a:pt x="8002795" y="4505342"/>
                </a:cubicBezTo>
                <a:cubicBezTo>
                  <a:pt x="8006990" y="4499948"/>
                  <a:pt x="8005193" y="4493956"/>
                  <a:pt x="8006990" y="4493356"/>
                </a:cubicBezTo>
                <a:cubicBezTo>
                  <a:pt x="8008788" y="4492757"/>
                  <a:pt x="8011185" y="4492158"/>
                  <a:pt x="8012384" y="4489161"/>
                </a:cubicBezTo>
                <a:cubicBezTo>
                  <a:pt x="8014182" y="4486764"/>
                  <a:pt x="8014182" y="4487963"/>
                  <a:pt x="8020774" y="4481371"/>
                </a:cubicBezTo>
                <a:cubicBezTo>
                  <a:pt x="8027365" y="4474779"/>
                  <a:pt x="8036355" y="4452006"/>
                  <a:pt x="8040550" y="4446613"/>
                </a:cubicBezTo>
                <a:cubicBezTo>
                  <a:pt x="8044744" y="4441220"/>
                  <a:pt x="8045943" y="4433429"/>
                  <a:pt x="8047741" y="4428635"/>
                </a:cubicBezTo>
                <a:cubicBezTo>
                  <a:pt x="8049539" y="4423840"/>
                  <a:pt x="8050138" y="4418447"/>
                  <a:pt x="8057928" y="4404664"/>
                </a:cubicBezTo>
                <a:cubicBezTo>
                  <a:pt x="8065719" y="4391480"/>
                  <a:pt x="8066318" y="4379494"/>
                  <a:pt x="8068116" y="4375899"/>
                </a:cubicBezTo>
                <a:cubicBezTo>
                  <a:pt x="8069914" y="4371704"/>
                  <a:pt x="8072311" y="4359718"/>
                  <a:pt x="8075906" y="4351928"/>
                </a:cubicBezTo>
                <a:cubicBezTo>
                  <a:pt x="8079503" y="4344137"/>
                  <a:pt x="8081300" y="4344737"/>
                  <a:pt x="8084896" y="4344737"/>
                </a:cubicBezTo>
                <a:cubicBezTo>
                  <a:pt x="8088492" y="4345336"/>
                  <a:pt x="8090289" y="4342339"/>
                  <a:pt x="8090289" y="4339343"/>
                </a:cubicBezTo>
                <a:cubicBezTo>
                  <a:pt x="8090888" y="4336946"/>
                  <a:pt x="8093286" y="4329155"/>
                  <a:pt x="8096282" y="4328556"/>
                </a:cubicBezTo>
                <a:cubicBezTo>
                  <a:pt x="8101676" y="4326758"/>
                  <a:pt x="8099278" y="4320166"/>
                  <a:pt x="8099877" y="4315372"/>
                </a:cubicBezTo>
                <a:cubicBezTo>
                  <a:pt x="8100477" y="4311177"/>
                  <a:pt x="8101076" y="4298592"/>
                  <a:pt x="8102275" y="4295596"/>
                </a:cubicBezTo>
                <a:cubicBezTo>
                  <a:pt x="8102874" y="4292000"/>
                  <a:pt x="8112463" y="4276419"/>
                  <a:pt x="8119055" y="4271026"/>
                </a:cubicBezTo>
                <a:cubicBezTo>
                  <a:pt x="8125646" y="4265632"/>
                  <a:pt x="8120253" y="4260838"/>
                  <a:pt x="8134036" y="4249452"/>
                </a:cubicBezTo>
                <a:cubicBezTo>
                  <a:pt x="8147220" y="4237466"/>
                  <a:pt x="8146022" y="4232672"/>
                  <a:pt x="8146022" y="4229676"/>
                </a:cubicBezTo>
                <a:cubicBezTo>
                  <a:pt x="8146022" y="4226680"/>
                  <a:pt x="8149018" y="4226080"/>
                  <a:pt x="8152614" y="4224282"/>
                </a:cubicBezTo>
                <a:cubicBezTo>
                  <a:pt x="8156209" y="4222485"/>
                  <a:pt x="8156808" y="4217091"/>
                  <a:pt x="8161004" y="4209900"/>
                </a:cubicBezTo>
                <a:cubicBezTo>
                  <a:pt x="8165798" y="4202709"/>
                  <a:pt x="8169993" y="4190723"/>
                  <a:pt x="8171191" y="4185329"/>
                </a:cubicBezTo>
                <a:cubicBezTo>
                  <a:pt x="8171790" y="4179936"/>
                  <a:pt x="8175387" y="4168550"/>
                  <a:pt x="8183177" y="4160759"/>
                </a:cubicBezTo>
                <a:cubicBezTo>
                  <a:pt x="8190967" y="4153568"/>
                  <a:pt x="8193365" y="4139185"/>
                  <a:pt x="8193964" y="4135590"/>
                </a:cubicBezTo>
                <a:cubicBezTo>
                  <a:pt x="8194563" y="4131994"/>
                  <a:pt x="8201754" y="4095438"/>
                  <a:pt x="8211343" y="4088247"/>
                </a:cubicBezTo>
                <a:cubicBezTo>
                  <a:pt x="8220931" y="4081056"/>
                  <a:pt x="8218534" y="4082254"/>
                  <a:pt x="8213739" y="4081056"/>
                </a:cubicBezTo>
                <a:cubicBezTo>
                  <a:pt x="8208946" y="4079857"/>
                  <a:pt x="8210144" y="4073865"/>
                  <a:pt x="8212541" y="4068471"/>
                </a:cubicBezTo>
                <a:cubicBezTo>
                  <a:pt x="8214938" y="4063078"/>
                  <a:pt x="8215538" y="4063078"/>
                  <a:pt x="8219732" y="4064276"/>
                </a:cubicBezTo>
                <a:cubicBezTo>
                  <a:pt x="8223928" y="4064875"/>
                  <a:pt x="8224527" y="4058283"/>
                  <a:pt x="8226325" y="4056485"/>
                </a:cubicBezTo>
                <a:cubicBezTo>
                  <a:pt x="8229920" y="4052890"/>
                  <a:pt x="8228122" y="4046897"/>
                  <a:pt x="8232318" y="4039706"/>
                </a:cubicBezTo>
                <a:cubicBezTo>
                  <a:pt x="8236512" y="4032514"/>
                  <a:pt x="8240108" y="4019330"/>
                  <a:pt x="8243703" y="4012739"/>
                </a:cubicBezTo>
                <a:cubicBezTo>
                  <a:pt x="8247299" y="4006147"/>
                  <a:pt x="8249097" y="3996558"/>
                  <a:pt x="8249696" y="3992963"/>
                </a:cubicBezTo>
                <a:cubicBezTo>
                  <a:pt x="8250296" y="3988768"/>
                  <a:pt x="8253891" y="3964797"/>
                  <a:pt x="8264079" y="3952212"/>
                </a:cubicBezTo>
                <a:cubicBezTo>
                  <a:pt x="8274267" y="3939627"/>
                  <a:pt x="8269472" y="3927642"/>
                  <a:pt x="8274866" y="3919851"/>
                </a:cubicBezTo>
                <a:cubicBezTo>
                  <a:pt x="8280259" y="3912660"/>
                  <a:pt x="8278461" y="3904869"/>
                  <a:pt x="8277862" y="3898876"/>
                </a:cubicBezTo>
                <a:cubicBezTo>
                  <a:pt x="8277263" y="3893483"/>
                  <a:pt x="8279660" y="3885692"/>
                  <a:pt x="8284454" y="3880898"/>
                </a:cubicBezTo>
                <a:cubicBezTo>
                  <a:pt x="8289249" y="3876703"/>
                  <a:pt x="8288649" y="3869512"/>
                  <a:pt x="8285053" y="3864718"/>
                </a:cubicBezTo>
                <a:cubicBezTo>
                  <a:pt x="8281458" y="3859924"/>
                  <a:pt x="8280859" y="3857526"/>
                  <a:pt x="8280859" y="3852732"/>
                </a:cubicBezTo>
                <a:cubicBezTo>
                  <a:pt x="8280259" y="3847938"/>
                  <a:pt x="8278461" y="3846140"/>
                  <a:pt x="8273068" y="3843144"/>
                </a:cubicBezTo>
                <a:cubicBezTo>
                  <a:pt x="8267674" y="3840148"/>
                  <a:pt x="8267674" y="3834754"/>
                  <a:pt x="8267674" y="3827563"/>
                </a:cubicBezTo>
                <a:cubicBezTo>
                  <a:pt x="8267674" y="3820372"/>
                  <a:pt x="8263479" y="3812581"/>
                  <a:pt x="8259884" y="3803592"/>
                </a:cubicBezTo>
                <a:cubicBezTo>
                  <a:pt x="8256288" y="3795202"/>
                  <a:pt x="8246700" y="3789209"/>
                  <a:pt x="8241906" y="3786213"/>
                </a:cubicBezTo>
                <a:cubicBezTo>
                  <a:pt x="8237710" y="3783217"/>
                  <a:pt x="8237111" y="3777224"/>
                  <a:pt x="8234714" y="3774228"/>
                </a:cubicBezTo>
                <a:cubicBezTo>
                  <a:pt x="8232318" y="3771830"/>
                  <a:pt x="8231718" y="3770632"/>
                  <a:pt x="8229321" y="3766437"/>
                </a:cubicBezTo>
                <a:cubicBezTo>
                  <a:pt x="8226924" y="3762242"/>
                  <a:pt x="8225126" y="3756249"/>
                  <a:pt x="8219133" y="3753852"/>
                </a:cubicBezTo>
                <a:cubicBezTo>
                  <a:pt x="8212541" y="3751455"/>
                  <a:pt x="8207747" y="3738271"/>
                  <a:pt x="8203552" y="3735275"/>
                </a:cubicBezTo>
                <a:cubicBezTo>
                  <a:pt x="8199357" y="3732278"/>
                  <a:pt x="8198158" y="3730481"/>
                  <a:pt x="8198158" y="3727484"/>
                </a:cubicBezTo>
                <a:cubicBezTo>
                  <a:pt x="8198158" y="3724488"/>
                  <a:pt x="8196361" y="3722091"/>
                  <a:pt x="8193964" y="3711304"/>
                </a:cubicBezTo>
                <a:cubicBezTo>
                  <a:pt x="8191567" y="3701116"/>
                  <a:pt x="8189768" y="3703513"/>
                  <a:pt x="8189768" y="3699318"/>
                </a:cubicBezTo>
                <a:cubicBezTo>
                  <a:pt x="8190368" y="3695123"/>
                  <a:pt x="8189169" y="3695123"/>
                  <a:pt x="8187372" y="3692726"/>
                </a:cubicBezTo>
                <a:cubicBezTo>
                  <a:pt x="8184975" y="3690329"/>
                  <a:pt x="8183776" y="3689730"/>
                  <a:pt x="8184975" y="3687333"/>
                </a:cubicBezTo>
                <a:cubicBezTo>
                  <a:pt x="8186173" y="3684936"/>
                  <a:pt x="8186772" y="3677145"/>
                  <a:pt x="8182578" y="3675946"/>
                </a:cubicBezTo>
                <a:cubicBezTo>
                  <a:pt x="8178383" y="3674748"/>
                  <a:pt x="8178982" y="3673550"/>
                  <a:pt x="8178383" y="3668156"/>
                </a:cubicBezTo>
                <a:cubicBezTo>
                  <a:pt x="8177783" y="3662762"/>
                  <a:pt x="8177783" y="3661564"/>
                  <a:pt x="8180779" y="3661564"/>
                </a:cubicBezTo>
                <a:cubicBezTo>
                  <a:pt x="8183776" y="3661564"/>
                  <a:pt x="8184376" y="3662163"/>
                  <a:pt x="8186173" y="3654373"/>
                </a:cubicBezTo>
                <a:cubicBezTo>
                  <a:pt x="8188570" y="3647181"/>
                  <a:pt x="8186772" y="3635196"/>
                  <a:pt x="8186173" y="3631001"/>
                </a:cubicBezTo>
                <a:cubicBezTo>
                  <a:pt x="8185574" y="3626806"/>
                  <a:pt x="8184975" y="3624409"/>
                  <a:pt x="8185574" y="3617817"/>
                </a:cubicBezTo>
                <a:cubicBezTo>
                  <a:pt x="8186173" y="3611225"/>
                  <a:pt x="8184975" y="3608229"/>
                  <a:pt x="8183177" y="3602835"/>
                </a:cubicBezTo>
                <a:cubicBezTo>
                  <a:pt x="8180779" y="3597442"/>
                  <a:pt x="8178982" y="3594445"/>
                  <a:pt x="8178982" y="3586055"/>
                </a:cubicBezTo>
                <a:cubicBezTo>
                  <a:pt x="8179581" y="3577666"/>
                  <a:pt x="8177783" y="3568077"/>
                  <a:pt x="8175986" y="3562684"/>
                </a:cubicBezTo>
                <a:cubicBezTo>
                  <a:pt x="8174188" y="3557290"/>
                  <a:pt x="8172390" y="3552496"/>
                  <a:pt x="8175387" y="3547702"/>
                </a:cubicBezTo>
                <a:cubicBezTo>
                  <a:pt x="8178383" y="3542908"/>
                  <a:pt x="8175986" y="3541709"/>
                  <a:pt x="8174787" y="3538713"/>
                </a:cubicBezTo>
                <a:cubicBezTo>
                  <a:pt x="8172989" y="3535717"/>
                  <a:pt x="8173588" y="3532121"/>
                  <a:pt x="8172989" y="3527926"/>
                </a:cubicBezTo>
                <a:cubicBezTo>
                  <a:pt x="8172390" y="3523731"/>
                  <a:pt x="8171191" y="3517738"/>
                  <a:pt x="8167596" y="3512345"/>
                </a:cubicBezTo>
                <a:cubicBezTo>
                  <a:pt x="8164000" y="3506951"/>
                  <a:pt x="8162801" y="3497962"/>
                  <a:pt x="8165198" y="3491370"/>
                </a:cubicBezTo>
                <a:cubicBezTo>
                  <a:pt x="8167596" y="3484179"/>
                  <a:pt x="8164599" y="3481182"/>
                  <a:pt x="8164599" y="3476388"/>
                </a:cubicBezTo>
                <a:cubicBezTo>
                  <a:pt x="8164599" y="3471594"/>
                  <a:pt x="8162202" y="3461406"/>
                  <a:pt x="8160405" y="3455414"/>
                </a:cubicBezTo>
                <a:cubicBezTo>
                  <a:pt x="8158607" y="3450020"/>
                  <a:pt x="8158007" y="3451219"/>
                  <a:pt x="8159805" y="3446425"/>
                </a:cubicBezTo>
                <a:cubicBezTo>
                  <a:pt x="8161603" y="3441031"/>
                  <a:pt x="8159805" y="3436836"/>
                  <a:pt x="8160405" y="3430244"/>
                </a:cubicBezTo>
                <a:cubicBezTo>
                  <a:pt x="8161004" y="3423652"/>
                  <a:pt x="8159206" y="3422454"/>
                  <a:pt x="8156209" y="3419457"/>
                </a:cubicBezTo>
                <a:cubicBezTo>
                  <a:pt x="8153213" y="3416461"/>
                  <a:pt x="8153812" y="3415262"/>
                  <a:pt x="8149018" y="3409270"/>
                </a:cubicBezTo>
                <a:cubicBezTo>
                  <a:pt x="8144224" y="3403277"/>
                  <a:pt x="8143625" y="3402678"/>
                  <a:pt x="8146621" y="3399082"/>
                </a:cubicBezTo>
                <a:cubicBezTo>
                  <a:pt x="8149617" y="3395486"/>
                  <a:pt x="8149018" y="3392490"/>
                  <a:pt x="8149617" y="3385898"/>
                </a:cubicBezTo>
                <a:cubicBezTo>
                  <a:pt x="8150217" y="3379306"/>
                  <a:pt x="8146022" y="3375111"/>
                  <a:pt x="8144224" y="3370317"/>
                </a:cubicBezTo>
                <a:cubicBezTo>
                  <a:pt x="8142426" y="3365523"/>
                  <a:pt x="8133437" y="3354736"/>
                  <a:pt x="8129242" y="3348743"/>
                </a:cubicBezTo>
                <a:cubicBezTo>
                  <a:pt x="8125047" y="3342750"/>
                  <a:pt x="8114260" y="3340953"/>
                  <a:pt x="8109466" y="3340353"/>
                </a:cubicBezTo>
                <a:cubicBezTo>
                  <a:pt x="8104073" y="3339754"/>
                  <a:pt x="8109466" y="3334360"/>
                  <a:pt x="8109466" y="3323573"/>
                </a:cubicBezTo>
                <a:cubicBezTo>
                  <a:pt x="8109466" y="3313386"/>
                  <a:pt x="8111863" y="3321776"/>
                  <a:pt x="8117256" y="3323573"/>
                </a:cubicBezTo>
                <a:cubicBezTo>
                  <a:pt x="8122650" y="3325371"/>
                  <a:pt x="8124448" y="3319978"/>
                  <a:pt x="8124448" y="3315183"/>
                </a:cubicBezTo>
                <a:cubicBezTo>
                  <a:pt x="8125047" y="3310389"/>
                  <a:pt x="8119055" y="3306794"/>
                  <a:pt x="8115459" y="3304996"/>
                </a:cubicBezTo>
                <a:cubicBezTo>
                  <a:pt x="8111264" y="3303198"/>
                  <a:pt x="8110066" y="3296606"/>
                  <a:pt x="8111863" y="3292411"/>
                </a:cubicBezTo>
                <a:cubicBezTo>
                  <a:pt x="8113661" y="3288216"/>
                  <a:pt x="8109466" y="3276830"/>
                  <a:pt x="8111264" y="3270837"/>
                </a:cubicBezTo>
                <a:cubicBezTo>
                  <a:pt x="8113062" y="3264845"/>
                  <a:pt x="8113661" y="3263646"/>
                  <a:pt x="8113661" y="3259451"/>
                </a:cubicBezTo>
                <a:cubicBezTo>
                  <a:pt x="8114260" y="3255256"/>
                  <a:pt x="8119055" y="3252260"/>
                  <a:pt x="8120852" y="3247466"/>
                </a:cubicBezTo>
                <a:cubicBezTo>
                  <a:pt x="8122650" y="3242671"/>
                  <a:pt x="8124448" y="3241473"/>
                  <a:pt x="8128044" y="3239076"/>
                </a:cubicBezTo>
                <a:cubicBezTo>
                  <a:pt x="8131639" y="3236679"/>
                  <a:pt x="8132238" y="3231285"/>
                  <a:pt x="8133437" y="3226491"/>
                </a:cubicBezTo>
                <a:cubicBezTo>
                  <a:pt x="8134636" y="3221697"/>
                  <a:pt x="8138231" y="3221098"/>
                  <a:pt x="8140029" y="3216303"/>
                </a:cubicBezTo>
                <a:cubicBezTo>
                  <a:pt x="8140628" y="3213906"/>
                  <a:pt x="8141227" y="3212708"/>
                  <a:pt x="8141827" y="3212109"/>
                </a:cubicBezTo>
                <a:cubicBezTo>
                  <a:pt x="8142426" y="3211509"/>
                  <a:pt x="8143625" y="3211509"/>
                  <a:pt x="8146022" y="3211509"/>
                </a:cubicBezTo>
                <a:cubicBezTo>
                  <a:pt x="8150217" y="3210910"/>
                  <a:pt x="8150816" y="3209711"/>
                  <a:pt x="8152614" y="3206116"/>
                </a:cubicBezTo>
                <a:cubicBezTo>
                  <a:pt x="8154412" y="3201921"/>
                  <a:pt x="8153812" y="3200722"/>
                  <a:pt x="8158007" y="3194130"/>
                </a:cubicBezTo>
                <a:cubicBezTo>
                  <a:pt x="8162202" y="3186939"/>
                  <a:pt x="8162202" y="3180946"/>
                  <a:pt x="8159206" y="3172556"/>
                </a:cubicBezTo>
                <a:cubicBezTo>
                  <a:pt x="8156808" y="3164167"/>
                  <a:pt x="8156209" y="3173156"/>
                  <a:pt x="8152015" y="3176751"/>
                </a:cubicBezTo>
                <a:cubicBezTo>
                  <a:pt x="8147819" y="3180347"/>
                  <a:pt x="8144224" y="3183343"/>
                  <a:pt x="8142426" y="3188737"/>
                </a:cubicBezTo>
                <a:cubicBezTo>
                  <a:pt x="8140628" y="3194130"/>
                  <a:pt x="8138231" y="3192332"/>
                  <a:pt x="8135834" y="3189336"/>
                </a:cubicBezTo>
                <a:cubicBezTo>
                  <a:pt x="8133437" y="3186939"/>
                  <a:pt x="8135235" y="3182744"/>
                  <a:pt x="8130441" y="3177350"/>
                </a:cubicBezTo>
                <a:cubicBezTo>
                  <a:pt x="8125646" y="3171957"/>
                  <a:pt x="8128044" y="3170759"/>
                  <a:pt x="8131639" y="3167163"/>
                </a:cubicBezTo>
                <a:cubicBezTo>
                  <a:pt x="8135834" y="3162968"/>
                  <a:pt x="8134036" y="3159972"/>
                  <a:pt x="8132837" y="3155178"/>
                </a:cubicBezTo>
                <a:cubicBezTo>
                  <a:pt x="8131639" y="3150383"/>
                  <a:pt x="8132238" y="3146788"/>
                  <a:pt x="8133437" y="3143192"/>
                </a:cubicBezTo>
                <a:cubicBezTo>
                  <a:pt x="8134636" y="3139596"/>
                  <a:pt x="8134636" y="3136001"/>
                  <a:pt x="8132837" y="3133004"/>
                </a:cubicBezTo>
                <a:cubicBezTo>
                  <a:pt x="8130441" y="3130008"/>
                  <a:pt x="8130441" y="3127611"/>
                  <a:pt x="8130441" y="3123416"/>
                </a:cubicBezTo>
                <a:cubicBezTo>
                  <a:pt x="8131040" y="3119221"/>
                  <a:pt x="8132238" y="3118023"/>
                  <a:pt x="8136434" y="3117423"/>
                </a:cubicBezTo>
                <a:cubicBezTo>
                  <a:pt x="8140628" y="3116824"/>
                  <a:pt x="8140628" y="3113228"/>
                  <a:pt x="8141827" y="3109033"/>
                </a:cubicBezTo>
                <a:cubicBezTo>
                  <a:pt x="8143026" y="3104838"/>
                  <a:pt x="8142426" y="3104838"/>
                  <a:pt x="8140029" y="3102441"/>
                </a:cubicBezTo>
                <a:cubicBezTo>
                  <a:pt x="8137632" y="3100044"/>
                  <a:pt x="8138830" y="3097647"/>
                  <a:pt x="8140029" y="3094651"/>
                </a:cubicBezTo>
                <a:cubicBezTo>
                  <a:pt x="8141227" y="3091654"/>
                  <a:pt x="8138830" y="3088059"/>
                  <a:pt x="8143625" y="3085063"/>
                </a:cubicBezTo>
                <a:cubicBezTo>
                  <a:pt x="8148419" y="3082066"/>
                  <a:pt x="8147819" y="3073676"/>
                  <a:pt x="8147819" y="3068882"/>
                </a:cubicBezTo>
                <a:cubicBezTo>
                  <a:pt x="8148419" y="3064088"/>
                  <a:pt x="8147819" y="3061691"/>
                  <a:pt x="8152614" y="3061092"/>
                </a:cubicBezTo>
                <a:cubicBezTo>
                  <a:pt x="8157408" y="3060492"/>
                  <a:pt x="8155610" y="3058694"/>
                  <a:pt x="8152015" y="3056297"/>
                </a:cubicBezTo>
                <a:cubicBezTo>
                  <a:pt x="8148419" y="3053900"/>
                  <a:pt x="8150217" y="3051503"/>
                  <a:pt x="8148419" y="3047308"/>
                </a:cubicBezTo>
                <a:cubicBezTo>
                  <a:pt x="8146621" y="3043113"/>
                  <a:pt x="8147220" y="3035922"/>
                  <a:pt x="8152614" y="3035922"/>
                </a:cubicBezTo>
                <a:cubicBezTo>
                  <a:pt x="8158007" y="3035922"/>
                  <a:pt x="8160405" y="3031727"/>
                  <a:pt x="8163401" y="3030529"/>
                </a:cubicBezTo>
                <a:cubicBezTo>
                  <a:pt x="8166397" y="3028731"/>
                  <a:pt x="8169993" y="3025135"/>
                  <a:pt x="8175387" y="3021539"/>
                </a:cubicBezTo>
                <a:cubicBezTo>
                  <a:pt x="8180779" y="3017344"/>
                  <a:pt x="8178982" y="3015547"/>
                  <a:pt x="8177783" y="3013150"/>
                </a:cubicBezTo>
                <a:cubicBezTo>
                  <a:pt x="8176585" y="3010752"/>
                  <a:pt x="8175387" y="3009554"/>
                  <a:pt x="8177783" y="3005359"/>
                </a:cubicBezTo>
                <a:cubicBezTo>
                  <a:pt x="8180180" y="3001164"/>
                  <a:pt x="8180180" y="3004161"/>
                  <a:pt x="8186772" y="3004760"/>
                </a:cubicBezTo>
                <a:cubicBezTo>
                  <a:pt x="8193365" y="3005359"/>
                  <a:pt x="8186772" y="2999966"/>
                  <a:pt x="8183177" y="2996370"/>
                </a:cubicBezTo>
                <a:cubicBezTo>
                  <a:pt x="8179581" y="2992774"/>
                  <a:pt x="8182578" y="2975395"/>
                  <a:pt x="8188570" y="2970601"/>
                </a:cubicBezTo>
                <a:cubicBezTo>
                  <a:pt x="8193964" y="2966406"/>
                  <a:pt x="8198158" y="2968204"/>
                  <a:pt x="8198158" y="2968204"/>
                </a:cubicBezTo>
                <a:cubicBezTo>
                  <a:pt x="8198158" y="2968204"/>
                  <a:pt x="8198758" y="2975395"/>
                  <a:pt x="8201754" y="2972399"/>
                </a:cubicBezTo>
                <a:cubicBezTo>
                  <a:pt x="8204750" y="2969403"/>
                  <a:pt x="8206548" y="2972399"/>
                  <a:pt x="8210144" y="2974197"/>
                </a:cubicBezTo>
                <a:cubicBezTo>
                  <a:pt x="8214339" y="2975995"/>
                  <a:pt x="8210743" y="2973598"/>
                  <a:pt x="8209545" y="2970002"/>
                </a:cubicBezTo>
                <a:cubicBezTo>
                  <a:pt x="8207747" y="2967005"/>
                  <a:pt x="8208946" y="2964608"/>
                  <a:pt x="8211343" y="2962211"/>
                </a:cubicBezTo>
                <a:cubicBezTo>
                  <a:pt x="8213739" y="2959814"/>
                  <a:pt x="8211942" y="2959215"/>
                  <a:pt x="8211343" y="2955020"/>
                </a:cubicBezTo>
                <a:cubicBezTo>
                  <a:pt x="8210743" y="2950825"/>
                  <a:pt x="8211343" y="2947829"/>
                  <a:pt x="8213739" y="2944832"/>
                </a:cubicBezTo>
                <a:cubicBezTo>
                  <a:pt x="8216137" y="2941836"/>
                  <a:pt x="8214339" y="2940637"/>
                  <a:pt x="8214938" y="2936442"/>
                </a:cubicBezTo>
                <a:cubicBezTo>
                  <a:pt x="8215538" y="2931648"/>
                  <a:pt x="8214938" y="2927453"/>
                  <a:pt x="8217935" y="2922659"/>
                </a:cubicBezTo>
                <a:cubicBezTo>
                  <a:pt x="8220931" y="2917865"/>
                  <a:pt x="8219133" y="2914869"/>
                  <a:pt x="8217336" y="2914269"/>
                </a:cubicBezTo>
                <a:cubicBezTo>
                  <a:pt x="8214938" y="2913670"/>
                  <a:pt x="8214339" y="2911872"/>
                  <a:pt x="8216736" y="2908876"/>
                </a:cubicBezTo>
                <a:cubicBezTo>
                  <a:pt x="8219133" y="2905280"/>
                  <a:pt x="8215538" y="2907677"/>
                  <a:pt x="8210743" y="2904681"/>
                </a:cubicBezTo>
                <a:cubicBezTo>
                  <a:pt x="8205949" y="2902284"/>
                  <a:pt x="8211343" y="2892096"/>
                  <a:pt x="8213739" y="2887901"/>
                </a:cubicBezTo>
                <a:cubicBezTo>
                  <a:pt x="8216137" y="2883706"/>
                  <a:pt x="8213140" y="2872320"/>
                  <a:pt x="8210743" y="2866328"/>
                </a:cubicBezTo>
                <a:cubicBezTo>
                  <a:pt x="8208347" y="2860335"/>
                  <a:pt x="8208347" y="2861533"/>
                  <a:pt x="8208347" y="2856140"/>
                </a:cubicBezTo>
                <a:cubicBezTo>
                  <a:pt x="8208946" y="2850746"/>
                  <a:pt x="8205949" y="2847750"/>
                  <a:pt x="8201754" y="2844754"/>
                </a:cubicBezTo>
                <a:cubicBezTo>
                  <a:pt x="8197559" y="2841757"/>
                  <a:pt x="8198758" y="2840559"/>
                  <a:pt x="8202953" y="2839959"/>
                </a:cubicBezTo>
                <a:cubicBezTo>
                  <a:pt x="8207148" y="2839360"/>
                  <a:pt x="8207148" y="2837562"/>
                  <a:pt x="8207747" y="2832768"/>
                </a:cubicBezTo>
                <a:cubicBezTo>
                  <a:pt x="8208347" y="2828573"/>
                  <a:pt x="8208347" y="2824378"/>
                  <a:pt x="8204750" y="2818985"/>
                </a:cubicBezTo>
                <a:cubicBezTo>
                  <a:pt x="8200556" y="2813591"/>
                  <a:pt x="8202354" y="2809996"/>
                  <a:pt x="8202953" y="2806400"/>
                </a:cubicBezTo>
                <a:cubicBezTo>
                  <a:pt x="8203552" y="2802804"/>
                  <a:pt x="8202953" y="2799209"/>
                  <a:pt x="8200556" y="2798010"/>
                </a:cubicBezTo>
                <a:cubicBezTo>
                  <a:pt x="8198158" y="2796212"/>
                  <a:pt x="8198158" y="2792617"/>
                  <a:pt x="8195162" y="2790220"/>
                </a:cubicBezTo>
                <a:cubicBezTo>
                  <a:pt x="8192765" y="2787823"/>
                  <a:pt x="8191567" y="2787223"/>
                  <a:pt x="8191567" y="2784227"/>
                </a:cubicBezTo>
                <a:cubicBezTo>
                  <a:pt x="8191567" y="2782429"/>
                  <a:pt x="8190967" y="2781231"/>
                  <a:pt x="8189768" y="2779433"/>
                </a:cubicBezTo>
                <a:cubicBezTo>
                  <a:pt x="8188570" y="2778234"/>
                  <a:pt x="8187372" y="2776436"/>
                  <a:pt x="8186173" y="2774039"/>
                </a:cubicBezTo>
                <a:cubicBezTo>
                  <a:pt x="8182578" y="2768646"/>
                  <a:pt x="8177184" y="2760855"/>
                  <a:pt x="8175986" y="2756061"/>
                </a:cubicBezTo>
                <a:cubicBezTo>
                  <a:pt x="8175387" y="2751267"/>
                  <a:pt x="8174787" y="2748870"/>
                  <a:pt x="8172390" y="2745274"/>
                </a:cubicBezTo>
                <a:cubicBezTo>
                  <a:pt x="8169993" y="2741079"/>
                  <a:pt x="8168794" y="2736884"/>
                  <a:pt x="8171191" y="2735086"/>
                </a:cubicBezTo>
                <a:cubicBezTo>
                  <a:pt x="8173588" y="2733289"/>
                  <a:pt x="8172390" y="2733888"/>
                  <a:pt x="8172390" y="2729693"/>
                </a:cubicBezTo>
                <a:cubicBezTo>
                  <a:pt x="8172390" y="2725498"/>
                  <a:pt x="8174188" y="2723101"/>
                  <a:pt x="8175387" y="2725498"/>
                </a:cubicBezTo>
                <a:cubicBezTo>
                  <a:pt x="8176585" y="2727895"/>
                  <a:pt x="8177783" y="2726697"/>
                  <a:pt x="8177783" y="2721902"/>
                </a:cubicBezTo>
                <a:cubicBezTo>
                  <a:pt x="8177184" y="2717108"/>
                  <a:pt x="8174188" y="2713513"/>
                  <a:pt x="8174188" y="2715910"/>
                </a:cubicBezTo>
                <a:cubicBezTo>
                  <a:pt x="8174188" y="2718307"/>
                  <a:pt x="8176585" y="2719505"/>
                  <a:pt x="8169993" y="2719505"/>
                </a:cubicBezTo>
                <a:cubicBezTo>
                  <a:pt x="8163401" y="2719505"/>
                  <a:pt x="8168794" y="2718307"/>
                  <a:pt x="8164000" y="2714711"/>
                </a:cubicBezTo>
                <a:cubicBezTo>
                  <a:pt x="8159206" y="2711115"/>
                  <a:pt x="8163401" y="2706321"/>
                  <a:pt x="8158007" y="2706921"/>
                </a:cubicBezTo>
                <a:cubicBezTo>
                  <a:pt x="8152614" y="2707520"/>
                  <a:pt x="8150816" y="2702726"/>
                  <a:pt x="8145423" y="2698531"/>
                </a:cubicBezTo>
                <a:cubicBezTo>
                  <a:pt x="8140029" y="2693737"/>
                  <a:pt x="8133437" y="2702726"/>
                  <a:pt x="8133437" y="2706321"/>
                </a:cubicBezTo>
                <a:cubicBezTo>
                  <a:pt x="8132837" y="2710516"/>
                  <a:pt x="8131040" y="2717108"/>
                  <a:pt x="8133437" y="2720704"/>
                </a:cubicBezTo>
                <a:cubicBezTo>
                  <a:pt x="8135834" y="2724300"/>
                  <a:pt x="8135235" y="2724300"/>
                  <a:pt x="8132837" y="2724300"/>
                </a:cubicBezTo>
                <a:cubicBezTo>
                  <a:pt x="8130441" y="2724300"/>
                  <a:pt x="8127445" y="2727296"/>
                  <a:pt x="8120253" y="2733888"/>
                </a:cubicBezTo>
                <a:cubicBezTo>
                  <a:pt x="8113062" y="2740480"/>
                  <a:pt x="8117856" y="2744075"/>
                  <a:pt x="8120852" y="2743476"/>
                </a:cubicBezTo>
                <a:cubicBezTo>
                  <a:pt x="8123848" y="2742877"/>
                  <a:pt x="8124448" y="2742278"/>
                  <a:pt x="8123848" y="2747671"/>
                </a:cubicBezTo>
                <a:cubicBezTo>
                  <a:pt x="8123249" y="2753065"/>
                  <a:pt x="8128044" y="2757859"/>
                  <a:pt x="8131040" y="2762653"/>
                </a:cubicBezTo>
                <a:cubicBezTo>
                  <a:pt x="8134636" y="2766848"/>
                  <a:pt x="8132837" y="2771043"/>
                  <a:pt x="8130441" y="2770444"/>
                </a:cubicBezTo>
                <a:cubicBezTo>
                  <a:pt x="8128044" y="2769844"/>
                  <a:pt x="8127445" y="2771043"/>
                  <a:pt x="8125646" y="2774039"/>
                </a:cubicBezTo>
                <a:cubicBezTo>
                  <a:pt x="8123848" y="2776436"/>
                  <a:pt x="8124448" y="2776436"/>
                  <a:pt x="8117256" y="2779433"/>
                </a:cubicBezTo>
                <a:cubicBezTo>
                  <a:pt x="8110066" y="2783028"/>
                  <a:pt x="8110665" y="2772241"/>
                  <a:pt x="8108267" y="2768646"/>
                </a:cubicBezTo>
                <a:cubicBezTo>
                  <a:pt x="8105870" y="2764451"/>
                  <a:pt x="8100477" y="2763852"/>
                  <a:pt x="8099877" y="2753664"/>
                </a:cubicBezTo>
                <a:cubicBezTo>
                  <a:pt x="8099278" y="2745873"/>
                  <a:pt x="8094485" y="2751267"/>
                  <a:pt x="8095084" y="2754863"/>
                </a:cubicBezTo>
                <a:cubicBezTo>
                  <a:pt x="8095683" y="2759057"/>
                  <a:pt x="8095683" y="2762054"/>
                  <a:pt x="8092087" y="2762054"/>
                </a:cubicBezTo>
                <a:cubicBezTo>
                  <a:pt x="8088492" y="2762054"/>
                  <a:pt x="8088492" y="2752465"/>
                  <a:pt x="8086694" y="2744075"/>
                </a:cubicBezTo>
                <a:cubicBezTo>
                  <a:pt x="8084896" y="2735686"/>
                  <a:pt x="8082499" y="2738682"/>
                  <a:pt x="8077705" y="2739881"/>
                </a:cubicBezTo>
                <a:cubicBezTo>
                  <a:pt x="8072910" y="2741079"/>
                  <a:pt x="8070514" y="2741079"/>
                  <a:pt x="8069914" y="2737484"/>
                </a:cubicBezTo>
                <a:cubicBezTo>
                  <a:pt x="8069315" y="2733888"/>
                  <a:pt x="8066318" y="2733888"/>
                  <a:pt x="8065719" y="2735686"/>
                </a:cubicBezTo>
                <a:cubicBezTo>
                  <a:pt x="8065120" y="2737484"/>
                  <a:pt x="8062124" y="2736884"/>
                  <a:pt x="8058528" y="2736285"/>
                </a:cubicBezTo>
                <a:cubicBezTo>
                  <a:pt x="8054333" y="2735686"/>
                  <a:pt x="8053734" y="2736285"/>
                  <a:pt x="8054333" y="2740480"/>
                </a:cubicBezTo>
                <a:cubicBezTo>
                  <a:pt x="8054932" y="2744675"/>
                  <a:pt x="8053734" y="2745873"/>
                  <a:pt x="8050138" y="2744675"/>
                </a:cubicBezTo>
                <a:cubicBezTo>
                  <a:pt x="8046543" y="2742877"/>
                  <a:pt x="8049539" y="2738083"/>
                  <a:pt x="8045943" y="2734487"/>
                </a:cubicBezTo>
                <a:cubicBezTo>
                  <a:pt x="8042347" y="2730892"/>
                  <a:pt x="8042347" y="2731491"/>
                  <a:pt x="8042347" y="2724899"/>
                </a:cubicBezTo>
                <a:cubicBezTo>
                  <a:pt x="8042347" y="2718307"/>
                  <a:pt x="8038752" y="2718307"/>
                  <a:pt x="8035755" y="2718307"/>
                </a:cubicBezTo>
                <a:cubicBezTo>
                  <a:pt x="8032759" y="2718307"/>
                  <a:pt x="8034557" y="2719505"/>
                  <a:pt x="8036954" y="2724899"/>
                </a:cubicBezTo>
                <a:cubicBezTo>
                  <a:pt x="8039351" y="2730292"/>
                  <a:pt x="8037554" y="2730892"/>
                  <a:pt x="8030961" y="2730292"/>
                </a:cubicBezTo>
                <a:cubicBezTo>
                  <a:pt x="8023770" y="2729693"/>
                  <a:pt x="8026766" y="2724300"/>
                  <a:pt x="8026766" y="2720704"/>
                </a:cubicBezTo>
                <a:cubicBezTo>
                  <a:pt x="8027365" y="2717108"/>
                  <a:pt x="8027365" y="2713513"/>
                  <a:pt x="8026766" y="2707520"/>
                </a:cubicBezTo>
                <a:cubicBezTo>
                  <a:pt x="8026167" y="2701527"/>
                  <a:pt x="8022572" y="2697332"/>
                  <a:pt x="8019575" y="2695534"/>
                </a:cubicBezTo>
                <a:cubicBezTo>
                  <a:pt x="8015979" y="2693737"/>
                  <a:pt x="8012983" y="2687144"/>
                  <a:pt x="8007590" y="2683549"/>
                </a:cubicBezTo>
                <a:cubicBezTo>
                  <a:pt x="8002196" y="2680553"/>
                  <a:pt x="8000398" y="2678155"/>
                  <a:pt x="7999200" y="2672163"/>
                </a:cubicBezTo>
                <a:cubicBezTo>
                  <a:pt x="7998001" y="2666769"/>
                  <a:pt x="7995004" y="2664971"/>
                  <a:pt x="7989012" y="2661975"/>
                </a:cubicBezTo>
                <a:cubicBezTo>
                  <a:pt x="7983019" y="2658979"/>
                  <a:pt x="7978824" y="2657780"/>
                  <a:pt x="7978824" y="2661376"/>
                </a:cubicBezTo>
                <a:cubicBezTo>
                  <a:pt x="7978225" y="2665571"/>
                  <a:pt x="7987214" y="2669766"/>
                  <a:pt x="7990211" y="2669766"/>
                </a:cubicBezTo>
                <a:cubicBezTo>
                  <a:pt x="7992608" y="2670365"/>
                  <a:pt x="7994405" y="2675159"/>
                  <a:pt x="7992608" y="2676957"/>
                </a:cubicBezTo>
                <a:cubicBezTo>
                  <a:pt x="7990810" y="2678155"/>
                  <a:pt x="7992008" y="2678155"/>
                  <a:pt x="7990211" y="2682950"/>
                </a:cubicBezTo>
                <a:cubicBezTo>
                  <a:pt x="7989012" y="2687744"/>
                  <a:pt x="7987813" y="2690141"/>
                  <a:pt x="7986015" y="2686545"/>
                </a:cubicBezTo>
                <a:cubicBezTo>
                  <a:pt x="7984218" y="2682350"/>
                  <a:pt x="7985416" y="2678155"/>
                  <a:pt x="7977626" y="2675758"/>
                </a:cubicBezTo>
                <a:cubicBezTo>
                  <a:pt x="7970434" y="2673361"/>
                  <a:pt x="7971034" y="2671563"/>
                  <a:pt x="7969835" y="2668567"/>
                </a:cubicBezTo>
                <a:cubicBezTo>
                  <a:pt x="7968637" y="2666170"/>
                  <a:pt x="7967438" y="2665571"/>
                  <a:pt x="7965641" y="2661975"/>
                </a:cubicBezTo>
                <a:cubicBezTo>
                  <a:pt x="7963843" y="2658379"/>
                  <a:pt x="7961445" y="2657181"/>
                  <a:pt x="7963843" y="2648791"/>
                </a:cubicBezTo>
                <a:cubicBezTo>
                  <a:pt x="7966240" y="2640401"/>
                  <a:pt x="7963243" y="2636206"/>
                  <a:pt x="7960247" y="2634408"/>
                </a:cubicBezTo>
                <a:cubicBezTo>
                  <a:pt x="7957850" y="2632611"/>
                  <a:pt x="7957850" y="2629614"/>
                  <a:pt x="7958449" y="2626019"/>
                </a:cubicBezTo>
                <a:cubicBezTo>
                  <a:pt x="7958449" y="2624221"/>
                  <a:pt x="7958449" y="2622423"/>
                  <a:pt x="7957850" y="2621224"/>
                </a:cubicBezTo>
                <a:lnTo>
                  <a:pt x="7959048" y="2620026"/>
                </a:lnTo>
                <a:cubicBezTo>
                  <a:pt x="7957850" y="2616430"/>
                  <a:pt x="7954853" y="2614632"/>
                  <a:pt x="7952456" y="2613434"/>
                </a:cubicBezTo>
                <a:cubicBezTo>
                  <a:pt x="7949460" y="2611636"/>
                  <a:pt x="7942269" y="2603845"/>
                  <a:pt x="7935677" y="2600250"/>
                </a:cubicBezTo>
                <a:cubicBezTo>
                  <a:pt x="7929084" y="2596654"/>
                  <a:pt x="7923691" y="2583470"/>
                  <a:pt x="7921294" y="2581073"/>
                </a:cubicBezTo>
                <a:cubicBezTo>
                  <a:pt x="7918897" y="2578676"/>
                  <a:pt x="7911106" y="2573282"/>
                  <a:pt x="7908710" y="2569088"/>
                </a:cubicBezTo>
                <a:cubicBezTo>
                  <a:pt x="7906312" y="2564893"/>
                  <a:pt x="7904514" y="2564293"/>
                  <a:pt x="7900320" y="2560698"/>
                </a:cubicBezTo>
                <a:cubicBezTo>
                  <a:pt x="7896124" y="2557102"/>
                  <a:pt x="7890731" y="2552907"/>
                  <a:pt x="7890731" y="2549311"/>
                </a:cubicBezTo>
                <a:cubicBezTo>
                  <a:pt x="7890731" y="2545716"/>
                  <a:pt x="7895525" y="2547514"/>
                  <a:pt x="7897922" y="2548113"/>
                </a:cubicBezTo>
                <a:cubicBezTo>
                  <a:pt x="7897922" y="2548113"/>
                  <a:pt x="7898522" y="2547514"/>
                  <a:pt x="7898522" y="2546315"/>
                </a:cubicBezTo>
                <a:cubicBezTo>
                  <a:pt x="7898522" y="2545117"/>
                  <a:pt x="7897323" y="2542720"/>
                  <a:pt x="7897323" y="2540322"/>
                </a:cubicBezTo>
                <a:cubicBezTo>
                  <a:pt x="7896724" y="2535528"/>
                  <a:pt x="7896724" y="2533730"/>
                  <a:pt x="7894327" y="2537326"/>
                </a:cubicBezTo>
                <a:cubicBezTo>
                  <a:pt x="7891930" y="2540922"/>
                  <a:pt x="7892529" y="2541521"/>
                  <a:pt x="7891331" y="2537925"/>
                </a:cubicBezTo>
                <a:cubicBezTo>
                  <a:pt x="7890132" y="2534330"/>
                  <a:pt x="7890731" y="2533730"/>
                  <a:pt x="7887135" y="2534929"/>
                </a:cubicBezTo>
                <a:cubicBezTo>
                  <a:pt x="7884139" y="2535528"/>
                  <a:pt x="7885338" y="2536727"/>
                  <a:pt x="7886536" y="2539124"/>
                </a:cubicBezTo>
                <a:cubicBezTo>
                  <a:pt x="7887135" y="2541521"/>
                  <a:pt x="7885338" y="2543319"/>
                  <a:pt x="7879345" y="2542120"/>
                </a:cubicBezTo>
                <a:cubicBezTo>
                  <a:pt x="7873951" y="2541521"/>
                  <a:pt x="7872753" y="2539124"/>
                  <a:pt x="7871554" y="2542720"/>
                </a:cubicBezTo>
                <a:cubicBezTo>
                  <a:pt x="7870356" y="2546315"/>
                  <a:pt x="7867360" y="2543918"/>
                  <a:pt x="7863764" y="2543918"/>
                </a:cubicBezTo>
                <a:cubicBezTo>
                  <a:pt x="7859569" y="2543918"/>
                  <a:pt x="7860168" y="2544517"/>
                  <a:pt x="7860168" y="2541521"/>
                </a:cubicBezTo>
                <a:cubicBezTo>
                  <a:pt x="7860168" y="2539124"/>
                  <a:pt x="7858970" y="2539124"/>
                  <a:pt x="7852977" y="2536128"/>
                </a:cubicBezTo>
                <a:cubicBezTo>
                  <a:pt x="7847583" y="2533131"/>
                  <a:pt x="7839793" y="2537326"/>
                  <a:pt x="7828407" y="2530135"/>
                </a:cubicBezTo>
                <a:cubicBezTo>
                  <a:pt x="7827208" y="2529535"/>
                  <a:pt x="7824811" y="2527738"/>
                  <a:pt x="7823013" y="2525940"/>
                </a:cubicBezTo>
                <a:cubicBezTo>
                  <a:pt x="7823013" y="2525940"/>
                  <a:pt x="7823013" y="2525940"/>
                  <a:pt x="7823013" y="2525940"/>
                </a:cubicBezTo>
                <a:cubicBezTo>
                  <a:pt x="7815222" y="2521146"/>
                  <a:pt x="7808630" y="2519348"/>
                  <a:pt x="7802039" y="2519348"/>
                </a:cubicBezTo>
                <a:cubicBezTo>
                  <a:pt x="7793649" y="2519348"/>
                  <a:pt x="7790053" y="2519947"/>
                  <a:pt x="7786458" y="2515752"/>
                </a:cubicBezTo>
                <a:cubicBezTo>
                  <a:pt x="7782862" y="2511557"/>
                  <a:pt x="7781663" y="2510958"/>
                  <a:pt x="7775670" y="2508561"/>
                </a:cubicBezTo>
                <a:cubicBezTo>
                  <a:pt x="7769678" y="2506164"/>
                  <a:pt x="7764884" y="2501370"/>
                  <a:pt x="7763685" y="2497774"/>
                </a:cubicBezTo>
                <a:lnTo>
                  <a:pt x="7763685" y="2497774"/>
                </a:lnTo>
                <a:cubicBezTo>
                  <a:pt x="7760089" y="2493579"/>
                  <a:pt x="7753498" y="2487586"/>
                  <a:pt x="7745108" y="2477399"/>
                </a:cubicBezTo>
                <a:cubicBezTo>
                  <a:pt x="7732523" y="2462417"/>
                  <a:pt x="7717541" y="2451630"/>
                  <a:pt x="7711548" y="2448034"/>
                </a:cubicBezTo>
                <a:cubicBezTo>
                  <a:pt x="7705556" y="2443839"/>
                  <a:pt x="7710349" y="2440843"/>
                  <a:pt x="7706754" y="2439045"/>
                </a:cubicBezTo>
                <a:cubicBezTo>
                  <a:pt x="7703158" y="2436648"/>
                  <a:pt x="7702559" y="2433652"/>
                  <a:pt x="7696566" y="2431255"/>
                </a:cubicBezTo>
                <a:cubicBezTo>
                  <a:pt x="7691173" y="2428858"/>
                  <a:pt x="7691173" y="2430056"/>
                  <a:pt x="7696566" y="2434251"/>
                </a:cubicBezTo>
                <a:cubicBezTo>
                  <a:pt x="7701960" y="2438446"/>
                  <a:pt x="7694768" y="2436648"/>
                  <a:pt x="7688776" y="2434251"/>
                </a:cubicBezTo>
                <a:cubicBezTo>
                  <a:pt x="7682783" y="2431854"/>
                  <a:pt x="7683382" y="2431255"/>
                  <a:pt x="7685180" y="2431255"/>
                </a:cubicBezTo>
                <a:cubicBezTo>
                  <a:pt x="7687577" y="2431255"/>
                  <a:pt x="7688177" y="2427060"/>
                  <a:pt x="7684581" y="2426460"/>
                </a:cubicBezTo>
                <a:cubicBezTo>
                  <a:pt x="7680986" y="2425861"/>
                  <a:pt x="7681585" y="2426460"/>
                  <a:pt x="7680386" y="2423464"/>
                </a:cubicBezTo>
                <a:cubicBezTo>
                  <a:pt x="7679187" y="2420468"/>
                  <a:pt x="7677389" y="2422865"/>
                  <a:pt x="7673794" y="2425861"/>
                </a:cubicBezTo>
                <a:cubicBezTo>
                  <a:pt x="7670198" y="2428858"/>
                  <a:pt x="7671397" y="2431255"/>
                  <a:pt x="7674393" y="2433052"/>
                </a:cubicBezTo>
                <a:cubicBezTo>
                  <a:pt x="7677389" y="2434251"/>
                  <a:pt x="7674993" y="2436049"/>
                  <a:pt x="7673195" y="2437247"/>
                </a:cubicBezTo>
                <a:cubicBezTo>
                  <a:pt x="7671397" y="2438446"/>
                  <a:pt x="7662407" y="2444439"/>
                  <a:pt x="7656415" y="2448633"/>
                </a:cubicBezTo>
                <a:cubicBezTo>
                  <a:pt x="7651022" y="2452828"/>
                  <a:pt x="7645628" y="2454027"/>
                  <a:pt x="7643231" y="2454027"/>
                </a:cubicBezTo>
                <a:cubicBezTo>
                  <a:pt x="7640834" y="2453428"/>
                  <a:pt x="7636040" y="2453428"/>
                  <a:pt x="7624054" y="2452828"/>
                </a:cubicBezTo>
                <a:cubicBezTo>
                  <a:pt x="7612069" y="2452229"/>
                  <a:pt x="7607275" y="2446236"/>
                  <a:pt x="7597087" y="2444439"/>
                </a:cubicBezTo>
                <a:cubicBezTo>
                  <a:pt x="7586899" y="2442641"/>
                  <a:pt x="7583903" y="2440244"/>
                  <a:pt x="7581505" y="2436049"/>
                </a:cubicBezTo>
                <a:cubicBezTo>
                  <a:pt x="7579109" y="2431255"/>
                  <a:pt x="7576113" y="2431255"/>
                  <a:pt x="7569520" y="2430655"/>
                </a:cubicBezTo>
                <a:cubicBezTo>
                  <a:pt x="7563527" y="2430056"/>
                  <a:pt x="7551542" y="2425262"/>
                  <a:pt x="7547946" y="2424063"/>
                </a:cubicBezTo>
                <a:cubicBezTo>
                  <a:pt x="7544351" y="2423464"/>
                  <a:pt x="7540755" y="2423464"/>
                  <a:pt x="7537759" y="2419868"/>
                </a:cubicBezTo>
                <a:cubicBezTo>
                  <a:pt x="7535362" y="2416273"/>
                  <a:pt x="7525773" y="2411478"/>
                  <a:pt x="7516185" y="2407883"/>
                </a:cubicBezTo>
                <a:cubicBezTo>
                  <a:pt x="7505997" y="2404887"/>
                  <a:pt x="7504200" y="2403089"/>
                  <a:pt x="7498207" y="2399493"/>
                </a:cubicBezTo>
                <a:cubicBezTo>
                  <a:pt x="7492813" y="2395298"/>
                  <a:pt x="7489817" y="2395298"/>
                  <a:pt x="7488019" y="2389305"/>
                </a:cubicBezTo>
                <a:cubicBezTo>
                  <a:pt x="7486221" y="2383313"/>
                  <a:pt x="7480828" y="2382114"/>
                  <a:pt x="7477232" y="2382114"/>
                </a:cubicBezTo>
                <a:cubicBezTo>
                  <a:pt x="7473037" y="2381515"/>
                  <a:pt x="7467044" y="2379717"/>
                  <a:pt x="7462251" y="2376721"/>
                </a:cubicBezTo>
                <a:cubicBezTo>
                  <a:pt x="7457456" y="2373724"/>
                  <a:pt x="7449066" y="2371327"/>
                  <a:pt x="7446669" y="2371327"/>
                </a:cubicBezTo>
                <a:cubicBezTo>
                  <a:pt x="7444272" y="2371327"/>
                  <a:pt x="7430489" y="2366533"/>
                  <a:pt x="7426893" y="2357544"/>
                </a:cubicBezTo>
                <a:cubicBezTo>
                  <a:pt x="7422698" y="2348555"/>
                  <a:pt x="7414908" y="2349154"/>
                  <a:pt x="7408915" y="2346158"/>
                </a:cubicBezTo>
                <a:cubicBezTo>
                  <a:pt x="7402323" y="2343761"/>
                  <a:pt x="7399327" y="2335970"/>
                  <a:pt x="7389139" y="2332374"/>
                </a:cubicBezTo>
                <a:cubicBezTo>
                  <a:pt x="7378951" y="2328179"/>
                  <a:pt x="7367565" y="2307205"/>
                  <a:pt x="7362770" y="2300613"/>
                </a:cubicBezTo>
                <a:cubicBezTo>
                  <a:pt x="7357977" y="2294021"/>
                  <a:pt x="7355579" y="2288627"/>
                  <a:pt x="7360973" y="2288028"/>
                </a:cubicBezTo>
                <a:cubicBezTo>
                  <a:pt x="7366367" y="2287429"/>
                  <a:pt x="7366966" y="2288028"/>
                  <a:pt x="7367565" y="2285032"/>
                </a:cubicBezTo>
                <a:cubicBezTo>
                  <a:pt x="7368164" y="2282035"/>
                  <a:pt x="7366367" y="2282635"/>
                  <a:pt x="7362171" y="2280837"/>
                </a:cubicBezTo>
                <a:cubicBezTo>
                  <a:pt x="7357977" y="2279638"/>
                  <a:pt x="7357977" y="2275443"/>
                  <a:pt x="7362770" y="2272447"/>
                </a:cubicBezTo>
                <a:cubicBezTo>
                  <a:pt x="7367565" y="2270050"/>
                  <a:pt x="7364569" y="2270050"/>
                  <a:pt x="7365767" y="2265855"/>
                </a:cubicBezTo>
                <a:cubicBezTo>
                  <a:pt x="7366966" y="2261660"/>
                  <a:pt x="7365767" y="2255667"/>
                  <a:pt x="7358576" y="2252072"/>
                </a:cubicBezTo>
                <a:cubicBezTo>
                  <a:pt x="7351385" y="2247877"/>
                  <a:pt x="7353182" y="2246079"/>
                  <a:pt x="7348988" y="2241884"/>
                </a:cubicBezTo>
                <a:cubicBezTo>
                  <a:pt x="7344792" y="2237689"/>
                  <a:pt x="7343594" y="2226303"/>
                  <a:pt x="7341796" y="2220909"/>
                </a:cubicBezTo>
                <a:cubicBezTo>
                  <a:pt x="7340598" y="2215516"/>
                  <a:pt x="7331609" y="2210123"/>
                  <a:pt x="7322619" y="2205928"/>
                </a:cubicBezTo>
                <a:cubicBezTo>
                  <a:pt x="7314229" y="2201733"/>
                  <a:pt x="7316627" y="2200534"/>
                  <a:pt x="7322020" y="2201133"/>
                </a:cubicBezTo>
                <a:cubicBezTo>
                  <a:pt x="7327414" y="2201733"/>
                  <a:pt x="7324418" y="2200534"/>
                  <a:pt x="7321421" y="2198137"/>
                </a:cubicBezTo>
                <a:cubicBezTo>
                  <a:pt x="7318425" y="2195740"/>
                  <a:pt x="7317226" y="2193343"/>
                  <a:pt x="7313630" y="2192743"/>
                </a:cubicBezTo>
                <a:cubicBezTo>
                  <a:pt x="7309436" y="2192144"/>
                  <a:pt x="7306439" y="2190346"/>
                  <a:pt x="7301046" y="2181957"/>
                </a:cubicBezTo>
                <a:cubicBezTo>
                  <a:pt x="7295652" y="2173567"/>
                  <a:pt x="7287861" y="2168772"/>
                  <a:pt x="7281269" y="2166375"/>
                </a:cubicBezTo>
                <a:cubicBezTo>
                  <a:pt x="7275277" y="2163978"/>
                  <a:pt x="7280071" y="2159184"/>
                  <a:pt x="7275876" y="2156188"/>
                </a:cubicBezTo>
                <a:cubicBezTo>
                  <a:pt x="7271681" y="2152592"/>
                  <a:pt x="7269284" y="2153192"/>
                  <a:pt x="7269883" y="2150794"/>
                </a:cubicBezTo>
                <a:cubicBezTo>
                  <a:pt x="7270483" y="2148397"/>
                  <a:pt x="7271681" y="2146000"/>
                  <a:pt x="7264490" y="2146000"/>
                </a:cubicBezTo>
                <a:cubicBezTo>
                  <a:pt x="7257298" y="2146000"/>
                  <a:pt x="7257898" y="2141805"/>
                  <a:pt x="7255501" y="2138809"/>
                </a:cubicBezTo>
                <a:cubicBezTo>
                  <a:pt x="7253104" y="2135812"/>
                  <a:pt x="7250707" y="2134614"/>
                  <a:pt x="7251306" y="2131618"/>
                </a:cubicBezTo>
                <a:cubicBezTo>
                  <a:pt x="7251905" y="2128022"/>
                  <a:pt x="7247710" y="2123228"/>
                  <a:pt x="7242317" y="2119632"/>
                </a:cubicBezTo>
                <a:cubicBezTo>
                  <a:pt x="7236923" y="2115437"/>
                  <a:pt x="7236324" y="2116036"/>
                  <a:pt x="7234526" y="2112441"/>
                </a:cubicBezTo>
                <a:cubicBezTo>
                  <a:pt x="7232728" y="2108246"/>
                  <a:pt x="7229133" y="2107047"/>
                  <a:pt x="7224338" y="2110044"/>
                </a:cubicBezTo>
                <a:cubicBezTo>
                  <a:pt x="7219545" y="2113040"/>
                  <a:pt x="7218945" y="2108246"/>
                  <a:pt x="7221342" y="2105250"/>
                </a:cubicBezTo>
                <a:cubicBezTo>
                  <a:pt x="7223739" y="2102253"/>
                  <a:pt x="7220743" y="2099257"/>
                  <a:pt x="7217746" y="2102253"/>
                </a:cubicBezTo>
                <a:cubicBezTo>
                  <a:pt x="7215349" y="2105250"/>
                  <a:pt x="7213552" y="2104650"/>
                  <a:pt x="7207559" y="2102852"/>
                </a:cubicBezTo>
                <a:cubicBezTo>
                  <a:pt x="7201566" y="2101055"/>
                  <a:pt x="7202765" y="2097459"/>
                  <a:pt x="7202166" y="2093863"/>
                </a:cubicBezTo>
                <a:cubicBezTo>
                  <a:pt x="7201566" y="2090268"/>
                  <a:pt x="7199768" y="2087870"/>
                  <a:pt x="7200367" y="2083676"/>
                </a:cubicBezTo>
                <a:cubicBezTo>
                  <a:pt x="7200967" y="2079481"/>
                  <a:pt x="7202765" y="2083076"/>
                  <a:pt x="7206959" y="2085473"/>
                </a:cubicBezTo>
                <a:cubicBezTo>
                  <a:pt x="7211155" y="2087870"/>
                  <a:pt x="7209956" y="2083676"/>
                  <a:pt x="7208757" y="2081279"/>
                </a:cubicBezTo>
                <a:cubicBezTo>
                  <a:pt x="7207559" y="2078881"/>
                  <a:pt x="7208158" y="2075885"/>
                  <a:pt x="7202765" y="2076484"/>
                </a:cubicBezTo>
                <a:cubicBezTo>
                  <a:pt x="7197371" y="2077084"/>
                  <a:pt x="7199768" y="2075286"/>
                  <a:pt x="7197970" y="2068694"/>
                </a:cubicBezTo>
                <a:cubicBezTo>
                  <a:pt x="7196173" y="2062102"/>
                  <a:pt x="7190779" y="2062701"/>
                  <a:pt x="7187184" y="2063300"/>
                </a:cubicBezTo>
                <a:cubicBezTo>
                  <a:pt x="7182988" y="2063899"/>
                  <a:pt x="7179393" y="2063300"/>
                  <a:pt x="7176996" y="2056109"/>
                </a:cubicBezTo>
                <a:cubicBezTo>
                  <a:pt x="7174599" y="2048918"/>
                  <a:pt x="7172801" y="2050716"/>
                  <a:pt x="7168606" y="2050716"/>
                </a:cubicBezTo>
                <a:cubicBezTo>
                  <a:pt x="7164411" y="2051315"/>
                  <a:pt x="7163213" y="2043524"/>
                  <a:pt x="7159017" y="2042326"/>
                </a:cubicBezTo>
                <a:cubicBezTo>
                  <a:pt x="7154823" y="2041127"/>
                  <a:pt x="7157220" y="2037531"/>
                  <a:pt x="7157819" y="2029142"/>
                </a:cubicBezTo>
                <a:cubicBezTo>
                  <a:pt x="7158418" y="2020752"/>
                  <a:pt x="7144036" y="2024348"/>
                  <a:pt x="7138643" y="2023748"/>
                </a:cubicBezTo>
                <a:cubicBezTo>
                  <a:pt x="7133249" y="2023149"/>
                  <a:pt x="7132650" y="2021351"/>
                  <a:pt x="7129654" y="2016557"/>
                </a:cubicBezTo>
                <a:cubicBezTo>
                  <a:pt x="7126657" y="2011163"/>
                  <a:pt x="7121863" y="2009965"/>
                  <a:pt x="7116469" y="2006968"/>
                </a:cubicBezTo>
                <a:cubicBezTo>
                  <a:pt x="7111075" y="2003972"/>
                  <a:pt x="7115870" y="1997979"/>
                  <a:pt x="7110476" y="1997979"/>
                </a:cubicBezTo>
                <a:cubicBezTo>
                  <a:pt x="7105083" y="1997979"/>
                  <a:pt x="7098491" y="1993785"/>
                  <a:pt x="7097892" y="1987792"/>
                </a:cubicBezTo>
                <a:cubicBezTo>
                  <a:pt x="7097293" y="1981200"/>
                  <a:pt x="7094296" y="1979402"/>
                  <a:pt x="7091300" y="1978803"/>
                </a:cubicBezTo>
                <a:cubicBezTo>
                  <a:pt x="7088303" y="1978203"/>
                  <a:pt x="7087704" y="1977604"/>
                  <a:pt x="7088903" y="1974608"/>
                </a:cubicBezTo>
                <a:cubicBezTo>
                  <a:pt x="7089502" y="1972211"/>
                  <a:pt x="7088303" y="1970413"/>
                  <a:pt x="7083509" y="1967417"/>
                </a:cubicBezTo>
                <a:cubicBezTo>
                  <a:pt x="7078115" y="1964420"/>
                  <a:pt x="7073921" y="1957229"/>
                  <a:pt x="7074520" y="1953034"/>
                </a:cubicBezTo>
                <a:cubicBezTo>
                  <a:pt x="7075119" y="1948839"/>
                  <a:pt x="7072123" y="1946442"/>
                  <a:pt x="7068527" y="1944644"/>
                </a:cubicBezTo>
                <a:cubicBezTo>
                  <a:pt x="7064333" y="1942247"/>
                  <a:pt x="7066130" y="1940449"/>
                  <a:pt x="7055343" y="1933258"/>
                </a:cubicBezTo>
                <a:cubicBezTo>
                  <a:pt x="7044556" y="1926066"/>
                  <a:pt x="7048152" y="1921872"/>
                  <a:pt x="7051148" y="1916478"/>
                </a:cubicBezTo>
                <a:cubicBezTo>
                  <a:pt x="7053545" y="1911085"/>
                  <a:pt x="7043957" y="1908088"/>
                  <a:pt x="7039762" y="1907489"/>
                </a:cubicBezTo>
                <a:cubicBezTo>
                  <a:pt x="7035567" y="1906890"/>
                  <a:pt x="7027177" y="1897301"/>
                  <a:pt x="7023582" y="1901496"/>
                </a:cubicBezTo>
                <a:cubicBezTo>
                  <a:pt x="7019986" y="1905691"/>
                  <a:pt x="7015192" y="1902096"/>
                  <a:pt x="7007401" y="1897301"/>
                </a:cubicBezTo>
                <a:cubicBezTo>
                  <a:pt x="6999611" y="1893106"/>
                  <a:pt x="6997213" y="1894904"/>
                  <a:pt x="7002008" y="1898500"/>
                </a:cubicBezTo>
                <a:cubicBezTo>
                  <a:pt x="7006802" y="1902695"/>
                  <a:pt x="7007401" y="1916478"/>
                  <a:pt x="7013993" y="1924269"/>
                </a:cubicBezTo>
                <a:cubicBezTo>
                  <a:pt x="7020585" y="1932059"/>
                  <a:pt x="7015192" y="1948839"/>
                  <a:pt x="7025979" y="1956629"/>
                </a:cubicBezTo>
                <a:cubicBezTo>
                  <a:pt x="7036766" y="1963821"/>
                  <a:pt x="7030173" y="1970413"/>
                  <a:pt x="7036166" y="1969814"/>
                </a:cubicBezTo>
                <a:cubicBezTo>
                  <a:pt x="7045155" y="1968615"/>
                  <a:pt x="7043957" y="1974008"/>
                  <a:pt x="7052946" y="1975207"/>
                </a:cubicBezTo>
                <a:cubicBezTo>
                  <a:pt x="7061336" y="1977005"/>
                  <a:pt x="7067329" y="1993785"/>
                  <a:pt x="7066130" y="1997979"/>
                </a:cubicBezTo>
                <a:cubicBezTo>
                  <a:pt x="7065531" y="2002174"/>
                  <a:pt x="7067928" y="2002174"/>
                  <a:pt x="7072722" y="2000377"/>
                </a:cubicBezTo>
                <a:cubicBezTo>
                  <a:pt x="7077516" y="1999178"/>
                  <a:pt x="7079913" y="1999777"/>
                  <a:pt x="7079913" y="2005770"/>
                </a:cubicBezTo>
                <a:cubicBezTo>
                  <a:pt x="7080513" y="2011763"/>
                  <a:pt x="7082311" y="2014759"/>
                  <a:pt x="7087104" y="2013561"/>
                </a:cubicBezTo>
                <a:cubicBezTo>
                  <a:pt x="7092498" y="2012362"/>
                  <a:pt x="7093697" y="2014160"/>
                  <a:pt x="7095494" y="2018355"/>
                </a:cubicBezTo>
                <a:cubicBezTo>
                  <a:pt x="7097892" y="2022550"/>
                  <a:pt x="7097892" y="2024348"/>
                  <a:pt x="7096693" y="2027943"/>
                </a:cubicBezTo>
                <a:cubicBezTo>
                  <a:pt x="7095494" y="2031539"/>
                  <a:pt x="7097293" y="2032737"/>
                  <a:pt x="7099090" y="2038131"/>
                </a:cubicBezTo>
                <a:cubicBezTo>
                  <a:pt x="7101487" y="2043524"/>
                  <a:pt x="7106282" y="2047120"/>
                  <a:pt x="7109278" y="2046521"/>
                </a:cubicBezTo>
                <a:cubicBezTo>
                  <a:pt x="7112274" y="2045921"/>
                  <a:pt x="7114672" y="2047719"/>
                  <a:pt x="7116469" y="2050716"/>
                </a:cubicBezTo>
                <a:cubicBezTo>
                  <a:pt x="7118866" y="2053113"/>
                  <a:pt x="7123661" y="2057907"/>
                  <a:pt x="7123661" y="2059705"/>
                </a:cubicBezTo>
                <a:cubicBezTo>
                  <a:pt x="7123661" y="2062102"/>
                  <a:pt x="7126057" y="2064499"/>
                  <a:pt x="7129054" y="2065697"/>
                </a:cubicBezTo>
                <a:cubicBezTo>
                  <a:pt x="7131451" y="2066896"/>
                  <a:pt x="7135046" y="2072889"/>
                  <a:pt x="7138043" y="2074087"/>
                </a:cubicBezTo>
                <a:cubicBezTo>
                  <a:pt x="7141039" y="2075885"/>
                  <a:pt x="7139841" y="2071690"/>
                  <a:pt x="7137444" y="2068094"/>
                </a:cubicBezTo>
                <a:cubicBezTo>
                  <a:pt x="7135046" y="2064499"/>
                  <a:pt x="7132050" y="2062701"/>
                  <a:pt x="7135046" y="2062701"/>
                </a:cubicBezTo>
                <a:cubicBezTo>
                  <a:pt x="7137444" y="2062102"/>
                  <a:pt x="7139242" y="2064499"/>
                  <a:pt x="7144036" y="2069293"/>
                </a:cubicBezTo>
                <a:cubicBezTo>
                  <a:pt x="7148830" y="2074087"/>
                  <a:pt x="7151227" y="2086073"/>
                  <a:pt x="7152425" y="2098058"/>
                </a:cubicBezTo>
                <a:cubicBezTo>
                  <a:pt x="7154224" y="2110044"/>
                  <a:pt x="7166209" y="2119632"/>
                  <a:pt x="7175198" y="2127423"/>
                </a:cubicBezTo>
                <a:cubicBezTo>
                  <a:pt x="7183588" y="2134614"/>
                  <a:pt x="7185386" y="2138809"/>
                  <a:pt x="7185386" y="2144202"/>
                </a:cubicBezTo>
                <a:cubicBezTo>
                  <a:pt x="7184786" y="2149596"/>
                  <a:pt x="7193176" y="2160982"/>
                  <a:pt x="7197371" y="2166975"/>
                </a:cubicBezTo>
                <a:cubicBezTo>
                  <a:pt x="7201566" y="2172967"/>
                  <a:pt x="7199768" y="2165177"/>
                  <a:pt x="7199768" y="2160383"/>
                </a:cubicBezTo>
                <a:cubicBezTo>
                  <a:pt x="7199768" y="2155589"/>
                  <a:pt x="7199169" y="2156188"/>
                  <a:pt x="7202166" y="2156188"/>
                </a:cubicBezTo>
                <a:cubicBezTo>
                  <a:pt x="7205162" y="2155589"/>
                  <a:pt x="7210555" y="2161581"/>
                  <a:pt x="7213552" y="2165776"/>
                </a:cubicBezTo>
                <a:cubicBezTo>
                  <a:pt x="7215948" y="2169971"/>
                  <a:pt x="7220743" y="2171170"/>
                  <a:pt x="7223739" y="2177762"/>
                </a:cubicBezTo>
                <a:cubicBezTo>
                  <a:pt x="7226736" y="2183754"/>
                  <a:pt x="7230930" y="2184953"/>
                  <a:pt x="7233327" y="2190946"/>
                </a:cubicBezTo>
                <a:cubicBezTo>
                  <a:pt x="7235725" y="2196938"/>
                  <a:pt x="7238721" y="2204130"/>
                  <a:pt x="7230930" y="2215516"/>
                </a:cubicBezTo>
                <a:cubicBezTo>
                  <a:pt x="7223140" y="2226902"/>
                  <a:pt x="7212952" y="2205328"/>
                  <a:pt x="7209956" y="2195141"/>
                </a:cubicBezTo>
                <a:cubicBezTo>
                  <a:pt x="7207559" y="2184953"/>
                  <a:pt x="7202765" y="2185552"/>
                  <a:pt x="7197970" y="2184354"/>
                </a:cubicBezTo>
                <a:cubicBezTo>
                  <a:pt x="7192577" y="2183155"/>
                  <a:pt x="7190180" y="2174166"/>
                  <a:pt x="7187184" y="2172368"/>
                </a:cubicBezTo>
                <a:cubicBezTo>
                  <a:pt x="7184187" y="2170570"/>
                  <a:pt x="7180592" y="2165776"/>
                  <a:pt x="7174599" y="2163379"/>
                </a:cubicBezTo>
                <a:cubicBezTo>
                  <a:pt x="7168606" y="2160982"/>
                  <a:pt x="7167407" y="2157986"/>
                  <a:pt x="7166808" y="2154390"/>
                </a:cubicBezTo>
                <a:cubicBezTo>
                  <a:pt x="7166209" y="2150195"/>
                  <a:pt x="7165610" y="2151394"/>
                  <a:pt x="7162614" y="2150794"/>
                </a:cubicBezTo>
                <a:cubicBezTo>
                  <a:pt x="7160216" y="2150195"/>
                  <a:pt x="7158418" y="2148997"/>
                  <a:pt x="7155422" y="2144802"/>
                </a:cubicBezTo>
                <a:cubicBezTo>
                  <a:pt x="7152425" y="2140607"/>
                  <a:pt x="7151227" y="2140607"/>
                  <a:pt x="7151227" y="2143603"/>
                </a:cubicBezTo>
                <a:cubicBezTo>
                  <a:pt x="7150628" y="2146000"/>
                  <a:pt x="7149429" y="2146000"/>
                  <a:pt x="7145234" y="2144802"/>
                </a:cubicBezTo>
                <a:cubicBezTo>
                  <a:pt x="7141039" y="2144202"/>
                  <a:pt x="7144635" y="2139408"/>
                  <a:pt x="7145234" y="2135213"/>
                </a:cubicBezTo>
                <a:cubicBezTo>
                  <a:pt x="7145834" y="2131018"/>
                  <a:pt x="7142837" y="2120231"/>
                  <a:pt x="7140440" y="2116636"/>
                </a:cubicBezTo>
                <a:cubicBezTo>
                  <a:pt x="7138043" y="2113040"/>
                  <a:pt x="7131451" y="2101055"/>
                  <a:pt x="7131451" y="2098058"/>
                </a:cubicBezTo>
                <a:cubicBezTo>
                  <a:pt x="7131451" y="2095062"/>
                  <a:pt x="7129654" y="2092665"/>
                  <a:pt x="7127256" y="2092065"/>
                </a:cubicBezTo>
                <a:cubicBezTo>
                  <a:pt x="7124859" y="2091466"/>
                  <a:pt x="7118866" y="2086672"/>
                  <a:pt x="7109278" y="2082477"/>
                </a:cubicBezTo>
                <a:cubicBezTo>
                  <a:pt x="7099690" y="2078282"/>
                  <a:pt x="7098491" y="2072889"/>
                  <a:pt x="7098491" y="2066896"/>
                </a:cubicBezTo>
                <a:cubicBezTo>
                  <a:pt x="7098491" y="2060903"/>
                  <a:pt x="7094895" y="2062701"/>
                  <a:pt x="7094296" y="2065697"/>
                </a:cubicBezTo>
                <a:cubicBezTo>
                  <a:pt x="7093697" y="2068094"/>
                  <a:pt x="7094895" y="2072289"/>
                  <a:pt x="7093697" y="2071091"/>
                </a:cubicBezTo>
                <a:cubicBezTo>
                  <a:pt x="7091899" y="2070492"/>
                  <a:pt x="7091300" y="2070492"/>
                  <a:pt x="7087104" y="2072289"/>
                </a:cubicBezTo>
                <a:cubicBezTo>
                  <a:pt x="7082910" y="2074687"/>
                  <a:pt x="7079913" y="2071690"/>
                  <a:pt x="7082311" y="2066896"/>
                </a:cubicBezTo>
                <a:cubicBezTo>
                  <a:pt x="7084708" y="2062102"/>
                  <a:pt x="7081712" y="2062701"/>
                  <a:pt x="7076917" y="2063300"/>
                </a:cubicBezTo>
                <a:cubicBezTo>
                  <a:pt x="7072123" y="2063899"/>
                  <a:pt x="7069726" y="2059705"/>
                  <a:pt x="7066130" y="2057907"/>
                </a:cubicBezTo>
                <a:cubicBezTo>
                  <a:pt x="7061935" y="2055510"/>
                  <a:pt x="7058939" y="2053712"/>
                  <a:pt x="7055343" y="2049517"/>
                </a:cubicBezTo>
                <a:cubicBezTo>
                  <a:pt x="7051748" y="2044723"/>
                  <a:pt x="7043957" y="2043524"/>
                  <a:pt x="7039762" y="2038730"/>
                </a:cubicBezTo>
                <a:cubicBezTo>
                  <a:pt x="7035567" y="2033936"/>
                  <a:pt x="7043957" y="2036932"/>
                  <a:pt x="7047553" y="2036932"/>
                </a:cubicBezTo>
                <a:cubicBezTo>
                  <a:pt x="7051148" y="2036932"/>
                  <a:pt x="7052946" y="2036932"/>
                  <a:pt x="7053545" y="2039329"/>
                </a:cubicBezTo>
                <a:cubicBezTo>
                  <a:pt x="7054144" y="2041726"/>
                  <a:pt x="7055343" y="2041726"/>
                  <a:pt x="7058340" y="2040528"/>
                </a:cubicBezTo>
                <a:cubicBezTo>
                  <a:pt x="7061336" y="2039929"/>
                  <a:pt x="7060137" y="2036932"/>
                  <a:pt x="7060137" y="2036932"/>
                </a:cubicBezTo>
                <a:cubicBezTo>
                  <a:pt x="7060137" y="2036932"/>
                  <a:pt x="7058340" y="2034535"/>
                  <a:pt x="7058340" y="2032138"/>
                </a:cubicBezTo>
                <a:cubicBezTo>
                  <a:pt x="7058340" y="2029741"/>
                  <a:pt x="7060137" y="2026745"/>
                  <a:pt x="7060737" y="2028542"/>
                </a:cubicBezTo>
                <a:cubicBezTo>
                  <a:pt x="7061336" y="2030340"/>
                  <a:pt x="7063134" y="2030340"/>
                  <a:pt x="7064333" y="2028542"/>
                </a:cubicBezTo>
                <a:cubicBezTo>
                  <a:pt x="7065531" y="2026745"/>
                  <a:pt x="7064932" y="2024348"/>
                  <a:pt x="7061935" y="2021950"/>
                </a:cubicBezTo>
                <a:cubicBezTo>
                  <a:pt x="7058939" y="2019553"/>
                  <a:pt x="7054744" y="2011163"/>
                  <a:pt x="7049351" y="2006369"/>
                </a:cubicBezTo>
                <a:cubicBezTo>
                  <a:pt x="7043957" y="2001575"/>
                  <a:pt x="7038563" y="1997979"/>
                  <a:pt x="7039163" y="1994384"/>
                </a:cubicBezTo>
                <a:cubicBezTo>
                  <a:pt x="7039762" y="1990189"/>
                  <a:pt x="7037365" y="1991387"/>
                  <a:pt x="7034369" y="1989590"/>
                </a:cubicBezTo>
                <a:cubicBezTo>
                  <a:pt x="7031372" y="1987792"/>
                  <a:pt x="7026578" y="1984196"/>
                  <a:pt x="7019986" y="1982398"/>
                </a:cubicBezTo>
                <a:cubicBezTo>
                  <a:pt x="7013394" y="1981200"/>
                  <a:pt x="7010398" y="1975207"/>
                  <a:pt x="7005603" y="1972211"/>
                </a:cubicBezTo>
                <a:cubicBezTo>
                  <a:pt x="7000810" y="1969814"/>
                  <a:pt x="6997813" y="1960824"/>
                  <a:pt x="6995416" y="1956030"/>
                </a:cubicBezTo>
                <a:cubicBezTo>
                  <a:pt x="6993019" y="1951236"/>
                  <a:pt x="6992420" y="1948839"/>
                  <a:pt x="6988224" y="1950637"/>
                </a:cubicBezTo>
                <a:cubicBezTo>
                  <a:pt x="6984030" y="1952435"/>
                  <a:pt x="6982831" y="1948240"/>
                  <a:pt x="6982831" y="1945243"/>
                </a:cubicBezTo>
                <a:cubicBezTo>
                  <a:pt x="6982232" y="1941648"/>
                  <a:pt x="6981033" y="1933258"/>
                  <a:pt x="6978636" y="1933258"/>
                </a:cubicBezTo>
                <a:cubicBezTo>
                  <a:pt x="6976239" y="1932659"/>
                  <a:pt x="6973242" y="1932059"/>
                  <a:pt x="6973242" y="1927265"/>
                </a:cubicBezTo>
                <a:cubicBezTo>
                  <a:pt x="6972643" y="1922471"/>
                  <a:pt x="6969048" y="1916478"/>
                  <a:pt x="6964853" y="1912283"/>
                </a:cubicBezTo>
                <a:cubicBezTo>
                  <a:pt x="6960658" y="1908088"/>
                  <a:pt x="6957661" y="1903893"/>
                  <a:pt x="6959460" y="1902695"/>
                </a:cubicBezTo>
                <a:cubicBezTo>
                  <a:pt x="6961257" y="1901496"/>
                  <a:pt x="6964253" y="1898500"/>
                  <a:pt x="6955264" y="1897301"/>
                </a:cubicBezTo>
                <a:cubicBezTo>
                  <a:pt x="6950470" y="1896702"/>
                  <a:pt x="6943279" y="1888312"/>
                  <a:pt x="6936088" y="1878125"/>
                </a:cubicBezTo>
                <a:lnTo>
                  <a:pt x="6942080" y="1874529"/>
                </a:lnTo>
                <a:cubicBezTo>
                  <a:pt x="6939084" y="1875128"/>
                  <a:pt x="6937286" y="1875727"/>
                  <a:pt x="6937286" y="1875727"/>
                </a:cubicBezTo>
                <a:cubicBezTo>
                  <a:pt x="6930095" y="1866139"/>
                  <a:pt x="6922904" y="1858349"/>
                  <a:pt x="6919908" y="1852955"/>
                </a:cubicBezTo>
                <a:cubicBezTo>
                  <a:pt x="6914514" y="1842168"/>
                  <a:pt x="6903128" y="1840370"/>
                  <a:pt x="6897135" y="1837973"/>
                </a:cubicBezTo>
                <a:cubicBezTo>
                  <a:pt x="6891741" y="1835576"/>
                  <a:pt x="6868969" y="1825988"/>
                  <a:pt x="6861179" y="1820594"/>
                </a:cubicBezTo>
                <a:cubicBezTo>
                  <a:pt x="6853388" y="1815201"/>
                  <a:pt x="6843200" y="1816399"/>
                  <a:pt x="6836009" y="1815800"/>
                </a:cubicBezTo>
                <a:cubicBezTo>
                  <a:pt x="6828818" y="1815201"/>
                  <a:pt x="6826420" y="1814002"/>
                  <a:pt x="6824623" y="1804414"/>
                </a:cubicBezTo>
                <a:cubicBezTo>
                  <a:pt x="6822825" y="1794826"/>
                  <a:pt x="6817431" y="1791829"/>
                  <a:pt x="6814435" y="1788233"/>
                </a:cubicBezTo>
                <a:cubicBezTo>
                  <a:pt x="6810839" y="1784039"/>
                  <a:pt x="6796457" y="1772652"/>
                  <a:pt x="6792262" y="1770255"/>
                </a:cubicBezTo>
                <a:cubicBezTo>
                  <a:pt x="6788067" y="1767858"/>
                  <a:pt x="6779078" y="1752876"/>
                  <a:pt x="6773685" y="1748682"/>
                </a:cubicBezTo>
                <a:cubicBezTo>
                  <a:pt x="6768291" y="1744487"/>
                  <a:pt x="6766493" y="1738494"/>
                  <a:pt x="6769489" y="1734898"/>
                </a:cubicBezTo>
                <a:cubicBezTo>
                  <a:pt x="6772486" y="1730703"/>
                  <a:pt x="6767093" y="1725909"/>
                  <a:pt x="6761699" y="1726508"/>
                </a:cubicBezTo>
                <a:cubicBezTo>
                  <a:pt x="6756306" y="1727108"/>
                  <a:pt x="6749714" y="1721714"/>
                  <a:pt x="6749714" y="1721714"/>
                </a:cubicBezTo>
                <a:cubicBezTo>
                  <a:pt x="6736529" y="1706732"/>
                  <a:pt x="6746717" y="1706732"/>
                  <a:pt x="6745518" y="1701938"/>
                </a:cubicBezTo>
                <a:cubicBezTo>
                  <a:pt x="6744919" y="1697144"/>
                  <a:pt x="6749714" y="1692350"/>
                  <a:pt x="6749714" y="1692350"/>
                </a:cubicBezTo>
                <a:lnTo>
                  <a:pt x="6749714" y="1688155"/>
                </a:lnTo>
                <a:cubicBezTo>
                  <a:pt x="6741923" y="1685758"/>
                  <a:pt x="6738327" y="1688754"/>
                  <a:pt x="6738327" y="1694747"/>
                </a:cubicBezTo>
                <a:cubicBezTo>
                  <a:pt x="6738327" y="1700140"/>
                  <a:pt x="6734732" y="1698342"/>
                  <a:pt x="6733533" y="1695945"/>
                </a:cubicBezTo>
                <a:cubicBezTo>
                  <a:pt x="6732335" y="1693548"/>
                  <a:pt x="6729338" y="1687556"/>
                  <a:pt x="6726342" y="1692949"/>
                </a:cubicBezTo>
                <a:cubicBezTo>
                  <a:pt x="6722746" y="1698342"/>
                  <a:pt x="6721547" y="1694148"/>
                  <a:pt x="6722147" y="1689353"/>
                </a:cubicBezTo>
                <a:cubicBezTo>
                  <a:pt x="6722746" y="1684559"/>
                  <a:pt x="6719750" y="1682162"/>
                  <a:pt x="6716754" y="1679166"/>
                </a:cubicBezTo>
                <a:cubicBezTo>
                  <a:pt x="6713757" y="1675570"/>
                  <a:pt x="6695779" y="1654595"/>
                  <a:pt x="6692184" y="1650400"/>
                </a:cubicBezTo>
                <a:cubicBezTo>
                  <a:pt x="6689187" y="1646206"/>
                  <a:pt x="6687988" y="1643209"/>
                  <a:pt x="6678999" y="1637217"/>
                </a:cubicBezTo>
                <a:cubicBezTo>
                  <a:pt x="6670010" y="1631224"/>
                  <a:pt x="6660422" y="1620437"/>
                  <a:pt x="6661620" y="1613246"/>
                </a:cubicBezTo>
                <a:cubicBezTo>
                  <a:pt x="6663418" y="1603657"/>
                  <a:pt x="6657425" y="1607253"/>
                  <a:pt x="6656826" y="1598264"/>
                </a:cubicBezTo>
                <a:cubicBezTo>
                  <a:pt x="6656826" y="1594069"/>
                  <a:pt x="6653231" y="1585080"/>
                  <a:pt x="6650834" y="1582083"/>
                </a:cubicBezTo>
                <a:cubicBezTo>
                  <a:pt x="6648436" y="1579686"/>
                  <a:pt x="6643642" y="1574293"/>
                  <a:pt x="6642444" y="1568899"/>
                </a:cubicBezTo>
                <a:cubicBezTo>
                  <a:pt x="6641245" y="1563506"/>
                  <a:pt x="6637050" y="1558712"/>
                  <a:pt x="6632256" y="1552120"/>
                </a:cubicBezTo>
                <a:cubicBezTo>
                  <a:pt x="6627462" y="1546127"/>
                  <a:pt x="6623866" y="1534141"/>
                  <a:pt x="6623866" y="1526351"/>
                </a:cubicBezTo>
                <a:cubicBezTo>
                  <a:pt x="6623866" y="1518560"/>
                  <a:pt x="6618473" y="1486199"/>
                  <a:pt x="6613678" y="1477810"/>
                </a:cubicBezTo>
                <a:cubicBezTo>
                  <a:pt x="6608884" y="1469420"/>
                  <a:pt x="6606487" y="1462228"/>
                  <a:pt x="6606487" y="1459232"/>
                </a:cubicBezTo>
                <a:cubicBezTo>
                  <a:pt x="6606487" y="1456236"/>
                  <a:pt x="6605888" y="1452041"/>
                  <a:pt x="6599296" y="1444850"/>
                </a:cubicBezTo>
                <a:cubicBezTo>
                  <a:pt x="6592703" y="1437658"/>
                  <a:pt x="6607685" y="1443052"/>
                  <a:pt x="6601093" y="1437059"/>
                </a:cubicBezTo>
                <a:cubicBezTo>
                  <a:pt x="6596899" y="1433463"/>
                  <a:pt x="6599296" y="1429868"/>
                  <a:pt x="6593902" y="1429268"/>
                </a:cubicBezTo>
                <a:cubicBezTo>
                  <a:pt x="6587910" y="1428669"/>
                  <a:pt x="6594502" y="1425673"/>
                  <a:pt x="6591505" y="1419680"/>
                </a:cubicBezTo>
                <a:cubicBezTo>
                  <a:pt x="6588509" y="1413687"/>
                  <a:pt x="6595700" y="1414886"/>
                  <a:pt x="6599895" y="1414287"/>
                </a:cubicBezTo>
                <a:cubicBezTo>
                  <a:pt x="6604689" y="1413687"/>
                  <a:pt x="6611881" y="1414287"/>
                  <a:pt x="6605289" y="1410092"/>
                </a:cubicBezTo>
                <a:cubicBezTo>
                  <a:pt x="6598696" y="1405897"/>
                  <a:pt x="6597498" y="1413088"/>
                  <a:pt x="6590307" y="1410691"/>
                </a:cubicBezTo>
                <a:cubicBezTo>
                  <a:pt x="6583115" y="1408294"/>
                  <a:pt x="6586112" y="1404099"/>
                  <a:pt x="6587910" y="1405297"/>
                </a:cubicBezTo>
                <a:cubicBezTo>
                  <a:pt x="6589707" y="1405897"/>
                  <a:pt x="6591505" y="1404698"/>
                  <a:pt x="6591505" y="1402900"/>
                </a:cubicBezTo>
                <a:cubicBezTo>
                  <a:pt x="6591505" y="1400503"/>
                  <a:pt x="6587910" y="1395709"/>
                  <a:pt x="6584913" y="1396908"/>
                </a:cubicBezTo>
                <a:cubicBezTo>
                  <a:pt x="6582516" y="1397507"/>
                  <a:pt x="6579520" y="1393312"/>
                  <a:pt x="6580119" y="1390915"/>
                </a:cubicBezTo>
                <a:cubicBezTo>
                  <a:pt x="6580718" y="1388518"/>
                  <a:pt x="6580718" y="1384922"/>
                  <a:pt x="6577722" y="1385521"/>
                </a:cubicBezTo>
                <a:cubicBezTo>
                  <a:pt x="6575325" y="1386121"/>
                  <a:pt x="6573527" y="1386121"/>
                  <a:pt x="6573527" y="1383724"/>
                </a:cubicBezTo>
                <a:cubicBezTo>
                  <a:pt x="6573527" y="1381326"/>
                  <a:pt x="6569332" y="1375933"/>
                  <a:pt x="6563939" y="1371738"/>
                </a:cubicBezTo>
                <a:cubicBezTo>
                  <a:pt x="6558545" y="1367543"/>
                  <a:pt x="6551953" y="1359153"/>
                  <a:pt x="6544162" y="1350764"/>
                </a:cubicBezTo>
                <a:cubicBezTo>
                  <a:pt x="6536372" y="1342374"/>
                  <a:pt x="6543563" y="1343572"/>
                  <a:pt x="6546560" y="1345370"/>
                </a:cubicBezTo>
                <a:cubicBezTo>
                  <a:pt x="6549556" y="1347168"/>
                  <a:pt x="6568133" y="1348366"/>
                  <a:pt x="6573527" y="1345969"/>
                </a:cubicBezTo>
                <a:cubicBezTo>
                  <a:pt x="6578921" y="1343572"/>
                  <a:pt x="6581917" y="1347168"/>
                  <a:pt x="6586711" y="1347168"/>
                </a:cubicBezTo>
                <a:cubicBezTo>
                  <a:pt x="6591505" y="1347168"/>
                  <a:pt x="6590906" y="1354958"/>
                  <a:pt x="6590307" y="1363348"/>
                </a:cubicBezTo>
                <a:cubicBezTo>
                  <a:pt x="6589707" y="1371738"/>
                  <a:pt x="6592104" y="1368742"/>
                  <a:pt x="6592703" y="1363948"/>
                </a:cubicBezTo>
                <a:cubicBezTo>
                  <a:pt x="6593303" y="1358554"/>
                  <a:pt x="6595700" y="1361551"/>
                  <a:pt x="6596899" y="1356756"/>
                </a:cubicBezTo>
                <a:cubicBezTo>
                  <a:pt x="6598097" y="1347168"/>
                  <a:pt x="6601093" y="1357955"/>
                  <a:pt x="6601693" y="1361551"/>
                </a:cubicBezTo>
                <a:cubicBezTo>
                  <a:pt x="6602292" y="1365146"/>
                  <a:pt x="6602292" y="1372337"/>
                  <a:pt x="6598097" y="1371738"/>
                </a:cubicBezTo>
                <a:cubicBezTo>
                  <a:pt x="6593902" y="1371139"/>
                  <a:pt x="6595700" y="1375933"/>
                  <a:pt x="6598696" y="1378929"/>
                </a:cubicBezTo>
                <a:cubicBezTo>
                  <a:pt x="6601693" y="1381326"/>
                  <a:pt x="6602892" y="1379529"/>
                  <a:pt x="6604689" y="1377731"/>
                </a:cubicBezTo>
                <a:cubicBezTo>
                  <a:pt x="6607086" y="1375334"/>
                  <a:pt x="6608285" y="1370540"/>
                  <a:pt x="6608285" y="1367543"/>
                </a:cubicBezTo>
                <a:cubicBezTo>
                  <a:pt x="6608285" y="1365146"/>
                  <a:pt x="6605888" y="1359153"/>
                  <a:pt x="6608884" y="1352561"/>
                </a:cubicBezTo>
                <a:cubicBezTo>
                  <a:pt x="6611282" y="1345969"/>
                  <a:pt x="6608285" y="1347168"/>
                  <a:pt x="6606487" y="1347168"/>
                </a:cubicBezTo>
                <a:cubicBezTo>
                  <a:pt x="6604689" y="1347168"/>
                  <a:pt x="6600494" y="1347168"/>
                  <a:pt x="6601093" y="1344771"/>
                </a:cubicBezTo>
                <a:cubicBezTo>
                  <a:pt x="6601693" y="1340576"/>
                  <a:pt x="6596899" y="1340576"/>
                  <a:pt x="6596899" y="1340576"/>
                </a:cubicBezTo>
                <a:cubicBezTo>
                  <a:pt x="6594502" y="1342374"/>
                  <a:pt x="6593303" y="1335182"/>
                  <a:pt x="6596899" y="1334583"/>
                </a:cubicBezTo>
                <a:cubicBezTo>
                  <a:pt x="6600494" y="1333984"/>
                  <a:pt x="6598696" y="1331587"/>
                  <a:pt x="6593902" y="1332186"/>
                </a:cubicBezTo>
                <a:cubicBezTo>
                  <a:pt x="6589108" y="1332785"/>
                  <a:pt x="6587910" y="1329789"/>
                  <a:pt x="6590906" y="1327991"/>
                </a:cubicBezTo>
                <a:cubicBezTo>
                  <a:pt x="6593902" y="1326793"/>
                  <a:pt x="6592703" y="1323796"/>
                  <a:pt x="6592703" y="1322598"/>
                </a:cubicBezTo>
                <a:cubicBezTo>
                  <a:pt x="6592703" y="1320800"/>
                  <a:pt x="6592703" y="1317204"/>
                  <a:pt x="6586711" y="1318403"/>
                </a:cubicBezTo>
                <a:cubicBezTo>
                  <a:pt x="6580718" y="1320201"/>
                  <a:pt x="6578921" y="1316006"/>
                  <a:pt x="6580718" y="1313009"/>
                </a:cubicBezTo>
                <a:cubicBezTo>
                  <a:pt x="6581318" y="1311811"/>
                  <a:pt x="6581917" y="1311211"/>
                  <a:pt x="6581917" y="1310612"/>
                </a:cubicBezTo>
                <a:cubicBezTo>
                  <a:pt x="6580718" y="1311211"/>
                  <a:pt x="6578921" y="1311211"/>
                  <a:pt x="6577722" y="1311811"/>
                </a:cubicBezTo>
                <a:lnTo>
                  <a:pt x="6578322" y="1308814"/>
                </a:lnTo>
                <a:cubicBezTo>
                  <a:pt x="6577123" y="1308814"/>
                  <a:pt x="6574725" y="1309414"/>
                  <a:pt x="6572329" y="1310013"/>
                </a:cubicBezTo>
                <a:cubicBezTo>
                  <a:pt x="6559743" y="1313609"/>
                  <a:pt x="6573527" y="1303421"/>
                  <a:pt x="6571130" y="1298627"/>
                </a:cubicBezTo>
                <a:cubicBezTo>
                  <a:pt x="6566336" y="1290237"/>
                  <a:pt x="6563939" y="1292035"/>
                  <a:pt x="6562740" y="1295630"/>
                </a:cubicBezTo>
                <a:cubicBezTo>
                  <a:pt x="6561542" y="1299226"/>
                  <a:pt x="6555549" y="1298027"/>
                  <a:pt x="6556148" y="1301024"/>
                </a:cubicBezTo>
                <a:cubicBezTo>
                  <a:pt x="6556747" y="1304619"/>
                  <a:pt x="6553751" y="1304020"/>
                  <a:pt x="6545961" y="1301024"/>
                </a:cubicBezTo>
                <a:cubicBezTo>
                  <a:pt x="6538769" y="1298027"/>
                  <a:pt x="6540567" y="1294432"/>
                  <a:pt x="6544162" y="1295630"/>
                </a:cubicBezTo>
                <a:cubicBezTo>
                  <a:pt x="6548358" y="1296829"/>
                  <a:pt x="6551354" y="1296230"/>
                  <a:pt x="6545961" y="1292035"/>
                </a:cubicBezTo>
                <a:cubicBezTo>
                  <a:pt x="6540567" y="1287840"/>
                  <a:pt x="6545361" y="1275255"/>
                  <a:pt x="6541166" y="1275854"/>
                </a:cubicBezTo>
                <a:cubicBezTo>
                  <a:pt x="6536971" y="1276454"/>
                  <a:pt x="6540567" y="1282446"/>
                  <a:pt x="6535772" y="1288439"/>
                </a:cubicBezTo>
                <a:cubicBezTo>
                  <a:pt x="6530979" y="1294432"/>
                  <a:pt x="6526184" y="1289038"/>
                  <a:pt x="6523787" y="1286042"/>
                </a:cubicBezTo>
                <a:cubicBezTo>
                  <a:pt x="6521390" y="1283046"/>
                  <a:pt x="6520791" y="1278851"/>
                  <a:pt x="6521990" y="1269262"/>
                </a:cubicBezTo>
                <a:cubicBezTo>
                  <a:pt x="6523188" y="1259674"/>
                  <a:pt x="6518993" y="1262071"/>
                  <a:pt x="6517794" y="1263869"/>
                </a:cubicBezTo>
                <a:cubicBezTo>
                  <a:pt x="6517195" y="1265667"/>
                  <a:pt x="6514798" y="1269862"/>
                  <a:pt x="6510603" y="1268663"/>
                </a:cubicBezTo>
                <a:cubicBezTo>
                  <a:pt x="6504611" y="1266865"/>
                  <a:pt x="6505210" y="1266266"/>
                  <a:pt x="6501614" y="1265667"/>
                </a:cubicBezTo>
                <a:cubicBezTo>
                  <a:pt x="6497420" y="1265067"/>
                  <a:pt x="6493224" y="1269262"/>
                  <a:pt x="6490827" y="1268064"/>
                </a:cubicBezTo>
                <a:cubicBezTo>
                  <a:pt x="6488430" y="1267464"/>
                  <a:pt x="6487831" y="1267464"/>
                  <a:pt x="6480640" y="1268663"/>
                </a:cubicBezTo>
                <a:cubicBezTo>
                  <a:pt x="6473449" y="1269262"/>
                  <a:pt x="6477643" y="1263270"/>
                  <a:pt x="6481838" y="1262071"/>
                </a:cubicBezTo>
                <a:cubicBezTo>
                  <a:pt x="6486033" y="1260872"/>
                  <a:pt x="6489030" y="1254280"/>
                  <a:pt x="6490228" y="1250086"/>
                </a:cubicBezTo>
                <a:cubicBezTo>
                  <a:pt x="6490827" y="1245891"/>
                  <a:pt x="6483037" y="1242295"/>
                  <a:pt x="6483037" y="1236902"/>
                </a:cubicBezTo>
                <a:cubicBezTo>
                  <a:pt x="6483037" y="1231508"/>
                  <a:pt x="6479441" y="1232707"/>
                  <a:pt x="6478841" y="1236302"/>
                </a:cubicBezTo>
                <a:cubicBezTo>
                  <a:pt x="6478242" y="1239898"/>
                  <a:pt x="6483037" y="1241096"/>
                  <a:pt x="6486033" y="1248887"/>
                </a:cubicBezTo>
                <a:cubicBezTo>
                  <a:pt x="6488430" y="1256678"/>
                  <a:pt x="6478242" y="1259674"/>
                  <a:pt x="6476445" y="1257876"/>
                </a:cubicBezTo>
                <a:cubicBezTo>
                  <a:pt x="6474647" y="1256078"/>
                  <a:pt x="6472849" y="1255479"/>
                  <a:pt x="6471051" y="1257277"/>
                </a:cubicBezTo>
                <a:cubicBezTo>
                  <a:pt x="6468654" y="1259075"/>
                  <a:pt x="6464459" y="1260273"/>
                  <a:pt x="6463260" y="1257277"/>
                </a:cubicBezTo>
                <a:cubicBezTo>
                  <a:pt x="6462062" y="1254280"/>
                  <a:pt x="6459066" y="1253681"/>
                  <a:pt x="6457268" y="1255479"/>
                </a:cubicBezTo>
                <a:cubicBezTo>
                  <a:pt x="6455470" y="1257277"/>
                  <a:pt x="6453073" y="1260273"/>
                  <a:pt x="6447679" y="1256078"/>
                </a:cubicBezTo>
                <a:cubicBezTo>
                  <a:pt x="6442286" y="1251883"/>
                  <a:pt x="6439889" y="1254280"/>
                  <a:pt x="6434496" y="1250685"/>
                </a:cubicBezTo>
                <a:cubicBezTo>
                  <a:pt x="6429102" y="1247089"/>
                  <a:pt x="6437492" y="1245291"/>
                  <a:pt x="6444683" y="1248288"/>
                </a:cubicBezTo>
                <a:cubicBezTo>
                  <a:pt x="6451874" y="1251883"/>
                  <a:pt x="6455470" y="1249486"/>
                  <a:pt x="6454271" y="1246490"/>
                </a:cubicBezTo>
                <a:cubicBezTo>
                  <a:pt x="6453073" y="1243493"/>
                  <a:pt x="6447679" y="1244093"/>
                  <a:pt x="6437492" y="1244093"/>
                </a:cubicBezTo>
                <a:cubicBezTo>
                  <a:pt x="6427304" y="1244093"/>
                  <a:pt x="6429102" y="1239898"/>
                  <a:pt x="6431499" y="1238699"/>
                </a:cubicBezTo>
                <a:cubicBezTo>
                  <a:pt x="6433896" y="1238100"/>
                  <a:pt x="6433896" y="1236902"/>
                  <a:pt x="6435694" y="1232707"/>
                </a:cubicBezTo>
                <a:cubicBezTo>
                  <a:pt x="6436892" y="1228512"/>
                  <a:pt x="6439889" y="1222519"/>
                  <a:pt x="6429701" y="1230909"/>
                </a:cubicBezTo>
                <a:cubicBezTo>
                  <a:pt x="6422510" y="1236902"/>
                  <a:pt x="6423109" y="1220122"/>
                  <a:pt x="6425507" y="1218324"/>
                </a:cubicBezTo>
                <a:cubicBezTo>
                  <a:pt x="6427903" y="1216526"/>
                  <a:pt x="6430300" y="1211133"/>
                  <a:pt x="6427903" y="1203941"/>
                </a:cubicBezTo>
                <a:cubicBezTo>
                  <a:pt x="6425507" y="1196750"/>
                  <a:pt x="6423109" y="1199147"/>
                  <a:pt x="6420712" y="1204541"/>
                </a:cubicBezTo>
                <a:cubicBezTo>
                  <a:pt x="6418315" y="1209934"/>
                  <a:pt x="6412921" y="1211732"/>
                  <a:pt x="6411124" y="1209934"/>
                </a:cubicBezTo>
                <a:cubicBezTo>
                  <a:pt x="6409326" y="1207537"/>
                  <a:pt x="6409326" y="1204541"/>
                  <a:pt x="6405730" y="1209335"/>
                </a:cubicBezTo>
                <a:cubicBezTo>
                  <a:pt x="6402135" y="1214129"/>
                  <a:pt x="6400337" y="1209934"/>
                  <a:pt x="6401536" y="1207537"/>
                </a:cubicBezTo>
                <a:cubicBezTo>
                  <a:pt x="6402734" y="1205140"/>
                  <a:pt x="6402734" y="1204541"/>
                  <a:pt x="6400936" y="1195552"/>
                </a:cubicBezTo>
                <a:cubicBezTo>
                  <a:pt x="6399138" y="1186562"/>
                  <a:pt x="6395543" y="1187162"/>
                  <a:pt x="6394943" y="1189559"/>
                </a:cubicBezTo>
                <a:cubicBezTo>
                  <a:pt x="6394344" y="1191956"/>
                  <a:pt x="6390748" y="1191956"/>
                  <a:pt x="6388950" y="1189559"/>
                </a:cubicBezTo>
                <a:cubicBezTo>
                  <a:pt x="6386554" y="1187162"/>
                  <a:pt x="6382958" y="1185364"/>
                  <a:pt x="6375167" y="1182368"/>
                </a:cubicBezTo>
                <a:cubicBezTo>
                  <a:pt x="6363182" y="1177573"/>
                  <a:pt x="6372770" y="1175176"/>
                  <a:pt x="6382358" y="1177573"/>
                </a:cubicBezTo>
                <a:cubicBezTo>
                  <a:pt x="6387752" y="1178173"/>
                  <a:pt x="6393146" y="1177573"/>
                  <a:pt x="6394943" y="1178173"/>
                </a:cubicBezTo>
                <a:cubicBezTo>
                  <a:pt x="6405131" y="1181169"/>
                  <a:pt x="6400337" y="1177573"/>
                  <a:pt x="6397340" y="1175776"/>
                </a:cubicBezTo>
                <a:cubicBezTo>
                  <a:pt x="6393745" y="1173978"/>
                  <a:pt x="6394344" y="1172180"/>
                  <a:pt x="6384157" y="1173378"/>
                </a:cubicBezTo>
                <a:cubicBezTo>
                  <a:pt x="6373969" y="1174577"/>
                  <a:pt x="6367976" y="1167985"/>
                  <a:pt x="6367976" y="1157198"/>
                </a:cubicBezTo>
                <a:cubicBezTo>
                  <a:pt x="6367377" y="1144613"/>
                  <a:pt x="6364979" y="1150007"/>
                  <a:pt x="6363781" y="1155400"/>
                </a:cubicBezTo>
                <a:cubicBezTo>
                  <a:pt x="6362583" y="1160794"/>
                  <a:pt x="6358388" y="1163790"/>
                  <a:pt x="6359587" y="1168584"/>
                </a:cubicBezTo>
                <a:cubicBezTo>
                  <a:pt x="6360785" y="1173978"/>
                  <a:pt x="6355391" y="1169783"/>
                  <a:pt x="6353594" y="1166786"/>
                </a:cubicBezTo>
                <a:cubicBezTo>
                  <a:pt x="6351796" y="1164389"/>
                  <a:pt x="6352395" y="1164389"/>
                  <a:pt x="6345803" y="1161393"/>
                </a:cubicBezTo>
                <a:cubicBezTo>
                  <a:pt x="6339211" y="1158397"/>
                  <a:pt x="6341608" y="1151805"/>
                  <a:pt x="6336814" y="1150606"/>
                </a:cubicBezTo>
                <a:cubicBezTo>
                  <a:pt x="6332019" y="1150007"/>
                  <a:pt x="6333817" y="1143415"/>
                  <a:pt x="6325427" y="1139819"/>
                </a:cubicBezTo>
                <a:cubicBezTo>
                  <a:pt x="6318836" y="1136823"/>
                  <a:pt x="6326027" y="1130830"/>
                  <a:pt x="6324828" y="1127834"/>
                </a:cubicBezTo>
                <a:cubicBezTo>
                  <a:pt x="6323630" y="1125437"/>
                  <a:pt x="6320634" y="1124837"/>
                  <a:pt x="6320634" y="1117047"/>
                </a:cubicBezTo>
                <a:cubicBezTo>
                  <a:pt x="6320634" y="1112253"/>
                  <a:pt x="6319435" y="1111653"/>
                  <a:pt x="6318236" y="1112253"/>
                </a:cubicBezTo>
                <a:cubicBezTo>
                  <a:pt x="6318236" y="1112253"/>
                  <a:pt x="6293666" y="1086484"/>
                  <a:pt x="6284677" y="1087083"/>
                </a:cubicBezTo>
                <a:cubicBezTo>
                  <a:pt x="6275088" y="1087682"/>
                  <a:pt x="6237334" y="1069704"/>
                  <a:pt x="6222353" y="1046332"/>
                </a:cubicBezTo>
                <a:cubicBezTo>
                  <a:pt x="6202576" y="1015170"/>
                  <a:pt x="6207371" y="1037943"/>
                  <a:pt x="6192988" y="1019365"/>
                </a:cubicBezTo>
                <a:cubicBezTo>
                  <a:pt x="6178006" y="1001387"/>
                  <a:pt x="6172013" y="1013372"/>
                  <a:pt x="6154634" y="1000188"/>
                </a:cubicBezTo>
                <a:cubicBezTo>
                  <a:pt x="6137256" y="987004"/>
                  <a:pt x="6130064" y="987004"/>
                  <a:pt x="6119277" y="1006181"/>
                </a:cubicBezTo>
                <a:cubicBezTo>
                  <a:pt x="6107891" y="1025358"/>
                  <a:pt x="6091112" y="1000787"/>
                  <a:pt x="6091112" y="1000787"/>
                </a:cubicBezTo>
                <a:cubicBezTo>
                  <a:pt x="6096505" y="992398"/>
                  <a:pt x="6090512" y="992398"/>
                  <a:pt x="6085718" y="987004"/>
                </a:cubicBezTo>
                <a:cubicBezTo>
                  <a:pt x="6080325" y="981611"/>
                  <a:pt x="6078527" y="987603"/>
                  <a:pt x="6083321" y="990600"/>
                </a:cubicBezTo>
                <a:cubicBezTo>
                  <a:pt x="6086317" y="992398"/>
                  <a:pt x="6087516" y="994795"/>
                  <a:pt x="6086917" y="998390"/>
                </a:cubicBezTo>
                <a:cubicBezTo>
                  <a:pt x="6086917" y="998390"/>
                  <a:pt x="6086917" y="998390"/>
                  <a:pt x="6086917" y="998390"/>
                </a:cubicBezTo>
                <a:cubicBezTo>
                  <a:pt x="6086317" y="1000787"/>
                  <a:pt x="6084520" y="1003185"/>
                  <a:pt x="6081523" y="1006181"/>
                </a:cubicBezTo>
                <a:cubicBezTo>
                  <a:pt x="6073732" y="1013972"/>
                  <a:pt x="6068339" y="1009777"/>
                  <a:pt x="6070137" y="1006181"/>
                </a:cubicBezTo>
                <a:cubicBezTo>
                  <a:pt x="6071935" y="1002585"/>
                  <a:pt x="6068938" y="998390"/>
                  <a:pt x="6063545" y="1004982"/>
                </a:cubicBezTo>
                <a:cubicBezTo>
                  <a:pt x="6058151" y="1011574"/>
                  <a:pt x="6052159" y="1006780"/>
                  <a:pt x="6052159" y="1004383"/>
                </a:cubicBezTo>
                <a:cubicBezTo>
                  <a:pt x="6052159" y="1001986"/>
                  <a:pt x="6053357" y="998990"/>
                  <a:pt x="6049162" y="995993"/>
                </a:cubicBezTo>
                <a:cubicBezTo>
                  <a:pt x="6044967" y="993596"/>
                  <a:pt x="6044967" y="988802"/>
                  <a:pt x="6048563" y="988802"/>
                </a:cubicBezTo>
                <a:cubicBezTo>
                  <a:pt x="6052159" y="988203"/>
                  <a:pt x="6053357" y="990600"/>
                  <a:pt x="6055754" y="997192"/>
                </a:cubicBezTo>
                <a:cubicBezTo>
                  <a:pt x="6058151" y="1003784"/>
                  <a:pt x="6066541" y="997791"/>
                  <a:pt x="6059949" y="994795"/>
                </a:cubicBezTo>
                <a:cubicBezTo>
                  <a:pt x="6056953" y="993596"/>
                  <a:pt x="6055155" y="991798"/>
                  <a:pt x="6059350" y="990600"/>
                </a:cubicBezTo>
                <a:cubicBezTo>
                  <a:pt x="6063545" y="990001"/>
                  <a:pt x="6061747" y="987004"/>
                  <a:pt x="6059350" y="986405"/>
                </a:cubicBezTo>
                <a:cubicBezTo>
                  <a:pt x="6056953" y="985806"/>
                  <a:pt x="6053357" y="986405"/>
                  <a:pt x="6047964" y="981012"/>
                </a:cubicBezTo>
                <a:cubicBezTo>
                  <a:pt x="6042570" y="975618"/>
                  <a:pt x="6039574" y="981012"/>
                  <a:pt x="6040772" y="985206"/>
                </a:cubicBezTo>
                <a:cubicBezTo>
                  <a:pt x="6041372" y="989401"/>
                  <a:pt x="6040173" y="990600"/>
                  <a:pt x="6038375" y="992398"/>
                </a:cubicBezTo>
                <a:cubicBezTo>
                  <a:pt x="6036578" y="994196"/>
                  <a:pt x="6031783" y="1001387"/>
                  <a:pt x="6025191" y="997791"/>
                </a:cubicBezTo>
                <a:cubicBezTo>
                  <a:pt x="6018600" y="994196"/>
                  <a:pt x="6018000" y="999589"/>
                  <a:pt x="6013206" y="997192"/>
                </a:cubicBezTo>
                <a:cubicBezTo>
                  <a:pt x="6006015" y="993596"/>
                  <a:pt x="6012607" y="990001"/>
                  <a:pt x="6010809" y="987004"/>
                </a:cubicBezTo>
                <a:cubicBezTo>
                  <a:pt x="6007812" y="981012"/>
                  <a:pt x="6006614" y="983409"/>
                  <a:pt x="6004816" y="987603"/>
                </a:cubicBezTo>
                <a:cubicBezTo>
                  <a:pt x="6003018" y="991798"/>
                  <a:pt x="5996426" y="991798"/>
                  <a:pt x="5992830" y="988802"/>
                </a:cubicBezTo>
                <a:cubicBezTo>
                  <a:pt x="5988636" y="986405"/>
                  <a:pt x="5979647" y="985206"/>
                  <a:pt x="5975452" y="988203"/>
                </a:cubicBezTo>
                <a:cubicBezTo>
                  <a:pt x="5971257" y="990600"/>
                  <a:pt x="5954477" y="993596"/>
                  <a:pt x="5952679" y="992398"/>
                </a:cubicBezTo>
                <a:cubicBezTo>
                  <a:pt x="5950282" y="990600"/>
                  <a:pt x="5948484" y="988203"/>
                  <a:pt x="5944289" y="988203"/>
                </a:cubicBezTo>
                <a:cubicBezTo>
                  <a:pt x="5940094" y="988203"/>
                  <a:pt x="5935300" y="986405"/>
                  <a:pt x="5938297" y="981012"/>
                </a:cubicBezTo>
                <a:cubicBezTo>
                  <a:pt x="5941293" y="975618"/>
                  <a:pt x="5932903" y="977416"/>
                  <a:pt x="5931105" y="980412"/>
                </a:cubicBezTo>
                <a:cubicBezTo>
                  <a:pt x="5929308" y="982809"/>
                  <a:pt x="5925712" y="985806"/>
                  <a:pt x="5922716" y="985206"/>
                </a:cubicBezTo>
                <a:cubicBezTo>
                  <a:pt x="5920318" y="984607"/>
                  <a:pt x="5913127" y="985206"/>
                  <a:pt x="5910730" y="985806"/>
                </a:cubicBezTo>
                <a:cubicBezTo>
                  <a:pt x="5908333" y="986405"/>
                  <a:pt x="5902939" y="988802"/>
                  <a:pt x="5907134" y="980412"/>
                </a:cubicBezTo>
                <a:cubicBezTo>
                  <a:pt x="5911928" y="972022"/>
                  <a:pt x="5904737" y="974419"/>
                  <a:pt x="5901741" y="979813"/>
                </a:cubicBezTo>
                <a:cubicBezTo>
                  <a:pt x="5899344" y="983409"/>
                  <a:pt x="5889756" y="979214"/>
                  <a:pt x="5894550" y="974419"/>
                </a:cubicBezTo>
                <a:cubicBezTo>
                  <a:pt x="5897546" y="971423"/>
                  <a:pt x="5888557" y="977416"/>
                  <a:pt x="5889156" y="972022"/>
                </a:cubicBezTo>
                <a:cubicBezTo>
                  <a:pt x="5889756" y="968427"/>
                  <a:pt x="5885561" y="961235"/>
                  <a:pt x="5887958" y="959438"/>
                </a:cubicBezTo>
                <a:cubicBezTo>
                  <a:pt x="5892752" y="955842"/>
                  <a:pt x="5885561" y="955842"/>
                  <a:pt x="5882564" y="960636"/>
                </a:cubicBezTo>
                <a:cubicBezTo>
                  <a:pt x="5880167" y="965430"/>
                  <a:pt x="5879568" y="962434"/>
                  <a:pt x="5873575" y="966629"/>
                </a:cubicBezTo>
                <a:cubicBezTo>
                  <a:pt x="5868182" y="970225"/>
                  <a:pt x="5868182" y="967827"/>
                  <a:pt x="5868182" y="967228"/>
                </a:cubicBezTo>
                <a:cubicBezTo>
                  <a:pt x="5868781" y="973221"/>
                  <a:pt x="5860990" y="972622"/>
                  <a:pt x="5856796" y="970225"/>
                </a:cubicBezTo>
                <a:cubicBezTo>
                  <a:pt x="5852601" y="967827"/>
                  <a:pt x="5854398" y="966030"/>
                  <a:pt x="5856196" y="961235"/>
                </a:cubicBezTo>
                <a:cubicBezTo>
                  <a:pt x="5857994" y="955842"/>
                  <a:pt x="5854398" y="955842"/>
                  <a:pt x="5853200" y="958838"/>
                </a:cubicBezTo>
                <a:cubicBezTo>
                  <a:pt x="5852001" y="961235"/>
                  <a:pt x="5852601" y="963033"/>
                  <a:pt x="5846008" y="960636"/>
                </a:cubicBezTo>
                <a:cubicBezTo>
                  <a:pt x="5839416" y="958239"/>
                  <a:pt x="5843012" y="963633"/>
                  <a:pt x="5843012" y="963633"/>
                </a:cubicBezTo>
                <a:cubicBezTo>
                  <a:pt x="5843012" y="963633"/>
                  <a:pt x="5846008" y="967228"/>
                  <a:pt x="5842413" y="968427"/>
                </a:cubicBezTo>
                <a:cubicBezTo>
                  <a:pt x="5842413" y="968427"/>
                  <a:pt x="5839416" y="970824"/>
                  <a:pt x="5839416" y="976817"/>
                </a:cubicBezTo>
                <a:cubicBezTo>
                  <a:pt x="5838817" y="987004"/>
                  <a:pt x="5847806" y="969625"/>
                  <a:pt x="5850803" y="976817"/>
                </a:cubicBezTo>
                <a:cubicBezTo>
                  <a:pt x="5853799" y="984008"/>
                  <a:pt x="5850203" y="981012"/>
                  <a:pt x="5844810" y="987004"/>
                </a:cubicBezTo>
                <a:cubicBezTo>
                  <a:pt x="5839416" y="992997"/>
                  <a:pt x="5844211" y="994196"/>
                  <a:pt x="5846008" y="991199"/>
                </a:cubicBezTo>
                <a:cubicBezTo>
                  <a:pt x="5847806" y="988802"/>
                  <a:pt x="5850803" y="988203"/>
                  <a:pt x="5854398" y="984607"/>
                </a:cubicBezTo>
                <a:cubicBezTo>
                  <a:pt x="5857994" y="981012"/>
                  <a:pt x="5859792" y="986405"/>
                  <a:pt x="5858593" y="988802"/>
                </a:cubicBezTo>
                <a:cubicBezTo>
                  <a:pt x="5856796" y="991199"/>
                  <a:pt x="5856196" y="993596"/>
                  <a:pt x="5857395" y="1000787"/>
                </a:cubicBezTo>
                <a:cubicBezTo>
                  <a:pt x="5858593" y="1007979"/>
                  <a:pt x="5853799" y="1008578"/>
                  <a:pt x="5847806" y="1011574"/>
                </a:cubicBezTo>
                <a:cubicBezTo>
                  <a:pt x="5841814" y="1014571"/>
                  <a:pt x="5843012" y="1006181"/>
                  <a:pt x="5837619" y="1001986"/>
                </a:cubicBezTo>
                <a:cubicBezTo>
                  <a:pt x="5832225" y="997791"/>
                  <a:pt x="5835221" y="1006181"/>
                  <a:pt x="5837019" y="1009777"/>
                </a:cubicBezTo>
                <a:cubicBezTo>
                  <a:pt x="5838817" y="1014571"/>
                  <a:pt x="5833424" y="1019964"/>
                  <a:pt x="5832225" y="1015170"/>
                </a:cubicBezTo>
                <a:cubicBezTo>
                  <a:pt x="5830427" y="1007979"/>
                  <a:pt x="5826832" y="1018166"/>
                  <a:pt x="5826832" y="1018166"/>
                </a:cubicBezTo>
                <a:cubicBezTo>
                  <a:pt x="5826832" y="1021762"/>
                  <a:pt x="5824435" y="1027156"/>
                  <a:pt x="5821438" y="1022361"/>
                </a:cubicBezTo>
                <a:cubicBezTo>
                  <a:pt x="5818442" y="1017567"/>
                  <a:pt x="5817243" y="1024758"/>
                  <a:pt x="5818442" y="1028354"/>
                </a:cubicBezTo>
                <a:cubicBezTo>
                  <a:pt x="5819041" y="1031950"/>
                  <a:pt x="5819041" y="1036744"/>
                  <a:pt x="5814846" y="1033748"/>
                </a:cubicBezTo>
                <a:cubicBezTo>
                  <a:pt x="5810651" y="1030152"/>
                  <a:pt x="5808254" y="1038542"/>
                  <a:pt x="5801662" y="1039141"/>
                </a:cubicBezTo>
                <a:cubicBezTo>
                  <a:pt x="5794471" y="1039740"/>
                  <a:pt x="5795070" y="1034946"/>
                  <a:pt x="5799265" y="1033148"/>
                </a:cubicBezTo>
                <a:cubicBezTo>
                  <a:pt x="5803460" y="1031351"/>
                  <a:pt x="5802861" y="1025957"/>
                  <a:pt x="5807655" y="1021163"/>
                </a:cubicBezTo>
                <a:cubicBezTo>
                  <a:pt x="5813048" y="1016968"/>
                  <a:pt x="5810052" y="1015170"/>
                  <a:pt x="5801063" y="1022961"/>
                </a:cubicBezTo>
                <a:cubicBezTo>
                  <a:pt x="5792673" y="1030751"/>
                  <a:pt x="5787879" y="1014571"/>
                  <a:pt x="5789677" y="1011574"/>
                </a:cubicBezTo>
                <a:cubicBezTo>
                  <a:pt x="5791475" y="1008578"/>
                  <a:pt x="5791475" y="1000787"/>
                  <a:pt x="5789077" y="994795"/>
                </a:cubicBezTo>
                <a:cubicBezTo>
                  <a:pt x="5786680" y="988802"/>
                  <a:pt x="5789677" y="985206"/>
                  <a:pt x="5792074" y="978614"/>
                </a:cubicBezTo>
                <a:cubicBezTo>
                  <a:pt x="5794471" y="972022"/>
                  <a:pt x="5800464" y="973221"/>
                  <a:pt x="5802261" y="973221"/>
                </a:cubicBezTo>
                <a:cubicBezTo>
                  <a:pt x="5803460" y="973221"/>
                  <a:pt x="5807056" y="975618"/>
                  <a:pt x="5809453" y="973820"/>
                </a:cubicBezTo>
                <a:cubicBezTo>
                  <a:pt x="5811850" y="972622"/>
                  <a:pt x="5816644" y="972622"/>
                  <a:pt x="5819641" y="973820"/>
                </a:cubicBezTo>
                <a:cubicBezTo>
                  <a:pt x="5822637" y="975019"/>
                  <a:pt x="5826832" y="975019"/>
                  <a:pt x="5828030" y="973221"/>
                </a:cubicBezTo>
                <a:cubicBezTo>
                  <a:pt x="5829229" y="971423"/>
                  <a:pt x="5823835" y="967827"/>
                  <a:pt x="5817843" y="969625"/>
                </a:cubicBezTo>
                <a:cubicBezTo>
                  <a:pt x="5811251" y="971423"/>
                  <a:pt x="5813648" y="968427"/>
                  <a:pt x="5817243" y="960037"/>
                </a:cubicBezTo>
                <a:cubicBezTo>
                  <a:pt x="5820839" y="951647"/>
                  <a:pt x="5816644" y="949250"/>
                  <a:pt x="5813648" y="957640"/>
                </a:cubicBezTo>
                <a:cubicBezTo>
                  <a:pt x="5810651" y="966030"/>
                  <a:pt x="5808254" y="961235"/>
                  <a:pt x="5801662" y="964232"/>
                </a:cubicBezTo>
                <a:cubicBezTo>
                  <a:pt x="5794471" y="967228"/>
                  <a:pt x="5800464" y="960037"/>
                  <a:pt x="5796868" y="955842"/>
                </a:cubicBezTo>
                <a:cubicBezTo>
                  <a:pt x="5793872" y="951647"/>
                  <a:pt x="5793272" y="952846"/>
                  <a:pt x="5792673" y="955243"/>
                </a:cubicBezTo>
                <a:cubicBezTo>
                  <a:pt x="5792074" y="957640"/>
                  <a:pt x="5790276" y="959438"/>
                  <a:pt x="5787280" y="962434"/>
                </a:cubicBezTo>
                <a:cubicBezTo>
                  <a:pt x="5782485" y="967228"/>
                  <a:pt x="5777092" y="975019"/>
                  <a:pt x="5779489" y="979813"/>
                </a:cubicBezTo>
                <a:cubicBezTo>
                  <a:pt x="5781886" y="984607"/>
                  <a:pt x="5780088" y="987004"/>
                  <a:pt x="5777691" y="987603"/>
                </a:cubicBezTo>
                <a:cubicBezTo>
                  <a:pt x="5775294" y="988203"/>
                  <a:pt x="5773496" y="990001"/>
                  <a:pt x="5772298" y="991798"/>
                </a:cubicBezTo>
                <a:cubicBezTo>
                  <a:pt x="5771699" y="993596"/>
                  <a:pt x="5774095" y="1000188"/>
                  <a:pt x="5763908" y="996593"/>
                </a:cubicBezTo>
                <a:cubicBezTo>
                  <a:pt x="5753720" y="992398"/>
                  <a:pt x="5762110" y="1000787"/>
                  <a:pt x="5766305" y="1002585"/>
                </a:cubicBezTo>
                <a:cubicBezTo>
                  <a:pt x="5770500" y="1004383"/>
                  <a:pt x="5774695" y="1013972"/>
                  <a:pt x="5772298" y="1016369"/>
                </a:cubicBezTo>
                <a:cubicBezTo>
                  <a:pt x="5769901" y="1018766"/>
                  <a:pt x="5769901" y="1025957"/>
                  <a:pt x="5768103" y="1028354"/>
                </a:cubicBezTo>
                <a:cubicBezTo>
                  <a:pt x="5764507" y="1035545"/>
                  <a:pt x="5759713" y="1031950"/>
                  <a:pt x="5757316" y="1031950"/>
                </a:cubicBezTo>
                <a:cubicBezTo>
                  <a:pt x="5751923" y="1031950"/>
                  <a:pt x="5756117" y="1032549"/>
                  <a:pt x="5750724" y="1031351"/>
                </a:cubicBezTo>
                <a:cubicBezTo>
                  <a:pt x="5750125" y="1031351"/>
                  <a:pt x="5749525" y="1030751"/>
                  <a:pt x="5749525" y="1030751"/>
                </a:cubicBezTo>
                <a:cubicBezTo>
                  <a:pt x="5750125" y="1029553"/>
                  <a:pt x="5749525" y="1030152"/>
                  <a:pt x="5749525" y="1030751"/>
                </a:cubicBezTo>
                <a:cubicBezTo>
                  <a:pt x="5749525" y="1031351"/>
                  <a:pt x="5748926" y="1031351"/>
                  <a:pt x="5747728" y="1031950"/>
                </a:cubicBezTo>
                <a:cubicBezTo>
                  <a:pt x="5742934" y="1035545"/>
                  <a:pt x="5745930" y="1039141"/>
                  <a:pt x="5747728" y="1037943"/>
                </a:cubicBezTo>
                <a:cubicBezTo>
                  <a:pt x="5749525" y="1037343"/>
                  <a:pt x="5754919" y="1036145"/>
                  <a:pt x="5750724" y="1041538"/>
                </a:cubicBezTo>
                <a:cubicBezTo>
                  <a:pt x="5746529" y="1046932"/>
                  <a:pt x="5750724" y="1046932"/>
                  <a:pt x="5753121" y="1046332"/>
                </a:cubicBezTo>
                <a:cubicBezTo>
                  <a:pt x="5755518" y="1045733"/>
                  <a:pt x="5760312" y="1045733"/>
                  <a:pt x="5765106" y="1048729"/>
                </a:cubicBezTo>
                <a:cubicBezTo>
                  <a:pt x="5771699" y="1052924"/>
                  <a:pt x="5766904" y="1063711"/>
                  <a:pt x="5760912" y="1063711"/>
                </a:cubicBezTo>
                <a:cubicBezTo>
                  <a:pt x="5754919" y="1063711"/>
                  <a:pt x="5757316" y="1074498"/>
                  <a:pt x="5760312" y="1077495"/>
                </a:cubicBezTo>
                <a:cubicBezTo>
                  <a:pt x="5762709" y="1080491"/>
                  <a:pt x="5758514" y="1082888"/>
                  <a:pt x="5756117" y="1079892"/>
                </a:cubicBezTo>
                <a:cubicBezTo>
                  <a:pt x="5753720" y="1077495"/>
                  <a:pt x="5751323" y="1079292"/>
                  <a:pt x="5751323" y="1080491"/>
                </a:cubicBezTo>
                <a:cubicBezTo>
                  <a:pt x="5751323" y="1082289"/>
                  <a:pt x="5750724" y="1084686"/>
                  <a:pt x="5746529" y="1087682"/>
                </a:cubicBezTo>
                <a:cubicBezTo>
                  <a:pt x="5741735" y="1091278"/>
                  <a:pt x="5747128" y="1096072"/>
                  <a:pt x="5741135" y="1094874"/>
                </a:cubicBezTo>
                <a:cubicBezTo>
                  <a:pt x="5737540" y="1094274"/>
                  <a:pt x="5735143" y="1100267"/>
                  <a:pt x="5729150" y="1100866"/>
                </a:cubicBezTo>
                <a:cubicBezTo>
                  <a:pt x="5723757" y="1101466"/>
                  <a:pt x="5719562" y="1106260"/>
                  <a:pt x="5722558" y="1109256"/>
                </a:cubicBezTo>
                <a:cubicBezTo>
                  <a:pt x="5725554" y="1112852"/>
                  <a:pt x="5723157" y="1121242"/>
                  <a:pt x="5717164" y="1126635"/>
                </a:cubicBezTo>
                <a:cubicBezTo>
                  <a:pt x="5711771" y="1132029"/>
                  <a:pt x="5708775" y="1130830"/>
                  <a:pt x="5705179" y="1127234"/>
                </a:cubicBezTo>
                <a:cubicBezTo>
                  <a:pt x="5701583" y="1123039"/>
                  <a:pt x="5698587" y="1130231"/>
                  <a:pt x="5700984" y="1132628"/>
                </a:cubicBezTo>
                <a:cubicBezTo>
                  <a:pt x="5703381" y="1135025"/>
                  <a:pt x="5700385" y="1136823"/>
                  <a:pt x="5698587" y="1135624"/>
                </a:cubicBezTo>
                <a:cubicBezTo>
                  <a:pt x="5696789" y="1134426"/>
                  <a:pt x="5691396" y="1133227"/>
                  <a:pt x="5688399" y="1135025"/>
                </a:cubicBezTo>
                <a:cubicBezTo>
                  <a:pt x="5683605" y="1137422"/>
                  <a:pt x="5685403" y="1139819"/>
                  <a:pt x="5690797" y="1139819"/>
                </a:cubicBezTo>
                <a:cubicBezTo>
                  <a:pt x="5696190" y="1139819"/>
                  <a:pt x="5696190" y="1144014"/>
                  <a:pt x="5691396" y="1143415"/>
                </a:cubicBezTo>
                <a:cubicBezTo>
                  <a:pt x="5687201" y="1142816"/>
                  <a:pt x="5685403" y="1146411"/>
                  <a:pt x="5686002" y="1150606"/>
                </a:cubicBezTo>
                <a:cubicBezTo>
                  <a:pt x="5686602" y="1154801"/>
                  <a:pt x="5686002" y="1158397"/>
                  <a:pt x="5683006" y="1157797"/>
                </a:cubicBezTo>
                <a:cubicBezTo>
                  <a:pt x="5680010" y="1157198"/>
                  <a:pt x="5678212" y="1161992"/>
                  <a:pt x="5672818" y="1164989"/>
                </a:cubicBezTo>
                <a:cubicBezTo>
                  <a:pt x="5667425" y="1168584"/>
                  <a:pt x="5670421" y="1170981"/>
                  <a:pt x="5671021" y="1173978"/>
                </a:cubicBezTo>
                <a:cubicBezTo>
                  <a:pt x="5672219" y="1180570"/>
                  <a:pt x="5667425" y="1178772"/>
                  <a:pt x="5667425" y="1176375"/>
                </a:cubicBezTo>
                <a:cubicBezTo>
                  <a:pt x="5667425" y="1173978"/>
                  <a:pt x="5666226" y="1169783"/>
                  <a:pt x="5663230" y="1166187"/>
                </a:cubicBezTo>
                <a:cubicBezTo>
                  <a:pt x="5660233" y="1161992"/>
                  <a:pt x="5659035" y="1173378"/>
                  <a:pt x="5656039" y="1174577"/>
                </a:cubicBezTo>
                <a:cubicBezTo>
                  <a:pt x="5652443" y="1176375"/>
                  <a:pt x="5649447" y="1176974"/>
                  <a:pt x="5648847" y="1180570"/>
                </a:cubicBezTo>
                <a:cubicBezTo>
                  <a:pt x="5648248" y="1184165"/>
                  <a:pt x="5643454" y="1186562"/>
                  <a:pt x="5641057" y="1186562"/>
                </a:cubicBezTo>
                <a:cubicBezTo>
                  <a:pt x="5638660" y="1186562"/>
                  <a:pt x="5636862" y="1185963"/>
                  <a:pt x="5634465" y="1188360"/>
                </a:cubicBezTo>
                <a:cubicBezTo>
                  <a:pt x="5632068" y="1190757"/>
                  <a:pt x="5625476" y="1190757"/>
                  <a:pt x="5627273" y="1184765"/>
                </a:cubicBezTo>
                <a:cubicBezTo>
                  <a:pt x="5629671" y="1178772"/>
                  <a:pt x="5625476" y="1178772"/>
                  <a:pt x="5622479" y="1180570"/>
                </a:cubicBezTo>
                <a:cubicBezTo>
                  <a:pt x="5619483" y="1182368"/>
                  <a:pt x="5615288" y="1188360"/>
                  <a:pt x="5617086" y="1191956"/>
                </a:cubicBezTo>
                <a:cubicBezTo>
                  <a:pt x="5618284" y="1195552"/>
                  <a:pt x="5617685" y="1197349"/>
                  <a:pt x="5614689" y="1197349"/>
                </a:cubicBezTo>
                <a:cubicBezTo>
                  <a:pt x="5611692" y="1197349"/>
                  <a:pt x="5614090" y="1199747"/>
                  <a:pt x="5609895" y="1200945"/>
                </a:cubicBezTo>
                <a:cubicBezTo>
                  <a:pt x="5607497" y="1201544"/>
                  <a:pt x="5606898" y="1202743"/>
                  <a:pt x="5600906" y="1201544"/>
                </a:cubicBezTo>
                <a:cubicBezTo>
                  <a:pt x="5594913" y="1199747"/>
                  <a:pt x="5594313" y="1202743"/>
                  <a:pt x="5595512" y="1204541"/>
                </a:cubicBezTo>
                <a:cubicBezTo>
                  <a:pt x="5596711" y="1206339"/>
                  <a:pt x="5598508" y="1209934"/>
                  <a:pt x="5596111" y="1211732"/>
                </a:cubicBezTo>
                <a:cubicBezTo>
                  <a:pt x="5593714" y="1213530"/>
                  <a:pt x="5592516" y="1208136"/>
                  <a:pt x="5588920" y="1205140"/>
                </a:cubicBezTo>
                <a:cubicBezTo>
                  <a:pt x="5585324" y="1202144"/>
                  <a:pt x="5588920" y="1199747"/>
                  <a:pt x="5588321" y="1196750"/>
                </a:cubicBezTo>
                <a:cubicBezTo>
                  <a:pt x="5587721" y="1193754"/>
                  <a:pt x="5591916" y="1191956"/>
                  <a:pt x="5591916" y="1194353"/>
                </a:cubicBezTo>
                <a:cubicBezTo>
                  <a:pt x="5591916" y="1196750"/>
                  <a:pt x="5594913" y="1196750"/>
                  <a:pt x="5596111" y="1194353"/>
                </a:cubicBezTo>
                <a:cubicBezTo>
                  <a:pt x="5596711" y="1191956"/>
                  <a:pt x="5598508" y="1190158"/>
                  <a:pt x="5600906" y="1189559"/>
                </a:cubicBezTo>
                <a:cubicBezTo>
                  <a:pt x="5603302" y="1188960"/>
                  <a:pt x="5605700" y="1187162"/>
                  <a:pt x="5606299" y="1183566"/>
                </a:cubicBezTo>
                <a:cubicBezTo>
                  <a:pt x="5606898" y="1179371"/>
                  <a:pt x="5611692" y="1176974"/>
                  <a:pt x="5615288" y="1170382"/>
                </a:cubicBezTo>
                <a:cubicBezTo>
                  <a:pt x="5619483" y="1163191"/>
                  <a:pt x="5623678" y="1167985"/>
                  <a:pt x="5627873" y="1164989"/>
                </a:cubicBezTo>
                <a:cubicBezTo>
                  <a:pt x="5632068" y="1162591"/>
                  <a:pt x="5633266" y="1167386"/>
                  <a:pt x="5632068" y="1173378"/>
                </a:cubicBezTo>
                <a:cubicBezTo>
                  <a:pt x="5630869" y="1179371"/>
                  <a:pt x="5638660" y="1177573"/>
                  <a:pt x="5638061" y="1175776"/>
                </a:cubicBezTo>
                <a:cubicBezTo>
                  <a:pt x="5637461" y="1173978"/>
                  <a:pt x="5638660" y="1169783"/>
                  <a:pt x="5642855" y="1170382"/>
                </a:cubicBezTo>
                <a:cubicBezTo>
                  <a:pt x="5647050" y="1170981"/>
                  <a:pt x="5650046" y="1166187"/>
                  <a:pt x="5644053" y="1167386"/>
                </a:cubicBezTo>
                <a:cubicBezTo>
                  <a:pt x="5635663" y="1168584"/>
                  <a:pt x="5639259" y="1162591"/>
                  <a:pt x="5642855" y="1160194"/>
                </a:cubicBezTo>
                <a:cubicBezTo>
                  <a:pt x="5646450" y="1157797"/>
                  <a:pt x="5652443" y="1151805"/>
                  <a:pt x="5656039" y="1151205"/>
                </a:cubicBezTo>
                <a:cubicBezTo>
                  <a:pt x="5659634" y="1150606"/>
                  <a:pt x="5666826" y="1147010"/>
                  <a:pt x="5668024" y="1142816"/>
                </a:cubicBezTo>
                <a:cubicBezTo>
                  <a:pt x="5668623" y="1138021"/>
                  <a:pt x="5671021" y="1134426"/>
                  <a:pt x="5674616" y="1139819"/>
                </a:cubicBezTo>
                <a:cubicBezTo>
                  <a:pt x="5678212" y="1145213"/>
                  <a:pt x="5681208" y="1135624"/>
                  <a:pt x="5676414" y="1134426"/>
                </a:cubicBezTo>
                <a:cubicBezTo>
                  <a:pt x="5671620" y="1133227"/>
                  <a:pt x="5669223" y="1124238"/>
                  <a:pt x="5674616" y="1121841"/>
                </a:cubicBezTo>
                <a:cubicBezTo>
                  <a:pt x="5680010" y="1119444"/>
                  <a:pt x="5676414" y="1118245"/>
                  <a:pt x="5677613" y="1114650"/>
                </a:cubicBezTo>
                <a:cubicBezTo>
                  <a:pt x="5678811" y="1111054"/>
                  <a:pt x="5681807" y="1104462"/>
                  <a:pt x="5688999" y="1111653"/>
                </a:cubicBezTo>
                <a:cubicBezTo>
                  <a:pt x="5696190" y="1118845"/>
                  <a:pt x="5693193" y="1109855"/>
                  <a:pt x="5688999" y="1106260"/>
                </a:cubicBezTo>
                <a:cubicBezTo>
                  <a:pt x="5684804" y="1102065"/>
                  <a:pt x="5681807" y="1091877"/>
                  <a:pt x="5684204" y="1087682"/>
                </a:cubicBezTo>
                <a:cubicBezTo>
                  <a:pt x="5686602" y="1083487"/>
                  <a:pt x="5685403" y="1085885"/>
                  <a:pt x="5681807" y="1083487"/>
                </a:cubicBezTo>
                <a:cubicBezTo>
                  <a:pt x="5676414" y="1080491"/>
                  <a:pt x="5684204" y="1071502"/>
                  <a:pt x="5688999" y="1065509"/>
                </a:cubicBezTo>
                <a:cubicBezTo>
                  <a:pt x="5693793" y="1060116"/>
                  <a:pt x="5691995" y="1055921"/>
                  <a:pt x="5687800" y="1057719"/>
                </a:cubicBezTo>
                <a:cubicBezTo>
                  <a:pt x="5683605" y="1059516"/>
                  <a:pt x="5683605" y="1061914"/>
                  <a:pt x="5674616" y="1067906"/>
                </a:cubicBezTo>
                <a:cubicBezTo>
                  <a:pt x="5666226" y="1073899"/>
                  <a:pt x="5663829" y="1068506"/>
                  <a:pt x="5659634" y="1065509"/>
                </a:cubicBezTo>
                <a:cubicBezTo>
                  <a:pt x="5655439" y="1061914"/>
                  <a:pt x="5655439" y="1060116"/>
                  <a:pt x="5659035" y="1057719"/>
                </a:cubicBezTo>
                <a:cubicBezTo>
                  <a:pt x="5662032" y="1055321"/>
                  <a:pt x="5664428" y="1051726"/>
                  <a:pt x="5658436" y="1049329"/>
                </a:cubicBezTo>
                <a:cubicBezTo>
                  <a:pt x="5648847" y="1046332"/>
                  <a:pt x="5651244" y="1051726"/>
                  <a:pt x="5653042" y="1053524"/>
                </a:cubicBezTo>
                <a:cubicBezTo>
                  <a:pt x="5654241" y="1055921"/>
                  <a:pt x="5653042" y="1063711"/>
                  <a:pt x="5653042" y="1063711"/>
                </a:cubicBezTo>
                <a:cubicBezTo>
                  <a:pt x="5650645" y="1066108"/>
                  <a:pt x="5651844" y="1067906"/>
                  <a:pt x="5657237" y="1077495"/>
                </a:cubicBezTo>
                <a:cubicBezTo>
                  <a:pt x="5662631" y="1087083"/>
                  <a:pt x="5651844" y="1082289"/>
                  <a:pt x="5648847" y="1075697"/>
                </a:cubicBezTo>
                <a:cubicBezTo>
                  <a:pt x="5645851" y="1069105"/>
                  <a:pt x="5638061" y="1068506"/>
                  <a:pt x="5636862" y="1064910"/>
                </a:cubicBezTo>
                <a:cubicBezTo>
                  <a:pt x="5636262" y="1061314"/>
                  <a:pt x="5633866" y="1057719"/>
                  <a:pt x="5632068" y="1066108"/>
                </a:cubicBezTo>
                <a:cubicBezTo>
                  <a:pt x="5630869" y="1072101"/>
                  <a:pt x="5626075" y="1064910"/>
                  <a:pt x="5623079" y="1063711"/>
                </a:cubicBezTo>
                <a:cubicBezTo>
                  <a:pt x="5620082" y="1062513"/>
                  <a:pt x="5618884" y="1061314"/>
                  <a:pt x="5619483" y="1056520"/>
                </a:cubicBezTo>
                <a:cubicBezTo>
                  <a:pt x="5620082" y="1051726"/>
                  <a:pt x="5615887" y="1054123"/>
                  <a:pt x="5615887" y="1055921"/>
                </a:cubicBezTo>
                <a:cubicBezTo>
                  <a:pt x="5615887" y="1057719"/>
                  <a:pt x="5615887" y="1059516"/>
                  <a:pt x="5612891" y="1060715"/>
                </a:cubicBezTo>
                <a:cubicBezTo>
                  <a:pt x="5608696" y="1062513"/>
                  <a:pt x="5608696" y="1066708"/>
                  <a:pt x="5608696" y="1066708"/>
                </a:cubicBezTo>
                <a:cubicBezTo>
                  <a:pt x="5608696" y="1066708"/>
                  <a:pt x="5608696" y="1069704"/>
                  <a:pt x="5605101" y="1070303"/>
                </a:cubicBezTo>
                <a:cubicBezTo>
                  <a:pt x="5601505" y="1070903"/>
                  <a:pt x="5599108" y="1074498"/>
                  <a:pt x="5597909" y="1076296"/>
                </a:cubicBezTo>
                <a:cubicBezTo>
                  <a:pt x="5596711" y="1078094"/>
                  <a:pt x="5594913" y="1084087"/>
                  <a:pt x="5587721" y="1081690"/>
                </a:cubicBezTo>
                <a:cubicBezTo>
                  <a:pt x="5580530" y="1079292"/>
                  <a:pt x="5581130" y="1076895"/>
                  <a:pt x="5585324" y="1078094"/>
                </a:cubicBezTo>
                <a:cubicBezTo>
                  <a:pt x="5589519" y="1078693"/>
                  <a:pt x="5588920" y="1075098"/>
                  <a:pt x="5584725" y="1070903"/>
                </a:cubicBezTo>
                <a:cubicBezTo>
                  <a:pt x="5578732" y="1064910"/>
                  <a:pt x="5591916" y="1058917"/>
                  <a:pt x="5580530" y="1060715"/>
                </a:cubicBezTo>
                <a:cubicBezTo>
                  <a:pt x="5572140" y="1061914"/>
                  <a:pt x="5571541" y="1050527"/>
                  <a:pt x="5575137" y="1051726"/>
                </a:cubicBezTo>
                <a:cubicBezTo>
                  <a:pt x="5579331" y="1052924"/>
                  <a:pt x="5577534" y="1042137"/>
                  <a:pt x="5569743" y="1034946"/>
                </a:cubicBezTo>
                <a:cubicBezTo>
                  <a:pt x="5558956" y="1025358"/>
                  <a:pt x="5554761" y="1014571"/>
                  <a:pt x="5558956" y="1010376"/>
                </a:cubicBezTo>
                <a:cubicBezTo>
                  <a:pt x="5563151" y="1006181"/>
                  <a:pt x="5561353" y="1000787"/>
                  <a:pt x="5554162" y="1007979"/>
                </a:cubicBezTo>
                <a:cubicBezTo>
                  <a:pt x="5546971" y="1015170"/>
                  <a:pt x="5553563" y="1023560"/>
                  <a:pt x="5553563" y="1033148"/>
                </a:cubicBezTo>
                <a:cubicBezTo>
                  <a:pt x="5552964" y="1042737"/>
                  <a:pt x="5544574" y="1042137"/>
                  <a:pt x="5534985" y="1042737"/>
                </a:cubicBezTo>
                <a:cubicBezTo>
                  <a:pt x="5525397" y="1043336"/>
                  <a:pt x="5518206" y="1040340"/>
                  <a:pt x="5521202" y="1038542"/>
                </a:cubicBezTo>
                <a:cubicBezTo>
                  <a:pt x="5523599" y="1036744"/>
                  <a:pt x="5522400" y="1034946"/>
                  <a:pt x="5518805" y="1034946"/>
                </a:cubicBezTo>
                <a:cubicBezTo>
                  <a:pt x="5514610" y="1034946"/>
                  <a:pt x="5512812" y="1033748"/>
                  <a:pt x="5511614" y="1031351"/>
                </a:cubicBezTo>
                <a:cubicBezTo>
                  <a:pt x="5510415" y="1028953"/>
                  <a:pt x="5508018" y="1026556"/>
                  <a:pt x="5506819" y="1028354"/>
                </a:cubicBezTo>
                <a:cubicBezTo>
                  <a:pt x="5505621" y="1030152"/>
                  <a:pt x="5504422" y="1030751"/>
                  <a:pt x="5497231" y="1027156"/>
                </a:cubicBezTo>
                <a:cubicBezTo>
                  <a:pt x="5490040" y="1022961"/>
                  <a:pt x="5493036" y="1020564"/>
                  <a:pt x="5495433" y="1018166"/>
                </a:cubicBezTo>
                <a:cubicBezTo>
                  <a:pt x="5497830" y="1015769"/>
                  <a:pt x="5496632" y="1012174"/>
                  <a:pt x="5494834" y="1010975"/>
                </a:cubicBezTo>
                <a:cubicBezTo>
                  <a:pt x="5492437" y="1009777"/>
                  <a:pt x="5490639" y="1009177"/>
                  <a:pt x="5490639" y="1004982"/>
                </a:cubicBezTo>
                <a:cubicBezTo>
                  <a:pt x="5490639" y="1000787"/>
                  <a:pt x="5481650" y="995394"/>
                  <a:pt x="5478653" y="1000787"/>
                </a:cubicBezTo>
                <a:cubicBezTo>
                  <a:pt x="5476856" y="1004982"/>
                  <a:pt x="5469065" y="992398"/>
                  <a:pt x="5471462" y="990600"/>
                </a:cubicBezTo>
                <a:cubicBezTo>
                  <a:pt x="5473859" y="988802"/>
                  <a:pt x="5472661" y="987004"/>
                  <a:pt x="5467268" y="987004"/>
                </a:cubicBezTo>
                <a:cubicBezTo>
                  <a:pt x="5461874" y="987004"/>
                  <a:pt x="5464271" y="975019"/>
                  <a:pt x="5466668" y="975019"/>
                </a:cubicBezTo>
                <a:cubicBezTo>
                  <a:pt x="5469065" y="975618"/>
                  <a:pt x="5470264" y="974419"/>
                  <a:pt x="5468466" y="970225"/>
                </a:cubicBezTo>
                <a:cubicBezTo>
                  <a:pt x="5466668" y="966030"/>
                  <a:pt x="5473859" y="960037"/>
                  <a:pt x="5473859" y="957041"/>
                </a:cubicBezTo>
                <a:cubicBezTo>
                  <a:pt x="5474459" y="954044"/>
                  <a:pt x="5476856" y="947452"/>
                  <a:pt x="5481650" y="949250"/>
                </a:cubicBezTo>
                <a:cubicBezTo>
                  <a:pt x="5489440" y="952246"/>
                  <a:pt x="5482249" y="945654"/>
                  <a:pt x="5485845" y="943856"/>
                </a:cubicBezTo>
                <a:cubicBezTo>
                  <a:pt x="5490639" y="941459"/>
                  <a:pt x="5488841" y="938463"/>
                  <a:pt x="5482249" y="941459"/>
                </a:cubicBezTo>
                <a:cubicBezTo>
                  <a:pt x="5476257" y="943856"/>
                  <a:pt x="5479852" y="933070"/>
                  <a:pt x="5482848" y="933070"/>
                </a:cubicBezTo>
                <a:cubicBezTo>
                  <a:pt x="5486444" y="933070"/>
                  <a:pt x="5488242" y="932470"/>
                  <a:pt x="5483448" y="927676"/>
                </a:cubicBezTo>
                <a:cubicBezTo>
                  <a:pt x="5479253" y="922882"/>
                  <a:pt x="5492437" y="922283"/>
                  <a:pt x="5498429" y="926478"/>
                </a:cubicBezTo>
                <a:cubicBezTo>
                  <a:pt x="5504422" y="930672"/>
                  <a:pt x="5513411" y="930672"/>
                  <a:pt x="5516408" y="922882"/>
                </a:cubicBezTo>
                <a:cubicBezTo>
                  <a:pt x="5518805" y="915691"/>
                  <a:pt x="5524199" y="913294"/>
                  <a:pt x="5527195" y="916290"/>
                </a:cubicBezTo>
                <a:cubicBezTo>
                  <a:pt x="5530191" y="919286"/>
                  <a:pt x="5539780" y="916290"/>
                  <a:pt x="5545173" y="913893"/>
                </a:cubicBezTo>
                <a:cubicBezTo>
                  <a:pt x="5550566" y="911496"/>
                  <a:pt x="5560155" y="900110"/>
                  <a:pt x="5550566" y="894716"/>
                </a:cubicBezTo>
                <a:cubicBezTo>
                  <a:pt x="5540978" y="889323"/>
                  <a:pt x="5546371" y="882731"/>
                  <a:pt x="5537382" y="881532"/>
                </a:cubicBezTo>
                <a:cubicBezTo>
                  <a:pt x="5528393" y="879734"/>
                  <a:pt x="5531989" y="874940"/>
                  <a:pt x="5535585" y="875539"/>
                </a:cubicBezTo>
                <a:cubicBezTo>
                  <a:pt x="5539780" y="876139"/>
                  <a:pt x="5545173" y="877936"/>
                  <a:pt x="5543375" y="870146"/>
                </a:cubicBezTo>
                <a:cubicBezTo>
                  <a:pt x="5541577" y="862355"/>
                  <a:pt x="5534386" y="859958"/>
                  <a:pt x="5531390" y="862954"/>
                </a:cubicBezTo>
                <a:cubicBezTo>
                  <a:pt x="5528993" y="866550"/>
                  <a:pt x="5525996" y="867749"/>
                  <a:pt x="5523599" y="867149"/>
                </a:cubicBezTo>
                <a:cubicBezTo>
                  <a:pt x="5521202" y="866550"/>
                  <a:pt x="5515209" y="866550"/>
                  <a:pt x="5511614" y="873741"/>
                </a:cubicBezTo>
                <a:cubicBezTo>
                  <a:pt x="5508617" y="880933"/>
                  <a:pt x="5504422" y="883929"/>
                  <a:pt x="5500827" y="877936"/>
                </a:cubicBezTo>
                <a:cubicBezTo>
                  <a:pt x="5496632" y="871944"/>
                  <a:pt x="5494834" y="875539"/>
                  <a:pt x="5496632" y="878536"/>
                </a:cubicBezTo>
                <a:cubicBezTo>
                  <a:pt x="5498429" y="881532"/>
                  <a:pt x="5496033" y="885727"/>
                  <a:pt x="5491838" y="880933"/>
                </a:cubicBezTo>
                <a:cubicBezTo>
                  <a:pt x="5487643" y="876139"/>
                  <a:pt x="5472062" y="878536"/>
                  <a:pt x="5463672" y="882131"/>
                </a:cubicBezTo>
                <a:cubicBezTo>
                  <a:pt x="5455282" y="885727"/>
                  <a:pt x="5451087" y="881532"/>
                  <a:pt x="5448091" y="882731"/>
                </a:cubicBezTo>
                <a:cubicBezTo>
                  <a:pt x="5445094" y="883330"/>
                  <a:pt x="5427116" y="885128"/>
                  <a:pt x="5424719" y="877337"/>
                </a:cubicBezTo>
                <a:cubicBezTo>
                  <a:pt x="5422322" y="869547"/>
                  <a:pt x="5419326" y="873142"/>
                  <a:pt x="5414531" y="866550"/>
                </a:cubicBezTo>
                <a:cubicBezTo>
                  <a:pt x="5409737" y="859958"/>
                  <a:pt x="5413932" y="859958"/>
                  <a:pt x="5415730" y="861157"/>
                </a:cubicBezTo>
                <a:cubicBezTo>
                  <a:pt x="5418127" y="862954"/>
                  <a:pt x="5438502" y="861756"/>
                  <a:pt x="5440300" y="861157"/>
                </a:cubicBezTo>
                <a:cubicBezTo>
                  <a:pt x="5442697" y="860557"/>
                  <a:pt x="5445693" y="858760"/>
                  <a:pt x="5449289" y="860557"/>
                </a:cubicBezTo>
                <a:cubicBezTo>
                  <a:pt x="5452885" y="862954"/>
                  <a:pt x="5454683" y="862355"/>
                  <a:pt x="5452885" y="859359"/>
                </a:cubicBezTo>
                <a:cubicBezTo>
                  <a:pt x="5450488" y="856363"/>
                  <a:pt x="5447491" y="855763"/>
                  <a:pt x="5443896" y="855164"/>
                </a:cubicBezTo>
                <a:cubicBezTo>
                  <a:pt x="5440300" y="854565"/>
                  <a:pt x="5428315" y="855164"/>
                  <a:pt x="5422322" y="853366"/>
                </a:cubicBezTo>
                <a:cubicBezTo>
                  <a:pt x="5416329" y="851568"/>
                  <a:pt x="5407340" y="849770"/>
                  <a:pt x="5402546" y="850969"/>
                </a:cubicBezTo>
                <a:cubicBezTo>
                  <a:pt x="5397752" y="851568"/>
                  <a:pt x="5394156" y="851568"/>
                  <a:pt x="5386965" y="845576"/>
                </a:cubicBezTo>
                <a:cubicBezTo>
                  <a:pt x="5379773" y="840182"/>
                  <a:pt x="5382171" y="838984"/>
                  <a:pt x="5387564" y="840781"/>
                </a:cubicBezTo>
                <a:cubicBezTo>
                  <a:pt x="5388163" y="840781"/>
                  <a:pt x="5390560" y="840781"/>
                  <a:pt x="5391759" y="835987"/>
                </a:cubicBezTo>
                <a:cubicBezTo>
                  <a:pt x="5392358" y="832991"/>
                  <a:pt x="5399549" y="835388"/>
                  <a:pt x="5401947" y="829994"/>
                </a:cubicBezTo>
                <a:cubicBezTo>
                  <a:pt x="5404344" y="823402"/>
                  <a:pt x="5411535" y="822204"/>
                  <a:pt x="5414531" y="824002"/>
                </a:cubicBezTo>
                <a:cubicBezTo>
                  <a:pt x="5417527" y="825800"/>
                  <a:pt x="5422921" y="826998"/>
                  <a:pt x="5422322" y="823402"/>
                </a:cubicBezTo>
                <a:cubicBezTo>
                  <a:pt x="5421722" y="819807"/>
                  <a:pt x="5427715" y="816211"/>
                  <a:pt x="5432509" y="819208"/>
                </a:cubicBezTo>
                <a:cubicBezTo>
                  <a:pt x="5437304" y="821605"/>
                  <a:pt x="5442697" y="819807"/>
                  <a:pt x="5445693" y="816810"/>
                </a:cubicBezTo>
                <a:cubicBezTo>
                  <a:pt x="5448690" y="813814"/>
                  <a:pt x="5454083" y="812616"/>
                  <a:pt x="5457679" y="812016"/>
                </a:cubicBezTo>
                <a:cubicBezTo>
                  <a:pt x="5461275" y="811417"/>
                  <a:pt x="5466668" y="810818"/>
                  <a:pt x="5458878" y="818608"/>
                </a:cubicBezTo>
                <a:cubicBezTo>
                  <a:pt x="5451087" y="826399"/>
                  <a:pt x="5463672" y="820406"/>
                  <a:pt x="5472062" y="822803"/>
                </a:cubicBezTo>
                <a:cubicBezTo>
                  <a:pt x="5478054" y="824601"/>
                  <a:pt x="5493635" y="819807"/>
                  <a:pt x="5498429" y="821005"/>
                </a:cubicBezTo>
                <a:cubicBezTo>
                  <a:pt x="5503224" y="822204"/>
                  <a:pt x="5506819" y="816211"/>
                  <a:pt x="5512812" y="819807"/>
                </a:cubicBezTo>
                <a:cubicBezTo>
                  <a:pt x="5518206" y="822803"/>
                  <a:pt x="5523000" y="822204"/>
                  <a:pt x="5517606" y="818608"/>
                </a:cubicBezTo>
                <a:cubicBezTo>
                  <a:pt x="5515209" y="816810"/>
                  <a:pt x="5511014" y="814413"/>
                  <a:pt x="5507419" y="815612"/>
                </a:cubicBezTo>
                <a:cubicBezTo>
                  <a:pt x="5503823" y="816211"/>
                  <a:pt x="5500228" y="815612"/>
                  <a:pt x="5499628" y="813215"/>
                </a:cubicBezTo>
                <a:cubicBezTo>
                  <a:pt x="5499029" y="810818"/>
                  <a:pt x="5494235" y="803626"/>
                  <a:pt x="5486444" y="803027"/>
                </a:cubicBezTo>
                <a:cubicBezTo>
                  <a:pt x="5478653" y="802428"/>
                  <a:pt x="5483448" y="797034"/>
                  <a:pt x="5488242" y="798832"/>
                </a:cubicBezTo>
                <a:cubicBezTo>
                  <a:pt x="5493036" y="800630"/>
                  <a:pt x="5498429" y="805424"/>
                  <a:pt x="5502025" y="809020"/>
                </a:cubicBezTo>
                <a:cubicBezTo>
                  <a:pt x="5505621" y="813215"/>
                  <a:pt x="5517007" y="812016"/>
                  <a:pt x="5521801" y="813215"/>
                </a:cubicBezTo>
                <a:cubicBezTo>
                  <a:pt x="5528993" y="815013"/>
                  <a:pt x="5527195" y="804825"/>
                  <a:pt x="5537382" y="812016"/>
                </a:cubicBezTo>
                <a:cubicBezTo>
                  <a:pt x="5543974" y="816211"/>
                  <a:pt x="5544574" y="812616"/>
                  <a:pt x="5540978" y="810218"/>
                </a:cubicBezTo>
                <a:cubicBezTo>
                  <a:pt x="5537382" y="807821"/>
                  <a:pt x="5536783" y="806023"/>
                  <a:pt x="5541577" y="804226"/>
                </a:cubicBezTo>
                <a:cubicBezTo>
                  <a:pt x="5549368" y="801229"/>
                  <a:pt x="5531390" y="800031"/>
                  <a:pt x="5529592" y="803626"/>
                </a:cubicBezTo>
                <a:cubicBezTo>
                  <a:pt x="5524798" y="810218"/>
                  <a:pt x="5520004" y="801229"/>
                  <a:pt x="5513411" y="806023"/>
                </a:cubicBezTo>
                <a:cubicBezTo>
                  <a:pt x="5506819" y="810818"/>
                  <a:pt x="5495433" y="801229"/>
                  <a:pt x="5497830" y="795836"/>
                </a:cubicBezTo>
                <a:cubicBezTo>
                  <a:pt x="5500228" y="790442"/>
                  <a:pt x="5492437" y="788645"/>
                  <a:pt x="5487643" y="791641"/>
                </a:cubicBezTo>
                <a:cubicBezTo>
                  <a:pt x="5482249" y="794637"/>
                  <a:pt x="5475657" y="792240"/>
                  <a:pt x="5472661" y="792240"/>
                </a:cubicBezTo>
                <a:cubicBezTo>
                  <a:pt x="5469664" y="792240"/>
                  <a:pt x="5457679" y="797634"/>
                  <a:pt x="5451686" y="788045"/>
                </a:cubicBezTo>
                <a:cubicBezTo>
                  <a:pt x="5445693" y="778457"/>
                  <a:pt x="5436105" y="777858"/>
                  <a:pt x="5433109" y="776060"/>
                </a:cubicBezTo>
                <a:cubicBezTo>
                  <a:pt x="5430112" y="774861"/>
                  <a:pt x="5421123" y="774861"/>
                  <a:pt x="5415131" y="768868"/>
                </a:cubicBezTo>
                <a:cubicBezTo>
                  <a:pt x="5411535" y="765273"/>
                  <a:pt x="5405542" y="762876"/>
                  <a:pt x="5403145" y="762876"/>
                </a:cubicBezTo>
                <a:cubicBezTo>
                  <a:pt x="5400748" y="762876"/>
                  <a:pt x="5394755" y="762876"/>
                  <a:pt x="5391759" y="760479"/>
                </a:cubicBezTo>
                <a:cubicBezTo>
                  <a:pt x="5388762" y="758082"/>
                  <a:pt x="5382171" y="758681"/>
                  <a:pt x="5382770" y="756284"/>
                </a:cubicBezTo>
                <a:cubicBezTo>
                  <a:pt x="5383369" y="753887"/>
                  <a:pt x="5394156" y="754486"/>
                  <a:pt x="5391160" y="747894"/>
                </a:cubicBezTo>
                <a:cubicBezTo>
                  <a:pt x="5388163" y="740703"/>
                  <a:pt x="5391759" y="738905"/>
                  <a:pt x="5406141" y="737706"/>
                </a:cubicBezTo>
                <a:cubicBezTo>
                  <a:pt x="5421123" y="737107"/>
                  <a:pt x="5434907" y="721526"/>
                  <a:pt x="5435506" y="716732"/>
                </a:cubicBezTo>
                <a:cubicBezTo>
                  <a:pt x="5436105" y="710739"/>
                  <a:pt x="5440899" y="693959"/>
                  <a:pt x="5445693" y="691562"/>
                </a:cubicBezTo>
                <a:cubicBezTo>
                  <a:pt x="5449888" y="689165"/>
                  <a:pt x="5449289" y="686169"/>
                  <a:pt x="5448091" y="684371"/>
                </a:cubicBezTo>
                <a:cubicBezTo>
                  <a:pt x="5447491" y="681974"/>
                  <a:pt x="5446892" y="679577"/>
                  <a:pt x="5449289" y="675981"/>
                </a:cubicBezTo>
                <a:cubicBezTo>
                  <a:pt x="5451686" y="671786"/>
                  <a:pt x="5455282" y="674183"/>
                  <a:pt x="5454683" y="678378"/>
                </a:cubicBezTo>
                <a:cubicBezTo>
                  <a:pt x="5454083" y="682573"/>
                  <a:pt x="5454083" y="684371"/>
                  <a:pt x="5457080" y="681375"/>
                </a:cubicBezTo>
                <a:cubicBezTo>
                  <a:pt x="5460076" y="678378"/>
                  <a:pt x="5462473" y="674183"/>
                  <a:pt x="5465469" y="673584"/>
                </a:cubicBezTo>
                <a:cubicBezTo>
                  <a:pt x="5468466" y="672985"/>
                  <a:pt x="5470863" y="666992"/>
                  <a:pt x="5480451" y="661598"/>
                </a:cubicBezTo>
                <a:cubicBezTo>
                  <a:pt x="5489440" y="656205"/>
                  <a:pt x="5493036" y="668790"/>
                  <a:pt x="5493635" y="677180"/>
                </a:cubicBezTo>
                <a:cubicBezTo>
                  <a:pt x="5494235" y="685569"/>
                  <a:pt x="5500228" y="682573"/>
                  <a:pt x="5498429" y="676580"/>
                </a:cubicBezTo>
                <a:cubicBezTo>
                  <a:pt x="5497830" y="673584"/>
                  <a:pt x="5496033" y="671187"/>
                  <a:pt x="5500228" y="668190"/>
                </a:cubicBezTo>
                <a:cubicBezTo>
                  <a:pt x="5504422" y="664595"/>
                  <a:pt x="5496033" y="665793"/>
                  <a:pt x="5493036" y="661598"/>
                </a:cubicBezTo>
                <a:cubicBezTo>
                  <a:pt x="5489440" y="657404"/>
                  <a:pt x="5499029" y="650812"/>
                  <a:pt x="5499628" y="654407"/>
                </a:cubicBezTo>
                <a:cubicBezTo>
                  <a:pt x="5500228" y="658003"/>
                  <a:pt x="5508018" y="658003"/>
                  <a:pt x="5512812" y="656804"/>
                </a:cubicBezTo>
                <a:cubicBezTo>
                  <a:pt x="5517007" y="655606"/>
                  <a:pt x="5530790" y="644819"/>
                  <a:pt x="5535585" y="637628"/>
                </a:cubicBezTo>
                <a:cubicBezTo>
                  <a:pt x="5539780" y="630436"/>
                  <a:pt x="5542177" y="630436"/>
                  <a:pt x="5554761" y="630436"/>
                </a:cubicBezTo>
                <a:cubicBezTo>
                  <a:pt x="5567346" y="630436"/>
                  <a:pt x="5561953" y="641822"/>
                  <a:pt x="5554162" y="646017"/>
                </a:cubicBezTo>
                <a:cubicBezTo>
                  <a:pt x="5546971" y="650212"/>
                  <a:pt x="5548769" y="652010"/>
                  <a:pt x="5551765" y="651411"/>
                </a:cubicBezTo>
                <a:cubicBezTo>
                  <a:pt x="5554162" y="650812"/>
                  <a:pt x="5558357" y="646617"/>
                  <a:pt x="5564949" y="649014"/>
                </a:cubicBezTo>
                <a:cubicBezTo>
                  <a:pt x="5573938" y="652609"/>
                  <a:pt x="5572140" y="647216"/>
                  <a:pt x="5569144" y="646017"/>
                </a:cubicBezTo>
                <a:cubicBezTo>
                  <a:pt x="5566747" y="644819"/>
                  <a:pt x="5563750" y="640624"/>
                  <a:pt x="5570342" y="634032"/>
                </a:cubicBezTo>
                <a:cubicBezTo>
                  <a:pt x="5576935" y="628039"/>
                  <a:pt x="5583526" y="646017"/>
                  <a:pt x="5587122" y="651411"/>
                </a:cubicBezTo>
                <a:cubicBezTo>
                  <a:pt x="5590119" y="656804"/>
                  <a:pt x="5595512" y="652609"/>
                  <a:pt x="5598508" y="656804"/>
                </a:cubicBezTo>
                <a:cubicBezTo>
                  <a:pt x="5600306" y="659201"/>
                  <a:pt x="5605700" y="657404"/>
                  <a:pt x="5608696" y="656205"/>
                </a:cubicBezTo>
                <a:cubicBezTo>
                  <a:pt x="5611692" y="654407"/>
                  <a:pt x="5620082" y="653209"/>
                  <a:pt x="5615288" y="651411"/>
                </a:cubicBezTo>
                <a:cubicBezTo>
                  <a:pt x="5610494" y="649613"/>
                  <a:pt x="5611692" y="652010"/>
                  <a:pt x="5602104" y="653209"/>
                </a:cubicBezTo>
                <a:cubicBezTo>
                  <a:pt x="5591916" y="654407"/>
                  <a:pt x="5593115" y="647815"/>
                  <a:pt x="5597310" y="647216"/>
                </a:cubicBezTo>
                <a:cubicBezTo>
                  <a:pt x="5601505" y="646617"/>
                  <a:pt x="5603302" y="646017"/>
                  <a:pt x="5612292" y="641223"/>
                </a:cubicBezTo>
                <a:cubicBezTo>
                  <a:pt x="5620681" y="637028"/>
                  <a:pt x="5642855" y="641223"/>
                  <a:pt x="5636862" y="649014"/>
                </a:cubicBezTo>
                <a:cubicBezTo>
                  <a:pt x="5633866" y="653209"/>
                  <a:pt x="5636262" y="653209"/>
                  <a:pt x="5639259" y="652609"/>
                </a:cubicBezTo>
                <a:cubicBezTo>
                  <a:pt x="5641656" y="652010"/>
                  <a:pt x="5650046" y="649014"/>
                  <a:pt x="5645851" y="655006"/>
                </a:cubicBezTo>
                <a:cubicBezTo>
                  <a:pt x="5641656" y="660400"/>
                  <a:pt x="5657837" y="653808"/>
                  <a:pt x="5662032" y="657404"/>
                </a:cubicBezTo>
                <a:cubicBezTo>
                  <a:pt x="5666226" y="660999"/>
                  <a:pt x="5673418" y="658602"/>
                  <a:pt x="5679410" y="655006"/>
                </a:cubicBezTo>
                <a:cubicBezTo>
                  <a:pt x="5685403" y="650812"/>
                  <a:pt x="5694392" y="650812"/>
                  <a:pt x="5696190" y="652609"/>
                </a:cubicBezTo>
                <a:cubicBezTo>
                  <a:pt x="5697988" y="654407"/>
                  <a:pt x="5703381" y="653209"/>
                  <a:pt x="5704580" y="652609"/>
                </a:cubicBezTo>
                <a:cubicBezTo>
                  <a:pt x="5706378" y="652010"/>
                  <a:pt x="5712370" y="650812"/>
                  <a:pt x="5714168" y="652609"/>
                </a:cubicBezTo>
                <a:cubicBezTo>
                  <a:pt x="5715966" y="654407"/>
                  <a:pt x="5719562" y="656205"/>
                  <a:pt x="5721359" y="654407"/>
                </a:cubicBezTo>
                <a:cubicBezTo>
                  <a:pt x="5723157" y="652609"/>
                  <a:pt x="5730948" y="651411"/>
                  <a:pt x="5733345" y="654407"/>
                </a:cubicBezTo>
                <a:cubicBezTo>
                  <a:pt x="5735742" y="657404"/>
                  <a:pt x="5738739" y="658602"/>
                  <a:pt x="5741135" y="656205"/>
                </a:cubicBezTo>
                <a:cubicBezTo>
                  <a:pt x="5743533" y="653808"/>
                  <a:pt x="5760912" y="650212"/>
                  <a:pt x="5768702" y="655606"/>
                </a:cubicBezTo>
                <a:cubicBezTo>
                  <a:pt x="5776493" y="660999"/>
                  <a:pt x="5787280" y="662797"/>
                  <a:pt x="5790276" y="656205"/>
                </a:cubicBezTo>
                <a:cubicBezTo>
                  <a:pt x="5793272" y="649014"/>
                  <a:pt x="5807056" y="649014"/>
                  <a:pt x="5826832" y="656205"/>
                </a:cubicBezTo>
                <a:cubicBezTo>
                  <a:pt x="5841214" y="660999"/>
                  <a:pt x="5850803" y="658602"/>
                  <a:pt x="5859192" y="656205"/>
                </a:cubicBezTo>
                <a:lnTo>
                  <a:pt x="5859792" y="655606"/>
                </a:lnTo>
                <a:cubicBezTo>
                  <a:pt x="5862788" y="655006"/>
                  <a:pt x="5865185" y="653808"/>
                  <a:pt x="5868182" y="653209"/>
                </a:cubicBezTo>
                <a:cubicBezTo>
                  <a:pt x="5880167" y="651411"/>
                  <a:pt x="5889156" y="654407"/>
                  <a:pt x="5895748" y="657404"/>
                </a:cubicBezTo>
                <a:cubicBezTo>
                  <a:pt x="5902340" y="660400"/>
                  <a:pt x="5913727" y="667591"/>
                  <a:pt x="5912528" y="660999"/>
                </a:cubicBezTo>
                <a:cubicBezTo>
                  <a:pt x="5911928" y="653808"/>
                  <a:pt x="5927510" y="663996"/>
                  <a:pt x="5932304" y="667591"/>
                </a:cubicBezTo>
                <a:cubicBezTo>
                  <a:pt x="5937098" y="671187"/>
                  <a:pt x="5958672" y="677779"/>
                  <a:pt x="5962867" y="676580"/>
                </a:cubicBezTo>
                <a:cubicBezTo>
                  <a:pt x="5967062" y="675981"/>
                  <a:pt x="5970058" y="678977"/>
                  <a:pt x="5976051" y="678977"/>
                </a:cubicBezTo>
                <a:cubicBezTo>
                  <a:pt x="5982044" y="678977"/>
                  <a:pt x="5983242" y="676580"/>
                  <a:pt x="5977849" y="674783"/>
                </a:cubicBezTo>
                <a:cubicBezTo>
                  <a:pt x="5972455" y="672385"/>
                  <a:pt x="5971856" y="666992"/>
                  <a:pt x="5976650" y="667591"/>
                </a:cubicBezTo>
                <a:cubicBezTo>
                  <a:pt x="5981444" y="668190"/>
                  <a:pt x="5983841" y="666393"/>
                  <a:pt x="5981444" y="665194"/>
                </a:cubicBezTo>
                <a:cubicBezTo>
                  <a:pt x="5979047" y="664595"/>
                  <a:pt x="5977849" y="663396"/>
                  <a:pt x="5974253" y="663396"/>
                </a:cubicBezTo>
                <a:cubicBezTo>
                  <a:pt x="5970058" y="663396"/>
                  <a:pt x="5961668" y="662797"/>
                  <a:pt x="5958672" y="657404"/>
                </a:cubicBezTo>
                <a:cubicBezTo>
                  <a:pt x="5953878" y="648414"/>
                  <a:pt x="5968859" y="647216"/>
                  <a:pt x="5968859" y="647216"/>
                </a:cubicBezTo>
                <a:cubicBezTo>
                  <a:pt x="5972455" y="652010"/>
                  <a:pt x="5976051" y="644819"/>
                  <a:pt x="5975452" y="649613"/>
                </a:cubicBezTo>
                <a:cubicBezTo>
                  <a:pt x="5974852" y="654407"/>
                  <a:pt x="5982643" y="650812"/>
                  <a:pt x="5982044" y="643021"/>
                </a:cubicBezTo>
                <a:cubicBezTo>
                  <a:pt x="5981444" y="635230"/>
                  <a:pt x="5984441" y="635830"/>
                  <a:pt x="5986838" y="638826"/>
                </a:cubicBezTo>
                <a:cubicBezTo>
                  <a:pt x="5989235" y="641822"/>
                  <a:pt x="5989235" y="647216"/>
                  <a:pt x="5989235" y="658602"/>
                </a:cubicBezTo>
                <a:cubicBezTo>
                  <a:pt x="5989235" y="669389"/>
                  <a:pt x="5995827" y="665793"/>
                  <a:pt x="5994029" y="663996"/>
                </a:cubicBezTo>
                <a:cubicBezTo>
                  <a:pt x="5992231" y="662198"/>
                  <a:pt x="5993430" y="660999"/>
                  <a:pt x="5993430" y="655606"/>
                </a:cubicBezTo>
                <a:cubicBezTo>
                  <a:pt x="5993430" y="650212"/>
                  <a:pt x="5997625" y="649014"/>
                  <a:pt x="6001820" y="650212"/>
                </a:cubicBezTo>
                <a:cubicBezTo>
                  <a:pt x="6006614" y="650812"/>
                  <a:pt x="6009011" y="644819"/>
                  <a:pt x="6014405" y="644819"/>
                </a:cubicBezTo>
                <a:cubicBezTo>
                  <a:pt x="6019798" y="644819"/>
                  <a:pt x="6022794" y="641223"/>
                  <a:pt x="6013805" y="641223"/>
                </a:cubicBezTo>
                <a:cubicBezTo>
                  <a:pt x="6005415" y="641223"/>
                  <a:pt x="6011408" y="636429"/>
                  <a:pt x="6015004" y="636429"/>
                </a:cubicBezTo>
                <a:cubicBezTo>
                  <a:pt x="6019199" y="636429"/>
                  <a:pt x="6021596" y="632833"/>
                  <a:pt x="6025191" y="632833"/>
                </a:cubicBezTo>
                <a:cubicBezTo>
                  <a:pt x="6028188" y="632833"/>
                  <a:pt x="6034780" y="623245"/>
                  <a:pt x="6039574" y="622046"/>
                </a:cubicBezTo>
                <a:cubicBezTo>
                  <a:pt x="6039574" y="622046"/>
                  <a:pt x="6043769" y="615454"/>
                  <a:pt x="6046765" y="616054"/>
                </a:cubicBezTo>
                <a:cubicBezTo>
                  <a:pt x="6049162" y="616653"/>
                  <a:pt x="6054556" y="618451"/>
                  <a:pt x="6055754" y="614256"/>
                </a:cubicBezTo>
                <a:cubicBezTo>
                  <a:pt x="6056354" y="611259"/>
                  <a:pt x="6059350" y="607065"/>
                  <a:pt x="6064144" y="614855"/>
                </a:cubicBezTo>
                <a:cubicBezTo>
                  <a:pt x="6068938" y="622046"/>
                  <a:pt x="6055155" y="631035"/>
                  <a:pt x="6048563" y="632833"/>
                </a:cubicBezTo>
                <a:cubicBezTo>
                  <a:pt x="6041971" y="634631"/>
                  <a:pt x="6041372" y="636429"/>
                  <a:pt x="6031783" y="650212"/>
                </a:cubicBezTo>
                <a:cubicBezTo>
                  <a:pt x="6022195" y="663996"/>
                  <a:pt x="6019798" y="654407"/>
                  <a:pt x="6015004" y="659801"/>
                </a:cubicBezTo>
                <a:cubicBezTo>
                  <a:pt x="6007812" y="668790"/>
                  <a:pt x="6015004" y="665793"/>
                  <a:pt x="6016801" y="667591"/>
                </a:cubicBezTo>
                <a:cubicBezTo>
                  <a:pt x="6018600" y="669389"/>
                  <a:pt x="6021596" y="669389"/>
                  <a:pt x="6022195" y="664595"/>
                </a:cubicBezTo>
                <a:cubicBezTo>
                  <a:pt x="6022794" y="659801"/>
                  <a:pt x="6031184" y="655006"/>
                  <a:pt x="6034180" y="654407"/>
                </a:cubicBezTo>
                <a:cubicBezTo>
                  <a:pt x="6037177" y="653808"/>
                  <a:pt x="6045567" y="649014"/>
                  <a:pt x="6044967" y="644220"/>
                </a:cubicBezTo>
                <a:cubicBezTo>
                  <a:pt x="6044368" y="637028"/>
                  <a:pt x="6052159" y="638826"/>
                  <a:pt x="6050361" y="642422"/>
                </a:cubicBezTo>
                <a:cubicBezTo>
                  <a:pt x="6047964" y="647216"/>
                  <a:pt x="6056354" y="647815"/>
                  <a:pt x="6056354" y="637028"/>
                </a:cubicBezTo>
                <a:cubicBezTo>
                  <a:pt x="6056354" y="626841"/>
                  <a:pt x="6064743" y="629238"/>
                  <a:pt x="6068339" y="625642"/>
                </a:cubicBezTo>
                <a:cubicBezTo>
                  <a:pt x="6070736" y="623245"/>
                  <a:pt x="6074931" y="617851"/>
                  <a:pt x="6076729" y="624443"/>
                </a:cubicBezTo>
                <a:cubicBezTo>
                  <a:pt x="6078527" y="631635"/>
                  <a:pt x="6082122" y="636429"/>
                  <a:pt x="6082722" y="625043"/>
                </a:cubicBezTo>
                <a:cubicBezTo>
                  <a:pt x="6083920" y="613057"/>
                  <a:pt x="6072534" y="610061"/>
                  <a:pt x="6071935" y="607065"/>
                </a:cubicBezTo>
                <a:cubicBezTo>
                  <a:pt x="6067740" y="595079"/>
                  <a:pt x="6076130" y="608862"/>
                  <a:pt x="6077328" y="595079"/>
                </a:cubicBezTo>
                <a:cubicBezTo>
                  <a:pt x="6077927" y="581895"/>
                  <a:pt x="6084520" y="600473"/>
                  <a:pt x="6101898" y="605866"/>
                </a:cubicBezTo>
                <a:cubicBezTo>
                  <a:pt x="6118678" y="611259"/>
                  <a:pt x="6122873" y="628638"/>
                  <a:pt x="6136057" y="626841"/>
                </a:cubicBezTo>
                <a:cubicBezTo>
                  <a:pt x="6149241" y="625642"/>
                  <a:pt x="6148043" y="632234"/>
                  <a:pt x="6157032" y="630436"/>
                </a:cubicBezTo>
                <a:cubicBezTo>
                  <a:pt x="6166021" y="628638"/>
                  <a:pt x="6167219" y="625043"/>
                  <a:pt x="6159429" y="626841"/>
                </a:cubicBezTo>
                <a:cubicBezTo>
                  <a:pt x="6153436" y="628039"/>
                  <a:pt x="6153436" y="622646"/>
                  <a:pt x="6154035" y="620848"/>
                </a:cubicBezTo>
                <a:cubicBezTo>
                  <a:pt x="6154634" y="618451"/>
                  <a:pt x="6154634" y="616653"/>
                  <a:pt x="6151039" y="610660"/>
                </a:cubicBezTo>
                <a:cubicBezTo>
                  <a:pt x="6146844" y="604667"/>
                  <a:pt x="6150440" y="605866"/>
                  <a:pt x="6152237" y="602270"/>
                </a:cubicBezTo>
                <a:cubicBezTo>
                  <a:pt x="6157032" y="594480"/>
                  <a:pt x="6158830" y="603469"/>
                  <a:pt x="6159429" y="606465"/>
                </a:cubicBezTo>
                <a:cubicBezTo>
                  <a:pt x="6160028" y="609462"/>
                  <a:pt x="6161226" y="618451"/>
                  <a:pt x="6167819" y="616653"/>
                </a:cubicBezTo>
                <a:cubicBezTo>
                  <a:pt x="6175010" y="614855"/>
                  <a:pt x="6179804" y="622646"/>
                  <a:pt x="6175010" y="626241"/>
                </a:cubicBezTo>
                <a:cubicBezTo>
                  <a:pt x="6170215" y="629837"/>
                  <a:pt x="6167819" y="633433"/>
                  <a:pt x="6172613" y="633433"/>
                </a:cubicBezTo>
                <a:cubicBezTo>
                  <a:pt x="6177407" y="633433"/>
                  <a:pt x="6179804" y="629837"/>
                  <a:pt x="6184598" y="628039"/>
                </a:cubicBezTo>
                <a:cubicBezTo>
                  <a:pt x="6189393" y="625642"/>
                  <a:pt x="6194786" y="619649"/>
                  <a:pt x="6191790" y="614855"/>
                </a:cubicBezTo>
                <a:cubicBezTo>
                  <a:pt x="6188793" y="610061"/>
                  <a:pt x="6191190" y="608263"/>
                  <a:pt x="6194186" y="608263"/>
                </a:cubicBezTo>
                <a:cubicBezTo>
                  <a:pt x="6197183" y="608263"/>
                  <a:pt x="6203175" y="607664"/>
                  <a:pt x="6207970" y="605866"/>
                </a:cubicBezTo>
                <a:cubicBezTo>
                  <a:pt x="6212764" y="603469"/>
                  <a:pt x="6228945" y="602870"/>
                  <a:pt x="6236735" y="608263"/>
                </a:cubicBezTo>
                <a:cubicBezTo>
                  <a:pt x="6244525" y="613657"/>
                  <a:pt x="6254714" y="611859"/>
                  <a:pt x="6259507" y="610660"/>
                </a:cubicBezTo>
                <a:cubicBezTo>
                  <a:pt x="6264302" y="609462"/>
                  <a:pt x="6282280" y="610061"/>
                  <a:pt x="6287674" y="613057"/>
                </a:cubicBezTo>
                <a:cubicBezTo>
                  <a:pt x="6293067" y="615454"/>
                  <a:pt x="6300857" y="618451"/>
                  <a:pt x="6307449" y="617851"/>
                </a:cubicBezTo>
                <a:cubicBezTo>
                  <a:pt x="6314641" y="617252"/>
                  <a:pt x="6322431" y="619050"/>
                  <a:pt x="6327825" y="620848"/>
                </a:cubicBezTo>
                <a:cubicBezTo>
                  <a:pt x="6333218" y="622646"/>
                  <a:pt x="6347001" y="626841"/>
                  <a:pt x="6338012" y="617252"/>
                </a:cubicBezTo>
                <a:cubicBezTo>
                  <a:pt x="6329023" y="607664"/>
                  <a:pt x="6357788" y="611859"/>
                  <a:pt x="6362583" y="615454"/>
                </a:cubicBezTo>
                <a:cubicBezTo>
                  <a:pt x="6367377" y="619649"/>
                  <a:pt x="6378164" y="615454"/>
                  <a:pt x="6384756" y="625642"/>
                </a:cubicBezTo>
                <a:cubicBezTo>
                  <a:pt x="6391348" y="635830"/>
                  <a:pt x="6380561" y="632833"/>
                  <a:pt x="6372770" y="628638"/>
                </a:cubicBezTo>
                <a:cubicBezTo>
                  <a:pt x="6364979" y="624443"/>
                  <a:pt x="6367976" y="634032"/>
                  <a:pt x="6370972" y="638227"/>
                </a:cubicBezTo>
                <a:cubicBezTo>
                  <a:pt x="6373969" y="642422"/>
                  <a:pt x="6373369" y="646617"/>
                  <a:pt x="6370373" y="645418"/>
                </a:cubicBezTo>
                <a:cubicBezTo>
                  <a:pt x="6367377" y="643620"/>
                  <a:pt x="6366178" y="646017"/>
                  <a:pt x="6370373" y="648414"/>
                </a:cubicBezTo>
                <a:cubicBezTo>
                  <a:pt x="6374568" y="650812"/>
                  <a:pt x="6377565" y="652010"/>
                  <a:pt x="6381759" y="650812"/>
                </a:cubicBezTo>
                <a:cubicBezTo>
                  <a:pt x="6385954" y="650212"/>
                  <a:pt x="6390149" y="649014"/>
                  <a:pt x="6396741" y="649613"/>
                </a:cubicBezTo>
                <a:cubicBezTo>
                  <a:pt x="6403932" y="650212"/>
                  <a:pt x="6418315" y="645418"/>
                  <a:pt x="6423709" y="642422"/>
                </a:cubicBezTo>
                <a:cubicBezTo>
                  <a:pt x="6429102" y="639425"/>
                  <a:pt x="6436892" y="635830"/>
                  <a:pt x="6439889" y="635830"/>
                </a:cubicBezTo>
                <a:cubicBezTo>
                  <a:pt x="6442885" y="635830"/>
                  <a:pt x="6448279" y="637028"/>
                  <a:pt x="6451874" y="628638"/>
                </a:cubicBezTo>
                <a:cubicBezTo>
                  <a:pt x="6456069" y="620249"/>
                  <a:pt x="6462062" y="624443"/>
                  <a:pt x="6460264" y="628039"/>
                </a:cubicBezTo>
                <a:cubicBezTo>
                  <a:pt x="6459066" y="631635"/>
                  <a:pt x="6460863" y="635230"/>
                  <a:pt x="6465658" y="632833"/>
                </a:cubicBezTo>
                <a:cubicBezTo>
                  <a:pt x="6469852" y="630436"/>
                  <a:pt x="6475246" y="634631"/>
                  <a:pt x="6478242" y="635230"/>
                </a:cubicBezTo>
                <a:cubicBezTo>
                  <a:pt x="6481838" y="635830"/>
                  <a:pt x="6493823" y="635230"/>
                  <a:pt x="6496221" y="643021"/>
                </a:cubicBezTo>
                <a:cubicBezTo>
                  <a:pt x="6498618" y="650812"/>
                  <a:pt x="6510603" y="647815"/>
                  <a:pt x="6518394" y="645418"/>
                </a:cubicBezTo>
                <a:cubicBezTo>
                  <a:pt x="6526184" y="643021"/>
                  <a:pt x="6530380" y="652609"/>
                  <a:pt x="6526184" y="652609"/>
                </a:cubicBezTo>
                <a:cubicBezTo>
                  <a:pt x="6521990" y="652609"/>
                  <a:pt x="6522589" y="656804"/>
                  <a:pt x="6526184" y="658003"/>
                </a:cubicBezTo>
                <a:cubicBezTo>
                  <a:pt x="6529780" y="659801"/>
                  <a:pt x="6531578" y="662198"/>
                  <a:pt x="6538769" y="666393"/>
                </a:cubicBezTo>
                <a:cubicBezTo>
                  <a:pt x="6545961" y="671187"/>
                  <a:pt x="6549556" y="666992"/>
                  <a:pt x="6541166" y="662198"/>
                </a:cubicBezTo>
                <a:cubicBezTo>
                  <a:pt x="6532776" y="657404"/>
                  <a:pt x="6533376" y="653808"/>
                  <a:pt x="6536372" y="653209"/>
                </a:cubicBezTo>
                <a:cubicBezTo>
                  <a:pt x="6538170" y="652609"/>
                  <a:pt x="6535772" y="652010"/>
                  <a:pt x="6532776" y="648414"/>
                </a:cubicBezTo>
                <a:cubicBezTo>
                  <a:pt x="6530380" y="645418"/>
                  <a:pt x="6515997" y="632833"/>
                  <a:pt x="6511802" y="626841"/>
                </a:cubicBezTo>
                <a:cubicBezTo>
                  <a:pt x="6507607" y="620848"/>
                  <a:pt x="6514199" y="614855"/>
                  <a:pt x="6518394" y="616054"/>
                </a:cubicBezTo>
                <a:cubicBezTo>
                  <a:pt x="6522589" y="617252"/>
                  <a:pt x="6523787" y="615454"/>
                  <a:pt x="6524986" y="613057"/>
                </a:cubicBezTo>
                <a:cubicBezTo>
                  <a:pt x="6525585" y="610660"/>
                  <a:pt x="6527383" y="605267"/>
                  <a:pt x="6532776" y="604667"/>
                </a:cubicBezTo>
                <a:cubicBezTo>
                  <a:pt x="6538170" y="604068"/>
                  <a:pt x="6541765" y="604068"/>
                  <a:pt x="6541166" y="599274"/>
                </a:cubicBezTo>
                <a:cubicBezTo>
                  <a:pt x="6540567" y="595079"/>
                  <a:pt x="6529181" y="597476"/>
                  <a:pt x="6528581" y="595079"/>
                </a:cubicBezTo>
                <a:cubicBezTo>
                  <a:pt x="6527982" y="592682"/>
                  <a:pt x="6526184" y="594480"/>
                  <a:pt x="6525585" y="596877"/>
                </a:cubicBezTo>
                <a:cubicBezTo>
                  <a:pt x="6524986" y="599274"/>
                  <a:pt x="6521390" y="604068"/>
                  <a:pt x="6517195" y="607664"/>
                </a:cubicBezTo>
                <a:cubicBezTo>
                  <a:pt x="6510004" y="614256"/>
                  <a:pt x="6493224" y="612458"/>
                  <a:pt x="6490827" y="612458"/>
                </a:cubicBezTo>
                <a:cubicBezTo>
                  <a:pt x="6488430" y="612458"/>
                  <a:pt x="6486632" y="614855"/>
                  <a:pt x="6485434" y="610660"/>
                </a:cubicBezTo>
                <a:cubicBezTo>
                  <a:pt x="6484834" y="606465"/>
                  <a:pt x="6491427" y="595079"/>
                  <a:pt x="6496820" y="597476"/>
                </a:cubicBezTo>
                <a:cubicBezTo>
                  <a:pt x="6502213" y="599873"/>
                  <a:pt x="6508206" y="599274"/>
                  <a:pt x="6513001" y="592083"/>
                </a:cubicBezTo>
                <a:cubicBezTo>
                  <a:pt x="6517794" y="584891"/>
                  <a:pt x="6529780" y="584891"/>
                  <a:pt x="6532776" y="587888"/>
                </a:cubicBezTo>
                <a:cubicBezTo>
                  <a:pt x="6535772" y="590884"/>
                  <a:pt x="6542964" y="593281"/>
                  <a:pt x="6547758" y="593281"/>
                </a:cubicBezTo>
                <a:cubicBezTo>
                  <a:pt x="6551953" y="592682"/>
                  <a:pt x="6564538" y="593881"/>
                  <a:pt x="6556747" y="598075"/>
                </a:cubicBezTo>
                <a:cubicBezTo>
                  <a:pt x="6547159" y="603469"/>
                  <a:pt x="6563939" y="603469"/>
                  <a:pt x="6566935" y="599873"/>
                </a:cubicBezTo>
                <a:cubicBezTo>
                  <a:pt x="6569932" y="595678"/>
                  <a:pt x="6571729" y="596278"/>
                  <a:pt x="6574126" y="599873"/>
                </a:cubicBezTo>
                <a:cubicBezTo>
                  <a:pt x="6576523" y="603469"/>
                  <a:pt x="6607685" y="605866"/>
                  <a:pt x="6611282" y="605267"/>
                </a:cubicBezTo>
                <a:cubicBezTo>
                  <a:pt x="6618473" y="603469"/>
                  <a:pt x="6629260" y="607664"/>
                  <a:pt x="6637050" y="613057"/>
                </a:cubicBezTo>
                <a:cubicBezTo>
                  <a:pt x="6645440" y="618451"/>
                  <a:pt x="6653231" y="613657"/>
                  <a:pt x="6656227" y="614855"/>
                </a:cubicBezTo>
                <a:cubicBezTo>
                  <a:pt x="6659223" y="616054"/>
                  <a:pt x="6665216" y="614855"/>
                  <a:pt x="6670010" y="612458"/>
                </a:cubicBezTo>
                <a:cubicBezTo>
                  <a:pt x="6674804" y="610061"/>
                  <a:pt x="6683194" y="604667"/>
                  <a:pt x="6674804" y="596278"/>
                </a:cubicBezTo>
                <a:cubicBezTo>
                  <a:pt x="6666414" y="587888"/>
                  <a:pt x="6675404" y="586689"/>
                  <a:pt x="6677202" y="590884"/>
                </a:cubicBezTo>
                <a:cubicBezTo>
                  <a:pt x="6678999" y="595079"/>
                  <a:pt x="6684992" y="596278"/>
                  <a:pt x="6690385" y="598675"/>
                </a:cubicBezTo>
                <a:cubicBezTo>
                  <a:pt x="6695779" y="601072"/>
                  <a:pt x="6700573" y="597476"/>
                  <a:pt x="6697576" y="591483"/>
                </a:cubicBezTo>
                <a:cubicBezTo>
                  <a:pt x="6694580" y="586090"/>
                  <a:pt x="6690985" y="588487"/>
                  <a:pt x="6686790" y="587289"/>
                </a:cubicBezTo>
                <a:cubicBezTo>
                  <a:pt x="6681396" y="585491"/>
                  <a:pt x="6677202" y="583693"/>
                  <a:pt x="6667613" y="583094"/>
                </a:cubicBezTo>
                <a:cubicBezTo>
                  <a:pt x="6658024" y="582494"/>
                  <a:pt x="6660422" y="575902"/>
                  <a:pt x="6663418" y="576502"/>
                </a:cubicBezTo>
                <a:cubicBezTo>
                  <a:pt x="6666414" y="577101"/>
                  <a:pt x="6670010" y="577101"/>
                  <a:pt x="6670609" y="575303"/>
                </a:cubicBezTo>
                <a:cubicBezTo>
                  <a:pt x="6671209" y="572906"/>
                  <a:pt x="6672407" y="570509"/>
                  <a:pt x="6677801" y="571108"/>
                </a:cubicBezTo>
                <a:cubicBezTo>
                  <a:pt x="6683194" y="571707"/>
                  <a:pt x="6693981" y="573505"/>
                  <a:pt x="6695779" y="575303"/>
                </a:cubicBezTo>
                <a:cubicBezTo>
                  <a:pt x="6698176" y="577101"/>
                  <a:pt x="6710761" y="572906"/>
                  <a:pt x="6711959" y="575902"/>
                </a:cubicBezTo>
                <a:cubicBezTo>
                  <a:pt x="6712558" y="578299"/>
                  <a:pt x="6712558" y="583693"/>
                  <a:pt x="6710162" y="586689"/>
                </a:cubicBezTo>
                <a:cubicBezTo>
                  <a:pt x="6707765" y="589686"/>
                  <a:pt x="6708963" y="592083"/>
                  <a:pt x="6713757" y="595079"/>
                </a:cubicBezTo>
                <a:cubicBezTo>
                  <a:pt x="6718551" y="597476"/>
                  <a:pt x="6720349" y="605267"/>
                  <a:pt x="6723945" y="604667"/>
                </a:cubicBezTo>
                <a:cubicBezTo>
                  <a:pt x="6728140" y="604068"/>
                  <a:pt x="6723945" y="604667"/>
                  <a:pt x="6729338" y="607664"/>
                </a:cubicBezTo>
                <a:cubicBezTo>
                  <a:pt x="6732335" y="609462"/>
                  <a:pt x="6737129" y="610061"/>
                  <a:pt x="6740125" y="611859"/>
                </a:cubicBezTo>
                <a:cubicBezTo>
                  <a:pt x="6743122" y="613657"/>
                  <a:pt x="6737728" y="619050"/>
                  <a:pt x="6742522" y="621447"/>
                </a:cubicBezTo>
                <a:cubicBezTo>
                  <a:pt x="6747316" y="623844"/>
                  <a:pt x="6752111" y="619649"/>
                  <a:pt x="6752111" y="619649"/>
                </a:cubicBezTo>
                <a:cubicBezTo>
                  <a:pt x="6752111" y="619649"/>
                  <a:pt x="6757504" y="605866"/>
                  <a:pt x="6752111" y="606465"/>
                </a:cubicBezTo>
                <a:cubicBezTo>
                  <a:pt x="6752111" y="606465"/>
                  <a:pt x="6740125" y="603469"/>
                  <a:pt x="6737728" y="602270"/>
                </a:cubicBezTo>
                <a:cubicBezTo>
                  <a:pt x="6734732" y="600473"/>
                  <a:pt x="6735331" y="599274"/>
                  <a:pt x="6731735" y="598675"/>
                </a:cubicBezTo>
                <a:cubicBezTo>
                  <a:pt x="6727540" y="598075"/>
                  <a:pt x="6727540" y="595678"/>
                  <a:pt x="6728140" y="592682"/>
                </a:cubicBezTo>
                <a:cubicBezTo>
                  <a:pt x="6728739" y="589686"/>
                  <a:pt x="6731136" y="583693"/>
                  <a:pt x="6728140" y="580697"/>
                </a:cubicBezTo>
                <a:cubicBezTo>
                  <a:pt x="6722746" y="576502"/>
                  <a:pt x="6728140" y="575303"/>
                  <a:pt x="6732934" y="575303"/>
                </a:cubicBezTo>
                <a:cubicBezTo>
                  <a:pt x="6737728" y="575303"/>
                  <a:pt x="6740125" y="574104"/>
                  <a:pt x="6743721" y="566913"/>
                </a:cubicBezTo>
                <a:cubicBezTo>
                  <a:pt x="6747316" y="559722"/>
                  <a:pt x="6752111" y="562119"/>
                  <a:pt x="6752111" y="562119"/>
                </a:cubicBezTo>
                <a:cubicBezTo>
                  <a:pt x="6752111" y="562119"/>
                  <a:pt x="6753908" y="560920"/>
                  <a:pt x="6752111" y="556726"/>
                </a:cubicBezTo>
                <a:cubicBezTo>
                  <a:pt x="6752111" y="556726"/>
                  <a:pt x="6749714" y="556726"/>
                  <a:pt x="6747916" y="550134"/>
                </a:cubicBezTo>
                <a:cubicBezTo>
                  <a:pt x="6746118" y="543541"/>
                  <a:pt x="6743721" y="544141"/>
                  <a:pt x="6737129" y="539946"/>
                </a:cubicBezTo>
                <a:cubicBezTo>
                  <a:pt x="6730536" y="535751"/>
                  <a:pt x="6729937" y="542343"/>
                  <a:pt x="6732934" y="542343"/>
                </a:cubicBezTo>
                <a:cubicBezTo>
                  <a:pt x="6736529" y="542942"/>
                  <a:pt x="6735930" y="547736"/>
                  <a:pt x="6731735" y="549534"/>
                </a:cubicBezTo>
                <a:cubicBezTo>
                  <a:pt x="6727540" y="550733"/>
                  <a:pt x="6726342" y="555527"/>
                  <a:pt x="6723945" y="553729"/>
                </a:cubicBezTo>
                <a:cubicBezTo>
                  <a:pt x="6721547" y="551931"/>
                  <a:pt x="6724544" y="548336"/>
                  <a:pt x="6721547" y="545339"/>
                </a:cubicBezTo>
                <a:cubicBezTo>
                  <a:pt x="6718551" y="542942"/>
                  <a:pt x="6720948" y="538148"/>
                  <a:pt x="6722746" y="536949"/>
                </a:cubicBezTo>
                <a:cubicBezTo>
                  <a:pt x="6725144" y="536350"/>
                  <a:pt x="6726342" y="534552"/>
                  <a:pt x="6726342" y="531556"/>
                </a:cubicBezTo>
                <a:cubicBezTo>
                  <a:pt x="6726342" y="529159"/>
                  <a:pt x="6729937" y="526163"/>
                  <a:pt x="6734732" y="527960"/>
                </a:cubicBezTo>
                <a:cubicBezTo>
                  <a:pt x="6739526" y="529758"/>
                  <a:pt x="6741923" y="528560"/>
                  <a:pt x="6736529" y="525563"/>
                </a:cubicBezTo>
                <a:cubicBezTo>
                  <a:pt x="6731136" y="521968"/>
                  <a:pt x="6726342" y="521368"/>
                  <a:pt x="6725144" y="523765"/>
                </a:cubicBezTo>
                <a:cubicBezTo>
                  <a:pt x="6724544" y="526163"/>
                  <a:pt x="6724544" y="529159"/>
                  <a:pt x="6719750" y="530957"/>
                </a:cubicBezTo>
                <a:cubicBezTo>
                  <a:pt x="6714956" y="532755"/>
                  <a:pt x="6715555" y="528560"/>
                  <a:pt x="6711360" y="523166"/>
                </a:cubicBezTo>
                <a:cubicBezTo>
                  <a:pt x="6707165" y="517773"/>
                  <a:pt x="6701772" y="518971"/>
                  <a:pt x="6703569" y="521968"/>
                </a:cubicBezTo>
                <a:cubicBezTo>
                  <a:pt x="6705367" y="524365"/>
                  <a:pt x="6705367" y="526762"/>
                  <a:pt x="6699974" y="524365"/>
                </a:cubicBezTo>
                <a:cubicBezTo>
                  <a:pt x="6694580" y="521968"/>
                  <a:pt x="6692184" y="525563"/>
                  <a:pt x="6689786" y="523765"/>
                </a:cubicBezTo>
                <a:cubicBezTo>
                  <a:pt x="6687389" y="521368"/>
                  <a:pt x="6681396" y="520170"/>
                  <a:pt x="6676602" y="520170"/>
                </a:cubicBezTo>
                <a:cubicBezTo>
                  <a:pt x="6673006" y="520170"/>
                  <a:pt x="6654429" y="512379"/>
                  <a:pt x="6650234" y="509383"/>
                </a:cubicBezTo>
                <a:cubicBezTo>
                  <a:pt x="6642444" y="503989"/>
                  <a:pt x="6645440" y="502192"/>
                  <a:pt x="6652032" y="500394"/>
                </a:cubicBezTo>
                <a:cubicBezTo>
                  <a:pt x="6658624" y="497997"/>
                  <a:pt x="6652631" y="495000"/>
                  <a:pt x="6644841" y="496798"/>
                </a:cubicBezTo>
                <a:cubicBezTo>
                  <a:pt x="6635253" y="499195"/>
                  <a:pt x="6641245" y="489607"/>
                  <a:pt x="6635253" y="484813"/>
                </a:cubicBezTo>
                <a:cubicBezTo>
                  <a:pt x="6628061" y="478820"/>
                  <a:pt x="6637649" y="458445"/>
                  <a:pt x="6641844" y="469232"/>
                </a:cubicBezTo>
                <a:cubicBezTo>
                  <a:pt x="6644841" y="476423"/>
                  <a:pt x="6650234" y="461441"/>
                  <a:pt x="6643642" y="463239"/>
                </a:cubicBezTo>
                <a:cubicBezTo>
                  <a:pt x="6635253" y="465636"/>
                  <a:pt x="6640046" y="456647"/>
                  <a:pt x="6644841" y="450055"/>
                </a:cubicBezTo>
                <a:cubicBezTo>
                  <a:pt x="6649635" y="443463"/>
                  <a:pt x="6655028" y="452452"/>
                  <a:pt x="6659223" y="446459"/>
                </a:cubicBezTo>
                <a:cubicBezTo>
                  <a:pt x="6663418" y="441066"/>
                  <a:pt x="6666414" y="448856"/>
                  <a:pt x="6667613" y="450654"/>
                </a:cubicBezTo>
                <a:cubicBezTo>
                  <a:pt x="6669411" y="452452"/>
                  <a:pt x="6674804" y="453650"/>
                  <a:pt x="6668812" y="457845"/>
                </a:cubicBezTo>
                <a:cubicBezTo>
                  <a:pt x="6662819" y="462040"/>
                  <a:pt x="6667613" y="465037"/>
                  <a:pt x="6671808" y="462040"/>
                </a:cubicBezTo>
                <a:cubicBezTo>
                  <a:pt x="6674804" y="459643"/>
                  <a:pt x="6696378" y="466834"/>
                  <a:pt x="6696378" y="469831"/>
                </a:cubicBezTo>
                <a:cubicBezTo>
                  <a:pt x="6696378" y="472827"/>
                  <a:pt x="6701173" y="476423"/>
                  <a:pt x="6706566" y="475224"/>
                </a:cubicBezTo>
                <a:cubicBezTo>
                  <a:pt x="6711959" y="474625"/>
                  <a:pt x="6723346" y="477022"/>
                  <a:pt x="6724544" y="475824"/>
                </a:cubicBezTo>
                <a:cubicBezTo>
                  <a:pt x="6726342" y="475224"/>
                  <a:pt x="6732934" y="475824"/>
                  <a:pt x="6734732" y="478221"/>
                </a:cubicBezTo>
                <a:cubicBezTo>
                  <a:pt x="6736529" y="480618"/>
                  <a:pt x="6737728" y="481816"/>
                  <a:pt x="6740725" y="483015"/>
                </a:cubicBezTo>
                <a:cubicBezTo>
                  <a:pt x="6743721" y="484213"/>
                  <a:pt x="6749115" y="487210"/>
                  <a:pt x="6738327" y="489008"/>
                </a:cubicBezTo>
                <a:cubicBezTo>
                  <a:pt x="6728140" y="490805"/>
                  <a:pt x="6735930" y="495600"/>
                  <a:pt x="6731136" y="499195"/>
                </a:cubicBezTo>
                <a:cubicBezTo>
                  <a:pt x="6725144" y="503390"/>
                  <a:pt x="6729338" y="508184"/>
                  <a:pt x="6723346" y="510581"/>
                </a:cubicBezTo>
                <a:cubicBezTo>
                  <a:pt x="6718551" y="512979"/>
                  <a:pt x="6722147" y="515376"/>
                  <a:pt x="6725144" y="513578"/>
                </a:cubicBezTo>
                <a:cubicBezTo>
                  <a:pt x="6727540" y="512379"/>
                  <a:pt x="6729937" y="509982"/>
                  <a:pt x="6729937" y="506986"/>
                </a:cubicBezTo>
                <a:cubicBezTo>
                  <a:pt x="6729937" y="503989"/>
                  <a:pt x="6737129" y="493202"/>
                  <a:pt x="6742522" y="494401"/>
                </a:cubicBezTo>
                <a:cubicBezTo>
                  <a:pt x="6746118" y="495000"/>
                  <a:pt x="6746717" y="495000"/>
                  <a:pt x="6742522" y="500394"/>
                </a:cubicBezTo>
                <a:cubicBezTo>
                  <a:pt x="6738327" y="505787"/>
                  <a:pt x="6740125" y="512379"/>
                  <a:pt x="6744919" y="509383"/>
                </a:cubicBezTo>
                <a:cubicBezTo>
                  <a:pt x="6746717" y="508184"/>
                  <a:pt x="6752111" y="509383"/>
                  <a:pt x="6752111" y="509383"/>
                </a:cubicBezTo>
                <a:cubicBezTo>
                  <a:pt x="6752111" y="509383"/>
                  <a:pt x="6755706" y="508184"/>
                  <a:pt x="6758104" y="509383"/>
                </a:cubicBezTo>
                <a:cubicBezTo>
                  <a:pt x="6760500" y="510581"/>
                  <a:pt x="6761699" y="509383"/>
                  <a:pt x="6761699" y="506986"/>
                </a:cubicBezTo>
                <a:cubicBezTo>
                  <a:pt x="6761699" y="504589"/>
                  <a:pt x="6764096" y="506387"/>
                  <a:pt x="6768890" y="506387"/>
                </a:cubicBezTo>
                <a:cubicBezTo>
                  <a:pt x="6773685" y="506387"/>
                  <a:pt x="6779078" y="508184"/>
                  <a:pt x="6771887" y="510581"/>
                </a:cubicBezTo>
                <a:cubicBezTo>
                  <a:pt x="6764696" y="512979"/>
                  <a:pt x="6766493" y="515376"/>
                  <a:pt x="6772486" y="515975"/>
                </a:cubicBezTo>
                <a:cubicBezTo>
                  <a:pt x="6778478" y="516574"/>
                  <a:pt x="6780277" y="516574"/>
                  <a:pt x="6784471" y="521368"/>
                </a:cubicBezTo>
                <a:cubicBezTo>
                  <a:pt x="6788667" y="526163"/>
                  <a:pt x="6791663" y="527960"/>
                  <a:pt x="6794659" y="529758"/>
                </a:cubicBezTo>
                <a:cubicBezTo>
                  <a:pt x="6797056" y="531556"/>
                  <a:pt x="6806645" y="533953"/>
                  <a:pt x="6809641" y="537549"/>
                </a:cubicBezTo>
                <a:cubicBezTo>
                  <a:pt x="6813237" y="541144"/>
                  <a:pt x="6819828" y="547736"/>
                  <a:pt x="6825821" y="547736"/>
                </a:cubicBezTo>
                <a:cubicBezTo>
                  <a:pt x="6831215" y="548336"/>
                  <a:pt x="6831215" y="548336"/>
                  <a:pt x="6833612" y="548935"/>
                </a:cubicBezTo>
                <a:cubicBezTo>
                  <a:pt x="6836009" y="549534"/>
                  <a:pt x="6839605" y="548336"/>
                  <a:pt x="6834211" y="545339"/>
                </a:cubicBezTo>
                <a:cubicBezTo>
                  <a:pt x="6828818" y="542343"/>
                  <a:pt x="6827020" y="542942"/>
                  <a:pt x="6825821" y="536949"/>
                </a:cubicBezTo>
                <a:cubicBezTo>
                  <a:pt x="6824623" y="530957"/>
                  <a:pt x="6825222" y="529159"/>
                  <a:pt x="6819229" y="527960"/>
                </a:cubicBezTo>
                <a:cubicBezTo>
                  <a:pt x="6813237" y="526762"/>
                  <a:pt x="6812038" y="520769"/>
                  <a:pt x="6810839" y="515975"/>
                </a:cubicBezTo>
                <a:cubicBezTo>
                  <a:pt x="6809641" y="511780"/>
                  <a:pt x="6806645" y="503390"/>
                  <a:pt x="6814435" y="507585"/>
                </a:cubicBezTo>
                <a:cubicBezTo>
                  <a:pt x="6821627" y="511780"/>
                  <a:pt x="6831215" y="518971"/>
                  <a:pt x="6839006" y="518372"/>
                </a:cubicBezTo>
                <a:cubicBezTo>
                  <a:pt x="6846197" y="517773"/>
                  <a:pt x="6852189" y="519571"/>
                  <a:pt x="6855186" y="526163"/>
                </a:cubicBezTo>
                <a:cubicBezTo>
                  <a:pt x="6858182" y="532755"/>
                  <a:pt x="6857583" y="532755"/>
                  <a:pt x="6859380" y="534552"/>
                </a:cubicBezTo>
                <a:cubicBezTo>
                  <a:pt x="6861179" y="536949"/>
                  <a:pt x="6862377" y="539347"/>
                  <a:pt x="6858182" y="539347"/>
                </a:cubicBezTo>
                <a:cubicBezTo>
                  <a:pt x="6853988" y="539347"/>
                  <a:pt x="6853988" y="541744"/>
                  <a:pt x="6857583" y="547137"/>
                </a:cubicBezTo>
                <a:cubicBezTo>
                  <a:pt x="6861179" y="552531"/>
                  <a:pt x="6860579" y="551332"/>
                  <a:pt x="6866572" y="552531"/>
                </a:cubicBezTo>
                <a:cubicBezTo>
                  <a:pt x="6872565" y="553729"/>
                  <a:pt x="6873763" y="552531"/>
                  <a:pt x="6884550" y="560920"/>
                </a:cubicBezTo>
                <a:cubicBezTo>
                  <a:pt x="6886948" y="562718"/>
                  <a:pt x="6894738" y="565715"/>
                  <a:pt x="6897734" y="569310"/>
                </a:cubicBezTo>
                <a:cubicBezTo>
                  <a:pt x="6900131" y="572906"/>
                  <a:pt x="6907922" y="577700"/>
                  <a:pt x="6910319" y="569910"/>
                </a:cubicBezTo>
                <a:cubicBezTo>
                  <a:pt x="6912716" y="562119"/>
                  <a:pt x="6912117" y="554928"/>
                  <a:pt x="6904326" y="553130"/>
                </a:cubicBezTo>
                <a:cubicBezTo>
                  <a:pt x="6896536" y="550733"/>
                  <a:pt x="6895937" y="543541"/>
                  <a:pt x="6898933" y="539347"/>
                </a:cubicBezTo>
                <a:cubicBezTo>
                  <a:pt x="6901929" y="535152"/>
                  <a:pt x="6904326" y="538747"/>
                  <a:pt x="6909120" y="540545"/>
                </a:cubicBezTo>
                <a:cubicBezTo>
                  <a:pt x="6914514" y="542942"/>
                  <a:pt x="6917510" y="542343"/>
                  <a:pt x="6913315" y="538148"/>
                </a:cubicBezTo>
                <a:cubicBezTo>
                  <a:pt x="6908521" y="533953"/>
                  <a:pt x="6903128" y="532755"/>
                  <a:pt x="6901330" y="527361"/>
                </a:cubicBezTo>
                <a:cubicBezTo>
                  <a:pt x="6899532" y="521968"/>
                  <a:pt x="6892340" y="519571"/>
                  <a:pt x="6892940" y="514776"/>
                </a:cubicBezTo>
                <a:cubicBezTo>
                  <a:pt x="6893539" y="509982"/>
                  <a:pt x="6895337" y="510581"/>
                  <a:pt x="6898333" y="510581"/>
                </a:cubicBezTo>
                <a:cubicBezTo>
                  <a:pt x="6901929" y="510581"/>
                  <a:pt x="6903727" y="509383"/>
                  <a:pt x="6898933" y="506387"/>
                </a:cubicBezTo>
                <a:cubicBezTo>
                  <a:pt x="6894139" y="503390"/>
                  <a:pt x="6893539" y="501592"/>
                  <a:pt x="6894139" y="498596"/>
                </a:cubicBezTo>
                <a:cubicBezTo>
                  <a:pt x="6894738" y="495600"/>
                  <a:pt x="6894738" y="493202"/>
                  <a:pt x="6890543" y="497997"/>
                </a:cubicBezTo>
                <a:cubicBezTo>
                  <a:pt x="6886348" y="502791"/>
                  <a:pt x="6886348" y="503989"/>
                  <a:pt x="6882153" y="501592"/>
                </a:cubicBezTo>
                <a:cubicBezTo>
                  <a:pt x="6877359" y="499195"/>
                  <a:pt x="6873763" y="499195"/>
                  <a:pt x="6873763" y="496199"/>
                </a:cubicBezTo>
                <a:cubicBezTo>
                  <a:pt x="6874362" y="493202"/>
                  <a:pt x="6873164" y="493802"/>
                  <a:pt x="6868969" y="493802"/>
                </a:cubicBezTo>
                <a:cubicBezTo>
                  <a:pt x="6864774" y="493802"/>
                  <a:pt x="6863576" y="491405"/>
                  <a:pt x="6860579" y="488408"/>
                </a:cubicBezTo>
                <a:cubicBezTo>
                  <a:pt x="6858182" y="485412"/>
                  <a:pt x="6856384" y="480618"/>
                  <a:pt x="6861179" y="481816"/>
                </a:cubicBezTo>
                <a:cubicBezTo>
                  <a:pt x="6866572" y="483015"/>
                  <a:pt x="6868369" y="485412"/>
                  <a:pt x="6878558" y="484213"/>
                </a:cubicBezTo>
                <a:cubicBezTo>
                  <a:pt x="6888745" y="483614"/>
                  <a:pt x="6889944" y="484213"/>
                  <a:pt x="6892340" y="480018"/>
                </a:cubicBezTo>
                <a:cubicBezTo>
                  <a:pt x="6894738" y="475824"/>
                  <a:pt x="6902529" y="474625"/>
                  <a:pt x="6907322" y="474625"/>
                </a:cubicBezTo>
                <a:cubicBezTo>
                  <a:pt x="6912716" y="474026"/>
                  <a:pt x="6922304" y="477022"/>
                  <a:pt x="6913915" y="481816"/>
                </a:cubicBezTo>
                <a:cubicBezTo>
                  <a:pt x="6905525" y="486011"/>
                  <a:pt x="6909120" y="486610"/>
                  <a:pt x="6915712" y="486610"/>
                </a:cubicBezTo>
                <a:cubicBezTo>
                  <a:pt x="6922304" y="486610"/>
                  <a:pt x="6923503" y="484813"/>
                  <a:pt x="6927099" y="486610"/>
                </a:cubicBezTo>
                <a:cubicBezTo>
                  <a:pt x="6930694" y="488408"/>
                  <a:pt x="6931893" y="489008"/>
                  <a:pt x="6934290" y="484813"/>
                </a:cubicBezTo>
                <a:cubicBezTo>
                  <a:pt x="6936687" y="480618"/>
                  <a:pt x="6939084" y="478820"/>
                  <a:pt x="6944478" y="480018"/>
                </a:cubicBezTo>
                <a:cubicBezTo>
                  <a:pt x="6949871" y="481217"/>
                  <a:pt x="6952868" y="484213"/>
                  <a:pt x="6951669" y="488408"/>
                </a:cubicBezTo>
                <a:cubicBezTo>
                  <a:pt x="6950470" y="492603"/>
                  <a:pt x="6949271" y="493802"/>
                  <a:pt x="6954665" y="496798"/>
                </a:cubicBezTo>
                <a:cubicBezTo>
                  <a:pt x="6960059" y="499195"/>
                  <a:pt x="6963055" y="505188"/>
                  <a:pt x="6959460" y="507585"/>
                </a:cubicBezTo>
                <a:cubicBezTo>
                  <a:pt x="6955264" y="509982"/>
                  <a:pt x="6952868" y="511780"/>
                  <a:pt x="6952268" y="505188"/>
                </a:cubicBezTo>
                <a:cubicBezTo>
                  <a:pt x="6951669" y="498596"/>
                  <a:pt x="6946875" y="499795"/>
                  <a:pt x="6946875" y="499795"/>
                </a:cubicBezTo>
                <a:cubicBezTo>
                  <a:pt x="6946875" y="499795"/>
                  <a:pt x="6948672" y="505188"/>
                  <a:pt x="6946275" y="509383"/>
                </a:cubicBezTo>
                <a:cubicBezTo>
                  <a:pt x="6943879" y="513578"/>
                  <a:pt x="6946875" y="521968"/>
                  <a:pt x="6951669" y="516574"/>
                </a:cubicBezTo>
                <a:cubicBezTo>
                  <a:pt x="6956463" y="511181"/>
                  <a:pt x="6962456" y="512379"/>
                  <a:pt x="6959460" y="517173"/>
                </a:cubicBezTo>
                <a:cubicBezTo>
                  <a:pt x="6956463" y="521968"/>
                  <a:pt x="6960658" y="518372"/>
                  <a:pt x="6962456" y="522567"/>
                </a:cubicBezTo>
                <a:cubicBezTo>
                  <a:pt x="6964253" y="526762"/>
                  <a:pt x="6966051" y="524964"/>
                  <a:pt x="6967850" y="523166"/>
                </a:cubicBezTo>
                <a:cubicBezTo>
                  <a:pt x="6969647" y="520769"/>
                  <a:pt x="6972044" y="523166"/>
                  <a:pt x="6973242" y="527361"/>
                </a:cubicBezTo>
                <a:cubicBezTo>
                  <a:pt x="6973842" y="531556"/>
                  <a:pt x="6980434" y="538148"/>
                  <a:pt x="6988224" y="532755"/>
                </a:cubicBezTo>
                <a:cubicBezTo>
                  <a:pt x="6993618" y="529159"/>
                  <a:pt x="7005603" y="532755"/>
                  <a:pt x="7008600" y="536949"/>
                </a:cubicBezTo>
                <a:cubicBezTo>
                  <a:pt x="7011596" y="541144"/>
                  <a:pt x="7015791" y="544141"/>
                  <a:pt x="7015791" y="547137"/>
                </a:cubicBezTo>
                <a:cubicBezTo>
                  <a:pt x="7015192" y="550134"/>
                  <a:pt x="7016990" y="552531"/>
                  <a:pt x="7018188" y="555527"/>
                </a:cubicBezTo>
                <a:cubicBezTo>
                  <a:pt x="7018788" y="557924"/>
                  <a:pt x="7016391" y="559123"/>
                  <a:pt x="7014592" y="562119"/>
                </a:cubicBezTo>
                <a:cubicBezTo>
                  <a:pt x="7012795" y="565115"/>
                  <a:pt x="7012195" y="564516"/>
                  <a:pt x="7012795" y="566314"/>
                </a:cubicBezTo>
                <a:cubicBezTo>
                  <a:pt x="7013394" y="568711"/>
                  <a:pt x="7012195" y="569310"/>
                  <a:pt x="7008600" y="568711"/>
                </a:cubicBezTo>
                <a:cubicBezTo>
                  <a:pt x="7005004" y="568112"/>
                  <a:pt x="7005004" y="568711"/>
                  <a:pt x="7003206" y="572906"/>
                </a:cubicBezTo>
                <a:cubicBezTo>
                  <a:pt x="7001409" y="577101"/>
                  <a:pt x="7000210" y="581296"/>
                  <a:pt x="7000210" y="581296"/>
                </a:cubicBezTo>
                <a:cubicBezTo>
                  <a:pt x="7000210" y="581296"/>
                  <a:pt x="6997813" y="585491"/>
                  <a:pt x="6993019" y="579498"/>
                </a:cubicBezTo>
                <a:cubicBezTo>
                  <a:pt x="6988224" y="573505"/>
                  <a:pt x="6988224" y="575303"/>
                  <a:pt x="6985828" y="573505"/>
                </a:cubicBezTo>
                <a:cubicBezTo>
                  <a:pt x="6983431" y="571707"/>
                  <a:pt x="6982232" y="570509"/>
                  <a:pt x="6982831" y="568112"/>
                </a:cubicBezTo>
                <a:cubicBezTo>
                  <a:pt x="6983431" y="565715"/>
                  <a:pt x="6982232" y="563917"/>
                  <a:pt x="6977438" y="569310"/>
                </a:cubicBezTo>
                <a:cubicBezTo>
                  <a:pt x="6973242" y="574704"/>
                  <a:pt x="6968449" y="571707"/>
                  <a:pt x="6972044" y="574704"/>
                </a:cubicBezTo>
                <a:cubicBezTo>
                  <a:pt x="6975640" y="578299"/>
                  <a:pt x="6977438" y="577700"/>
                  <a:pt x="6983431" y="579498"/>
                </a:cubicBezTo>
                <a:cubicBezTo>
                  <a:pt x="6989423" y="581296"/>
                  <a:pt x="6992420" y="583094"/>
                  <a:pt x="6993618" y="586090"/>
                </a:cubicBezTo>
                <a:cubicBezTo>
                  <a:pt x="6994217" y="589086"/>
                  <a:pt x="6994217" y="590884"/>
                  <a:pt x="6989423" y="587888"/>
                </a:cubicBezTo>
                <a:cubicBezTo>
                  <a:pt x="6984629" y="584891"/>
                  <a:pt x="6984030" y="584292"/>
                  <a:pt x="6979835" y="584891"/>
                </a:cubicBezTo>
                <a:cubicBezTo>
                  <a:pt x="6975640" y="585491"/>
                  <a:pt x="6975041" y="586689"/>
                  <a:pt x="6979235" y="589086"/>
                </a:cubicBezTo>
                <a:cubicBezTo>
                  <a:pt x="6983431" y="591483"/>
                  <a:pt x="6984629" y="594480"/>
                  <a:pt x="6975640" y="594480"/>
                </a:cubicBezTo>
                <a:cubicBezTo>
                  <a:pt x="6967250" y="594480"/>
                  <a:pt x="6964853" y="594480"/>
                  <a:pt x="6960658" y="592083"/>
                </a:cubicBezTo>
                <a:cubicBezTo>
                  <a:pt x="6956463" y="589686"/>
                  <a:pt x="6956463" y="587289"/>
                  <a:pt x="6948672" y="590884"/>
                </a:cubicBezTo>
                <a:cubicBezTo>
                  <a:pt x="6940882" y="594480"/>
                  <a:pt x="6939084" y="591483"/>
                  <a:pt x="6936687" y="593281"/>
                </a:cubicBezTo>
                <a:cubicBezTo>
                  <a:pt x="6934290" y="595079"/>
                  <a:pt x="6931893" y="597476"/>
                  <a:pt x="6942080" y="596877"/>
                </a:cubicBezTo>
                <a:cubicBezTo>
                  <a:pt x="6952268" y="596278"/>
                  <a:pt x="6958261" y="594480"/>
                  <a:pt x="6957661" y="599873"/>
                </a:cubicBezTo>
                <a:cubicBezTo>
                  <a:pt x="6957062" y="605267"/>
                  <a:pt x="6956463" y="607065"/>
                  <a:pt x="6957062" y="610061"/>
                </a:cubicBezTo>
                <a:cubicBezTo>
                  <a:pt x="6957661" y="613057"/>
                  <a:pt x="6957062" y="615454"/>
                  <a:pt x="6954665" y="618451"/>
                </a:cubicBezTo>
                <a:cubicBezTo>
                  <a:pt x="6952268" y="622046"/>
                  <a:pt x="6952868" y="628638"/>
                  <a:pt x="6947474" y="629837"/>
                </a:cubicBezTo>
                <a:cubicBezTo>
                  <a:pt x="6942080" y="630436"/>
                  <a:pt x="6940282" y="629238"/>
                  <a:pt x="6932492" y="626241"/>
                </a:cubicBezTo>
                <a:cubicBezTo>
                  <a:pt x="6924701" y="623245"/>
                  <a:pt x="6921106" y="624443"/>
                  <a:pt x="6917510" y="623245"/>
                </a:cubicBezTo>
                <a:cubicBezTo>
                  <a:pt x="6913915" y="622046"/>
                  <a:pt x="6907922" y="617851"/>
                  <a:pt x="6900730" y="619050"/>
                </a:cubicBezTo>
                <a:cubicBezTo>
                  <a:pt x="6893539" y="619649"/>
                  <a:pt x="6892940" y="616653"/>
                  <a:pt x="6891741" y="619649"/>
                </a:cubicBezTo>
                <a:cubicBezTo>
                  <a:pt x="6890543" y="622646"/>
                  <a:pt x="6888745" y="622046"/>
                  <a:pt x="6885749" y="622046"/>
                </a:cubicBezTo>
                <a:cubicBezTo>
                  <a:pt x="6882752" y="622646"/>
                  <a:pt x="6877958" y="623844"/>
                  <a:pt x="6887547" y="625043"/>
                </a:cubicBezTo>
                <a:cubicBezTo>
                  <a:pt x="6897135" y="626241"/>
                  <a:pt x="6906124" y="624443"/>
                  <a:pt x="6909720" y="629837"/>
                </a:cubicBezTo>
                <a:cubicBezTo>
                  <a:pt x="6913315" y="635230"/>
                  <a:pt x="6921106" y="641822"/>
                  <a:pt x="6927698" y="637028"/>
                </a:cubicBezTo>
                <a:cubicBezTo>
                  <a:pt x="6934290" y="632833"/>
                  <a:pt x="6945077" y="634631"/>
                  <a:pt x="6951070" y="631635"/>
                </a:cubicBezTo>
                <a:cubicBezTo>
                  <a:pt x="6957062" y="628638"/>
                  <a:pt x="6972044" y="626841"/>
                  <a:pt x="6970846" y="634032"/>
                </a:cubicBezTo>
                <a:cubicBezTo>
                  <a:pt x="6970246" y="641223"/>
                  <a:pt x="6972044" y="650812"/>
                  <a:pt x="6974441" y="657404"/>
                </a:cubicBezTo>
                <a:cubicBezTo>
                  <a:pt x="6976839" y="663996"/>
                  <a:pt x="6978037" y="666992"/>
                  <a:pt x="6973842" y="669389"/>
                </a:cubicBezTo>
                <a:cubicBezTo>
                  <a:pt x="6969647" y="671786"/>
                  <a:pt x="6968449" y="671187"/>
                  <a:pt x="6971445" y="674783"/>
                </a:cubicBezTo>
                <a:cubicBezTo>
                  <a:pt x="6974441" y="678378"/>
                  <a:pt x="6972044" y="679577"/>
                  <a:pt x="6972044" y="681974"/>
                </a:cubicBezTo>
                <a:cubicBezTo>
                  <a:pt x="6971445" y="684371"/>
                  <a:pt x="6970846" y="686169"/>
                  <a:pt x="6967850" y="684970"/>
                </a:cubicBezTo>
                <a:cubicBezTo>
                  <a:pt x="6964853" y="684371"/>
                  <a:pt x="6966051" y="688566"/>
                  <a:pt x="6961257" y="685569"/>
                </a:cubicBezTo>
                <a:cubicBezTo>
                  <a:pt x="6956463" y="682573"/>
                  <a:pt x="6951070" y="681375"/>
                  <a:pt x="6948672" y="679577"/>
                </a:cubicBezTo>
                <a:cubicBezTo>
                  <a:pt x="6946275" y="677779"/>
                  <a:pt x="6946275" y="678977"/>
                  <a:pt x="6946875" y="681974"/>
                </a:cubicBezTo>
                <a:cubicBezTo>
                  <a:pt x="6947474" y="685569"/>
                  <a:pt x="6946875" y="686169"/>
                  <a:pt x="6944478" y="685569"/>
                </a:cubicBezTo>
                <a:cubicBezTo>
                  <a:pt x="6942080" y="684970"/>
                  <a:pt x="6940282" y="687967"/>
                  <a:pt x="6943879" y="689764"/>
                </a:cubicBezTo>
                <a:cubicBezTo>
                  <a:pt x="6948073" y="692161"/>
                  <a:pt x="6954066" y="691562"/>
                  <a:pt x="6952268" y="696356"/>
                </a:cubicBezTo>
                <a:cubicBezTo>
                  <a:pt x="6951070" y="701151"/>
                  <a:pt x="6950470" y="701151"/>
                  <a:pt x="6951070" y="703548"/>
                </a:cubicBezTo>
                <a:cubicBezTo>
                  <a:pt x="6951669" y="705945"/>
                  <a:pt x="6952868" y="708941"/>
                  <a:pt x="6946875" y="707143"/>
                </a:cubicBezTo>
                <a:cubicBezTo>
                  <a:pt x="6941481" y="704746"/>
                  <a:pt x="6925900" y="699353"/>
                  <a:pt x="6918110" y="699952"/>
                </a:cubicBezTo>
                <a:cubicBezTo>
                  <a:pt x="6910319" y="700551"/>
                  <a:pt x="6894738" y="699952"/>
                  <a:pt x="6891142" y="699353"/>
                </a:cubicBezTo>
                <a:cubicBezTo>
                  <a:pt x="6887547" y="698753"/>
                  <a:pt x="6883951" y="698154"/>
                  <a:pt x="6882752" y="698753"/>
                </a:cubicBezTo>
                <a:cubicBezTo>
                  <a:pt x="6880955" y="699353"/>
                  <a:pt x="6880955" y="700551"/>
                  <a:pt x="6885149" y="702948"/>
                </a:cubicBezTo>
                <a:cubicBezTo>
                  <a:pt x="6889344" y="705345"/>
                  <a:pt x="6901929" y="701750"/>
                  <a:pt x="6909120" y="705345"/>
                </a:cubicBezTo>
                <a:cubicBezTo>
                  <a:pt x="6916311" y="708941"/>
                  <a:pt x="6920507" y="710739"/>
                  <a:pt x="6922304" y="707743"/>
                </a:cubicBezTo>
                <a:cubicBezTo>
                  <a:pt x="6924102" y="705345"/>
                  <a:pt x="6929496" y="704746"/>
                  <a:pt x="6940882" y="707743"/>
                </a:cubicBezTo>
                <a:cubicBezTo>
                  <a:pt x="6952268" y="710739"/>
                  <a:pt x="6963654" y="720327"/>
                  <a:pt x="6955864" y="723923"/>
                </a:cubicBezTo>
                <a:cubicBezTo>
                  <a:pt x="6947474" y="727519"/>
                  <a:pt x="6943879" y="726919"/>
                  <a:pt x="6941481" y="728118"/>
                </a:cubicBezTo>
                <a:cubicBezTo>
                  <a:pt x="6939084" y="728717"/>
                  <a:pt x="6935489" y="732313"/>
                  <a:pt x="6943279" y="732912"/>
                </a:cubicBezTo>
                <a:cubicBezTo>
                  <a:pt x="6951070" y="733511"/>
                  <a:pt x="6951070" y="731714"/>
                  <a:pt x="6951669" y="734710"/>
                </a:cubicBezTo>
                <a:cubicBezTo>
                  <a:pt x="6952268" y="737706"/>
                  <a:pt x="6950470" y="737706"/>
                  <a:pt x="6946275" y="737107"/>
                </a:cubicBezTo>
                <a:cubicBezTo>
                  <a:pt x="6942080" y="736508"/>
                  <a:pt x="6942680" y="739504"/>
                  <a:pt x="6942080" y="741302"/>
                </a:cubicBezTo>
                <a:cubicBezTo>
                  <a:pt x="6941481" y="743100"/>
                  <a:pt x="6941481" y="745497"/>
                  <a:pt x="6946275" y="747295"/>
                </a:cubicBezTo>
                <a:cubicBezTo>
                  <a:pt x="6950470" y="749692"/>
                  <a:pt x="6950470" y="750890"/>
                  <a:pt x="6949271" y="752688"/>
                </a:cubicBezTo>
                <a:cubicBezTo>
                  <a:pt x="6948672" y="754486"/>
                  <a:pt x="6943879" y="756284"/>
                  <a:pt x="6940882" y="757482"/>
                </a:cubicBezTo>
                <a:cubicBezTo>
                  <a:pt x="6937886" y="758681"/>
                  <a:pt x="6943279" y="759879"/>
                  <a:pt x="6942080" y="761677"/>
                </a:cubicBezTo>
                <a:cubicBezTo>
                  <a:pt x="6940882" y="764074"/>
                  <a:pt x="6940882" y="764074"/>
                  <a:pt x="6938485" y="763475"/>
                </a:cubicBezTo>
                <a:cubicBezTo>
                  <a:pt x="6936088" y="762876"/>
                  <a:pt x="6934290" y="765872"/>
                  <a:pt x="6937886" y="767670"/>
                </a:cubicBezTo>
                <a:cubicBezTo>
                  <a:pt x="6942080" y="769468"/>
                  <a:pt x="6944478" y="768868"/>
                  <a:pt x="6944478" y="771865"/>
                </a:cubicBezTo>
                <a:cubicBezTo>
                  <a:pt x="6944478" y="774861"/>
                  <a:pt x="6943279" y="776060"/>
                  <a:pt x="6944478" y="778457"/>
                </a:cubicBezTo>
                <a:cubicBezTo>
                  <a:pt x="6945676" y="780854"/>
                  <a:pt x="6946275" y="783850"/>
                  <a:pt x="6943279" y="785049"/>
                </a:cubicBezTo>
                <a:cubicBezTo>
                  <a:pt x="6940282" y="785648"/>
                  <a:pt x="6937286" y="785049"/>
                  <a:pt x="6942680" y="791641"/>
                </a:cubicBezTo>
                <a:cubicBezTo>
                  <a:pt x="6948073" y="798233"/>
                  <a:pt x="6949871" y="803626"/>
                  <a:pt x="6947474" y="808421"/>
                </a:cubicBezTo>
                <a:cubicBezTo>
                  <a:pt x="6945077" y="813215"/>
                  <a:pt x="6946875" y="813814"/>
                  <a:pt x="6943879" y="815612"/>
                </a:cubicBezTo>
                <a:cubicBezTo>
                  <a:pt x="6941481" y="817410"/>
                  <a:pt x="6941481" y="817410"/>
                  <a:pt x="6947474" y="819208"/>
                </a:cubicBezTo>
                <a:cubicBezTo>
                  <a:pt x="6953467" y="821005"/>
                  <a:pt x="6957062" y="826399"/>
                  <a:pt x="6963055" y="838984"/>
                </a:cubicBezTo>
                <a:cubicBezTo>
                  <a:pt x="6969048" y="850969"/>
                  <a:pt x="6972044" y="851568"/>
                  <a:pt x="6976839" y="853965"/>
                </a:cubicBezTo>
                <a:cubicBezTo>
                  <a:pt x="6981632" y="856363"/>
                  <a:pt x="6982232" y="861157"/>
                  <a:pt x="6982831" y="864153"/>
                </a:cubicBezTo>
                <a:cubicBezTo>
                  <a:pt x="6983431" y="867749"/>
                  <a:pt x="6983431" y="869547"/>
                  <a:pt x="6988224" y="873741"/>
                </a:cubicBezTo>
                <a:cubicBezTo>
                  <a:pt x="6992420" y="877936"/>
                  <a:pt x="6993019" y="883929"/>
                  <a:pt x="6996015" y="880333"/>
                </a:cubicBezTo>
                <a:cubicBezTo>
                  <a:pt x="6999012" y="876738"/>
                  <a:pt x="7001409" y="879135"/>
                  <a:pt x="7002607" y="882731"/>
                </a:cubicBezTo>
                <a:cubicBezTo>
                  <a:pt x="7003806" y="886925"/>
                  <a:pt x="7008001" y="888124"/>
                  <a:pt x="7008001" y="883330"/>
                </a:cubicBezTo>
                <a:cubicBezTo>
                  <a:pt x="7008600" y="878536"/>
                  <a:pt x="7008600" y="876139"/>
                  <a:pt x="7013993" y="873741"/>
                </a:cubicBezTo>
                <a:cubicBezTo>
                  <a:pt x="7019387" y="871344"/>
                  <a:pt x="7028975" y="865352"/>
                  <a:pt x="7033770" y="873142"/>
                </a:cubicBezTo>
                <a:cubicBezTo>
                  <a:pt x="7038563" y="880333"/>
                  <a:pt x="7037964" y="882131"/>
                  <a:pt x="7043957" y="885128"/>
                </a:cubicBezTo>
                <a:cubicBezTo>
                  <a:pt x="7049950" y="888124"/>
                  <a:pt x="7054744" y="897712"/>
                  <a:pt x="7057741" y="901308"/>
                </a:cubicBezTo>
                <a:cubicBezTo>
                  <a:pt x="7060737" y="904904"/>
                  <a:pt x="7058939" y="905503"/>
                  <a:pt x="7064932" y="907900"/>
                </a:cubicBezTo>
                <a:cubicBezTo>
                  <a:pt x="7070924" y="910297"/>
                  <a:pt x="7075719" y="915091"/>
                  <a:pt x="7075119" y="921084"/>
                </a:cubicBezTo>
                <a:cubicBezTo>
                  <a:pt x="7074520" y="927077"/>
                  <a:pt x="7072722" y="934268"/>
                  <a:pt x="7077516" y="927077"/>
                </a:cubicBezTo>
                <a:cubicBezTo>
                  <a:pt x="7082910" y="919886"/>
                  <a:pt x="7081712" y="921683"/>
                  <a:pt x="7082910" y="924680"/>
                </a:cubicBezTo>
                <a:cubicBezTo>
                  <a:pt x="7084708" y="927676"/>
                  <a:pt x="7086505" y="927077"/>
                  <a:pt x="7091300" y="919286"/>
                </a:cubicBezTo>
                <a:cubicBezTo>
                  <a:pt x="7096693" y="911496"/>
                  <a:pt x="7096693" y="905503"/>
                  <a:pt x="7114072" y="912095"/>
                </a:cubicBezTo>
                <a:cubicBezTo>
                  <a:pt x="7130852" y="918687"/>
                  <a:pt x="7135046" y="921683"/>
                  <a:pt x="7155422" y="921084"/>
                </a:cubicBezTo>
                <a:cubicBezTo>
                  <a:pt x="7175797" y="920485"/>
                  <a:pt x="7194375" y="928875"/>
                  <a:pt x="7196173" y="935467"/>
                </a:cubicBezTo>
                <a:cubicBezTo>
                  <a:pt x="7197970" y="942059"/>
                  <a:pt x="7199169" y="941459"/>
                  <a:pt x="7203364" y="937864"/>
                </a:cubicBezTo>
                <a:cubicBezTo>
                  <a:pt x="7207559" y="933669"/>
                  <a:pt x="7216548" y="943856"/>
                  <a:pt x="7230930" y="941459"/>
                </a:cubicBezTo>
                <a:cubicBezTo>
                  <a:pt x="7245912" y="939062"/>
                  <a:pt x="7252505" y="948651"/>
                  <a:pt x="7259097" y="948651"/>
                </a:cubicBezTo>
                <a:cubicBezTo>
                  <a:pt x="7264490" y="948651"/>
                  <a:pt x="7263291" y="951048"/>
                  <a:pt x="7263291" y="952846"/>
                </a:cubicBezTo>
                <a:cubicBezTo>
                  <a:pt x="7263291" y="955243"/>
                  <a:pt x="7263890" y="953445"/>
                  <a:pt x="7267487" y="952246"/>
                </a:cubicBezTo>
                <a:cubicBezTo>
                  <a:pt x="7271082" y="951048"/>
                  <a:pt x="7310634" y="951048"/>
                  <a:pt x="7315428" y="948051"/>
                </a:cubicBezTo>
                <a:cubicBezTo>
                  <a:pt x="7320222" y="945055"/>
                  <a:pt x="7328612" y="942658"/>
                  <a:pt x="7335204" y="955243"/>
                </a:cubicBezTo>
                <a:cubicBezTo>
                  <a:pt x="7341796" y="967827"/>
                  <a:pt x="7344193" y="978614"/>
                  <a:pt x="7354381" y="982809"/>
                </a:cubicBezTo>
                <a:cubicBezTo>
                  <a:pt x="7364569" y="987004"/>
                  <a:pt x="7364569" y="991199"/>
                  <a:pt x="7367565" y="995394"/>
                </a:cubicBezTo>
                <a:cubicBezTo>
                  <a:pt x="7369962" y="999589"/>
                  <a:pt x="7371760" y="1000188"/>
                  <a:pt x="7375356" y="1002585"/>
                </a:cubicBezTo>
                <a:cubicBezTo>
                  <a:pt x="7379550" y="1004982"/>
                  <a:pt x="7378951" y="1007979"/>
                  <a:pt x="7377752" y="1010376"/>
                </a:cubicBezTo>
                <a:cubicBezTo>
                  <a:pt x="7376554" y="1012773"/>
                  <a:pt x="7372359" y="1013972"/>
                  <a:pt x="7377153" y="1017567"/>
                </a:cubicBezTo>
                <a:cubicBezTo>
                  <a:pt x="7381948" y="1021762"/>
                  <a:pt x="7383146" y="1022361"/>
                  <a:pt x="7389139" y="1025358"/>
                </a:cubicBezTo>
                <a:cubicBezTo>
                  <a:pt x="7394532" y="1028354"/>
                  <a:pt x="7408915" y="1035545"/>
                  <a:pt x="7409514" y="1042137"/>
                </a:cubicBezTo>
                <a:cubicBezTo>
                  <a:pt x="7410113" y="1048130"/>
                  <a:pt x="7408915" y="1048729"/>
                  <a:pt x="7413709" y="1044535"/>
                </a:cubicBezTo>
                <a:cubicBezTo>
                  <a:pt x="7417904" y="1040340"/>
                  <a:pt x="7443073" y="1052325"/>
                  <a:pt x="7447269" y="1057719"/>
                </a:cubicBezTo>
                <a:cubicBezTo>
                  <a:pt x="7451463" y="1063112"/>
                  <a:pt x="7453861" y="1066708"/>
                  <a:pt x="7454460" y="1069704"/>
                </a:cubicBezTo>
                <a:cubicBezTo>
                  <a:pt x="7455059" y="1072101"/>
                  <a:pt x="7458055" y="1075098"/>
                  <a:pt x="7462251" y="1073899"/>
                </a:cubicBezTo>
                <a:cubicBezTo>
                  <a:pt x="7466445" y="1073300"/>
                  <a:pt x="7469442" y="1074498"/>
                  <a:pt x="7472438" y="1075098"/>
                </a:cubicBezTo>
                <a:cubicBezTo>
                  <a:pt x="7474835" y="1075697"/>
                  <a:pt x="7475434" y="1073899"/>
                  <a:pt x="7474835" y="1069105"/>
                </a:cubicBezTo>
                <a:cubicBezTo>
                  <a:pt x="7474236" y="1064311"/>
                  <a:pt x="7479030" y="1058917"/>
                  <a:pt x="7480229" y="1063112"/>
                </a:cubicBezTo>
                <a:cubicBezTo>
                  <a:pt x="7481427" y="1067307"/>
                  <a:pt x="7478431" y="1066108"/>
                  <a:pt x="7484423" y="1067906"/>
                </a:cubicBezTo>
                <a:cubicBezTo>
                  <a:pt x="7489817" y="1069704"/>
                  <a:pt x="7491015" y="1068506"/>
                  <a:pt x="7491614" y="1065509"/>
                </a:cubicBezTo>
                <a:cubicBezTo>
                  <a:pt x="7492214" y="1062513"/>
                  <a:pt x="7491614" y="1061314"/>
                  <a:pt x="7487420" y="1058318"/>
                </a:cubicBezTo>
                <a:cubicBezTo>
                  <a:pt x="7483225" y="1054722"/>
                  <a:pt x="7477232" y="1051127"/>
                  <a:pt x="7477232" y="1040340"/>
                </a:cubicBezTo>
                <a:cubicBezTo>
                  <a:pt x="7477232" y="1029553"/>
                  <a:pt x="7473636" y="1027156"/>
                  <a:pt x="7468842" y="1024159"/>
                </a:cubicBezTo>
                <a:cubicBezTo>
                  <a:pt x="7464048" y="1021163"/>
                  <a:pt x="7459254" y="1020564"/>
                  <a:pt x="7459254" y="1015170"/>
                </a:cubicBezTo>
                <a:cubicBezTo>
                  <a:pt x="7459254" y="1009777"/>
                  <a:pt x="7455658" y="1005582"/>
                  <a:pt x="7452062" y="1003185"/>
                </a:cubicBezTo>
                <a:cubicBezTo>
                  <a:pt x="7447868" y="1000787"/>
                  <a:pt x="7441875" y="999589"/>
                  <a:pt x="7440077" y="995394"/>
                </a:cubicBezTo>
                <a:cubicBezTo>
                  <a:pt x="7437680" y="991199"/>
                  <a:pt x="7437081" y="991199"/>
                  <a:pt x="7434683" y="990001"/>
                </a:cubicBezTo>
                <a:cubicBezTo>
                  <a:pt x="7432287" y="988802"/>
                  <a:pt x="7431088" y="988203"/>
                  <a:pt x="7431088" y="984607"/>
                </a:cubicBezTo>
                <a:cubicBezTo>
                  <a:pt x="7431088" y="981012"/>
                  <a:pt x="7429290" y="980412"/>
                  <a:pt x="7425694" y="976217"/>
                </a:cubicBezTo>
                <a:cubicBezTo>
                  <a:pt x="7422099" y="972022"/>
                  <a:pt x="7418503" y="970824"/>
                  <a:pt x="7419102" y="968427"/>
                </a:cubicBezTo>
                <a:cubicBezTo>
                  <a:pt x="7419702" y="966030"/>
                  <a:pt x="7418503" y="964232"/>
                  <a:pt x="7413709" y="964831"/>
                </a:cubicBezTo>
                <a:cubicBezTo>
                  <a:pt x="7408915" y="965430"/>
                  <a:pt x="7408316" y="962434"/>
                  <a:pt x="7405919" y="960037"/>
                </a:cubicBezTo>
                <a:cubicBezTo>
                  <a:pt x="7403521" y="957640"/>
                  <a:pt x="7402323" y="956441"/>
                  <a:pt x="7399327" y="955842"/>
                </a:cubicBezTo>
                <a:cubicBezTo>
                  <a:pt x="7396330" y="955243"/>
                  <a:pt x="7393933" y="951647"/>
                  <a:pt x="7397529" y="946254"/>
                </a:cubicBezTo>
                <a:cubicBezTo>
                  <a:pt x="7401124" y="940860"/>
                  <a:pt x="7402922" y="937864"/>
                  <a:pt x="7404121" y="932470"/>
                </a:cubicBezTo>
                <a:cubicBezTo>
                  <a:pt x="7405320" y="927077"/>
                  <a:pt x="7413110" y="919886"/>
                  <a:pt x="7413110" y="909698"/>
                </a:cubicBezTo>
                <a:cubicBezTo>
                  <a:pt x="7413110" y="899510"/>
                  <a:pt x="7410113" y="888124"/>
                  <a:pt x="7414309" y="888124"/>
                </a:cubicBezTo>
                <a:cubicBezTo>
                  <a:pt x="7418503" y="888124"/>
                  <a:pt x="7420301" y="882731"/>
                  <a:pt x="7417305" y="882131"/>
                </a:cubicBezTo>
                <a:cubicBezTo>
                  <a:pt x="7414309" y="881532"/>
                  <a:pt x="7410712" y="879734"/>
                  <a:pt x="7410113" y="882131"/>
                </a:cubicBezTo>
                <a:cubicBezTo>
                  <a:pt x="7409514" y="884528"/>
                  <a:pt x="7410113" y="888723"/>
                  <a:pt x="7407716" y="887525"/>
                </a:cubicBezTo>
                <a:cubicBezTo>
                  <a:pt x="7405320" y="886925"/>
                  <a:pt x="7401124" y="882131"/>
                  <a:pt x="7397529" y="874341"/>
                </a:cubicBezTo>
                <a:cubicBezTo>
                  <a:pt x="7393933" y="866550"/>
                  <a:pt x="7386741" y="856363"/>
                  <a:pt x="7381349" y="855763"/>
                </a:cubicBezTo>
                <a:cubicBezTo>
                  <a:pt x="7375955" y="855164"/>
                  <a:pt x="7369363" y="847373"/>
                  <a:pt x="7363370" y="842579"/>
                </a:cubicBezTo>
                <a:cubicBezTo>
                  <a:pt x="7357977" y="837785"/>
                  <a:pt x="7351385" y="834189"/>
                  <a:pt x="7347789" y="830594"/>
                </a:cubicBezTo>
                <a:cubicBezTo>
                  <a:pt x="7343594" y="826399"/>
                  <a:pt x="7340598" y="822204"/>
                  <a:pt x="7332208" y="821005"/>
                </a:cubicBezTo>
                <a:cubicBezTo>
                  <a:pt x="7323818" y="820406"/>
                  <a:pt x="7319024" y="817410"/>
                  <a:pt x="7314229" y="815013"/>
                </a:cubicBezTo>
                <a:cubicBezTo>
                  <a:pt x="7309436" y="812616"/>
                  <a:pt x="7311233" y="814413"/>
                  <a:pt x="7307038" y="813215"/>
                </a:cubicBezTo>
                <a:cubicBezTo>
                  <a:pt x="7302843" y="812616"/>
                  <a:pt x="7300447" y="810818"/>
                  <a:pt x="7298049" y="807821"/>
                </a:cubicBezTo>
                <a:cubicBezTo>
                  <a:pt x="7295652" y="804825"/>
                  <a:pt x="7293854" y="802428"/>
                  <a:pt x="7297450" y="798832"/>
                </a:cubicBezTo>
                <a:cubicBezTo>
                  <a:pt x="7301645" y="795237"/>
                  <a:pt x="7308836" y="786847"/>
                  <a:pt x="7302843" y="782652"/>
                </a:cubicBezTo>
                <a:cubicBezTo>
                  <a:pt x="7297450" y="778457"/>
                  <a:pt x="7298648" y="777258"/>
                  <a:pt x="7304042" y="777258"/>
                </a:cubicBezTo>
                <a:cubicBezTo>
                  <a:pt x="7309436" y="777258"/>
                  <a:pt x="7310035" y="774861"/>
                  <a:pt x="7310035" y="774861"/>
                </a:cubicBezTo>
                <a:cubicBezTo>
                  <a:pt x="7310035" y="774861"/>
                  <a:pt x="7310035" y="774262"/>
                  <a:pt x="7306439" y="774262"/>
                </a:cubicBezTo>
                <a:cubicBezTo>
                  <a:pt x="7302843" y="774262"/>
                  <a:pt x="7299248" y="770666"/>
                  <a:pt x="7300447" y="764674"/>
                </a:cubicBezTo>
                <a:cubicBezTo>
                  <a:pt x="7301046" y="758681"/>
                  <a:pt x="7299248" y="758681"/>
                  <a:pt x="7297450" y="757482"/>
                </a:cubicBezTo>
                <a:cubicBezTo>
                  <a:pt x="7295652" y="756284"/>
                  <a:pt x="7284865" y="753287"/>
                  <a:pt x="7281869" y="752688"/>
                </a:cubicBezTo>
                <a:cubicBezTo>
                  <a:pt x="7278872" y="752089"/>
                  <a:pt x="7275876" y="750291"/>
                  <a:pt x="7272879" y="747894"/>
                </a:cubicBezTo>
                <a:cubicBezTo>
                  <a:pt x="7269883" y="745497"/>
                  <a:pt x="7257898" y="745497"/>
                  <a:pt x="7256100" y="737706"/>
                </a:cubicBezTo>
                <a:cubicBezTo>
                  <a:pt x="7254901" y="729916"/>
                  <a:pt x="7252505" y="729316"/>
                  <a:pt x="7249508" y="725721"/>
                </a:cubicBezTo>
                <a:cubicBezTo>
                  <a:pt x="7246512" y="722724"/>
                  <a:pt x="7245912" y="719129"/>
                  <a:pt x="7245313" y="716132"/>
                </a:cubicBezTo>
                <a:cubicBezTo>
                  <a:pt x="7244714" y="713136"/>
                  <a:pt x="7242916" y="710739"/>
                  <a:pt x="7236324" y="708941"/>
                </a:cubicBezTo>
                <a:cubicBezTo>
                  <a:pt x="7229732" y="707743"/>
                  <a:pt x="7230331" y="705345"/>
                  <a:pt x="7223140" y="698753"/>
                </a:cubicBezTo>
                <a:cubicBezTo>
                  <a:pt x="7215948" y="692161"/>
                  <a:pt x="7206959" y="688566"/>
                  <a:pt x="7212952" y="681974"/>
                </a:cubicBezTo>
                <a:cubicBezTo>
                  <a:pt x="7218346" y="675382"/>
                  <a:pt x="7220743" y="671786"/>
                  <a:pt x="7234526" y="675382"/>
                </a:cubicBezTo>
                <a:cubicBezTo>
                  <a:pt x="7248309" y="678977"/>
                  <a:pt x="7252505" y="680176"/>
                  <a:pt x="7257298" y="679577"/>
                </a:cubicBezTo>
                <a:cubicBezTo>
                  <a:pt x="7262093" y="678977"/>
                  <a:pt x="7273479" y="677779"/>
                  <a:pt x="7277674" y="680176"/>
                </a:cubicBezTo>
                <a:cubicBezTo>
                  <a:pt x="7281869" y="682573"/>
                  <a:pt x="7283067" y="679577"/>
                  <a:pt x="7285465" y="674783"/>
                </a:cubicBezTo>
                <a:cubicBezTo>
                  <a:pt x="7287861" y="669988"/>
                  <a:pt x="7292656" y="669389"/>
                  <a:pt x="7298648" y="669988"/>
                </a:cubicBezTo>
                <a:cubicBezTo>
                  <a:pt x="7304641" y="670588"/>
                  <a:pt x="7304042" y="669988"/>
                  <a:pt x="7308237" y="672385"/>
                </a:cubicBezTo>
                <a:cubicBezTo>
                  <a:pt x="7312432" y="674783"/>
                  <a:pt x="7313031" y="672985"/>
                  <a:pt x="7316627" y="672985"/>
                </a:cubicBezTo>
                <a:cubicBezTo>
                  <a:pt x="7320222" y="673584"/>
                  <a:pt x="7324418" y="671187"/>
                  <a:pt x="7325616" y="676580"/>
                </a:cubicBezTo>
                <a:cubicBezTo>
                  <a:pt x="7326814" y="682573"/>
                  <a:pt x="7342396" y="682573"/>
                  <a:pt x="7343594" y="687367"/>
                </a:cubicBezTo>
                <a:cubicBezTo>
                  <a:pt x="7342995" y="690364"/>
                  <a:pt x="7341796" y="691562"/>
                  <a:pt x="7344193" y="692161"/>
                </a:cubicBezTo>
                <a:cubicBezTo>
                  <a:pt x="7346590" y="692761"/>
                  <a:pt x="7347190" y="681375"/>
                  <a:pt x="7354980" y="685569"/>
                </a:cubicBezTo>
                <a:cubicBezTo>
                  <a:pt x="7362770" y="689764"/>
                  <a:pt x="7360973" y="703548"/>
                  <a:pt x="7371160" y="698753"/>
                </a:cubicBezTo>
                <a:cubicBezTo>
                  <a:pt x="7381349" y="694559"/>
                  <a:pt x="7380749" y="699353"/>
                  <a:pt x="7386741" y="696356"/>
                </a:cubicBezTo>
                <a:cubicBezTo>
                  <a:pt x="7392734" y="693360"/>
                  <a:pt x="7397529" y="696956"/>
                  <a:pt x="7400525" y="699353"/>
                </a:cubicBezTo>
                <a:cubicBezTo>
                  <a:pt x="7403521" y="701750"/>
                  <a:pt x="7408316" y="705345"/>
                  <a:pt x="7408915" y="698154"/>
                </a:cubicBezTo>
                <a:cubicBezTo>
                  <a:pt x="7409514" y="690963"/>
                  <a:pt x="7407117" y="686768"/>
                  <a:pt x="7413110" y="690364"/>
                </a:cubicBezTo>
                <a:cubicBezTo>
                  <a:pt x="7418503" y="693959"/>
                  <a:pt x="7422099" y="713136"/>
                  <a:pt x="7430489" y="716732"/>
                </a:cubicBezTo>
                <a:cubicBezTo>
                  <a:pt x="7438879" y="720927"/>
                  <a:pt x="7441276" y="721526"/>
                  <a:pt x="7440676" y="723923"/>
                </a:cubicBezTo>
                <a:cubicBezTo>
                  <a:pt x="7440077" y="726320"/>
                  <a:pt x="7441875" y="729316"/>
                  <a:pt x="7437081" y="729316"/>
                </a:cubicBezTo>
                <a:cubicBezTo>
                  <a:pt x="7432287" y="728717"/>
                  <a:pt x="7428691" y="728717"/>
                  <a:pt x="7426893" y="730515"/>
                </a:cubicBezTo>
                <a:cubicBezTo>
                  <a:pt x="7425095" y="732313"/>
                  <a:pt x="7420900" y="735908"/>
                  <a:pt x="7416106" y="734710"/>
                </a:cubicBezTo>
                <a:cubicBezTo>
                  <a:pt x="7411312" y="733511"/>
                  <a:pt x="7426893" y="740103"/>
                  <a:pt x="7432886" y="737706"/>
                </a:cubicBezTo>
                <a:cubicBezTo>
                  <a:pt x="7438280" y="735309"/>
                  <a:pt x="7455658" y="728717"/>
                  <a:pt x="7455658" y="738306"/>
                </a:cubicBezTo>
                <a:cubicBezTo>
                  <a:pt x="7455059" y="748493"/>
                  <a:pt x="7453861" y="764674"/>
                  <a:pt x="7459853" y="753287"/>
                </a:cubicBezTo>
                <a:cubicBezTo>
                  <a:pt x="7462850" y="746695"/>
                  <a:pt x="7468243" y="746096"/>
                  <a:pt x="7470041" y="749692"/>
                </a:cubicBezTo>
                <a:cubicBezTo>
                  <a:pt x="7472438" y="753287"/>
                  <a:pt x="7473037" y="752089"/>
                  <a:pt x="7477232" y="753287"/>
                </a:cubicBezTo>
                <a:cubicBezTo>
                  <a:pt x="7481427" y="753887"/>
                  <a:pt x="7481427" y="755684"/>
                  <a:pt x="7480828" y="758681"/>
                </a:cubicBezTo>
                <a:cubicBezTo>
                  <a:pt x="7480229" y="761078"/>
                  <a:pt x="7480828" y="762276"/>
                  <a:pt x="7476033" y="760479"/>
                </a:cubicBezTo>
                <a:cubicBezTo>
                  <a:pt x="7471240" y="758681"/>
                  <a:pt x="7465247" y="759879"/>
                  <a:pt x="7470041" y="763475"/>
                </a:cubicBezTo>
                <a:cubicBezTo>
                  <a:pt x="7474835" y="767071"/>
                  <a:pt x="7477232" y="768269"/>
                  <a:pt x="7473636" y="771865"/>
                </a:cubicBezTo>
                <a:cubicBezTo>
                  <a:pt x="7470041" y="776060"/>
                  <a:pt x="7471240" y="775461"/>
                  <a:pt x="7474835" y="774262"/>
                </a:cubicBezTo>
                <a:cubicBezTo>
                  <a:pt x="7478431" y="773663"/>
                  <a:pt x="7480828" y="776659"/>
                  <a:pt x="7482625" y="773063"/>
                </a:cubicBezTo>
                <a:cubicBezTo>
                  <a:pt x="7484423" y="768868"/>
                  <a:pt x="7483225" y="767670"/>
                  <a:pt x="7490416" y="767071"/>
                </a:cubicBezTo>
                <a:cubicBezTo>
                  <a:pt x="7497607" y="766471"/>
                  <a:pt x="7502402" y="765872"/>
                  <a:pt x="7506596" y="767071"/>
                </a:cubicBezTo>
                <a:cubicBezTo>
                  <a:pt x="7510792" y="768269"/>
                  <a:pt x="7513788" y="769468"/>
                  <a:pt x="7514387" y="774262"/>
                </a:cubicBezTo>
                <a:cubicBezTo>
                  <a:pt x="7514986" y="779056"/>
                  <a:pt x="7519182" y="783850"/>
                  <a:pt x="7518582" y="787446"/>
                </a:cubicBezTo>
                <a:cubicBezTo>
                  <a:pt x="7517983" y="791641"/>
                  <a:pt x="7520979" y="789843"/>
                  <a:pt x="7520979" y="785049"/>
                </a:cubicBezTo>
                <a:cubicBezTo>
                  <a:pt x="7520380" y="779655"/>
                  <a:pt x="7516784" y="772464"/>
                  <a:pt x="7525773" y="777858"/>
                </a:cubicBezTo>
                <a:cubicBezTo>
                  <a:pt x="7534163" y="783251"/>
                  <a:pt x="7539556" y="788045"/>
                  <a:pt x="7540755" y="792240"/>
                </a:cubicBezTo>
                <a:cubicBezTo>
                  <a:pt x="7541354" y="796435"/>
                  <a:pt x="7544950" y="795237"/>
                  <a:pt x="7544351" y="792240"/>
                </a:cubicBezTo>
                <a:cubicBezTo>
                  <a:pt x="7543752" y="789244"/>
                  <a:pt x="7536560" y="783850"/>
                  <a:pt x="7537759" y="777858"/>
                </a:cubicBezTo>
                <a:cubicBezTo>
                  <a:pt x="7538957" y="772464"/>
                  <a:pt x="7541354" y="774861"/>
                  <a:pt x="7546149" y="776659"/>
                </a:cubicBezTo>
                <a:cubicBezTo>
                  <a:pt x="7551542" y="778457"/>
                  <a:pt x="7554538" y="777258"/>
                  <a:pt x="7550344" y="772464"/>
                </a:cubicBezTo>
                <a:cubicBezTo>
                  <a:pt x="7545549" y="767670"/>
                  <a:pt x="7548545" y="764074"/>
                  <a:pt x="7553939" y="766471"/>
                </a:cubicBezTo>
                <a:cubicBezTo>
                  <a:pt x="7559333" y="768868"/>
                  <a:pt x="7563527" y="773663"/>
                  <a:pt x="7562329" y="770067"/>
                </a:cubicBezTo>
                <a:cubicBezTo>
                  <a:pt x="7561730" y="765872"/>
                  <a:pt x="7558733" y="764674"/>
                  <a:pt x="7555737" y="763475"/>
                </a:cubicBezTo>
                <a:cubicBezTo>
                  <a:pt x="7552741" y="762276"/>
                  <a:pt x="7550943" y="762876"/>
                  <a:pt x="7551542" y="758082"/>
                </a:cubicBezTo>
                <a:cubicBezTo>
                  <a:pt x="7552142" y="753887"/>
                  <a:pt x="7550943" y="755684"/>
                  <a:pt x="7549145" y="752688"/>
                </a:cubicBezTo>
                <a:cubicBezTo>
                  <a:pt x="7547347" y="750291"/>
                  <a:pt x="7547946" y="747295"/>
                  <a:pt x="7549744" y="745497"/>
                </a:cubicBezTo>
                <a:cubicBezTo>
                  <a:pt x="7552142" y="743699"/>
                  <a:pt x="7553939" y="742500"/>
                  <a:pt x="7548545" y="741302"/>
                </a:cubicBezTo>
                <a:cubicBezTo>
                  <a:pt x="7543153" y="740103"/>
                  <a:pt x="7543153" y="739504"/>
                  <a:pt x="7543752" y="737107"/>
                </a:cubicBezTo>
                <a:cubicBezTo>
                  <a:pt x="7544351" y="734710"/>
                  <a:pt x="7541354" y="731714"/>
                  <a:pt x="7538358" y="731714"/>
                </a:cubicBezTo>
                <a:cubicBezTo>
                  <a:pt x="7535362" y="731714"/>
                  <a:pt x="7532964" y="731114"/>
                  <a:pt x="7533564" y="728717"/>
                </a:cubicBezTo>
                <a:cubicBezTo>
                  <a:pt x="7534163" y="726320"/>
                  <a:pt x="7536560" y="727519"/>
                  <a:pt x="7541954" y="728118"/>
                </a:cubicBezTo>
                <a:cubicBezTo>
                  <a:pt x="7547347" y="728717"/>
                  <a:pt x="7547946" y="725721"/>
                  <a:pt x="7541354" y="725721"/>
                </a:cubicBezTo>
                <a:cubicBezTo>
                  <a:pt x="7534163" y="725122"/>
                  <a:pt x="7530567" y="721526"/>
                  <a:pt x="7529968" y="718530"/>
                </a:cubicBezTo>
                <a:cubicBezTo>
                  <a:pt x="7529369" y="716132"/>
                  <a:pt x="7528770" y="713136"/>
                  <a:pt x="7526972" y="711937"/>
                </a:cubicBezTo>
                <a:cubicBezTo>
                  <a:pt x="7525174" y="710739"/>
                  <a:pt x="7525773" y="709540"/>
                  <a:pt x="7526373" y="706544"/>
                </a:cubicBezTo>
                <a:cubicBezTo>
                  <a:pt x="7526972" y="702948"/>
                  <a:pt x="7526972" y="702948"/>
                  <a:pt x="7525773" y="701151"/>
                </a:cubicBezTo>
                <a:cubicBezTo>
                  <a:pt x="7523975" y="698753"/>
                  <a:pt x="7523975" y="695757"/>
                  <a:pt x="7526972" y="695757"/>
                </a:cubicBezTo>
                <a:cubicBezTo>
                  <a:pt x="7529968" y="696356"/>
                  <a:pt x="7532365" y="696956"/>
                  <a:pt x="7534163" y="701151"/>
                </a:cubicBezTo>
                <a:cubicBezTo>
                  <a:pt x="7536560" y="705345"/>
                  <a:pt x="7538358" y="705345"/>
                  <a:pt x="7543153" y="705945"/>
                </a:cubicBezTo>
                <a:cubicBezTo>
                  <a:pt x="7548545" y="706544"/>
                  <a:pt x="7551542" y="708342"/>
                  <a:pt x="7552741" y="711937"/>
                </a:cubicBezTo>
                <a:cubicBezTo>
                  <a:pt x="7553340" y="715533"/>
                  <a:pt x="7554538" y="717331"/>
                  <a:pt x="7559932" y="716132"/>
                </a:cubicBezTo>
                <a:cubicBezTo>
                  <a:pt x="7565325" y="714335"/>
                  <a:pt x="7571917" y="717930"/>
                  <a:pt x="7571318" y="722125"/>
                </a:cubicBezTo>
                <a:cubicBezTo>
                  <a:pt x="7570719" y="726320"/>
                  <a:pt x="7571318" y="728717"/>
                  <a:pt x="7577311" y="725122"/>
                </a:cubicBezTo>
                <a:cubicBezTo>
                  <a:pt x="7583304" y="721526"/>
                  <a:pt x="7584502" y="722125"/>
                  <a:pt x="7585701" y="725122"/>
                </a:cubicBezTo>
                <a:cubicBezTo>
                  <a:pt x="7587498" y="728118"/>
                  <a:pt x="7598885" y="729316"/>
                  <a:pt x="7600683" y="736508"/>
                </a:cubicBezTo>
                <a:cubicBezTo>
                  <a:pt x="7603080" y="743699"/>
                  <a:pt x="7604877" y="744898"/>
                  <a:pt x="7606076" y="740703"/>
                </a:cubicBezTo>
                <a:cubicBezTo>
                  <a:pt x="7607275" y="736508"/>
                  <a:pt x="7608473" y="738306"/>
                  <a:pt x="7611469" y="741302"/>
                </a:cubicBezTo>
                <a:cubicBezTo>
                  <a:pt x="7613866" y="743699"/>
                  <a:pt x="7613866" y="747894"/>
                  <a:pt x="7610870" y="749092"/>
                </a:cubicBezTo>
                <a:cubicBezTo>
                  <a:pt x="7607275" y="750291"/>
                  <a:pt x="7604877" y="748493"/>
                  <a:pt x="7607275" y="752688"/>
                </a:cubicBezTo>
                <a:cubicBezTo>
                  <a:pt x="7609672" y="756883"/>
                  <a:pt x="7612069" y="755085"/>
                  <a:pt x="7615665" y="751490"/>
                </a:cubicBezTo>
                <a:cubicBezTo>
                  <a:pt x="7619260" y="747295"/>
                  <a:pt x="7621058" y="745497"/>
                  <a:pt x="7624054" y="747295"/>
                </a:cubicBezTo>
                <a:cubicBezTo>
                  <a:pt x="7626451" y="749692"/>
                  <a:pt x="7625852" y="752688"/>
                  <a:pt x="7623455" y="755684"/>
                </a:cubicBezTo>
                <a:cubicBezTo>
                  <a:pt x="7621058" y="758681"/>
                  <a:pt x="7620458" y="764074"/>
                  <a:pt x="7624654" y="758681"/>
                </a:cubicBezTo>
                <a:cubicBezTo>
                  <a:pt x="7628848" y="753287"/>
                  <a:pt x="7641433" y="753887"/>
                  <a:pt x="7641433" y="757482"/>
                </a:cubicBezTo>
                <a:cubicBezTo>
                  <a:pt x="7641433" y="761078"/>
                  <a:pt x="7640834" y="761677"/>
                  <a:pt x="7645628" y="759879"/>
                </a:cubicBezTo>
                <a:cubicBezTo>
                  <a:pt x="7650422" y="757482"/>
                  <a:pt x="7654617" y="759879"/>
                  <a:pt x="7654018" y="762876"/>
                </a:cubicBezTo>
                <a:cubicBezTo>
                  <a:pt x="7653418" y="765872"/>
                  <a:pt x="7653418" y="764074"/>
                  <a:pt x="7656415" y="764074"/>
                </a:cubicBezTo>
                <a:cubicBezTo>
                  <a:pt x="7659411" y="764074"/>
                  <a:pt x="7662407" y="765273"/>
                  <a:pt x="7657614" y="771266"/>
                </a:cubicBezTo>
                <a:cubicBezTo>
                  <a:pt x="7652819" y="777258"/>
                  <a:pt x="7651022" y="780255"/>
                  <a:pt x="7655216" y="779655"/>
                </a:cubicBezTo>
                <a:cubicBezTo>
                  <a:pt x="7659411" y="779056"/>
                  <a:pt x="7663606" y="773663"/>
                  <a:pt x="7667202" y="775461"/>
                </a:cubicBezTo>
                <a:cubicBezTo>
                  <a:pt x="7670797" y="777258"/>
                  <a:pt x="7673794" y="776060"/>
                  <a:pt x="7673794" y="779655"/>
                </a:cubicBezTo>
                <a:cubicBezTo>
                  <a:pt x="7673794" y="782652"/>
                  <a:pt x="7674993" y="783850"/>
                  <a:pt x="7679187" y="782652"/>
                </a:cubicBezTo>
                <a:cubicBezTo>
                  <a:pt x="7683382" y="782053"/>
                  <a:pt x="7691173" y="783251"/>
                  <a:pt x="7689975" y="787446"/>
                </a:cubicBezTo>
                <a:cubicBezTo>
                  <a:pt x="7688776" y="791641"/>
                  <a:pt x="7686978" y="792839"/>
                  <a:pt x="7688177" y="795237"/>
                </a:cubicBezTo>
                <a:cubicBezTo>
                  <a:pt x="7689375" y="797634"/>
                  <a:pt x="7692371" y="800031"/>
                  <a:pt x="7686978" y="799432"/>
                </a:cubicBezTo>
                <a:cubicBezTo>
                  <a:pt x="7681585" y="798832"/>
                  <a:pt x="7682184" y="798832"/>
                  <a:pt x="7679787" y="798832"/>
                </a:cubicBezTo>
                <a:cubicBezTo>
                  <a:pt x="7677389" y="798832"/>
                  <a:pt x="7677389" y="798233"/>
                  <a:pt x="7675592" y="795836"/>
                </a:cubicBezTo>
                <a:cubicBezTo>
                  <a:pt x="7673794" y="793439"/>
                  <a:pt x="7670198" y="791641"/>
                  <a:pt x="7670797" y="795836"/>
                </a:cubicBezTo>
                <a:cubicBezTo>
                  <a:pt x="7671397" y="800031"/>
                  <a:pt x="7673195" y="801229"/>
                  <a:pt x="7680386" y="802428"/>
                </a:cubicBezTo>
                <a:cubicBezTo>
                  <a:pt x="7687577" y="803027"/>
                  <a:pt x="7692371" y="806623"/>
                  <a:pt x="7694768" y="809020"/>
                </a:cubicBezTo>
                <a:cubicBezTo>
                  <a:pt x="7697166" y="811417"/>
                  <a:pt x="7699563" y="810818"/>
                  <a:pt x="7701960" y="810818"/>
                </a:cubicBezTo>
                <a:cubicBezTo>
                  <a:pt x="7704357" y="810818"/>
                  <a:pt x="7706155" y="812016"/>
                  <a:pt x="7699563" y="815612"/>
                </a:cubicBezTo>
                <a:cubicBezTo>
                  <a:pt x="7693570" y="819208"/>
                  <a:pt x="7696566" y="821005"/>
                  <a:pt x="7698964" y="819208"/>
                </a:cubicBezTo>
                <a:cubicBezTo>
                  <a:pt x="7701360" y="816810"/>
                  <a:pt x="7707953" y="817410"/>
                  <a:pt x="7710949" y="815612"/>
                </a:cubicBezTo>
                <a:cubicBezTo>
                  <a:pt x="7713946" y="813814"/>
                  <a:pt x="7717541" y="815013"/>
                  <a:pt x="7718140" y="818608"/>
                </a:cubicBezTo>
                <a:cubicBezTo>
                  <a:pt x="7718739" y="822803"/>
                  <a:pt x="7719338" y="824002"/>
                  <a:pt x="7722935" y="823402"/>
                </a:cubicBezTo>
                <a:cubicBezTo>
                  <a:pt x="7726530" y="822803"/>
                  <a:pt x="7727728" y="822803"/>
                  <a:pt x="7728328" y="825800"/>
                </a:cubicBezTo>
                <a:cubicBezTo>
                  <a:pt x="7728927" y="828197"/>
                  <a:pt x="7728927" y="826399"/>
                  <a:pt x="7736118" y="825200"/>
                </a:cubicBezTo>
                <a:cubicBezTo>
                  <a:pt x="7743309" y="824601"/>
                  <a:pt x="7748104" y="824601"/>
                  <a:pt x="7748104" y="829395"/>
                </a:cubicBezTo>
                <a:cubicBezTo>
                  <a:pt x="7748104" y="834189"/>
                  <a:pt x="7748703" y="834789"/>
                  <a:pt x="7751100" y="832991"/>
                </a:cubicBezTo>
                <a:cubicBezTo>
                  <a:pt x="7753498" y="831193"/>
                  <a:pt x="7755295" y="833590"/>
                  <a:pt x="7756494" y="838984"/>
                </a:cubicBezTo>
                <a:cubicBezTo>
                  <a:pt x="7758291" y="844377"/>
                  <a:pt x="7762487" y="853366"/>
                  <a:pt x="7763086" y="846175"/>
                </a:cubicBezTo>
                <a:cubicBezTo>
                  <a:pt x="7763685" y="838984"/>
                  <a:pt x="7762487" y="835388"/>
                  <a:pt x="7765483" y="838984"/>
                </a:cubicBezTo>
                <a:cubicBezTo>
                  <a:pt x="7768479" y="843179"/>
                  <a:pt x="7773873" y="841381"/>
                  <a:pt x="7778068" y="842579"/>
                </a:cubicBezTo>
                <a:cubicBezTo>
                  <a:pt x="7782262" y="843778"/>
                  <a:pt x="7782262" y="846175"/>
                  <a:pt x="7781663" y="850370"/>
                </a:cubicBezTo>
                <a:cubicBezTo>
                  <a:pt x="7781064" y="854565"/>
                  <a:pt x="7784060" y="858160"/>
                  <a:pt x="7785259" y="850969"/>
                </a:cubicBezTo>
                <a:cubicBezTo>
                  <a:pt x="7786458" y="843778"/>
                  <a:pt x="7786458" y="837785"/>
                  <a:pt x="7791851" y="843179"/>
                </a:cubicBezTo>
                <a:cubicBezTo>
                  <a:pt x="7797244" y="848572"/>
                  <a:pt x="7800840" y="849770"/>
                  <a:pt x="7806233" y="849171"/>
                </a:cubicBezTo>
                <a:cubicBezTo>
                  <a:pt x="7811627" y="848572"/>
                  <a:pt x="7827208" y="852168"/>
                  <a:pt x="7832002" y="849770"/>
                </a:cubicBezTo>
                <a:cubicBezTo>
                  <a:pt x="7836797" y="847373"/>
                  <a:pt x="7844587" y="848572"/>
                  <a:pt x="7840991" y="852168"/>
                </a:cubicBezTo>
                <a:cubicBezTo>
                  <a:pt x="7837396" y="856363"/>
                  <a:pt x="7830204" y="858160"/>
                  <a:pt x="7832601" y="861756"/>
                </a:cubicBezTo>
                <a:cubicBezTo>
                  <a:pt x="7834999" y="865352"/>
                  <a:pt x="7835598" y="867149"/>
                  <a:pt x="7833201" y="873741"/>
                </a:cubicBezTo>
                <a:cubicBezTo>
                  <a:pt x="7830804" y="880933"/>
                  <a:pt x="7825410" y="883929"/>
                  <a:pt x="7821215" y="885727"/>
                </a:cubicBezTo>
                <a:cubicBezTo>
                  <a:pt x="7817020" y="888124"/>
                  <a:pt x="7814024" y="891120"/>
                  <a:pt x="7811028" y="890521"/>
                </a:cubicBezTo>
                <a:cubicBezTo>
                  <a:pt x="7807432" y="889922"/>
                  <a:pt x="7808630" y="888124"/>
                  <a:pt x="7807432" y="891720"/>
                </a:cubicBezTo>
                <a:cubicBezTo>
                  <a:pt x="7806833" y="895315"/>
                  <a:pt x="7802638" y="895915"/>
                  <a:pt x="7806833" y="897113"/>
                </a:cubicBezTo>
                <a:cubicBezTo>
                  <a:pt x="7811028" y="897712"/>
                  <a:pt x="7816421" y="897712"/>
                  <a:pt x="7818219" y="902507"/>
                </a:cubicBezTo>
                <a:cubicBezTo>
                  <a:pt x="7820017" y="907301"/>
                  <a:pt x="7823013" y="909698"/>
                  <a:pt x="7824811" y="901907"/>
                </a:cubicBezTo>
                <a:cubicBezTo>
                  <a:pt x="7826609" y="894117"/>
                  <a:pt x="7828407" y="892319"/>
                  <a:pt x="7832601" y="889323"/>
                </a:cubicBezTo>
                <a:cubicBezTo>
                  <a:pt x="7836797" y="886326"/>
                  <a:pt x="7840392" y="879734"/>
                  <a:pt x="7840991" y="876139"/>
                </a:cubicBezTo>
                <a:cubicBezTo>
                  <a:pt x="7841590" y="871944"/>
                  <a:pt x="7841590" y="870745"/>
                  <a:pt x="7846385" y="868947"/>
                </a:cubicBezTo>
                <a:cubicBezTo>
                  <a:pt x="7850580" y="867149"/>
                  <a:pt x="7850580" y="858760"/>
                  <a:pt x="7854175" y="862954"/>
                </a:cubicBezTo>
                <a:cubicBezTo>
                  <a:pt x="7857771" y="867149"/>
                  <a:pt x="7858970" y="867749"/>
                  <a:pt x="7862565" y="868947"/>
                </a:cubicBezTo>
                <a:cubicBezTo>
                  <a:pt x="7866161" y="870146"/>
                  <a:pt x="7870955" y="875539"/>
                  <a:pt x="7870955" y="881532"/>
                </a:cubicBezTo>
                <a:cubicBezTo>
                  <a:pt x="7870356" y="887525"/>
                  <a:pt x="7870356" y="889922"/>
                  <a:pt x="7873352" y="889922"/>
                </a:cubicBezTo>
                <a:cubicBezTo>
                  <a:pt x="7876349" y="889922"/>
                  <a:pt x="7875750" y="885727"/>
                  <a:pt x="7876349" y="880333"/>
                </a:cubicBezTo>
                <a:cubicBezTo>
                  <a:pt x="7876948" y="874940"/>
                  <a:pt x="7878746" y="874341"/>
                  <a:pt x="7882941" y="873142"/>
                </a:cubicBezTo>
                <a:cubicBezTo>
                  <a:pt x="7887135" y="872543"/>
                  <a:pt x="7898522" y="875539"/>
                  <a:pt x="7901518" y="876139"/>
                </a:cubicBezTo>
                <a:cubicBezTo>
                  <a:pt x="7905713" y="879135"/>
                  <a:pt x="7900320" y="880933"/>
                  <a:pt x="7906911" y="883330"/>
                </a:cubicBezTo>
                <a:cubicBezTo>
                  <a:pt x="7914102" y="884528"/>
                  <a:pt x="7913503" y="889323"/>
                  <a:pt x="7914102" y="891720"/>
                </a:cubicBezTo>
                <a:cubicBezTo>
                  <a:pt x="7914702" y="894117"/>
                  <a:pt x="7916500" y="894117"/>
                  <a:pt x="7920095" y="895315"/>
                </a:cubicBezTo>
                <a:cubicBezTo>
                  <a:pt x="7924291" y="895915"/>
                  <a:pt x="7927287" y="901308"/>
                  <a:pt x="7924291" y="902507"/>
                </a:cubicBezTo>
                <a:cubicBezTo>
                  <a:pt x="7920695" y="904304"/>
                  <a:pt x="7932081" y="915091"/>
                  <a:pt x="7935077" y="915691"/>
                </a:cubicBezTo>
                <a:cubicBezTo>
                  <a:pt x="7935077" y="915691"/>
                  <a:pt x="7941070" y="916290"/>
                  <a:pt x="7943467" y="916889"/>
                </a:cubicBezTo>
                <a:cubicBezTo>
                  <a:pt x="7945864" y="917488"/>
                  <a:pt x="7944666" y="925279"/>
                  <a:pt x="7943467" y="928275"/>
                </a:cubicBezTo>
                <a:cubicBezTo>
                  <a:pt x="7942269" y="930672"/>
                  <a:pt x="7941670" y="933070"/>
                  <a:pt x="7941070" y="936665"/>
                </a:cubicBezTo>
                <a:cubicBezTo>
                  <a:pt x="7940471" y="940261"/>
                  <a:pt x="7940471" y="945055"/>
                  <a:pt x="7935677" y="944456"/>
                </a:cubicBezTo>
                <a:cubicBezTo>
                  <a:pt x="7931482" y="943856"/>
                  <a:pt x="7932681" y="943856"/>
                  <a:pt x="7933280" y="946853"/>
                </a:cubicBezTo>
                <a:cubicBezTo>
                  <a:pt x="7933879" y="949849"/>
                  <a:pt x="7932681" y="951647"/>
                  <a:pt x="7927287" y="952246"/>
                </a:cubicBezTo>
                <a:cubicBezTo>
                  <a:pt x="7921893" y="952846"/>
                  <a:pt x="7915301" y="964232"/>
                  <a:pt x="7911106" y="968427"/>
                </a:cubicBezTo>
                <a:cubicBezTo>
                  <a:pt x="7906911" y="972622"/>
                  <a:pt x="7910507" y="974419"/>
                  <a:pt x="7911106" y="978614"/>
                </a:cubicBezTo>
                <a:cubicBezTo>
                  <a:pt x="7911706" y="982809"/>
                  <a:pt x="7915301" y="988802"/>
                  <a:pt x="7912305" y="990600"/>
                </a:cubicBezTo>
                <a:cubicBezTo>
                  <a:pt x="7909309" y="992997"/>
                  <a:pt x="7910507" y="991798"/>
                  <a:pt x="7909908" y="995993"/>
                </a:cubicBezTo>
                <a:cubicBezTo>
                  <a:pt x="7909309" y="1000188"/>
                  <a:pt x="7909309" y="999589"/>
                  <a:pt x="7907511" y="1006780"/>
                </a:cubicBezTo>
                <a:cubicBezTo>
                  <a:pt x="7905713" y="1013972"/>
                  <a:pt x="7903915" y="1016968"/>
                  <a:pt x="7902117" y="1017567"/>
                </a:cubicBezTo>
                <a:cubicBezTo>
                  <a:pt x="7899721" y="1018166"/>
                  <a:pt x="7896724" y="1020564"/>
                  <a:pt x="7893128" y="1022961"/>
                </a:cubicBezTo>
                <a:cubicBezTo>
                  <a:pt x="7888933" y="1025358"/>
                  <a:pt x="7878146" y="1025957"/>
                  <a:pt x="7871554" y="1025358"/>
                </a:cubicBezTo>
                <a:cubicBezTo>
                  <a:pt x="7865561" y="1024758"/>
                  <a:pt x="7854175" y="1030152"/>
                  <a:pt x="7845786" y="1030152"/>
                </a:cubicBezTo>
                <a:cubicBezTo>
                  <a:pt x="7837396" y="1030152"/>
                  <a:pt x="7826010" y="1033148"/>
                  <a:pt x="7820017" y="1035545"/>
                </a:cubicBezTo>
                <a:cubicBezTo>
                  <a:pt x="7813425" y="1037943"/>
                  <a:pt x="7793649" y="1043336"/>
                  <a:pt x="7782862" y="1042737"/>
                </a:cubicBezTo>
                <a:cubicBezTo>
                  <a:pt x="7772075" y="1042137"/>
                  <a:pt x="7772674" y="1057719"/>
                  <a:pt x="7774472" y="1065509"/>
                </a:cubicBezTo>
                <a:cubicBezTo>
                  <a:pt x="7776869" y="1073300"/>
                  <a:pt x="7772075" y="1081090"/>
                  <a:pt x="7766082" y="1089480"/>
                </a:cubicBezTo>
                <a:cubicBezTo>
                  <a:pt x="7760089" y="1097870"/>
                  <a:pt x="7761288" y="1121841"/>
                  <a:pt x="7762487" y="1135025"/>
                </a:cubicBezTo>
                <a:cubicBezTo>
                  <a:pt x="7763685" y="1148209"/>
                  <a:pt x="7759490" y="1168584"/>
                  <a:pt x="7757692" y="1177573"/>
                </a:cubicBezTo>
                <a:cubicBezTo>
                  <a:pt x="7755895" y="1185963"/>
                  <a:pt x="7760089" y="1184765"/>
                  <a:pt x="7763086" y="1182967"/>
                </a:cubicBezTo>
                <a:lnTo>
                  <a:pt x="7763086" y="1182967"/>
                </a:lnTo>
                <a:lnTo>
                  <a:pt x="7763086" y="1182967"/>
                </a:lnTo>
                <a:lnTo>
                  <a:pt x="7763086" y="1182967"/>
                </a:lnTo>
                <a:cubicBezTo>
                  <a:pt x="7765483" y="1181768"/>
                  <a:pt x="7764284" y="1178173"/>
                  <a:pt x="7766082" y="1173978"/>
                </a:cubicBezTo>
                <a:cubicBezTo>
                  <a:pt x="7767880" y="1169783"/>
                  <a:pt x="7766681" y="1154801"/>
                  <a:pt x="7768479" y="1152404"/>
                </a:cubicBezTo>
                <a:cubicBezTo>
                  <a:pt x="7770277" y="1150007"/>
                  <a:pt x="7772674" y="1144014"/>
                  <a:pt x="7773273" y="1127834"/>
                </a:cubicBezTo>
                <a:cubicBezTo>
                  <a:pt x="7773873" y="1111653"/>
                  <a:pt x="7780465" y="1099069"/>
                  <a:pt x="7786458" y="1096072"/>
                </a:cubicBezTo>
                <a:cubicBezTo>
                  <a:pt x="7792450" y="1093675"/>
                  <a:pt x="7797244" y="1085285"/>
                  <a:pt x="7806233" y="1076296"/>
                </a:cubicBezTo>
                <a:cubicBezTo>
                  <a:pt x="7814623" y="1067906"/>
                  <a:pt x="7832601" y="1073300"/>
                  <a:pt x="7834999" y="1073899"/>
                </a:cubicBezTo>
                <a:cubicBezTo>
                  <a:pt x="7837396" y="1074498"/>
                  <a:pt x="7848782" y="1077495"/>
                  <a:pt x="7855973" y="1079292"/>
                </a:cubicBezTo>
                <a:cubicBezTo>
                  <a:pt x="7863164" y="1081090"/>
                  <a:pt x="7858370" y="1086484"/>
                  <a:pt x="7861966" y="1088282"/>
                </a:cubicBezTo>
                <a:cubicBezTo>
                  <a:pt x="7866161" y="1090679"/>
                  <a:pt x="7867360" y="1098469"/>
                  <a:pt x="7864962" y="1100267"/>
                </a:cubicBezTo>
                <a:cubicBezTo>
                  <a:pt x="7862565" y="1102664"/>
                  <a:pt x="7860168" y="1103263"/>
                  <a:pt x="7860768" y="1105660"/>
                </a:cubicBezTo>
                <a:cubicBezTo>
                  <a:pt x="7861367" y="1108058"/>
                  <a:pt x="7858370" y="1110455"/>
                  <a:pt x="7855374" y="1112852"/>
                </a:cubicBezTo>
                <a:cubicBezTo>
                  <a:pt x="7852378" y="1115249"/>
                  <a:pt x="7849980" y="1118245"/>
                  <a:pt x="7847583" y="1115249"/>
                </a:cubicBezTo>
                <a:cubicBezTo>
                  <a:pt x="7845186" y="1112852"/>
                  <a:pt x="7843389" y="1114650"/>
                  <a:pt x="7840392" y="1112852"/>
                </a:cubicBezTo>
                <a:cubicBezTo>
                  <a:pt x="7837396" y="1111054"/>
                  <a:pt x="7836197" y="1111054"/>
                  <a:pt x="7835598" y="1115249"/>
                </a:cubicBezTo>
                <a:cubicBezTo>
                  <a:pt x="7834999" y="1119444"/>
                  <a:pt x="7834399" y="1116447"/>
                  <a:pt x="7830804" y="1120642"/>
                </a:cubicBezTo>
                <a:cubicBezTo>
                  <a:pt x="7827208" y="1124837"/>
                  <a:pt x="7831403" y="1124837"/>
                  <a:pt x="7834999" y="1123639"/>
                </a:cubicBezTo>
                <a:cubicBezTo>
                  <a:pt x="7839193" y="1123039"/>
                  <a:pt x="7844587" y="1123039"/>
                  <a:pt x="7852977" y="1126036"/>
                </a:cubicBezTo>
                <a:cubicBezTo>
                  <a:pt x="7861367" y="1128433"/>
                  <a:pt x="7858970" y="1124238"/>
                  <a:pt x="7864363" y="1120043"/>
                </a:cubicBezTo>
                <a:cubicBezTo>
                  <a:pt x="7869757" y="1115848"/>
                  <a:pt x="7875750" y="1119444"/>
                  <a:pt x="7877547" y="1128433"/>
                </a:cubicBezTo>
                <a:cubicBezTo>
                  <a:pt x="7879345" y="1137422"/>
                  <a:pt x="7878746" y="1140418"/>
                  <a:pt x="7876948" y="1144014"/>
                </a:cubicBezTo>
                <a:cubicBezTo>
                  <a:pt x="7875150" y="1148209"/>
                  <a:pt x="7873951" y="1148209"/>
                  <a:pt x="7877547" y="1150007"/>
                </a:cubicBezTo>
                <a:cubicBezTo>
                  <a:pt x="7881142" y="1151805"/>
                  <a:pt x="7878146" y="1151805"/>
                  <a:pt x="7882941" y="1147610"/>
                </a:cubicBezTo>
                <a:cubicBezTo>
                  <a:pt x="7887135" y="1143415"/>
                  <a:pt x="7890132" y="1147610"/>
                  <a:pt x="7890731" y="1151805"/>
                </a:cubicBezTo>
                <a:cubicBezTo>
                  <a:pt x="7891331" y="1156000"/>
                  <a:pt x="7894327" y="1158996"/>
                  <a:pt x="7893728" y="1161393"/>
                </a:cubicBezTo>
                <a:cubicBezTo>
                  <a:pt x="7893128" y="1163790"/>
                  <a:pt x="7897922" y="1166187"/>
                  <a:pt x="7899121" y="1163790"/>
                </a:cubicBezTo>
                <a:cubicBezTo>
                  <a:pt x="7902717" y="1158397"/>
                  <a:pt x="7903316" y="1164389"/>
                  <a:pt x="7908710" y="1169184"/>
                </a:cubicBezTo>
                <a:cubicBezTo>
                  <a:pt x="7914102" y="1173378"/>
                  <a:pt x="7926688" y="1177573"/>
                  <a:pt x="7931482" y="1178173"/>
                </a:cubicBezTo>
                <a:cubicBezTo>
                  <a:pt x="7936276" y="1178772"/>
                  <a:pt x="7935077" y="1179970"/>
                  <a:pt x="7939872" y="1181169"/>
                </a:cubicBezTo>
                <a:cubicBezTo>
                  <a:pt x="7945265" y="1182368"/>
                  <a:pt x="7944066" y="1183566"/>
                  <a:pt x="7947063" y="1184165"/>
                </a:cubicBezTo>
                <a:cubicBezTo>
                  <a:pt x="7950059" y="1184765"/>
                  <a:pt x="7950659" y="1184765"/>
                  <a:pt x="7951258" y="1181768"/>
                </a:cubicBezTo>
                <a:cubicBezTo>
                  <a:pt x="7951857" y="1178772"/>
                  <a:pt x="7951857" y="1180570"/>
                  <a:pt x="7954853" y="1179970"/>
                </a:cubicBezTo>
                <a:cubicBezTo>
                  <a:pt x="7957251" y="1179371"/>
                  <a:pt x="7958449" y="1180570"/>
                  <a:pt x="7960846" y="1183566"/>
                </a:cubicBezTo>
                <a:cubicBezTo>
                  <a:pt x="7963243" y="1186562"/>
                  <a:pt x="7965041" y="1182368"/>
                  <a:pt x="7968037" y="1178173"/>
                </a:cubicBezTo>
                <a:cubicBezTo>
                  <a:pt x="7970434" y="1173978"/>
                  <a:pt x="7974030" y="1174577"/>
                  <a:pt x="7974030" y="1178772"/>
                </a:cubicBezTo>
                <a:cubicBezTo>
                  <a:pt x="7974030" y="1182967"/>
                  <a:pt x="7977026" y="1182967"/>
                  <a:pt x="7980622" y="1179371"/>
                </a:cubicBezTo>
                <a:cubicBezTo>
                  <a:pt x="7984218" y="1175776"/>
                  <a:pt x="7986015" y="1177573"/>
                  <a:pt x="7989612" y="1178772"/>
                </a:cubicBezTo>
                <a:cubicBezTo>
                  <a:pt x="7993806" y="1179371"/>
                  <a:pt x="7998001" y="1182368"/>
                  <a:pt x="7996803" y="1185963"/>
                </a:cubicBezTo>
                <a:cubicBezTo>
                  <a:pt x="7995004" y="1189559"/>
                  <a:pt x="7996803" y="1188360"/>
                  <a:pt x="8002196" y="1188360"/>
                </a:cubicBezTo>
                <a:cubicBezTo>
                  <a:pt x="8007590" y="1187761"/>
                  <a:pt x="8000997" y="1197949"/>
                  <a:pt x="7996803" y="1201544"/>
                </a:cubicBezTo>
                <a:cubicBezTo>
                  <a:pt x="7992608" y="1205140"/>
                  <a:pt x="7983619" y="1212331"/>
                  <a:pt x="7982420" y="1216526"/>
                </a:cubicBezTo>
                <a:cubicBezTo>
                  <a:pt x="7981821" y="1220721"/>
                  <a:pt x="7979423" y="1220721"/>
                  <a:pt x="7976427" y="1223718"/>
                </a:cubicBezTo>
                <a:cubicBezTo>
                  <a:pt x="7973431" y="1226714"/>
                  <a:pt x="7967438" y="1233306"/>
                  <a:pt x="7966240" y="1236902"/>
                </a:cubicBezTo>
                <a:cubicBezTo>
                  <a:pt x="7965641" y="1241096"/>
                  <a:pt x="7966839" y="1242295"/>
                  <a:pt x="7963843" y="1241096"/>
                </a:cubicBezTo>
                <a:cubicBezTo>
                  <a:pt x="7961445" y="1239898"/>
                  <a:pt x="7961445" y="1239299"/>
                  <a:pt x="7959648" y="1241096"/>
                </a:cubicBezTo>
                <a:cubicBezTo>
                  <a:pt x="7957251" y="1242894"/>
                  <a:pt x="7961445" y="1244093"/>
                  <a:pt x="7963843" y="1246490"/>
                </a:cubicBezTo>
                <a:cubicBezTo>
                  <a:pt x="7966240" y="1248887"/>
                  <a:pt x="7966240" y="1253681"/>
                  <a:pt x="7963243" y="1251883"/>
                </a:cubicBezTo>
                <a:cubicBezTo>
                  <a:pt x="7959648" y="1250685"/>
                  <a:pt x="7959648" y="1253082"/>
                  <a:pt x="7960846" y="1259674"/>
                </a:cubicBezTo>
                <a:cubicBezTo>
                  <a:pt x="7961445" y="1266266"/>
                  <a:pt x="7959048" y="1268064"/>
                  <a:pt x="7953055" y="1268663"/>
                </a:cubicBezTo>
                <a:cubicBezTo>
                  <a:pt x="7947063" y="1269262"/>
                  <a:pt x="7950659" y="1272858"/>
                  <a:pt x="7953655" y="1272858"/>
                </a:cubicBezTo>
                <a:cubicBezTo>
                  <a:pt x="7956652" y="1272858"/>
                  <a:pt x="7957850" y="1275854"/>
                  <a:pt x="7954254" y="1279450"/>
                </a:cubicBezTo>
                <a:cubicBezTo>
                  <a:pt x="7950659" y="1283046"/>
                  <a:pt x="7945265" y="1280049"/>
                  <a:pt x="7941070" y="1277053"/>
                </a:cubicBezTo>
                <a:cubicBezTo>
                  <a:pt x="7936875" y="1273457"/>
                  <a:pt x="7937474" y="1272858"/>
                  <a:pt x="7932681" y="1272858"/>
                </a:cubicBezTo>
                <a:cubicBezTo>
                  <a:pt x="7927886" y="1272858"/>
                  <a:pt x="7930283" y="1268663"/>
                  <a:pt x="7929084" y="1265667"/>
                </a:cubicBezTo>
                <a:cubicBezTo>
                  <a:pt x="7927886" y="1263270"/>
                  <a:pt x="7924890" y="1257876"/>
                  <a:pt x="7927287" y="1252483"/>
                </a:cubicBezTo>
                <a:cubicBezTo>
                  <a:pt x="7929684" y="1247089"/>
                  <a:pt x="7928485" y="1245291"/>
                  <a:pt x="7924890" y="1248288"/>
                </a:cubicBezTo>
                <a:cubicBezTo>
                  <a:pt x="7921294" y="1251284"/>
                  <a:pt x="7922492" y="1250086"/>
                  <a:pt x="7922492" y="1250086"/>
                </a:cubicBezTo>
                <a:cubicBezTo>
                  <a:pt x="7922492" y="1250086"/>
                  <a:pt x="7921893" y="1244692"/>
                  <a:pt x="7921893" y="1239898"/>
                </a:cubicBezTo>
                <a:cubicBezTo>
                  <a:pt x="7921893" y="1235104"/>
                  <a:pt x="7928485" y="1223118"/>
                  <a:pt x="7932681" y="1218324"/>
                </a:cubicBezTo>
                <a:cubicBezTo>
                  <a:pt x="7936875" y="1213530"/>
                  <a:pt x="7938673" y="1211732"/>
                  <a:pt x="7936276" y="1210533"/>
                </a:cubicBezTo>
                <a:cubicBezTo>
                  <a:pt x="7933879" y="1209335"/>
                  <a:pt x="7932081" y="1209934"/>
                  <a:pt x="7933879" y="1207537"/>
                </a:cubicBezTo>
                <a:cubicBezTo>
                  <a:pt x="7935677" y="1205140"/>
                  <a:pt x="7939272" y="1208136"/>
                  <a:pt x="7942269" y="1210533"/>
                </a:cubicBezTo>
                <a:cubicBezTo>
                  <a:pt x="7945864" y="1212931"/>
                  <a:pt x="7947063" y="1211133"/>
                  <a:pt x="7950059" y="1206339"/>
                </a:cubicBezTo>
                <a:cubicBezTo>
                  <a:pt x="7953055" y="1201544"/>
                  <a:pt x="7956652" y="1202144"/>
                  <a:pt x="7955453" y="1200346"/>
                </a:cubicBezTo>
                <a:cubicBezTo>
                  <a:pt x="7954853" y="1197949"/>
                  <a:pt x="7952456" y="1197949"/>
                  <a:pt x="7950059" y="1199747"/>
                </a:cubicBezTo>
                <a:cubicBezTo>
                  <a:pt x="7947662" y="1202144"/>
                  <a:pt x="7946463" y="1202743"/>
                  <a:pt x="7939872" y="1200346"/>
                </a:cubicBezTo>
                <a:cubicBezTo>
                  <a:pt x="7932681" y="1197949"/>
                  <a:pt x="7930882" y="1199747"/>
                  <a:pt x="7926088" y="1202743"/>
                </a:cubicBezTo>
                <a:cubicBezTo>
                  <a:pt x="7921294" y="1206339"/>
                  <a:pt x="7922492" y="1198548"/>
                  <a:pt x="7924890" y="1193754"/>
                </a:cubicBezTo>
                <a:cubicBezTo>
                  <a:pt x="7927287" y="1188360"/>
                  <a:pt x="7924890" y="1185364"/>
                  <a:pt x="7921893" y="1185364"/>
                </a:cubicBezTo>
                <a:cubicBezTo>
                  <a:pt x="7918897" y="1184765"/>
                  <a:pt x="7919496" y="1187162"/>
                  <a:pt x="7918298" y="1192555"/>
                </a:cubicBezTo>
                <a:cubicBezTo>
                  <a:pt x="7917699" y="1197949"/>
                  <a:pt x="7914702" y="1202743"/>
                  <a:pt x="7911106" y="1204541"/>
                </a:cubicBezTo>
                <a:cubicBezTo>
                  <a:pt x="7907511" y="1205739"/>
                  <a:pt x="7905713" y="1208736"/>
                  <a:pt x="7902117" y="1211732"/>
                </a:cubicBezTo>
                <a:cubicBezTo>
                  <a:pt x="7898522" y="1215328"/>
                  <a:pt x="7899721" y="1215927"/>
                  <a:pt x="7899721" y="1219523"/>
                </a:cubicBezTo>
                <a:cubicBezTo>
                  <a:pt x="7899721" y="1223118"/>
                  <a:pt x="7893728" y="1227313"/>
                  <a:pt x="7890731" y="1225515"/>
                </a:cubicBezTo>
                <a:cubicBezTo>
                  <a:pt x="7887735" y="1223718"/>
                  <a:pt x="7890132" y="1226714"/>
                  <a:pt x="7883540" y="1227313"/>
                </a:cubicBezTo>
                <a:cubicBezTo>
                  <a:pt x="7879944" y="1227313"/>
                  <a:pt x="7878746" y="1227912"/>
                  <a:pt x="7878746" y="1227912"/>
                </a:cubicBezTo>
                <a:cubicBezTo>
                  <a:pt x="7878746" y="1227912"/>
                  <a:pt x="7878746" y="1227912"/>
                  <a:pt x="7878746" y="1227912"/>
                </a:cubicBezTo>
                <a:cubicBezTo>
                  <a:pt x="7878746" y="1227912"/>
                  <a:pt x="7881742" y="1232107"/>
                  <a:pt x="7885937" y="1232707"/>
                </a:cubicBezTo>
                <a:cubicBezTo>
                  <a:pt x="7890132" y="1233306"/>
                  <a:pt x="7888334" y="1237501"/>
                  <a:pt x="7890731" y="1237501"/>
                </a:cubicBezTo>
                <a:cubicBezTo>
                  <a:pt x="7893128" y="1237501"/>
                  <a:pt x="7892529" y="1236902"/>
                  <a:pt x="7891331" y="1241096"/>
                </a:cubicBezTo>
                <a:cubicBezTo>
                  <a:pt x="7890132" y="1245291"/>
                  <a:pt x="7888334" y="1245291"/>
                  <a:pt x="7888933" y="1248887"/>
                </a:cubicBezTo>
                <a:cubicBezTo>
                  <a:pt x="7889532" y="1252483"/>
                  <a:pt x="7887735" y="1251284"/>
                  <a:pt x="7882941" y="1249486"/>
                </a:cubicBezTo>
                <a:cubicBezTo>
                  <a:pt x="7878146" y="1248288"/>
                  <a:pt x="7879944" y="1253082"/>
                  <a:pt x="7875750" y="1254280"/>
                </a:cubicBezTo>
                <a:cubicBezTo>
                  <a:pt x="7874551" y="1254880"/>
                  <a:pt x="7874551" y="1256078"/>
                  <a:pt x="7872153" y="1256078"/>
                </a:cubicBezTo>
                <a:cubicBezTo>
                  <a:pt x="7867959" y="1255479"/>
                  <a:pt x="7867959" y="1256078"/>
                  <a:pt x="7868558" y="1260273"/>
                </a:cubicBezTo>
                <a:cubicBezTo>
                  <a:pt x="7869157" y="1264468"/>
                  <a:pt x="7861367" y="1251284"/>
                  <a:pt x="7860168" y="1254280"/>
                </a:cubicBezTo>
                <a:cubicBezTo>
                  <a:pt x="7858970" y="1257277"/>
                  <a:pt x="7859569" y="1263270"/>
                  <a:pt x="7861367" y="1271060"/>
                </a:cubicBezTo>
                <a:cubicBezTo>
                  <a:pt x="7863764" y="1278251"/>
                  <a:pt x="7858970" y="1283645"/>
                  <a:pt x="7854175" y="1284843"/>
                </a:cubicBezTo>
                <a:cubicBezTo>
                  <a:pt x="7849381" y="1286042"/>
                  <a:pt x="7855374" y="1286641"/>
                  <a:pt x="7852977" y="1291435"/>
                </a:cubicBezTo>
                <a:cubicBezTo>
                  <a:pt x="7850580" y="1296230"/>
                  <a:pt x="7849381" y="1293833"/>
                  <a:pt x="7846984" y="1292035"/>
                </a:cubicBezTo>
                <a:cubicBezTo>
                  <a:pt x="7844587" y="1290836"/>
                  <a:pt x="7845186" y="1291435"/>
                  <a:pt x="7844587" y="1304619"/>
                </a:cubicBezTo>
                <a:cubicBezTo>
                  <a:pt x="7843988" y="1317804"/>
                  <a:pt x="7847583" y="1325594"/>
                  <a:pt x="7854175" y="1325594"/>
                </a:cubicBezTo>
                <a:cubicBezTo>
                  <a:pt x="7860768" y="1325594"/>
                  <a:pt x="7858370" y="1326793"/>
                  <a:pt x="7856572" y="1329789"/>
                </a:cubicBezTo>
                <a:cubicBezTo>
                  <a:pt x="7854775" y="1332186"/>
                  <a:pt x="7855973" y="1332186"/>
                  <a:pt x="7854175" y="1336980"/>
                </a:cubicBezTo>
                <a:cubicBezTo>
                  <a:pt x="7852378" y="1341774"/>
                  <a:pt x="7857771" y="1344172"/>
                  <a:pt x="7862565" y="1341175"/>
                </a:cubicBezTo>
                <a:cubicBezTo>
                  <a:pt x="7867959" y="1338179"/>
                  <a:pt x="7865561" y="1339977"/>
                  <a:pt x="7866760" y="1341774"/>
                </a:cubicBezTo>
                <a:cubicBezTo>
                  <a:pt x="7867959" y="1344172"/>
                  <a:pt x="7869157" y="1347168"/>
                  <a:pt x="7874551" y="1351962"/>
                </a:cubicBezTo>
                <a:cubicBezTo>
                  <a:pt x="7879944" y="1356756"/>
                  <a:pt x="7885338" y="1360352"/>
                  <a:pt x="7888933" y="1358554"/>
                </a:cubicBezTo>
                <a:cubicBezTo>
                  <a:pt x="7892529" y="1356756"/>
                  <a:pt x="7890731" y="1352561"/>
                  <a:pt x="7885937" y="1348366"/>
                </a:cubicBezTo>
                <a:cubicBezTo>
                  <a:pt x="7881142" y="1344172"/>
                  <a:pt x="7883540" y="1344172"/>
                  <a:pt x="7886536" y="1344771"/>
                </a:cubicBezTo>
                <a:cubicBezTo>
                  <a:pt x="7890132" y="1345370"/>
                  <a:pt x="7893728" y="1351363"/>
                  <a:pt x="7896724" y="1356756"/>
                </a:cubicBezTo>
                <a:cubicBezTo>
                  <a:pt x="7899721" y="1362150"/>
                  <a:pt x="7897323" y="1362749"/>
                  <a:pt x="7894327" y="1362749"/>
                </a:cubicBezTo>
                <a:cubicBezTo>
                  <a:pt x="7891331" y="1362749"/>
                  <a:pt x="7890132" y="1363948"/>
                  <a:pt x="7888933" y="1366944"/>
                </a:cubicBezTo>
                <a:cubicBezTo>
                  <a:pt x="7887735" y="1369940"/>
                  <a:pt x="7884139" y="1375334"/>
                  <a:pt x="7880543" y="1372337"/>
                </a:cubicBezTo>
                <a:cubicBezTo>
                  <a:pt x="7876948" y="1369940"/>
                  <a:pt x="7876349" y="1371738"/>
                  <a:pt x="7876349" y="1378330"/>
                </a:cubicBezTo>
                <a:cubicBezTo>
                  <a:pt x="7876349" y="1384922"/>
                  <a:pt x="7869757" y="1373536"/>
                  <a:pt x="7867360" y="1369940"/>
                </a:cubicBezTo>
                <a:cubicBezTo>
                  <a:pt x="7864962" y="1366345"/>
                  <a:pt x="7861367" y="1372337"/>
                  <a:pt x="7861367" y="1372337"/>
                </a:cubicBezTo>
                <a:cubicBezTo>
                  <a:pt x="7861367" y="1372337"/>
                  <a:pt x="7863764" y="1374135"/>
                  <a:pt x="7868558" y="1381326"/>
                </a:cubicBezTo>
                <a:cubicBezTo>
                  <a:pt x="7873951" y="1388518"/>
                  <a:pt x="7866161" y="1389716"/>
                  <a:pt x="7861966" y="1391514"/>
                </a:cubicBezTo>
                <a:cubicBezTo>
                  <a:pt x="7857771" y="1393312"/>
                  <a:pt x="7852378" y="1397507"/>
                  <a:pt x="7845186" y="1398106"/>
                </a:cubicBezTo>
                <a:cubicBezTo>
                  <a:pt x="7837995" y="1398705"/>
                  <a:pt x="7836797" y="1404099"/>
                  <a:pt x="7832002" y="1411290"/>
                </a:cubicBezTo>
                <a:cubicBezTo>
                  <a:pt x="7827208" y="1418482"/>
                  <a:pt x="7834399" y="1414886"/>
                  <a:pt x="7840392" y="1413687"/>
                </a:cubicBezTo>
                <a:cubicBezTo>
                  <a:pt x="7846385" y="1413088"/>
                  <a:pt x="7849980" y="1411889"/>
                  <a:pt x="7855374" y="1408294"/>
                </a:cubicBezTo>
                <a:cubicBezTo>
                  <a:pt x="7860768" y="1404698"/>
                  <a:pt x="7861367" y="1404099"/>
                  <a:pt x="7861367" y="1407695"/>
                </a:cubicBezTo>
                <a:cubicBezTo>
                  <a:pt x="7861367" y="1411290"/>
                  <a:pt x="7863764" y="1409492"/>
                  <a:pt x="7866161" y="1407695"/>
                </a:cubicBezTo>
                <a:cubicBezTo>
                  <a:pt x="7868558" y="1405897"/>
                  <a:pt x="7870955" y="1408294"/>
                  <a:pt x="7867360" y="1411290"/>
                </a:cubicBezTo>
                <a:cubicBezTo>
                  <a:pt x="7863764" y="1414287"/>
                  <a:pt x="7860768" y="1414287"/>
                  <a:pt x="7857171" y="1415485"/>
                </a:cubicBezTo>
                <a:cubicBezTo>
                  <a:pt x="7852977" y="1416084"/>
                  <a:pt x="7833800" y="1426272"/>
                  <a:pt x="7826010" y="1430467"/>
                </a:cubicBezTo>
                <a:cubicBezTo>
                  <a:pt x="7818219" y="1434662"/>
                  <a:pt x="7821815" y="1434662"/>
                  <a:pt x="7825410" y="1435261"/>
                </a:cubicBezTo>
                <a:cubicBezTo>
                  <a:pt x="7828407" y="1435860"/>
                  <a:pt x="7832002" y="1439456"/>
                  <a:pt x="7833800" y="1443651"/>
                </a:cubicBezTo>
                <a:cubicBezTo>
                  <a:pt x="7836197" y="1447846"/>
                  <a:pt x="7839193" y="1455037"/>
                  <a:pt x="7837995" y="1460431"/>
                </a:cubicBezTo>
                <a:cubicBezTo>
                  <a:pt x="7837396" y="1465824"/>
                  <a:pt x="7838594" y="1465824"/>
                  <a:pt x="7842190" y="1470019"/>
                </a:cubicBezTo>
                <a:cubicBezTo>
                  <a:pt x="7845786" y="1474214"/>
                  <a:pt x="7845786" y="1480806"/>
                  <a:pt x="7842789" y="1487997"/>
                </a:cubicBezTo>
                <a:cubicBezTo>
                  <a:pt x="7839793" y="1495189"/>
                  <a:pt x="7839193" y="1490394"/>
                  <a:pt x="7839193" y="1484402"/>
                </a:cubicBezTo>
                <a:cubicBezTo>
                  <a:pt x="7839193" y="1478409"/>
                  <a:pt x="7833201" y="1475413"/>
                  <a:pt x="7825410" y="1472416"/>
                </a:cubicBezTo>
                <a:cubicBezTo>
                  <a:pt x="7817620" y="1470019"/>
                  <a:pt x="7815822" y="1466423"/>
                  <a:pt x="7813425" y="1459232"/>
                </a:cubicBezTo>
                <a:cubicBezTo>
                  <a:pt x="7811028" y="1452041"/>
                  <a:pt x="7811028" y="1456835"/>
                  <a:pt x="7811028" y="1461629"/>
                </a:cubicBezTo>
                <a:cubicBezTo>
                  <a:pt x="7810429" y="1467023"/>
                  <a:pt x="7815822" y="1474813"/>
                  <a:pt x="7817620" y="1477210"/>
                </a:cubicBezTo>
                <a:cubicBezTo>
                  <a:pt x="7819418" y="1479607"/>
                  <a:pt x="7824811" y="1482005"/>
                  <a:pt x="7829605" y="1489196"/>
                </a:cubicBezTo>
                <a:cubicBezTo>
                  <a:pt x="7834399" y="1496387"/>
                  <a:pt x="7835598" y="1497586"/>
                  <a:pt x="7837995" y="1497586"/>
                </a:cubicBezTo>
                <a:cubicBezTo>
                  <a:pt x="7840392" y="1497586"/>
                  <a:pt x="7842190" y="1499983"/>
                  <a:pt x="7845786" y="1508373"/>
                </a:cubicBezTo>
                <a:cubicBezTo>
                  <a:pt x="7849980" y="1516762"/>
                  <a:pt x="7849381" y="1531145"/>
                  <a:pt x="7846385" y="1540134"/>
                </a:cubicBezTo>
                <a:cubicBezTo>
                  <a:pt x="7843389" y="1548524"/>
                  <a:pt x="7851179" y="1557513"/>
                  <a:pt x="7847583" y="1559910"/>
                </a:cubicBezTo>
                <a:cubicBezTo>
                  <a:pt x="7843988" y="1562307"/>
                  <a:pt x="7845786" y="1560509"/>
                  <a:pt x="7845186" y="1555715"/>
                </a:cubicBezTo>
                <a:cubicBezTo>
                  <a:pt x="7844587" y="1550921"/>
                  <a:pt x="7840991" y="1548524"/>
                  <a:pt x="7837995" y="1545528"/>
                </a:cubicBezTo>
                <a:cubicBezTo>
                  <a:pt x="7835598" y="1541932"/>
                  <a:pt x="7836197" y="1535340"/>
                  <a:pt x="7836197" y="1528149"/>
                </a:cubicBezTo>
                <a:cubicBezTo>
                  <a:pt x="7836197" y="1520957"/>
                  <a:pt x="7833800" y="1523954"/>
                  <a:pt x="7832601" y="1521557"/>
                </a:cubicBezTo>
                <a:cubicBezTo>
                  <a:pt x="7831403" y="1519159"/>
                  <a:pt x="7830204" y="1513167"/>
                  <a:pt x="7827208" y="1509571"/>
                </a:cubicBezTo>
                <a:cubicBezTo>
                  <a:pt x="7823612" y="1505975"/>
                  <a:pt x="7821815" y="1507174"/>
                  <a:pt x="7821815" y="1510170"/>
                </a:cubicBezTo>
                <a:cubicBezTo>
                  <a:pt x="7821215" y="1513167"/>
                  <a:pt x="7819418" y="1511369"/>
                  <a:pt x="7814623" y="1508972"/>
                </a:cubicBezTo>
                <a:cubicBezTo>
                  <a:pt x="7810429" y="1506575"/>
                  <a:pt x="7810429" y="1503578"/>
                  <a:pt x="7814623" y="1501781"/>
                </a:cubicBezTo>
                <a:cubicBezTo>
                  <a:pt x="7818819" y="1499983"/>
                  <a:pt x="7821215" y="1496387"/>
                  <a:pt x="7819418" y="1495788"/>
                </a:cubicBezTo>
                <a:cubicBezTo>
                  <a:pt x="7817620" y="1495189"/>
                  <a:pt x="7820017" y="1496387"/>
                  <a:pt x="7814024" y="1498185"/>
                </a:cubicBezTo>
                <a:cubicBezTo>
                  <a:pt x="7808630" y="1500582"/>
                  <a:pt x="7805634" y="1498784"/>
                  <a:pt x="7803237" y="1497586"/>
                </a:cubicBezTo>
                <a:cubicBezTo>
                  <a:pt x="7800840" y="1496387"/>
                  <a:pt x="7802039" y="1490394"/>
                  <a:pt x="7800840" y="1486799"/>
                </a:cubicBezTo>
                <a:cubicBezTo>
                  <a:pt x="7799641" y="1483203"/>
                  <a:pt x="7797844" y="1482604"/>
                  <a:pt x="7798443" y="1473015"/>
                </a:cubicBezTo>
                <a:cubicBezTo>
                  <a:pt x="7799042" y="1462828"/>
                  <a:pt x="7797844" y="1462228"/>
                  <a:pt x="7795447" y="1462828"/>
                </a:cubicBezTo>
                <a:cubicBezTo>
                  <a:pt x="7793049" y="1463427"/>
                  <a:pt x="7795447" y="1465824"/>
                  <a:pt x="7794848" y="1470618"/>
                </a:cubicBezTo>
                <a:cubicBezTo>
                  <a:pt x="7794248" y="1475413"/>
                  <a:pt x="7795447" y="1478409"/>
                  <a:pt x="7791851" y="1478409"/>
                </a:cubicBezTo>
                <a:cubicBezTo>
                  <a:pt x="7787656" y="1478409"/>
                  <a:pt x="7790053" y="1479607"/>
                  <a:pt x="7792450" y="1483203"/>
                </a:cubicBezTo>
                <a:cubicBezTo>
                  <a:pt x="7794848" y="1486799"/>
                  <a:pt x="7794848" y="1485600"/>
                  <a:pt x="7794848" y="1488597"/>
                </a:cubicBezTo>
                <a:cubicBezTo>
                  <a:pt x="7795447" y="1491593"/>
                  <a:pt x="7794848" y="1495788"/>
                  <a:pt x="7797244" y="1496986"/>
                </a:cubicBezTo>
                <a:cubicBezTo>
                  <a:pt x="7799641" y="1498185"/>
                  <a:pt x="7800840" y="1501181"/>
                  <a:pt x="7802039" y="1504777"/>
                </a:cubicBezTo>
                <a:cubicBezTo>
                  <a:pt x="7803237" y="1508373"/>
                  <a:pt x="7803237" y="1509571"/>
                  <a:pt x="7809230" y="1511968"/>
                </a:cubicBezTo>
                <a:cubicBezTo>
                  <a:pt x="7815222" y="1514365"/>
                  <a:pt x="7815822" y="1517961"/>
                  <a:pt x="7815822" y="1517961"/>
                </a:cubicBezTo>
                <a:cubicBezTo>
                  <a:pt x="7815822" y="1517961"/>
                  <a:pt x="7809829" y="1517362"/>
                  <a:pt x="7803837" y="1516762"/>
                </a:cubicBezTo>
                <a:cubicBezTo>
                  <a:pt x="7797844" y="1516163"/>
                  <a:pt x="7797244" y="1512568"/>
                  <a:pt x="7791851" y="1512568"/>
                </a:cubicBezTo>
                <a:cubicBezTo>
                  <a:pt x="7786458" y="1511968"/>
                  <a:pt x="7788255" y="1511369"/>
                  <a:pt x="7788255" y="1508373"/>
                </a:cubicBezTo>
                <a:cubicBezTo>
                  <a:pt x="7788255" y="1505376"/>
                  <a:pt x="7787656" y="1500582"/>
                  <a:pt x="7785259" y="1501781"/>
                </a:cubicBezTo>
                <a:cubicBezTo>
                  <a:pt x="7782862" y="1502979"/>
                  <a:pt x="7784060" y="1503578"/>
                  <a:pt x="7784659" y="1509571"/>
                </a:cubicBezTo>
                <a:cubicBezTo>
                  <a:pt x="7785259" y="1515564"/>
                  <a:pt x="7790053" y="1517961"/>
                  <a:pt x="7794248" y="1519759"/>
                </a:cubicBezTo>
                <a:cubicBezTo>
                  <a:pt x="7798443" y="1521557"/>
                  <a:pt x="7801439" y="1520957"/>
                  <a:pt x="7815222" y="1523954"/>
                </a:cubicBezTo>
                <a:cubicBezTo>
                  <a:pt x="7828407" y="1526351"/>
                  <a:pt x="7829605" y="1534741"/>
                  <a:pt x="7829605" y="1538936"/>
                </a:cubicBezTo>
                <a:cubicBezTo>
                  <a:pt x="7829605" y="1543130"/>
                  <a:pt x="7821815" y="1538336"/>
                  <a:pt x="7817020" y="1534141"/>
                </a:cubicBezTo>
                <a:cubicBezTo>
                  <a:pt x="7812226" y="1529946"/>
                  <a:pt x="7811627" y="1530546"/>
                  <a:pt x="7811627" y="1532943"/>
                </a:cubicBezTo>
                <a:cubicBezTo>
                  <a:pt x="7811627" y="1535340"/>
                  <a:pt x="7817020" y="1540134"/>
                  <a:pt x="7822414" y="1542531"/>
                </a:cubicBezTo>
                <a:cubicBezTo>
                  <a:pt x="7827808" y="1544928"/>
                  <a:pt x="7830204" y="1547925"/>
                  <a:pt x="7829605" y="1550921"/>
                </a:cubicBezTo>
                <a:cubicBezTo>
                  <a:pt x="7829006" y="1553917"/>
                  <a:pt x="7831403" y="1556315"/>
                  <a:pt x="7834999" y="1560509"/>
                </a:cubicBezTo>
                <a:cubicBezTo>
                  <a:pt x="7838594" y="1564704"/>
                  <a:pt x="7837396" y="1566502"/>
                  <a:pt x="7834399" y="1563506"/>
                </a:cubicBezTo>
                <a:cubicBezTo>
                  <a:pt x="7831403" y="1560509"/>
                  <a:pt x="7831403" y="1559910"/>
                  <a:pt x="7829006" y="1561109"/>
                </a:cubicBezTo>
                <a:cubicBezTo>
                  <a:pt x="7826609" y="1562307"/>
                  <a:pt x="7827808" y="1563506"/>
                  <a:pt x="7831403" y="1568300"/>
                </a:cubicBezTo>
                <a:cubicBezTo>
                  <a:pt x="7835598" y="1573094"/>
                  <a:pt x="7846984" y="1576690"/>
                  <a:pt x="7855374" y="1578488"/>
                </a:cubicBezTo>
                <a:cubicBezTo>
                  <a:pt x="7863764" y="1580286"/>
                  <a:pt x="7860768" y="1582683"/>
                  <a:pt x="7860768" y="1586878"/>
                </a:cubicBezTo>
                <a:cubicBezTo>
                  <a:pt x="7860768" y="1591072"/>
                  <a:pt x="7863164" y="1592271"/>
                  <a:pt x="7865561" y="1592271"/>
                </a:cubicBezTo>
                <a:cubicBezTo>
                  <a:pt x="7867959" y="1592870"/>
                  <a:pt x="7868558" y="1592870"/>
                  <a:pt x="7870955" y="1594668"/>
                </a:cubicBezTo>
                <a:cubicBezTo>
                  <a:pt x="7873352" y="1597065"/>
                  <a:pt x="7870955" y="1597065"/>
                  <a:pt x="7863764" y="1595867"/>
                </a:cubicBezTo>
                <a:cubicBezTo>
                  <a:pt x="7856572" y="1594668"/>
                  <a:pt x="7858370" y="1595867"/>
                  <a:pt x="7858370" y="1598863"/>
                </a:cubicBezTo>
                <a:cubicBezTo>
                  <a:pt x="7858370" y="1601859"/>
                  <a:pt x="7858370" y="1601859"/>
                  <a:pt x="7861966" y="1602459"/>
                </a:cubicBezTo>
                <a:cubicBezTo>
                  <a:pt x="7865561" y="1603058"/>
                  <a:pt x="7866760" y="1603058"/>
                  <a:pt x="7869757" y="1606654"/>
                </a:cubicBezTo>
                <a:cubicBezTo>
                  <a:pt x="7872753" y="1610249"/>
                  <a:pt x="7872753" y="1612646"/>
                  <a:pt x="7874551" y="1613246"/>
                </a:cubicBezTo>
                <a:cubicBezTo>
                  <a:pt x="7876349" y="1613845"/>
                  <a:pt x="7875150" y="1607852"/>
                  <a:pt x="7875150" y="1604256"/>
                </a:cubicBezTo>
                <a:cubicBezTo>
                  <a:pt x="7875750" y="1600661"/>
                  <a:pt x="7877547" y="1604856"/>
                  <a:pt x="7880543" y="1609650"/>
                </a:cubicBezTo>
                <a:cubicBezTo>
                  <a:pt x="7884139" y="1614444"/>
                  <a:pt x="7882941" y="1619838"/>
                  <a:pt x="7880543" y="1619238"/>
                </a:cubicBezTo>
                <a:cubicBezTo>
                  <a:pt x="7878146" y="1618639"/>
                  <a:pt x="7878146" y="1618639"/>
                  <a:pt x="7878146" y="1622235"/>
                </a:cubicBezTo>
                <a:cubicBezTo>
                  <a:pt x="7877547" y="1625830"/>
                  <a:pt x="7876948" y="1626429"/>
                  <a:pt x="7870955" y="1626429"/>
                </a:cubicBezTo>
                <a:cubicBezTo>
                  <a:pt x="7864962" y="1626429"/>
                  <a:pt x="7869157" y="1616242"/>
                  <a:pt x="7866161" y="1616242"/>
                </a:cubicBezTo>
                <a:cubicBezTo>
                  <a:pt x="7863164" y="1615643"/>
                  <a:pt x="7865561" y="1615043"/>
                  <a:pt x="7863764" y="1621036"/>
                </a:cubicBezTo>
                <a:cubicBezTo>
                  <a:pt x="7862565" y="1627029"/>
                  <a:pt x="7860168" y="1624632"/>
                  <a:pt x="7856572" y="1625830"/>
                </a:cubicBezTo>
                <a:cubicBezTo>
                  <a:pt x="7852977" y="1627029"/>
                  <a:pt x="7854775" y="1628227"/>
                  <a:pt x="7857771" y="1628227"/>
                </a:cubicBezTo>
                <a:cubicBezTo>
                  <a:pt x="7860768" y="1628227"/>
                  <a:pt x="7862565" y="1628827"/>
                  <a:pt x="7866760" y="1631224"/>
                </a:cubicBezTo>
                <a:cubicBezTo>
                  <a:pt x="7870955" y="1633621"/>
                  <a:pt x="7872153" y="1640213"/>
                  <a:pt x="7867360" y="1645007"/>
                </a:cubicBezTo>
                <a:cubicBezTo>
                  <a:pt x="7863164" y="1649801"/>
                  <a:pt x="7864962" y="1648603"/>
                  <a:pt x="7869757" y="1649202"/>
                </a:cubicBezTo>
                <a:cubicBezTo>
                  <a:pt x="7875150" y="1649801"/>
                  <a:pt x="7873951" y="1648003"/>
                  <a:pt x="7876948" y="1644408"/>
                </a:cubicBezTo>
                <a:cubicBezTo>
                  <a:pt x="7880543" y="1640812"/>
                  <a:pt x="7879944" y="1644408"/>
                  <a:pt x="7882341" y="1646805"/>
                </a:cubicBezTo>
                <a:cubicBezTo>
                  <a:pt x="7884739" y="1649202"/>
                  <a:pt x="7883540" y="1651000"/>
                  <a:pt x="7882341" y="1653996"/>
                </a:cubicBezTo>
                <a:cubicBezTo>
                  <a:pt x="7881142" y="1656393"/>
                  <a:pt x="7879944" y="1658191"/>
                  <a:pt x="7877547" y="1656993"/>
                </a:cubicBezTo>
                <a:cubicBezTo>
                  <a:pt x="7875150" y="1655794"/>
                  <a:pt x="7873951" y="1656393"/>
                  <a:pt x="7872153" y="1658790"/>
                </a:cubicBezTo>
                <a:cubicBezTo>
                  <a:pt x="7870356" y="1661187"/>
                  <a:pt x="7867360" y="1662985"/>
                  <a:pt x="7860168" y="1659390"/>
                </a:cubicBezTo>
                <a:cubicBezTo>
                  <a:pt x="7852977" y="1655794"/>
                  <a:pt x="7857771" y="1659989"/>
                  <a:pt x="7860768" y="1663585"/>
                </a:cubicBezTo>
                <a:cubicBezTo>
                  <a:pt x="7863764" y="1667180"/>
                  <a:pt x="7864363" y="1665382"/>
                  <a:pt x="7863164" y="1671974"/>
                </a:cubicBezTo>
                <a:cubicBezTo>
                  <a:pt x="7861966" y="1679166"/>
                  <a:pt x="7862565" y="1680364"/>
                  <a:pt x="7862565" y="1686956"/>
                </a:cubicBezTo>
                <a:cubicBezTo>
                  <a:pt x="7863164" y="1692949"/>
                  <a:pt x="7863764" y="1694747"/>
                  <a:pt x="7855374" y="1702537"/>
                </a:cubicBezTo>
                <a:cubicBezTo>
                  <a:pt x="7846984" y="1710328"/>
                  <a:pt x="7848182" y="1722313"/>
                  <a:pt x="7845786" y="1731302"/>
                </a:cubicBezTo>
                <a:cubicBezTo>
                  <a:pt x="7843389" y="1739692"/>
                  <a:pt x="7843988" y="1739692"/>
                  <a:pt x="7845186" y="1743288"/>
                </a:cubicBezTo>
                <a:cubicBezTo>
                  <a:pt x="7845786" y="1746284"/>
                  <a:pt x="7846385" y="1745086"/>
                  <a:pt x="7844587" y="1748682"/>
                </a:cubicBezTo>
                <a:cubicBezTo>
                  <a:pt x="7842789" y="1752277"/>
                  <a:pt x="7840392" y="1752876"/>
                  <a:pt x="7834999" y="1756472"/>
                </a:cubicBezTo>
                <a:cubicBezTo>
                  <a:pt x="7829605" y="1760068"/>
                  <a:pt x="7825410" y="1762465"/>
                  <a:pt x="7829605" y="1767858"/>
                </a:cubicBezTo>
                <a:cubicBezTo>
                  <a:pt x="7833800" y="1773252"/>
                  <a:pt x="7832002" y="1779244"/>
                  <a:pt x="7826609" y="1781042"/>
                </a:cubicBezTo>
                <a:cubicBezTo>
                  <a:pt x="7821215" y="1783439"/>
                  <a:pt x="7821815" y="1783439"/>
                  <a:pt x="7820616" y="1788833"/>
                </a:cubicBezTo>
                <a:cubicBezTo>
                  <a:pt x="7819418" y="1794226"/>
                  <a:pt x="7821215" y="1799021"/>
                  <a:pt x="7824811" y="1802017"/>
                </a:cubicBezTo>
                <a:cubicBezTo>
                  <a:pt x="7829006" y="1805013"/>
                  <a:pt x="7829605" y="1806811"/>
                  <a:pt x="7827208" y="1812204"/>
                </a:cubicBezTo>
                <a:cubicBezTo>
                  <a:pt x="7824811" y="1817598"/>
                  <a:pt x="7826010" y="1820594"/>
                  <a:pt x="7828407" y="1824190"/>
                </a:cubicBezTo>
                <a:cubicBezTo>
                  <a:pt x="7830804" y="1827786"/>
                  <a:pt x="7830804" y="1832580"/>
                  <a:pt x="7830804" y="1836175"/>
                </a:cubicBezTo>
                <a:cubicBezTo>
                  <a:pt x="7830804" y="1839771"/>
                  <a:pt x="7837396" y="1842767"/>
                  <a:pt x="7842789" y="1854753"/>
                </a:cubicBezTo>
                <a:cubicBezTo>
                  <a:pt x="7848182" y="1866738"/>
                  <a:pt x="7857171" y="1871533"/>
                  <a:pt x="7859569" y="1872132"/>
                </a:cubicBezTo>
                <a:cubicBezTo>
                  <a:pt x="7861966" y="1872731"/>
                  <a:pt x="7866161" y="1877525"/>
                  <a:pt x="7866161" y="1877525"/>
                </a:cubicBezTo>
                <a:cubicBezTo>
                  <a:pt x="7866161" y="1877525"/>
                  <a:pt x="7861966" y="1876327"/>
                  <a:pt x="7858970" y="1876926"/>
                </a:cubicBezTo>
                <a:cubicBezTo>
                  <a:pt x="7855973" y="1877525"/>
                  <a:pt x="7861966" y="1880522"/>
                  <a:pt x="7866760" y="1883518"/>
                </a:cubicBezTo>
                <a:cubicBezTo>
                  <a:pt x="7871554" y="1886515"/>
                  <a:pt x="7872753" y="1888912"/>
                  <a:pt x="7873951" y="1892507"/>
                </a:cubicBezTo>
                <a:cubicBezTo>
                  <a:pt x="7874551" y="1896103"/>
                  <a:pt x="7878146" y="1901496"/>
                  <a:pt x="7882341" y="1902695"/>
                </a:cubicBezTo>
                <a:cubicBezTo>
                  <a:pt x="7886536" y="1903893"/>
                  <a:pt x="7887735" y="1905092"/>
                  <a:pt x="7889532" y="1908088"/>
                </a:cubicBezTo>
                <a:cubicBezTo>
                  <a:pt x="7891331" y="1911085"/>
                  <a:pt x="7897323" y="1921272"/>
                  <a:pt x="7896724" y="1923070"/>
                </a:cubicBezTo>
                <a:cubicBezTo>
                  <a:pt x="7896124" y="1925467"/>
                  <a:pt x="7891331" y="1918875"/>
                  <a:pt x="7888933" y="1914680"/>
                </a:cubicBezTo>
                <a:cubicBezTo>
                  <a:pt x="7886536" y="1910485"/>
                  <a:pt x="7885338" y="1910485"/>
                  <a:pt x="7884139" y="1913482"/>
                </a:cubicBezTo>
                <a:cubicBezTo>
                  <a:pt x="7882941" y="1916478"/>
                  <a:pt x="7887135" y="1920673"/>
                  <a:pt x="7890132" y="1923669"/>
                </a:cubicBezTo>
                <a:cubicBezTo>
                  <a:pt x="7893128" y="1926666"/>
                  <a:pt x="7896124" y="1932059"/>
                  <a:pt x="7897323" y="1935655"/>
                </a:cubicBezTo>
                <a:cubicBezTo>
                  <a:pt x="7897922" y="1939850"/>
                  <a:pt x="7903316" y="1945243"/>
                  <a:pt x="7905113" y="1950637"/>
                </a:cubicBezTo>
                <a:cubicBezTo>
                  <a:pt x="7906911" y="1956030"/>
                  <a:pt x="7911706" y="1958427"/>
                  <a:pt x="7917699" y="1964420"/>
                </a:cubicBezTo>
                <a:cubicBezTo>
                  <a:pt x="7923691" y="1970413"/>
                  <a:pt x="7923092" y="1971611"/>
                  <a:pt x="7921893" y="1978203"/>
                </a:cubicBezTo>
                <a:cubicBezTo>
                  <a:pt x="7921294" y="1984795"/>
                  <a:pt x="7922492" y="1985994"/>
                  <a:pt x="7927287" y="1991387"/>
                </a:cubicBezTo>
                <a:cubicBezTo>
                  <a:pt x="7931482" y="1996781"/>
                  <a:pt x="7933879" y="2000377"/>
                  <a:pt x="7933280" y="2004571"/>
                </a:cubicBezTo>
                <a:cubicBezTo>
                  <a:pt x="7932681" y="2008766"/>
                  <a:pt x="7932681" y="2009965"/>
                  <a:pt x="7935677" y="2013561"/>
                </a:cubicBezTo>
                <a:cubicBezTo>
                  <a:pt x="7938073" y="2017156"/>
                  <a:pt x="7938073" y="2017156"/>
                  <a:pt x="7938673" y="2021351"/>
                </a:cubicBezTo>
                <a:cubicBezTo>
                  <a:pt x="7939272" y="2025546"/>
                  <a:pt x="7939872" y="2027943"/>
                  <a:pt x="7940471" y="2032138"/>
                </a:cubicBezTo>
                <a:cubicBezTo>
                  <a:pt x="7941070" y="2036333"/>
                  <a:pt x="7942269" y="2038730"/>
                  <a:pt x="7937474" y="2037531"/>
                </a:cubicBezTo>
                <a:cubicBezTo>
                  <a:pt x="7932681" y="2036932"/>
                  <a:pt x="7933280" y="2037531"/>
                  <a:pt x="7929684" y="2039929"/>
                </a:cubicBezTo>
                <a:cubicBezTo>
                  <a:pt x="7925489" y="2042326"/>
                  <a:pt x="7920695" y="2042326"/>
                  <a:pt x="7917699" y="2039329"/>
                </a:cubicBezTo>
                <a:cubicBezTo>
                  <a:pt x="7915301" y="2036333"/>
                  <a:pt x="7918897" y="2037531"/>
                  <a:pt x="7923092" y="2037531"/>
                </a:cubicBezTo>
                <a:cubicBezTo>
                  <a:pt x="7927287" y="2037531"/>
                  <a:pt x="7923691" y="2035734"/>
                  <a:pt x="7918897" y="2033337"/>
                </a:cubicBezTo>
                <a:cubicBezTo>
                  <a:pt x="7914702" y="2030939"/>
                  <a:pt x="7914702" y="2029142"/>
                  <a:pt x="7915901" y="2026145"/>
                </a:cubicBezTo>
                <a:cubicBezTo>
                  <a:pt x="7917099" y="2023748"/>
                  <a:pt x="7915901" y="2022550"/>
                  <a:pt x="7913503" y="2022550"/>
                </a:cubicBezTo>
                <a:cubicBezTo>
                  <a:pt x="7911106" y="2022550"/>
                  <a:pt x="7908710" y="2020153"/>
                  <a:pt x="7906312" y="2017156"/>
                </a:cubicBezTo>
                <a:cubicBezTo>
                  <a:pt x="7903915" y="2014160"/>
                  <a:pt x="7897922" y="2008766"/>
                  <a:pt x="7893128" y="2003972"/>
                </a:cubicBezTo>
                <a:cubicBezTo>
                  <a:pt x="7887735" y="1998579"/>
                  <a:pt x="7885937" y="1989590"/>
                  <a:pt x="7882941" y="1985994"/>
                </a:cubicBezTo>
                <a:cubicBezTo>
                  <a:pt x="7879944" y="1982398"/>
                  <a:pt x="7878746" y="1981200"/>
                  <a:pt x="7879944" y="1977005"/>
                </a:cubicBezTo>
                <a:cubicBezTo>
                  <a:pt x="7881142" y="1972810"/>
                  <a:pt x="7877547" y="1971611"/>
                  <a:pt x="7874551" y="1975806"/>
                </a:cubicBezTo>
                <a:cubicBezTo>
                  <a:pt x="7871554" y="1980001"/>
                  <a:pt x="7869157" y="1980001"/>
                  <a:pt x="7867959" y="1975806"/>
                </a:cubicBezTo>
                <a:cubicBezTo>
                  <a:pt x="7866760" y="1971611"/>
                  <a:pt x="7863764" y="1967417"/>
                  <a:pt x="7859569" y="1963222"/>
                </a:cubicBezTo>
                <a:cubicBezTo>
                  <a:pt x="7855374" y="1959027"/>
                  <a:pt x="7855973" y="1957828"/>
                  <a:pt x="7858970" y="1956030"/>
                </a:cubicBezTo>
                <a:cubicBezTo>
                  <a:pt x="7861367" y="1954832"/>
                  <a:pt x="7861367" y="1954232"/>
                  <a:pt x="7861367" y="1951835"/>
                </a:cubicBezTo>
                <a:cubicBezTo>
                  <a:pt x="7861367" y="1949438"/>
                  <a:pt x="7861966" y="1944644"/>
                  <a:pt x="7859569" y="1940449"/>
                </a:cubicBezTo>
                <a:cubicBezTo>
                  <a:pt x="7857171" y="1936254"/>
                  <a:pt x="7854775" y="1936254"/>
                  <a:pt x="7850580" y="1936254"/>
                </a:cubicBezTo>
                <a:cubicBezTo>
                  <a:pt x="7846385" y="1936254"/>
                  <a:pt x="7846385" y="1936854"/>
                  <a:pt x="7848782" y="1941048"/>
                </a:cubicBezTo>
                <a:cubicBezTo>
                  <a:pt x="7851179" y="1945243"/>
                  <a:pt x="7851179" y="1947041"/>
                  <a:pt x="7846385" y="1944644"/>
                </a:cubicBezTo>
                <a:cubicBezTo>
                  <a:pt x="7842190" y="1942247"/>
                  <a:pt x="7842190" y="1939850"/>
                  <a:pt x="7841590" y="1935056"/>
                </a:cubicBezTo>
                <a:cubicBezTo>
                  <a:pt x="7840991" y="1930261"/>
                  <a:pt x="7840991" y="1921872"/>
                  <a:pt x="7837396" y="1917077"/>
                </a:cubicBezTo>
                <a:cubicBezTo>
                  <a:pt x="7833800" y="1911684"/>
                  <a:pt x="7832601" y="1909886"/>
                  <a:pt x="7834399" y="1906890"/>
                </a:cubicBezTo>
                <a:cubicBezTo>
                  <a:pt x="7836197" y="1903893"/>
                  <a:pt x="7834999" y="1902695"/>
                  <a:pt x="7832002" y="1900298"/>
                </a:cubicBezTo>
                <a:cubicBezTo>
                  <a:pt x="7828407" y="1897901"/>
                  <a:pt x="7829006" y="1896702"/>
                  <a:pt x="7827808" y="1891908"/>
                </a:cubicBezTo>
                <a:cubicBezTo>
                  <a:pt x="7827208" y="1887114"/>
                  <a:pt x="7825410" y="1888312"/>
                  <a:pt x="7821815" y="1890709"/>
                </a:cubicBezTo>
                <a:cubicBezTo>
                  <a:pt x="7818219" y="1893106"/>
                  <a:pt x="7817620" y="1893106"/>
                  <a:pt x="7815222" y="1888912"/>
                </a:cubicBezTo>
                <a:cubicBezTo>
                  <a:pt x="7812826" y="1884717"/>
                  <a:pt x="7811627" y="1884717"/>
                  <a:pt x="7805634" y="1883518"/>
                </a:cubicBezTo>
                <a:cubicBezTo>
                  <a:pt x="7799641" y="1882919"/>
                  <a:pt x="7802638" y="1875128"/>
                  <a:pt x="7798443" y="1873330"/>
                </a:cubicBezTo>
                <a:cubicBezTo>
                  <a:pt x="7794248" y="1871533"/>
                  <a:pt x="7794248" y="1865540"/>
                  <a:pt x="7786458" y="1861944"/>
                </a:cubicBezTo>
                <a:cubicBezTo>
                  <a:pt x="7778667" y="1858349"/>
                  <a:pt x="7778068" y="1857150"/>
                  <a:pt x="7775670" y="1864341"/>
                </a:cubicBezTo>
                <a:cubicBezTo>
                  <a:pt x="7773273" y="1871533"/>
                  <a:pt x="7761888" y="1869735"/>
                  <a:pt x="7761288" y="1871533"/>
                </a:cubicBezTo>
                <a:cubicBezTo>
                  <a:pt x="7760689" y="1873330"/>
                  <a:pt x="7761888" y="1874529"/>
                  <a:pt x="7756494" y="1873930"/>
                </a:cubicBezTo>
                <a:cubicBezTo>
                  <a:pt x="7751100" y="1873330"/>
                  <a:pt x="7752898" y="1874529"/>
                  <a:pt x="7752299" y="1872731"/>
                </a:cubicBezTo>
                <a:cubicBezTo>
                  <a:pt x="7751699" y="1870334"/>
                  <a:pt x="7749902" y="1869735"/>
                  <a:pt x="7745707" y="1867338"/>
                </a:cubicBezTo>
                <a:cubicBezTo>
                  <a:pt x="7741512" y="1864941"/>
                  <a:pt x="7742710" y="1862544"/>
                  <a:pt x="7746306" y="1861944"/>
                </a:cubicBezTo>
                <a:cubicBezTo>
                  <a:pt x="7750501" y="1861345"/>
                  <a:pt x="7746906" y="1859547"/>
                  <a:pt x="7743909" y="1859547"/>
                </a:cubicBezTo>
                <a:cubicBezTo>
                  <a:pt x="7740913" y="1858948"/>
                  <a:pt x="7736718" y="1852356"/>
                  <a:pt x="7733122" y="1851757"/>
                </a:cubicBezTo>
                <a:cubicBezTo>
                  <a:pt x="7728927" y="1851157"/>
                  <a:pt x="7734320" y="1857150"/>
                  <a:pt x="7734320" y="1857150"/>
                </a:cubicBezTo>
                <a:cubicBezTo>
                  <a:pt x="7734320" y="1857150"/>
                  <a:pt x="7729527" y="1856551"/>
                  <a:pt x="7722335" y="1855952"/>
                </a:cubicBezTo>
                <a:cubicBezTo>
                  <a:pt x="7715144" y="1855352"/>
                  <a:pt x="7717541" y="1854753"/>
                  <a:pt x="7721137" y="1852955"/>
                </a:cubicBezTo>
                <a:cubicBezTo>
                  <a:pt x="7724732" y="1851157"/>
                  <a:pt x="7724732" y="1849359"/>
                  <a:pt x="7722335" y="1848760"/>
                </a:cubicBezTo>
                <a:cubicBezTo>
                  <a:pt x="7719938" y="1848161"/>
                  <a:pt x="7718140" y="1848161"/>
                  <a:pt x="7712147" y="1851757"/>
                </a:cubicBezTo>
                <a:cubicBezTo>
                  <a:pt x="7706754" y="1855352"/>
                  <a:pt x="7700162" y="1857749"/>
                  <a:pt x="7700761" y="1852955"/>
                </a:cubicBezTo>
                <a:cubicBezTo>
                  <a:pt x="7701360" y="1848161"/>
                  <a:pt x="7699563" y="1847562"/>
                  <a:pt x="7696566" y="1852356"/>
                </a:cubicBezTo>
                <a:cubicBezTo>
                  <a:pt x="7694169" y="1857749"/>
                  <a:pt x="7682783" y="1853554"/>
                  <a:pt x="7675592" y="1848161"/>
                </a:cubicBezTo>
                <a:cubicBezTo>
                  <a:pt x="7668400" y="1842767"/>
                  <a:pt x="7670797" y="1847562"/>
                  <a:pt x="7670797" y="1850558"/>
                </a:cubicBezTo>
                <a:cubicBezTo>
                  <a:pt x="7670797" y="1854154"/>
                  <a:pt x="7668400" y="1853554"/>
                  <a:pt x="7658213" y="1858349"/>
                </a:cubicBezTo>
                <a:cubicBezTo>
                  <a:pt x="7648025" y="1863143"/>
                  <a:pt x="7643231" y="1873330"/>
                  <a:pt x="7641433" y="1879922"/>
                </a:cubicBezTo>
                <a:cubicBezTo>
                  <a:pt x="7639036" y="1886515"/>
                  <a:pt x="7645628" y="1885316"/>
                  <a:pt x="7648625" y="1881720"/>
                </a:cubicBezTo>
                <a:cubicBezTo>
                  <a:pt x="7651621" y="1878125"/>
                  <a:pt x="7653418" y="1881121"/>
                  <a:pt x="7651621" y="1887713"/>
                </a:cubicBezTo>
                <a:cubicBezTo>
                  <a:pt x="7649823" y="1894904"/>
                  <a:pt x="7656415" y="1897901"/>
                  <a:pt x="7661808" y="1900298"/>
                </a:cubicBezTo>
                <a:cubicBezTo>
                  <a:pt x="7667202" y="1902695"/>
                  <a:pt x="7668400" y="1899099"/>
                  <a:pt x="7669000" y="1902096"/>
                </a:cubicBezTo>
                <a:cubicBezTo>
                  <a:pt x="7669599" y="1905092"/>
                  <a:pt x="7671397" y="1904493"/>
                  <a:pt x="7671996" y="1908688"/>
                </a:cubicBezTo>
                <a:cubicBezTo>
                  <a:pt x="7672596" y="1912883"/>
                  <a:pt x="7671397" y="1914081"/>
                  <a:pt x="7667801" y="1914680"/>
                </a:cubicBezTo>
                <a:cubicBezTo>
                  <a:pt x="7664206" y="1915280"/>
                  <a:pt x="7667202" y="1915280"/>
                  <a:pt x="7664206" y="1919475"/>
                </a:cubicBezTo>
                <a:cubicBezTo>
                  <a:pt x="7661808" y="1923669"/>
                  <a:pt x="7661209" y="1917077"/>
                  <a:pt x="7661209" y="1913482"/>
                </a:cubicBezTo>
                <a:cubicBezTo>
                  <a:pt x="7661209" y="1909287"/>
                  <a:pt x="7654617" y="1908688"/>
                  <a:pt x="7651022" y="1905092"/>
                </a:cubicBezTo>
                <a:cubicBezTo>
                  <a:pt x="7646826" y="1901496"/>
                  <a:pt x="7645628" y="1899099"/>
                  <a:pt x="7642033" y="1899099"/>
                </a:cubicBezTo>
                <a:cubicBezTo>
                  <a:pt x="7637837" y="1899099"/>
                  <a:pt x="7641433" y="1903294"/>
                  <a:pt x="7642632" y="1907489"/>
                </a:cubicBezTo>
                <a:cubicBezTo>
                  <a:pt x="7643830" y="1911684"/>
                  <a:pt x="7641433" y="1913482"/>
                  <a:pt x="7637837" y="1910485"/>
                </a:cubicBezTo>
                <a:cubicBezTo>
                  <a:pt x="7634242" y="1907489"/>
                  <a:pt x="7630646" y="1910485"/>
                  <a:pt x="7630047" y="1913482"/>
                </a:cubicBezTo>
                <a:cubicBezTo>
                  <a:pt x="7629447" y="1916478"/>
                  <a:pt x="7624054" y="1915879"/>
                  <a:pt x="7621058" y="1913482"/>
                </a:cubicBezTo>
                <a:cubicBezTo>
                  <a:pt x="7618062" y="1911085"/>
                  <a:pt x="7612668" y="1907489"/>
                  <a:pt x="7607874" y="1905092"/>
                </a:cubicBezTo>
                <a:cubicBezTo>
                  <a:pt x="7603080" y="1902695"/>
                  <a:pt x="7603679" y="1898500"/>
                  <a:pt x="7602480" y="1895504"/>
                </a:cubicBezTo>
                <a:cubicBezTo>
                  <a:pt x="7601881" y="1892507"/>
                  <a:pt x="7598285" y="1893706"/>
                  <a:pt x="7593491" y="1893106"/>
                </a:cubicBezTo>
                <a:cubicBezTo>
                  <a:pt x="7588697" y="1892507"/>
                  <a:pt x="7587498" y="1894305"/>
                  <a:pt x="7590495" y="1896103"/>
                </a:cubicBezTo>
                <a:cubicBezTo>
                  <a:pt x="7593491" y="1897901"/>
                  <a:pt x="7592892" y="1898500"/>
                  <a:pt x="7592892" y="1901496"/>
                </a:cubicBezTo>
                <a:cubicBezTo>
                  <a:pt x="7593491" y="1904493"/>
                  <a:pt x="7588697" y="1905092"/>
                  <a:pt x="7583903" y="1904493"/>
                </a:cubicBezTo>
                <a:cubicBezTo>
                  <a:pt x="7578509" y="1903893"/>
                  <a:pt x="7573715" y="1902695"/>
                  <a:pt x="7564726" y="1905092"/>
                </a:cubicBezTo>
                <a:cubicBezTo>
                  <a:pt x="7556336" y="1907489"/>
                  <a:pt x="7547946" y="1915280"/>
                  <a:pt x="7546149" y="1915879"/>
                </a:cubicBezTo>
                <a:cubicBezTo>
                  <a:pt x="7544351" y="1916478"/>
                  <a:pt x="7541954" y="1919475"/>
                  <a:pt x="7537759" y="1926066"/>
                </a:cubicBezTo>
                <a:cubicBezTo>
                  <a:pt x="7533564" y="1933258"/>
                  <a:pt x="7532365" y="1928464"/>
                  <a:pt x="7534763" y="1925467"/>
                </a:cubicBezTo>
                <a:cubicBezTo>
                  <a:pt x="7537160" y="1922471"/>
                  <a:pt x="7537160" y="1920074"/>
                  <a:pt x="7535362" y="1921272"/>
                </a:cubicBezTo>
                <a:cubicBezTo>
                  <a:pt x="7533564" y="1922471"/>
                  <a:pt x="7533564" y="1923669"/>
                  <a:pt x="7531766" y="1921272"/>
                </a:cubicBezTo>
                <a:cubicBezTo>
                  <a:pt x="7529968" y="1918875"/>
                  <a:pt x="7529369" y="1918875"/>
                  <a:pt x="7526972" y="1921272"/>
                </a:cubicBezTo>
                <a:cubicBezTo>
                  <a:pt x="7524574" y="1923669"/>
                  <a:pt x="7524574" y="1924269"/>
                  <a:pt x="7526373" y="1927265"/>
                </a:cubicBezTo>
                <a:cubicBezTo>
                  <a:pt x="7528770" y="1930261"/>
                  <a:pt x="7528171" y="1932659"/>
                  <a:pt x="7526972" y="1934456"/>
                </a:cubicBezTo>
                <a:cubicBezTo>
                  <a:pt x="7525773" y="1936254"/>
                  <a:pt x="7522777" y="1944045"/>
                  <a:pt x="7520380" y="1946442"/>
                </a:cubicBezTo>
                <a:cubicBezTo>
                  <a:pt x="7517983" y="1948839"/>
                  <a:pt x="7516784" y="1948839"/>
                  <a:pt x="7516185" y="1952435"/>
                </a:cubicBezTo>
                <a:cubicBezTo>
                  <a:pt x="7515585" y="1956629"/>
                  <a:pt x="7510192" y="1956030"/>
                  <a:pt x="7507795" y="1953034"/>
                </a:cubicBezTo>
                <a:cubicBezTo>
                  <a:pt x="7505398" y="1950037"/>
                  <a:pt x="7503001" y="1954832"/>
                  <a:pt x="7498207" y="1954832"/>
                </a:cubicBezTo>
                <a:cubicBezTo>
                  <a:pt x="7493412" y="1954832"/>
                  <a:pt x="7495211" y="1957828"/>
                  <a:pt x="7498207" y="1958427"/>
                </a:cubicBezTo>
                <a:cubicBezTo>
                  <a:pt x="7501203" y="1959027"/>
                  <a:pt x="7503001" y="1963821"/>
                  <a:pt x="7503001" y="1963821"/>
                </a:cubicBezTo>
                <a:cubicBezTo>
                  <a:pt x="7503001" y="1963821"/>
                  <a:pt x="7500004" y="1968016"/>
                  <a:pt x="7496409" y="1966218"/>
                </a:cubicBezTo>
                <a:cubicBezTo>
                  <a:pt x="7492813" y="1963821"/>
                  <a:pt x="7492813" y="1963821"/>
                  <a:pt x="7495211" y="1970413"/>
                </a:cubicBezTo>
                <a:cubicBezTo>
                  <a:pt x="7497607" y="1977005"/>
                  <a:pt x="7494611" y="1977005"/>
                  <a:pt x="7494012" y="1974008"/>
                </a:cubicBezTo>
                <a:cubicBezTo>
                  <a:pt x="7493412" y="1971012"/>
                  <a:pt x="7491614" y="1970413"/>
                  <a:pt x="7489817" y="1974608"/>
                </a:cubicBezTo>
                <a:cubicBezTo>
                  <a:pt x="7488019" y="1978803"/>
                  <a:pt x="7491015" y="1980001"/>
                  <a:pt x="7492214" y="1982398"/>
                </a:cubicBezTo>
                <a:cubicBezTo>
                  <a:pt x="7493412" y="1984795"/>
                  <a:pt x="7491614" y="1984795"/>
                  <a:pt x="7488019" y="1984795"/>
                </a:cubicBezTo>
                <a:cubicBezTo>
                  <a:pt x="7485023" y="1984795"/>
                  <a:pt x="7484423" y="1988391"/>
                  <a:pt x="7488019" y="1990788"/>
                </a:cubicBezTo>
                <a:cubicBezTo>
                  <a:pt x="7491614" y="1993185"/>
                  <a:pt x="7492813" y="1996182"/>
                  <a:pt x="7492214" y="2000976"/>
                </a:cubicBezTo>
                <a:cubicBezTo>
                  <a:pt x="7491614" y="2005770"/>
                  <a:pt x="7488019" y="2005171"/>
                  <a:pt x="7484423" y="2003373"/>
                </a:cubicBezTo>
                <a:cubicBezTo>
                  <a:pt x="7480229" y="2002174"/>
                  <a:pt x="7480229" y="2002774"/>
                  <a:pt x="7480229" y="2004571"/>
                </a:cubicBezTo>
                <a:cubicBezTo>
                  <a:pt x="7480229" y="2006369"/>
                  <a:pt x="7479629" y="2007568"/>
                  <a:pt x="7485023" y="2008167"/>
                </a:cubicBezTo>
                <a:cubicBezTo>
                  <a:pt x="7490416" y="2008766"/>
                  <a:pt x="7491015" y="2008766"/>
                  <a:pt x="7493412" y="2012362"/>
                </a:cubicBezTo>
                <a:cubicBezTo>
                  <a:pt x="7495810" y="2015958"/>
                  <a:pt x="7495810" y="2019553"/>
                  <a:pt x="7494611" y="2022550"/>
                </a:cubicBezTo>
                <a:cubicBezTo>
                  <a:pt x="7494012" y="2025546"/>
                  <a:pt x="7493412" y="2025546"/>
                  <a:pt x="7497008" y="2029741"/>
                </a:cubicBezTo>
                <a:cubicBezTo>
                  <a:pt x="7501203" y="2033936"/>
                  <a:pt x="7502402" y="2038131"/>
                  <a:pt x="7503600" y="2042925"/>
                </a:cubicBezTo>
                <a:cubicBezTo>
                  <a:pt x="7504200" y="2048319"/>
                  <a:pt x="7504200" y="2049517"/>
                  <a:pt x="7505997" y="2049517"/>
                </a:cubicBezTo>
                <a:cubicBezTo>
                  <a:pt x="7507795" y="2049517"/>
                  <a:pt x="7510192" y="2050716"/>
                  <a:pt x="7511990" y="2053712"/>
                </a:cubicBezTo>
                <a:cubicBezTo>
                  <a:pt x="7513788" y="2056109"/>
                  <a:pt x="7516784" y="2062701"/>
                  <a:pt x="7516185" y="2065697"/>
                </a:cubicBezTo>
                <a:cubicBezTo>
                  <a:pt x="7515585" y="2068694"/>
                  <a:pt x="7518582" y="2069892"/>
                  <a:pt x="7519182" y="2075286"/>
                </a:cubicBezTo>
                <a:cubicBezTo>
                  <a:pt x="7519781" y="2080679"/>
                  <a:pt x="7514986" y="2080679"/>
                  <a:pt x="7513189" y="2080080"/>
                </a:cubicBezTo>
                <a:cubicBezTo>
                  <a:pt x="7510792" y="2079481"/>
                  <a:pt x="7505997" y="2079481"/>
                  <a:pt x="7508993" y="2084275"/>
                </a:cubicBezTo>
                <a:cubicBezTo>
                  <a:pt x="7511990" y="2089069"/>
                  <a:pt x="7513189" y="2090867"/>
                  <a:pt x="7510792" y="2095062"/>
                </a:cubicBezTo>
                <a:cubicBezTo>
                  <a:pt x="7508394" y="2099257"/>
                  <a:pt x="7510792" y="2100455"/>
                  <a:pt x="7513788" y="2099257"/>
                </a:cubicBezTo>
                <a:cubicBezTo>
                  <a:pt x="7516784" y="2098658"/>
                  <a:pt x="7517983" y="2101654"/>
                  <a:pt x="7518582" y="2105250"/>
                </a:cubicBezTo>
                <a:cubicBezTo>
                  <a:pt x="7519182" y="2109444"/>
                  <a:pt x="7520380" y="2111841"/>
                  <a:pt x="7517983" y="2113639"/>
                </a:cubicBezTo>
                <a:cubicBezTo>
                  <a:pt x="7515585" y="2116036"/>
                  <a:pt x="7516185" y="2116636"/>
                  <a:pt x="7518582" y="2119033"/>
                </a:cubicBezTo>
                <a:cubicBezTo>
                  <a:pt x="7520979" y="2121430"/>
                  <a:pt x="7522777" y="2122629"/>
                  <a:pt x="7522777" y="2126823"/>
                </a:cubicBezTo>
                <a:cubicBezTo>
                  <a:pt x="7522777" y="2131018"/>
                  <a:pt x="7526972" y="2147798"/>
                  <a:pt x="7534763" y="2158585"/>
                </a:cubicBezTo>
                <a:cubicBezTo>
                  <a:pt x="7543153" y="2168772"/>
                  <a:pt x="7535961" y="2172368"/>
                  <a:pt x="7540156" y="2175365"/>
                </a:cubicBezTo>
                <a:cubicBezTo>
                  <a:pt x="7544351" y="2177762"/>
                  <a:pt x="7544351" y="2183754"/>
                  <a:pt x="7543752" y="2192144"/>
                </a:cubicBezTo>
                <a:cubicBezTo>
                  <a:pt x="7543153" y="2200534"/>
                  <a:pt x="7555138" y="2217913"/>
                  <a:pt x="7559932" y="2222707"/>
                </a:cubicBezTo>
                <a:cubicBezTo>
                  <a:pt x="7564726" y="2227501"/>
                  <a:pt x="7567123" y="2236491"/>
                  <a:pt x="7567123" y="2241884"/>
                </a:cubicBezTo>
                <a:cubicBezTo>
                  <a:pt x="7567123" y="2247277"/>
                  <a:pt x="7573116" y="2253869"/>
                  <a:pt x="7577311" y="2259263"/>
                </a:cubicBezTo>
                <a:cubicBezTo>
                  <a:pt x="7581505" y="2264656"/>
                  <a:pt x="7582105" y="2268252"/>
                  <a:pt x="7592293" y="2273645"/>
                </a:cubicBezTo>
                <a:cubicBezTo>
                  <a:pt x="7602480" y="2279039"/>
                  <a:pt x="7605476" y="2286830"/>
                  <a:pt x="7605476" y="2288627"/>
                </a:cubicBezTo>
                <a:cubicBezTo>
                  <a:pt x="7605476" y="2290425"/>
                  <a:pt x="7610870" y="2298815"/>
                  <a:pt x="7613267" y="2308403"/>
                </a:cubicBezTo>
                <a:cubicBezTo>
                  <a:pt x="7615665" y="2317393"/>
                  <a:pt x="7624654" y="2322187"/>
                  <a:pt x="7628249" y="2323985"/>
                </a:cubicBezTo>
                <a:cubicBezTo>
                  <a:pt x="7631845" y="2325782"/>
                  <a:pt x="7633643" y="2330576"/>
                  <a:pt x="7635440" y="2332374"/>
                </a:cubicBezTo>
                <a:cubicBezTo>
                  <a:pt x="7637238" y="2334771"/>
                  <a:pt x="7636040" y="2332974"/>
                  <a:pt x="7634841" y="2336569"/>
                </a:cubicBezTo>
                <a:cubicBezTo>
                  <a:pt x="7633643" y="2339566"/>
                  <a:pt x="7636040" y="2340165"/>
                  <a:pt x="7640235" y="2340764"/>
                </a:cubicBezTo>
                <a:cubicBezTo>
                  <a:pt x="7644429" y="2341363"/>
                  <a:pt x="7642632" y="2338367"/>
                  <a:pt x="7641433" y="2336569"/>
                </a:cubicBezTo>
                <a:cubicBezTo>
                  <a:pt x="7640834" y="2334172"/>
                  <a:pt x="7645628" y="2335970"/>
                  <a:pt x="7648625" y="2337169"/>
                </a:cubicBezTo>
                <a:cubicBezTo>
                  <a:pt x="7652220" y="2338367"/>
                  <a:pt x="7656415" y="2338966"/>
                  <a:pt x="7660610" y="2336569"/>
                </a:cubicBezTo>
                <a:cubicBezTo>
                  <a:pt x="7664805" y="2334172"/>
                  <a:pt x="7666603" y="2341963"/>
                  <a:pt x="7668400" y="2349154"/>
                </a:cubicBezTo>
                <a:cubicBezTo>
                  <a:pt x="7670198" y="2356345"/>
                  <a:pt x="7676191" y="2353349"/>
                  <a:pt x="7680986" y="2349154"/>
                </a:cubicBezTo>
                <a:cubicBezTo>
                  <a:pt x="7685779" y="2344959"/>
                  <a:pt x="7686378" y="2347356"/>
                  <a:pt x="7686378" y="2349753"/>
                </a:cubicBezTo>
                <a:cubicBezTo>
                  <a:pt x="7686378" y="2352150"/>
                  <a:pt x="7688177" y="2353349"/>
                  <a:pt x="7693570" y="2350353"/>
                </a:cubicBezTo>
                <a:cubicBezTo>
                  <a:pt x="7698964" y="2347956"/>
                  <a:pt x="7697166" y="2344959"/>
                  <a:pt x="7694169" y="2344959"/>
                </a:cubicBezTo>
                <a:cubicBezTo>
                  <a:pt x="7691173" y="2344360"/>
                  <a:pt x="7693570" y="2342562"/>
                  <a:pt x="7693570" y="2342562"/>
                </a:cubicBezTo>
                <a:cubicBezTo>
                  <a:pt x="7693570" y="2342562"/>
                  <a:pt x="7697765" y="2341363"/>
                  <a:pt x="7704956" y="2339566"/>
                </a:cubicBezTo>
                <a:cubicBezTo>
                  <a:pt x="7712147" y="2337768"/>
                  <a:pt x="7712147" y="2337768"/>
                  <a:pt x="7714545" y="2334172"/>
                </a:cubicBezTo>
                <a:cubicBezTo>
                  <a:pt x="7716942" y="2330576"/>
                  <a:pt x="7719938" y="2330576"/>
                  <a:pt x="7722935" y="2329977"/>
                </a:cubicBezTo>
                <a:cubicBezTo>
                  <a:pt x="7725331" y="2329378"/>
                  <a:pt x="7731324" y="2330576"/>
                  <a:pt x="7736718" y="2329977"/>
                </a:cubicBezTo>
                <a:cubicBezTo>
                  <a:pt x="7742111" y="2329378"/>
                  <a:pt x="7743309" y="2334172"/>
                  <a:pt x="7738516" y="2334172"/>
                </a:cubicBezTo>
                <a:cubicBezTo>
                  <a:pt x="7733721" y="2333573"/>
                  <a:pt x="7738516" y="2335970"/>
                  <a:pt x="7743309" y="2339566"/>
                </a:cubicBezTo>
                <a:cubicBezTo>
                  <a:pt x="7748104" y="2343161"/>
                  <a:pt x="7748104" y="2341963"/>
                  <a:pt x="7748703" y="2338966"/>
                </a:cubicBezTo>
                <a:cubicBezTo>
                  <a:pt x="7749302" y="2335970"/>
                  <a:pt x="7749302" y="2335970"/>
                  <a:pt x="7751699" y="2334771"/>
                </a:cubicBezTo>
                <a:cubicBezTo>
                  <a:pt x="7754097" y="2334172"/>
                  <a:pt x="7755895" y="2332374"/>
                  <a:pt x="7753498" y="2329977"/>
                </a:cubicBezTo>
                <a:cubicBezTo>
                  <a:pt x="7751100" y="2327580"/>
                  <a:pt x="7752898" y="2325183"/>
                  <a:pt x="7748104" y="2322786"/>
                </a:cubicBezTo>
                <a:cubicBezTo>
                  <a:pt x="7742710" y="2320389"/>
                  <a:pt x="7745707" y="2314396"/>
                  <a:pt x="7752299" y="2306605"/>
                </a:cubicBezTo>
                <a:cubicBezTo>
                  <a:pt x="7758891" y="2299414"/>
                  <a:pt x="7755295" y="2291624"/>
                  <a:pt x="7754696" y="2288627"/>
                </a:cubicBezTo>
                <a:cubicBezTo>
                  <a:pt x="7754097" y="2286230"/>
                  <a:pt x="7754696" y="2280837"/>
                  <a:pt x="7755295" y="2276642"/>
                </a:cubicBezTo>
                <a:cubicBezTo>
                  <a:pt x="7755895" y="2272447"/>
                  <a:pt x="7753498" y="2263458"/>
                  <a:pt x="7751699" y="2259862"/>
                </a:cubicBezTo>
                <a:cubicBezTo>
                  <a:pt x="7749902" y="2256267"/>
                  <a:pt x="7749902" y="2251472"/>
                  <a:pt x="7750501" y="2247277"/>
                </a:cubicBezTo>
                <a:cubicBezTo>
                  <a:pt x="7751100" y="2243083"/>
                  <a:pt x="7746306" y="2232895"/>
                  <a:pt x="7749302" y="2226902"/>
                </a:cubicBezTo>
                <a:cubicBezTo>
                  <a:pt x="7752299" y="2220909"/>
                  <a:pt x="7762487" y="2219112"/>
                  <a:pt x="7772674" y="2219112"/>
                </a:cubicBezTo>
                <a:cubicBezTo>
                  <a:pt x="7782862" y="2219112"/>
                  <a:pt x="7784060" y="2213119"/>
                  <a:pt x="7786458" y="2210123"/>
                </a:cubicBezTo>
                <a:cubicBezTo>
                  <a:pt x="7788855" y="2207126"/>
                  <a:pt x="7791251" y="2206527"/>
                  <a:pt x="7796645" y="2206527"/>
                </a:cubicBezTo>
                <a:cubicBezTo>
                  <a:pt x="7802039" y="2206527"/>
                  <a:pt x="7809829" y="2207126"/>
                  <a:pt x="7813425" y="2209523"/>
                </a:cubicBezTo>
                <a:cubicBezTo>
                  <a:pt x="7816421" y="2211920"/>
                  <a:pt x="7818219" y="2213119"/>
                  <a:pt x="7818219" y="2211321"/>
                </a:cubicBezTo>
                <a:cubicBezTo>
                  <a:pt x="7818219" y="2209523"/>
                  <a:pt x="7820616" y="2208325"/>
                  <a:pt x="7815222" y="2207126"/>
                </a:cubicBezTo>
                <a:cubicBezTo>
                  <a:pt x="7809829" y="2205928"/>
                  <a:pt x="7806833" y="2204729"/>
                  <a:pt x="7810429" y="2204130"/>
                </a:cubicBezTo>
                <a:cubicBezTo>
                  <a:pt x="7814623" y="2203530"/>
                  <a:pt x="7815822" y="2203530"/>
                  <a:pt x="7818819" y="2204130"/>
                </a:cubicBezTo>
                <a:cubicBezTo>
                  <a:pt x="7821815" y="2204729"/>
                  <a:pt x="7826010" y="2206527"/>
                  <a:pt x="7829006" y="2204130"/>
                </a:cubicBezTo>
                <a:cubicBezTo>
                  <a:pt x="7832601" y="2201733"/>
                  <a:pt x="7836797" y="2205928"/>
                  <a:pt x="7836797" y="2208924"/>
                </a:cubicBezTo>
                <a:cubicBezTo>
                  <a:pt x="7836797" y="2211920"/>
                  <a:pt x="7838594" y="2219711"/>
                  <a:pt x="7840392" y="2224505"/>
                </a:cubicBezTo>
                <a:cubicBezTo>
                  <a:pt x="7842190" y="2229299"/>
                  <a:pt x="7839793" y="2239487"/>
                  <a:pt x="7836197" y="2245480"/>
                </a:cubicBezTo>
                <a:cubicBezTo>
                  <a:pt x="7833201" y="2251472"/>
                  <a:pt x="7833800" y="2261660"/>
                  <a:pt x="7836197" y="2266454"/>
                </a:cubicBezTo>
                <a:cubicBezTo>
                  <a:pt x="7838594" y="2271248"/>
                  <a:pt x="7838594" y="2275443"/>
                  <a:pt x="7834999" y="2280837"/>
                </a:cubicBezTo>
                <a:cubicBezTo>
                  <a:pt x="7830804" y="2286230"/>
                  <a:pt x="7834999" y="2286230"/>
                  <a:pt x="7837396" y="2285032"/>
                </a:cubicBezTo>
                <a:cubicBezTo>
                  <a:pt x="7839793" y="2283833"/>
                  <a:pt x="7840392" y="2282635"/>
                  <a:pt x="7841590" y="2284432"/>
                </a:cubicBezTo>
                <a:cubicBezTo>
                  <a:pt x="7842789" y="2286230"/>
                  <a:pt x="7842190" y="2287429"/>
                  <a:pt x="7838594" y="2292822"/>
                </a:cubicBezTo>
                <a:cubicBezTo>
                  <a:pt x="7834999" y="2298216"/>
                  <a:pt x="7837995" y="2298815"/>
                  <a:pt x="7839793" y="2297017"/>
                </a:cubicBezTo>
                <a:cubicBezTo>
                  <a:pt x="7842190" y="2295219"/>
                  <a:pt x="7842789" y="2293422"/>
                  <a:pt x="7842789" y="2296418"/>
                </a:cubicBezTo>
                <a:cubicBezTo>
                  <a:pt x="7842789" y="2298815"/>
                  <a:pt x="7842190" y="2303609"/>
                  <a:pt x="7840392" y="2310201"/>
                </a:cubicBezTo>
                <a:cubicBezTo>
                  <a:pt x="7839193" y="2317393"/>
                  <a:pt x="7843988" y="2328179"/>
                  <a:pt x="7845786" y="2332974"/>
                </a:cubicBezTo>
                <a:cubicBezTo>
                  <a:pt x="7847583" y="2337768"/>
                  <a:pt x="7843988" y="2334172"/>
                  <a:pt x="7839793" y="2331176"/>
                </a:cubicBezTo>
                <a:cubicBezTo>
                  <a:pt x="7835598" y="2328179"/>
                  <a:pt x="7837396" y="2327580"/>
                  <a:pt x="7837995" y="2323985"/>
                </a:cubicBezTo>
                <a:cubicBezTo>
                  <a:pt x="7838594" y="2320389"/>
                  <a:pt x="7835598" y="2316793"/>
                  <a:pt x="7832601" y="2316194"/>
                </a:cubicBezTo>
                <a:cubicBezTo>
                  <a:pt x="7830204" y="2315595"/>
                  <a:pt x="7831403" y="2319190"/>
                  <a:pt x="7831403" y="2322187"/>
                </a:cubicBezTo>
                <a:cubicBezTo>
                  <a:pt x="7831403" y="2325183"/>
                  <a:pt x="7830804" y="2327580"/>
                  <a:pt x="7830804" y="2334172"/>
                </a:cubicBezTo>
                <a:cubicBezTo>
                  <a:pt x="7830204" y="2340165"/>
                  <a:pt x="7833201" y="2341363"/>
                  <a:pt x="7837995" y="2342562"/>
                </a:cubicBezTo>
                <a:cubicBezTo>
                  <a:pt x="7842789" y="2343761"/>
                  <a:pt x="7842190" y="2356945"/>
                  <a:pt x="7842190" y="2360540"/>
                </a:cubicBezTo>
                <a:cubicBezTo>
                  <a:pt x="7842190" y="2364735"/>
                  <a:pt x="7843988" y="2381515"/>
                  <a:pt x="7847583" y="2387507"/>
                </a:cubicBezTo>
                <a:cubicBezTo>
                  <a:pt x="7851779" y="2392901"/>
                  <a:pt x="7849980" y="2400692"/>
                  <a:pt x="7849381" y="2406085"/>
                </a:cubicBezTo>
                <a:cubicBezTo>
                  <a:pt x="7848782" y="2411478"/>
                  <a:pt x="7848782" y="2418070"/>
                  <a:pt x="7845786" y="2425262"/>
                </a:cubicBezTo>
                <a:cubicBezTo>
                  <a:pt x="7844587" y="2428858"/>
                  <a:pt x="7845186" y="2431255"/>
                  <a:pt x="7846385" y="2432453"/>
                </a:cubicBezTo>
                <a:cubicBezTo>
                  <a:pt x="7847583" y="2434251"/>
                  <a:pt x="7848182" y="2431854"/>
                  <a:pt x="7851179" y="2431255"/>
                </a:cubicBezTo>
                <a:cubicBezTo>
                  <a:pt x="7854175" y="2430655"/>
                  <a:pt x="7855374" y="2432453"/>
                  <a:pt x="7859569" y="2435449"/>
                </a:cubicBezTo>
                <a:cubicBezTo>
                  <a:pt x="7863764" y="2437847"/>
                  <a:pt x="7867959" y="2437847"/>
                  <a:pt x="7869757" y="2436049"/>
                </a:cubicBezTo>
                <a:cubicBezTo>
                  <a:pt x="7871554" y="2434251"/>
                  <a:pt x="7872753" y="2431854"/>
                  <a:pt x="7875750" y="2431854"/>
                </a:cubicBezTo>
                <a:cubicBezTo>
                  <a:pt x="7878746" y="2431854"/>
                  <a:pt x="7879944" y="2430655"/>
                  <a:pt x="7881142" y="2432453"/>
                </a:cubicBezTo>
                <a:cubicBezTo>
                  <a:pt x="7882341" y="2434850"/>
                  <a:pt x="7881742" y="2434850"/>
                  <a:pt x="7884139" y="2434251"/>
                </a:cubicBezTo>
                <a:cubicBezTo>
                  <a:pt x="7886536" y="2433652"/>
                  <a:pt x="7887135" y="2433052"/>
                  <a:pt x="7889532" y="2433052"/>
                </a:cubicBezTo>
                <a:cubicBezTo>
                  <a:pt x="7891930" y="2433052"/>
                  <a:pt x="7894327" y="2433652"/>
                  <a:pt x="7897323" y="2432453"/>
                </a:cubicBezTo>
                <a:cubicBezTo>
                  <a:pt x="7900320" y="2431255"/>
                  <a:pt x="7904514" y="2431255"/>
                  <a:pt x="7909309" y="2430655"/>
                </a:cubicBezTo>
                <a:cubicBezTo>
                  <a:pt x="7914102" y="2430056"/>
                  <a:pt x="7914702" y="2427659"/>
                  <a:pt x="7912904" y="2424663"/>
                </a:cubicBezTo>
                <a:cubicBezTo>
                  <a:pt x="7911106" y="2421666"/>
                  <a:pt x="7915301" y="2422265"/>
                  <a:pt x="7918298" y="2424063"/>
                </a:cubicBezTo>
                <a:cubicBezTo>
                  <a:pt x="7921893" y="2426460"/>
                  <a:pt x="7928485" y="2427060"/>
                  <a:pt x="7935077" y="2424663"/>
                </a:cubicBezTo>
                <a:cubicBezTo>
                  <a:pt x="7942269" y="2422265"/>
                  <a:pt x="7943467" y="2424063"/>
                  <a:pt x="7946463" y="2425262"/>
                </a:cubicBezTo>
                <a:cubicBezTo>
                  <a:pt x="7948861" y="2426460"/>
                  <a:pt x="7948861" y="2427659"/>
                  <a:pt x="7954853" y="2425861"/>
                </a:cubicBezTo>
                <a:cubicBezTo>
                  <a:pt x="7960247" y="2424663"/>
                  <a:pt x="7964442" y="2428258"/>
                  <a:pt x="7966839" y="2431255"/>
                </a:cubicBezTo>
                <a:cubicBezTo>
                  <a:pt x="7969236" y="2434251"/>
                  <a:pt x="7972832" y="2436049"/>
                  <a:pt x="7975229" y="2439644"/>
                </a:cubicBezTo>
                <a:cubicBezTo>
                  <a:pt x="7977626" y="2443240"/>
                  <a:pt x="7971633" y="2439644"/>
                  <a:pt x="7965041" y="2435449"/>
                </a:cubicBezTo>
                <a:cubicBezTo>
                  <a:pt x="7957850" y="2431255"/>
                  <a:pt x="7960247" y="2434850"/>
                  <a:pt x="7962644" y="2437847"/>
                </a:cubicBezTo>
                <a:cubicBezTo>
                  <a:pt x="7965041" y="2440843"/>
                  <a:pt x="7962644" y="2441442"/>
                  <a:pt x="7960247" y="2441442"/>
                </a:cubicBezTo>
                <a:cubicBezTo>
                  <a:pt x="7957850" y="2441442"/>
                  <a:pt x="7959648" y="2442041"/>
                  <a:pt x="7964442" y="2446836"/>
                </a:cubicBezTo>
                <a:cubicBezTo>
                  <a:pt x="7968637" y="2451031"/>
                  <a:pt x="7976427" y="2454027"/>
                  <a:pt x="7981222" y="2455226"/>
                </a:cubicBezTo>
                <a:cubicBezTo>
                  <a:pt x="7986615" y="2457023"/>
                  <a:pt x="7985416" y="2453428"/>
                  <a:pt x="7983019" y="2450431"/>
                </a:cubicBezTo>
                <a:cubicBezTo>
                  <a:pt x="7980622" y="2447435"/>
                  <a:pt x="7979423" y="2448034"/>
                  <a:pt x="7983619" y="2448034"/>
                </a:cubicBezTo>
                <a:cubicBezTo>
                  <a:pt x="7987813" y="2448034"/>
                  <a:pt x="7990810" y="2450431"/>
                  <a:pt x="7995604" y="2455226"/>
                </a:cubicBezTo>
                <a:cubicBezTo>
                  <a:pt x="7996803" y="2456424"/>
                  <a:pt x="7998001" y="2457623"/>
                  <a:pt x="7998601" y="2458821"/>
                </a:cubicBezTo>
                <a:cubicBezTo>
                  <a:pt x="7999799" y="2461218"/>
                  <a:pt x="7998601" y="2461818"/>
                  <a:pt x="7996203" y="2464814"/>
                </a:cubicBezTo>
                <a:cubicBezTo>
                  <a:pt x="7993207" y="2469009"/>
                  <a:pt x="7995604" y="2471406"/>
                  <a:pt x="7998601" y="2473803"/>
                </a:cubicBezTo>
                <a:cubicBezTo>
                  <a:pt x="8002196" y="2476200"/>
                  <a:pt x="8002795" y="2485189"/>
                  <a:pt x="8002795" y="2488785"/>
                </a:cubicBezTo>
                <a:cubicBezTo>
                  <a:pt x="8002196" y="2492980"/>
                  <a:pt x="8000398" y="2509760"/>
                  <a:pt x="8001597" y="2515752"/>
                </a:cubicBezTo>
                <a:cubicBezTo>
                  <a:pt x="8002196" y="2521146"/>
                  <a:pt x="8000997" y="2522344"/>
                  <a:pt x="8003394" y="2524741"/>
                </a:cubicBezTo>
                <a:cubicBezTo>
                  <a:pt x="8005792" y="2527138"/>
                  <a:pt x="8007590" y="2531333"/>
                  <a:pt x="8007590" y="2542120"/>
                </a:cubicBezTo>
                <a:cubicBezTo>
                  <a:pt x="8006990" y="2552907"/>
                  <a:pt x="8009986" y="2557102"/>
                  <a:pt x="8012384" y="2560098"/>
                </a:cubicBezTo>
                <a:cubicBezTo>
                  <a:pt x="8014781" y="2563095"/>
                  <a:pt x="8016579" y="2569687"/>
                  <a:pt x="8012983" y="2570286"/>
                </a:cubicBezTo>
                <a:cubicBezTo>
                  <a:pt x="8009986" y="2570885"/>
                  <a:pt x="8010586" y="2564293"/>
                  <a:pt x="8009387" y="2561297"/>
                </a:cubicBezTo>
                <a:cubicBezTo>
                  <a:pt x="8008189" y="2558301"/>
                  <a:pt x="8003394" y="2549911"/>
                  <a:pt x="8002196" y="2551709"/>
                </a:cubicBezTo>
                <a:cubicBezTo>
                  <a:pt x="8001597" y="2553506"/>
                  <a:pt x="8002196" y="2555903"/>
                  <a:pt x="8004593" y="2559499"/>
                </a:cubicBezTo>
                <a:cubicBezTo>
                  <a:pt x="8006990" y="2563095"/>
                  <a:pt x="8008189" y="2567889"/>
                  <a:pt x="8006990" y="2571485"/>
                </a:cubicBezTo>
                <a:cubicBezTo>
                  <a:pt x="8005792" y="2574481"/>
                  <a:pt x="8006990" y="2575080"/>
                  <a:pt x="8009986" y="2575680"/>
                </a:cubicBezTo>
                <a:cubicBezTo>
                  <a:pt x="8012983" y="2576279"/>
                  <a:pt x="8012983" y="2576279"/>
                  <a:pt x="8014182" y="2581073"/>
                </a:cubicBezTo>
                <a:cubicBezTo>
                  <a:pt x="8015380" y="2585867"/>
                  <a:pt x="8010586" y="2591261"/>
                  <a:pt x="8015380" y="2592459"/>
                </a:cubicBezTo>
                <a:cubicBezTo>
                  <a:pt x="8020174" y="2593658"/>
                  <a:pt x="8019575" y="2604445"/>
                  <a:pt x="8015979" y="2613434"/>
                </a:cubicBezTo>
                <a:cubicBezTo>
                  <a:pt x="8014182" y="2618827"/>
                  <a:pt x="8016579" y="2623022"/>
                  <a:pt x="8018975" y="2624820"/>
                </a:cubicBezTo>
                <a:lnTo>
                  <a:pt x="8020174" y="2625419"/>
                </a:lnTo>
                <a:cubicBezTo>
                  <a:pt x="8020174" y="2625419"/>
                  <a:pt x="8020174" y="2625419"/>
                  <a:pt x="8020174" y="2625419"/>
                </a:cubicBezTo>
                <a:cubicBezTo>
                  <a:pt x="8021373" y="2626618"/>
                  <a:pt x="8022572" y="2626618"/>
                  <a:pt x="8022572" y="2626618"/>
                </a:cubicBezTo>
                <a:cubicBezTo>
                  <a:pt x="8026167" y="2629614"/>
                  <a:pt x="8029763" y="2636206"/>
                  <a:pt x="8029763" y="2641600"/>
                </a:cubicBezTo>
                <a:cubicBezTo>
                  <a:pt x="8029763" y="2646993"/>
                  <a:pt x="8041149" y="2654784"/>
                  <a:pt x="8042347" y="2660776"/>
                </a:cubicBezTo>
                <a:cubicBezTo>
                  <a:pt x="8043546" y="2666170"/>
                  <a:pt x="8054932" y="2672762"/>
                  <a:pt x="8056131" y="2676358"/>
                </a:cubicBezTo>
                <a:cubicBezTo>
                  <a:pt x="8057329" y="2679953"/>
                  <a:pt x="8059127" y="2681751"/>
                  <a:pt x="8063322" y="2685347"/>
                </a:cubicBezTo>
                <a:cubicBezTo>
                  <a:pt x="8067517" y="2689542"/>
                  <a:pt x="8068715" y="2694935"/>
                  <a:pt x="8067517" y="2700928"/>
                </a:cubicBezTo>
                <a:cubicBezTo>
                  <a:pt x="8066318" y="2706921"/>
                  <a:pt x="8073510" y="2708119"/>
                  <a:pt x="8077705" y="2706921"/>
                </a:cubicBezTo>
                <a:cubicBezTo>
                  <a:pt x="8081899" y="2706321"/>
                  <a:pt x="8081899" y="2705722"/>
                  <a:pt x="8078304" y="2701527"/>
                </a:cubicBezTo>
                <a:cubicBezTo>
                  <a:pt x="8075307" y="2697332"/>
                  <a:pt x="8078304" y="2699130"/>
                  <a:pt x="8080701" y="2699729"/>
                </a:cubicBezTo>
                <a:cubicBezTo>
                  <a:pt x="8083098" y="2700329"/>
                  <a:pt x="8084896" y="2698531"/>
                  <a:pt x="8086095" y="2705722"/>
                </a:cubicBezTo>
                <a:cubicBezTo>
                  <a:pt x="8087293" y="2712913"/>
                  <a:pt x="8096881" y="2709917"/>
                  <a:pt x="8104672" y="2708119"/>
                </a:cubicBezTo>
                <a:cubicBezTo>
                  <a:pt x="8112463" y="2706321"/>
                  <a:pt x="8108867" y="2704524"/>
                  <a:pt x="8110665" y="2700329"/>
                </a:cubicBezTo>
                <a:cubicBezTo>
                  <a:pt x="8112463" y="2696134"/>
                  <a:pt x="8116058" y="2695534"/>
                  <a:pt x="8119055" y="2690740"/>
                </a:cubicBezTo>
                <a:cubicBezTo>
                  <a:pt x="8122051" y="2685946"/>
                  <a:pt x="8123249" y="2684747"/>
                  <a:pt x="8126246" y="2684747"/>
                </a:cubicBezTo>
                <a:cubicBezTo>
                  <a:pt x="8129242" y="2684747"/>
                  <a:pt x="8128643" y="2691339"/>
                  <a:pt x="8126845" y="2697931"/>
                </a:cubicBezTo>
                <a:cubicBezTo>
                  <a:pt x="8125047" y="2704524"/>
                  <a:pt x="8128044" y="2702126"/>
                  <a:pt x="8131040" y="2699729"/>
                </a:cubicBezTo>
                <a:cubicBezTo>
                  <a:pt x="8133437" y="2697332"/>
                  <a:pt x="8134636" y="2688343"/>
                  <a:pt x="8133437" y="2684148"/>
                </a:cubicBezTo>
                <a:cubicBezTo>
                  <a:pt x="8132238" y="2679953"/>
                  <a:pt x="8131040" y="2674560"/>
                  <a:pt x="8131040" y="2670964"/>
                </a:cubicBezTo>
                <a:cubicBezTo>
                  <a:pt x="8131040" y="2666769"/>
                  <a:pt x="8135235" y="2667968"/>
                  <a:pt x="8137632" y="2668567"/>
                </a:cubicBezTo>
                <a:cubicBezTo>
                  <a:pt x="8140029" y="2669166"/>
                  <a:pt x="8146621" y="2670365"/>
                  <a:pt x="8152015" y="2669166"/>
                </a:cubicBezTo>
                <a:cubicBezTo>
                  <a:pt x="8161004" y="2667368"/>
                  <a:pt x="8158607" y="2669166"/>
                  <a:pt x="8152015" y="2673361"/>
                </a:cubicBezTo>
                <a:cubicBezTo>
                  <a:pt x="8145423" y="2677556"/>
                  <a:pt x="8152614" y="2678155"/>
                  <a:pt x="8157408" y="2677556"/>
                </a:cubicBezTo>
                <a:cubicBezTo>
                  <a:pt x="8162801" y="2676957"/>
                  <a:pt x="8164000" y="2675758"/>
                  <a:pt x="8167596" y="2675758"/>
                </a:cubicBezTo>
                <a:cubicBezTo>
                  <a:pt x="8171191" y="2675758"/>
                  <a:pt x="8182578" y="2682950"/>
                  <a:pt x="8181978" y="2685347"/>
                </a:cubicBezTo>
                <a:cubicBezTo>
                  <a:pt x="8181379" y="2687744"/>
                  <a:pt x="8181978" y="2689542"/>
                  <a:pt x="8186173" y="2690740"/>
                </a:cubicBezTo>
                <a:cubicBezTo>
                  <a:pt x="8190368" y="2691939"/>
                  <a:pt x="8193365" y="2699130"/>
                  <a:pt x="8196361" y="2701527"/>
                </a:cubicBezTo>
                <a:cubicBezTo>
                  <a:pt x="8197559" y="2702726"/>
                  <a:pt x="8199957" y="2705123"/>
                  <a:pt x="8202354" y="2707520"/>
                </a:cubicBezTo>
                <a:cubicBezTo>
                  <a:pt x="8202354" y="2706921"/>
                  <a:pt x="8202354" y="2706921"/>
                  <a:pt x="8202354" y="2706921"/>
                </a:cubicBezTo>
                <a:cubicBezTo>
                  <a:pt x="8204151" y="2708718"/>
                  <a:pt x="8205949" y="2711715"/>
                  <a:pt x="8207148" y="2714711"/>
                </a:cubicBezTo>
                <a:cubicBezTo>
                  <a:pt x="8210743" y="2724899"/>
                  <a:pt x="8219732" y="2727296"/>
                  <a:pt x="8219732" y="2734487"/>
                </a:cubicBezTo>
                <a:cubicBezTo>
                  <a:pt x="8219732" y="2738682"/>
                  <a:pt x="8217935" y="2745274"/>
                  <a:pt x="8221530" y="2744075"/>
                </a:cubicBezTo>
                <a:cubicBezTo>
                  <a:pt x="8225126" y="2742877"/>
                  <a:pt x="8225725" y="2736285"/>
                  <a:pt x="8225126" y="2729094"/>
                </a:cubicBezTo>
                <a:cubicBezTo>
                  <a:pt x="8224527" y="2721902"/>
                  <a:pt x="8220332" y="2719505"/>
                  <a:pt x="8216736" y="2717108"/>
                </a:cubicBezTo>
                <a:cubicBezTo>
                  <a:pt x="8213140" y="2714711"/>
                  <a:pt x="8215538" y="2712913"/>
                  <a:pt x="8216736" y="2709917"/>
                </a:cubicBezTo>
                <a:cubicBezTo>
                  <a:pt x="8217935" y="2706921"/>
                  <a:pt x="8220931" y="2700329"/>
                  <a:pt x="8223928" y="2697931"/>
                </a:cubicBezTo>
                <a:cubicBezTo>
                  <a:pt x="8226325" y="2695534"/>
                  <a:pt x="8227523" y="2691339"/>
                  <a:pt x="8229920" y="2685946"/>
                </a:cubicBezTo>
                <a:cubicBezTo>
                  <a:pt x="8232318" y="2680553"/>
                  <a:pt x="8234115" y="2679354"/>
                  <a:pt x="8235314" y="2681751"/>
                </a:cubicBezTo>
                <a:cubicBezTo>
                  <a:pt x="8236512" y="2684148"/>
                  <a:pt x="8236512" y="2684747"/>
                  <a:pt x="8241906" y="2681751"/>
                </a:cubicBezTo>
                <a:cubicBezTo>
                  <a:pt x="8247299" y="2678755"/>
                  <a:pt x="8243104" y="2676358"/>
                  <a:pt x="8239509" y="2674560"/>
                </a:cubicBezTo>
                <a:cubicBezTo>
                  <a:pt x="8235913" y="2672762"/>
                  <a:pt x="8237111" y="2670365"/>
                  <a:pt x="8240108" y="2669166"/>
                </a:cubicBezTo>
                <a:cubicBezTo>
                  <a:pt x="8243104" y="2667968"/>
                  <a:pt x="8243104" y="2661975"/>
                  <a:pt x="8244303" y="2655982"/>
                </a:cubicBezTo>
                <a:cubicBezTo>
                  <a:pt x="8244902" y="2650589"/>
                  <a:pt x="8241906" y="2649390"/>
                  <a:pt x="8238909" y="2649390"/>
                </a:cubicBezTo>
                <a:cubicBezTo>
                  <a:pt x="8235314" y="2649390"/>
                  <a:pt x="8237111" y="2645795"/>
                  <a:pt x="8236512" y="2642199"/>
                </a:cubicBezTo>
                <a:cubicBezTo>
                  <a:pt x="8235913" y="2638004"/>
                  <a:pt x="8237710" y="2638004"/>
                  <a:pt x="8239509" y="2630213"/>
                </a:cubicBezTo>
                <a:cubicBezTo>
                  <a:pt x="8241307" y="2621824"/>
                  <a:pt x="8243703" y="2618228"/>
                  <a:pt x="8247899" y="2613434"/>
                </a:cubicBezTo>
                <a:cubicBezTo>
                  <a:pt x="8252093" y="2608040"/>
                  <a:pt x="8252692" y="2611037"/>
                  <a:pt x="8256288" y="2612235"/>
                </a:cubicBezTo>
                <a:cubicBezTo>
                  <a:pt x="8260483" y="2612835"/>
                  <a:pt x="8258685" y="2613434"/>
                  <a:pt x="8258685" y="2617629"/>
                </a:cubicBezTo>
                <a:cubicBezTo>
                  <a:pt x="8258086" y="2621824"/>
                  <a:pt x="8259285" y="2622423"/>
                  <a:pt x="8261082" y="2622423"/>
                </a:cubicBezTo>
                <a:cubicBezTo>
                  <a:pt x="8262880" y="2622423"/>
                  <a:pt x="8263479" y="2620026"/>
                  <a:pt x="8266476" y="2610437"/>
                </a:cubicBezTo>
                <a:cubicBezTo>
                  <a:pt x="8269472" y="2600849"/>
                  <a:pt x="8271869" y="2603246"/>
                  <a:pt x="8282656" y="2600250"/>
                </a:cubicBezTo>
                <a:cubicBezTo>
                  <a:pt x="8292844" y="2597253"/>
                  <a:pt x="8294641" y="2588264"/>
                  <a:pt x="8297638" y="2582871"/>
                </a:cubicBezTo>
                <a:cubicBezTo>
                  <a:pt x="8300634" y="2577477"/>
                  <a:pt x="8303631" y="2573882"/>
                  <a:pt x="8306028" y="2572084"/>
                </a:cubicBezTo>
                <a:cubicBezTo>
                  <a:pt x="8308425" y="2570286"/>
                  <a:pt x="8309623" y="2561297"/>
                  <a:pt x="8305429" y="2557102"/>
                </a:cubicBezTo>
                <a:cubicBezTo>
                  <a:pt x="8301234" y="2552907"/>
                  <a:pt x="8301833" y="2552308"/>
                  <a:pt x="8306028" y="2551709"/>
                </a:cubicBezTo>
                <a:cubicBezTo>
                  <a:pt x="8310223" y="2551109"/>
                  <a:pt x="8308425" y="2551109"/>
                  <a:pt x="8312021" y="2554106"/>
                </a:cubicBezTo>
                <a:cubicBezTo>
                  <a:pt x="8315616" y="2556503"/>
                  <a:pt x="8315616" y="2556503"/>
                  <a:pt x="8317414" y="2554705"/>
                </a:cubicBezTo>
                <a:cubicBezTo>
                  <a:pt x="8319811" y="2552907"/>
                  <a:pt x="8320411" y="2550510"/>
                  <a:pt x="8320411" y="2547514"/>
                </a:cubicBezTo>
                <a:cubicBezTo>
                  <a:pt x="8320411" y="2543918"/>
                  <a:pt x="8320411" y="2543319"/>
                  <a:pt x="8322808" y="2543319"/>
                </a:cubicBezTo>
                <a:cubicBezTo>
                  <a:pt x="8325205" y="2543319"/>
                  <a:pt x="8328201" y="2548712"/>
                  <a:pt x="8331797" y="2552907"/>
                </a:cubicBezTo>
                <a:cubicBezTo>
                  <a:pt x="8335991" y="2557102"/>
                  <a:pt x="8335991" y="2563095"/>
                  <a:pt x="8332995" y="2566091"/>
                </a:cubicBezTo>
                <a:cubicBezTo>
                  <a:pt x="8329999" y="2569088"/>
                  <a:pt x="8332396" y="2569088"/>
                  <a:pt x="8324006" y="2578077"/>
                </a:cubicBezTo>
                <a:cubicBezTo>
                  <a:pt x="8315616" y="2587066"/>
                  <a:pt x="8321609" y="2594856"/>
                  <a:pt x="8324605" y="2600849"/>
                </a:cubicBezTo>
                <a:cubicBezTo>
                  <a:pt x="8328201" y="2606842"/>
                  <a:pt x="8328800" y="2609838"/>
                  <a:pt x="8325804" y="2609239"/>
                </a:cubicBezTo>
                <a:cubicBezTo>
                  <a:pt x="8323407" y="2608640"/>
                  <a:pt x="8325205" y="2611636"/>
                  <a:pt x="8325205" y="2611636"/>
                </a:cubicBezTo>
                <a:cubicBezTo>
                  <a:pt x="8325205" y="2611636"/>
                  <a:pt x="8326403" y="2612835"/>
                  <a:pt x="8329400" y="2614033"/>
                </a:cubicBezTo>
                <a:cubicBezTo>
                  <a:pt x="8332396" y="2617629"/>
                  <a:pt x="8330598" y="2626019"/>
                  <a:pt x="8330598" y="2626019"/>
                </a:cubicBezTo>
                <a:cubicBezTo>
                  <a:pt x="8330598" y="2630813"/>
                  <a:pt x="8329999" y="2634408"/>
                  <a:pt x="8328800" y="2636206"/>
                </a:cubicBezTo>
                <a:cubicBezTo>
                  <a:pt x="8327601" y="2638004"/>
                  <a:pt x="8326403" y="2642199"/>
                  <a:pt x="8326403" y="2642199"/>
                </a:cubicBezTo>
                <a:cubicBezTo>
                  <a:pt x="8326403" y="2642199"/>
                  <a:pt x="8319212" y="2654184"/>
                  <a:pt x="8330598" y="2663173"/>
                </a:cubicBezTo>
                <a:cubicBezTo>
                  <a:pt x="8342583" y="2671563"/>
                  <a:pt x="8337190" y="2673361"/>
                  <a:pt x="8335991" y="2676358"/>
                </a:cubicBezTo>
                <a:cubicBezTo>
                  <a:pt x="8335392" y="2678755"/>
                  <a:pt x="8336591" y="2684747"/>
                  <a:pt x="8343183" y="2684747"/>
                </a:cubicBezTo>
                <a:cubicBezTo>
                  <a:pt x="8349176" y="2684747"/>
                  <a:pt x="8355169" y="2682350"/>
                  <a:pt x="8355768" y="2675758"/>
                </a:cubicBezTo>
                <a:cubicBezTo>
                  <a:pt x="8356367" y="2668567"/>
                  <a:pt x="8354569" y="2651787"/>
                  <a:pt x="8351572" y="2646394"/>
                </a:cubicBezTo>
                <a:cubicBezTo>
                  <a:pt x="8348576" y="2641000"/>
                  <a:pt x="8340187" y="2630213"/>
                  <a:pt x="8338389" y="2626019"/>
                </a:cubicBezTo>
                <a:cubicBezTo>
                  <a:pt x="8338389" y="2626019"/>
                  <a:pt x="8335991" y="2619427"/>
                  <a:pt x="8335991" y="2615831"/>
                </a:cubicBezTo>
                <a:cubicBezTo>
                  <a:pt x="8336591" y="2614632"/>
                  <a:pt x="8335991" y="2611037"/>
                  <a:pt x="8336591" y="2608640"/>
                </a:cubicBezTo>
                <a:cubicBezTo>
                  <a:pt x="8337190" y="2604445"/>
                  <a:pt x="8337790" y="2605643"/>
                  <a:pt x="8340786" y="2604445"/>
                </a:cubicBezTo>
                <a:cubicBezTo>
                  <a:pt x="8343183" y="2603845"/>
                  <a:pt x="8345580" y="2602647"/>
                  <a:pt x="8347977" y="2600849"/>
                </a:cubicBezTo>
                <a:cubicBezTo>
                  <a:pt x="8350374" y="2599051"/>
                  <a:pt x="8350374" y="2599051"/>
                  <a:pt x="8357565" y="2593059"/>
                </a:cubicBezTo>
                <a:cubicBezTo>
                  <a:pt x="8364757" y="2587066"/>
                  <a:pt x="8364757" y="2589463"/>
                  <a:pt x="8362959" y="2584669"/>
                </a:cubicBezTo>
                <a:cubicBezTo>
                  <a:pt x="8361161" y="2579874"/>
                  <a:pt x="8362360" y="2581672"/>
                  <a:pt x="8368952" y="2582272"/>
                </a:cubicBezTo>
                <a:cubicBezTo>
                  <a:pt x="8375543" y="2582871"/>
                  <a:pt x="8373746" y="2580474"/>
                  <a:pt x="8370750" y="2578077"/>
                </a:cubicBezTo>
                <a:cubicBezTo>
                  <a:pt x="8367753" y="2575680"/>
                  <a:pt x="8365356" y="2573882"/>
                  <a:pt x="8361761" y="2575680"/>
                </a:cubicBezTo>
                <a:cubicBezTo>
                  <a:pt x="8358165" y="2577477"/>
                  <a:pt x="8358764" y="2576279"/>
                  <a:pt x="8356367" y="2572683"/>
                </a:cubicBezTo>
                <a:cubicBezTo>
                  <a:pt x="8353970" y="2568488"/>
                  <a:pt x="8352172" y="2566691"/>
                  <a:pt x="8355169" y="2558301"/>
                </a:cubicBezTo>
                <a:cubicBezTo>
                  <a:pt x="8357565" y="2549911"/>
                  <a:pt x="8359962" y="2549911"/>
                  <a:pt x="8364757" y="2549911"/>
                </a:cubicBezTo>
                <a:cubicBezTo>
                  <a:pt x="8369551" y="2550510"/>
                  <a:pt x="8375543" y="2561896"/>
                  <a:pt x="8375543" y="2572683"/>
                </a:cubicBezTo>
                <a:cubicBezTo>
                  <a:pt x="8375543" y="2583470"/>
                  <a:pt x="8380338" y="2585268"/>
                  <a:pt x="8385732" y="2584669"/>
                </a:cubicBezTo>
                <a:cubicBezTo>
                  <a:pt x="8391125" y="2584069"/>
                  <a:pt x="8399514" y="2582871"/>
                  <a:pt x="8406107" y="2591860"/>
                </a:cubicBezTo>
                <a:cubicBezTo>
                  <a:pt x="8417492" y="2607441"/>
                  <a:pt x="8413897" y="2604445"/>
                  <a:pt x="8416893" y="2614632"/>
                </a:cubicBezTo>
                <a:cubicBezTo>
                  <a:pt x="8419890" y="2624820"/>
                  <a:pt x="8427081" y="2624221"/>
                  <a:pt x="8430078" y="2623022"/>
                </a:cubicBezTo>
                <a:cubicBezTo>
                  <a:pt x="8433074" y="2622423"/>
                  <a:pt x="8442063" y="2618228"/>
                  <a:pt x="8446857" y="2617629"/>
                </a:cubicBezTo>
                <a:cubicBezTo>
                  <a:pt x="8451651" y="2617030"/>
                  <a:pt x="8458243" y="2617030"/>
                  <a:pt x="8466633" y="2615232"/>
                </a:cubicBezTo>
                <a:cubicBezTo>
                  <a:pt x="8475023" y="2613434"/>
                  <a:pt x="8474423" y="2617629"/>
                  <a:pt x="8474423" y="2620625"/>
                </a:cubicBezTo>
                <a:cubicBezTo>
                  <a:pt x="8474423" y="2623622"/>
                  <a:pt x="8478020" y="2623022"/>
                  <a:pt x="8481615" y="2626019"/>
                </a:cubicBezTo>
                <a:cubicBezTo>
                  <a:pt x="8485211" y="2629015"/>
                  <a:pt x="8488207" y="2629614"/>
                  <a:pt x="8488806" y="2627816"/>
                </a:cubicBezTo>
                <a:cubicBezTo>
                  <a:pt x="8489405" y="2626019"/>
                  <a:pt x="8489405" y="2626019"/>
                  <a:pt x="8493601" y="2627816"/>
                </a:cubicBezTo>
                <a:cubicBezTo>
                  <a:pt x="8497795" y="2629614"/>
                  <a:pt x="8507383" y="2627217"/>
                  <a:pt x="8510980" y="2624820"/>
                </a:cubicBezTo>
                <a:cubicBezTo>
                  <a:pt x="8514575" y="2622423"/>
                  <a:pt x="8522965" y="2617030"/>
                  <a:pt x="8533152" y="2613434"/>
                </a:cubicBezTo>
                <a:cubicBezTo>
                  <a:pt x="8543340" y="2609838"/>
                  <a:pt x="8541542" y="2609838"/>
                  <a:pt x="8537347" y="2609239"/>
                </a:cubicBezTo>
                <a:cubicBezTo>
                  <a:pt x="8533152" y="2608640"/>
                  <a:pt x="8527759" y="2608640"/>
                  <a:pt x="8524763" y="2609838"/>
                </a:cubicBezTo>
                <a:cubicBezTo>
                  <a:pt x="8521766" y="2611636"/>
                  <a:pt x="8521167" y="2609239"/>
                  <a:pt x="8520568" y="2606242"/>
                </a:cubicBezTo>
                <a:cubicBezTo>
                  <a:pt x="8519969" y="2603246"/>
                  <a:pt x="8524763" y="2603845"/>
                  <a:pt x="8530755" y="2604445"/>
                </a:cubicBezTo>
                <a:cubicBezTo>
                  <a:pt x="8536149" y="2605044"/>
                  <a:pt x="8542142" y="2603246"/>
                  <a:pt x="8543940" y="2602048"/>
                </a:cubicBezTo>
                <a:cubicBezTo>
                  <a:pt x="8546336" y="2600849"/>
                  <a:pt x="8561918" y="2599051"/>
                  <a:pt x="8570307" y="2597253"/>
                </a:cubicBezTo>
                <a:cubicBezTo>
                  <a:pt x="8578697" y="2595456"/>
                  <a:pt x="8579896" y="2597853"/>
                  <a:pt x="8577499" y="2600849"/>
                </a:cubicBezTo>
                <a:cubicBezTo>
                  <a:pt x="8575102" y="2603845"/>
                  <a:pt x="8570307" y="2605044"/>
                  <a:pt x="8563715" y="2606242"/>
                </a:cubicBezTo>
                <a:cubicBezTo>
                  <a:pt x="8557123" y="2606842"/>
                  <a:pt x="8559521" y="2611636"/>
                  <a:pt x="8561918" y="2612835"/>
                </a:cubicBezTo>
                <a:cubicBezTo>
                  <a:pt x="8564314" y="2614033"/>
                  <a:pt x="8564314" y="2613434"/>
                  <a:pt x="8566113" y="2617629"/>
                </a:cubicBezTo>
                <a:cubicBezTo>
                  <a:pt x="8567911" y="2621824"/>
                  <a:pt x="8569708" y="2623022"/>
                  <a:pt x="8569708" y="2625419"/>
                </a:cubicBezTo>
                <a:cubicBezTo>
                  <a:pt x="8569708" y="2627816"/>
                  <a:pt x="8571506" y="2630813"/>
                  <a:pt x="8572105" y="2635607"/>
                </a:cubicBezTo>
                <a:cubicBezTo>
                  <a:pt x="8572704" y="2640401"/>
                  <a:pt x="8573903" y="2640401"/>
                  <a:pt x="8576300" y="2638004"/>
                </a:cubicBezTo>
                <a:cubicBezTo>
                  <a:pt x="8578697" y="2635607"/>
                  <a:pt x="8580495" y="2636805"/>
                  <a:pt x="8584091" y="2638603"/>
                </a:cubicBezTo>
                <a:cubicBezTo>
                  <a:pt x="8587686" y="2640401"/>
                  <a:pt x="8591282" y="2640401"/>
                  <a:pt x="8594878" y="2641000"/>
                </a:cubicBezTo>
                <a:cubicBezTo>
                  <a:pt x="8599073" y="2641600"/>
                  <a:pt x="8600271" y="2641600"/>
                  <a:pt x="8599672" y="2639203"/>
                </a:cubicBezTo>
                <a:cubicBezTo>
                  <a:pt x="8599073" y="2636805"/>
                  <a:pt x="8601470" y="2637405"/>
                  <a:pt x="8601470" y="2637405"/>
                </a:cubicBezTo>
                <a:cubicBezTo>
                  <a:pt x="8601470" y="2637405"/>
                  <a:pt x="8605664" y="2639802"/>
                  <a:pt x="8609860" y="2643398"/>
                </a:cubicBezTo>
                <a:cubicBezTo>
                  <a:pt x="8614054" y="2647593"/>
                  <a:pt x="8618249" y="2648192"/>
                  <a:pt x="8621845" y="2648791"/>
                </a:cubicBezTo>
                <a:cubicBezTo>
                  <a:pt x="8624842" y="2649390"/>
                  <a:pt x="8630235" y="2654184"/>
                  <a:pt x="8627838" y="2655982"/>
                </a:cubicBezTo>
                <a:cubicBezTo>
                  <a:pt x="8625441" y="2657780"/>
                  <a:pt x="8623643" y="2660776"/>
                  <a:pt x="8626040" y="2661975"/>
                </a:cubicBezTo>
                <a:cubicBezTo>
                  <a:pt x="8628437" y="2663173"/>
                  <a:pt x="8630235" y="2664971"/>
                  <a:pt x="8628437" y="2669766"/>
                </a:cubicBezTo>
                <a:cubicBezTo>
                  <a:pt x="8626040" y="2674560"/>
                  <a:pt x="8626639" y="2675159"/>
                  <a:pt x="8627838" y="2678155"/>
                </a:cubicBezTo>
                <a:cubicBezTo>
                  <a:pt x="8628437" y="2680553"/>
                  <a:pt x="8632033" y="2684148"/>
                  <a:pt x="8630235" y="2687144"/>
                </a:cubicBezTo>
                <a:cubicBezTo>
                  <a:pt x="8628437" y="2690141"/>
                  <a:pt x="8624842" y="2692538"/>
                  <a:pt x="8627838" y="2692538"/>
                </a:cubicBezTo>
                <a:cubicBezTo>
                  <a:pt x="8630235" y="2692538"/>
                  <a:pt x="8633231" y="2694336"/>
                  <a:pt x="8638625" y="2691339"/>
                </a:cubicBezTo>
                <a:cubicBezTo>
                  <a:pt x="8642820" y="2688942"/>
                  <a:pt x="8647614" y="2690740"/>
                  <a:pt x="8650610" y="2693137"/>
                </a:cubicBezTo>
                <a:cubicBezTo>
                  <a:pt x="8650610" y="2693137"/>
                  <a:pt x="8650610" y="2693137"/>
                  <a:pt x="8650610" y="2693737"/>
                </a:cubicBezTo>
                <a:cubicBezTo>
                  <a:pt x="8651209" y="2694336"/>
                  <a:pt x="8651809" y="2694935"/>
                  <a:pt x="8652408" y="2695534"/>
                </a:cubicBezTo>
                <a:cubicBezTo>
                  <a:pt x="8654805" y="2699130"/>
                  <a:pt x="8662596" y="2703924"/>
                  <a:pt x="8667390" y="2706921"/>
                </a:cubicBezTo>
                <a:cubicBezTo>
                  <a:pt x="8672184" y="2709318"/>
                  <a:pt x="8674581" y="2718307"/>
                  <a:pt x="8679975" y="2721902"/>
                </a:cubicBezTo>
                <a:cubicBezTo>
                  <a:pt x="8685368" y="2726097"/>
                  <a:pt x="8684769" y="2726097"/>
                  <a:pt x="8690162" y="2732689"/>
                </a:cubicBezTo>
                <a:cubicBezTo>
                  <a:pt x="8695556" y="2739881"/>
                  <a:pt x="8694357" y="2756660"/>
                  <a:pt x="8692559" y="2769844"/>
                </a:cubicBezTo>
                <a:cubicBezTo>
                  <a:pt x="8690762" y="2783028"/>
                  <a:pt x="8694956" y="2786624"/>
                  <a:pt x="8696755" y="2786624"/>
                </a:cubicBezTo>
                <a:cubicBezTo>
                  <a:pt x="8698552" y="2787223"/>
                  <a:pt x="8698552" y="2781231"/>
                  <a:pt x="8697953" y="2775837"/>
                </a:cubicBezTo>
                <a:cubicBezTo>
                  <a:pt x="8697354" y="2770444"/>
                  <a:pt x="8697354" y="2769245"/>
                  <a:pt x="8701548" y="2765649"/>
                </a:cubicBezTo>
                <a:cubicBezTo>
                  <a:pt x="8705744" y="2761455"/>
                  <a:pt x="8709938" y="2769245"/>
                  <a:pt x="8713534" y="2772241"/>
                </a:cubicBezTo>
                <a:cubicBezTo>
                  <a:pt x="8717129" y="2775238"/>
                  <a:pt x="8718927" y="2792617"/>
                  <a:pt x="8727317" y="2798010"/>
                </a:cubicBezTo>
                <a:cubicBezTo>
                  <a:pt x="8738104" y="2805201"/>
                  <a:pt x="8735108" y="2814790"/>
                  <a:pt x="8735108" y="2814191"/>
                </a:cubicBezTo>
                <a:cubicBezTo>
                  <a:pt x="8737505" y="2805801"/>
                  <a:pt x="8741100" y="2806999"/>
                  <a:pt x="8743497" y="2805801"/>
                </a:cubicBezTo>
                <a:cubicBezTo>
                  <a:pt x="8746494" y="2804003"/>
                  <a:pt x="8752487" y="2806400"/>
                  <a:pt x="8759078" y="2809996"/>
                </a:cubicBezTo>
                <a:cubicBezTo>
                  <a:pt x="8765671" y="2812992"/>
                  <a:pt x="8764472" y="2809996"/>
                  <a:pt x="8765671" y="2807599"/>
                </a:cubicBezTo>
                <a:cubicBezTo>
                  <a:pt x="8766869" y="2805201"/>
                  <a:pt x="8767468" y="2805201"/>
                  <a:pt x="8769866" y="2803404"/>
                </a:cubicBezTo>
                <a:cubicBezTo>
                  <a:pt x="8772263" y="2802205"/>
                  <a:pt x="8775858" y="2802804"/>
                  <a:pt x="8778256" y="2805801"/>
                </a:cubicBezTo>
                <a:cubicBezTo>
                  <a:pt x="8780653" y="2808198"/>
                  <a:pt x="8782450" y="2809996"/>
                  <a:pt x="8782450" y="2806400"/>
                </a:cubicBezTo>
                <a:cubicBezTo>
                  <a:pt x="8782450" y="2802804"/>
                  <a:pt x="8784848" y="2804003"/>
                  <a:pt x="8787844" y="2804602"/>
                </a:cubicBezTo>
                <a:cubicBezTo>
                  <a:pt x="8790840" y="2805201"/>
                  <a:pt x="8795035" y="2807599"/>
                  <a:pt x="8799829" y="2808797"/>
                </a:cubicBezTo>
                <a:cubicBezTo>
                  <a:pt x="8804624" y="2809396"/>
                  <a:pt x="8808818" y="2810595"/>
                  <a:pt x="8811815" y="2812992"/>
                </a:cubicBezTo>
                <a:cubicBezTo>
                  <a:pt x="8814212" y="2815389"/>
                  <a:pt x="8816009" y="2817187"/>
                  <a:pt x="8818407" y="2816588"/>
                </a:cubicBezTo>
                <a:cubicBezTo>
                  <a:pt x="8820804" y="2815988"/>
                  <a:pt x="8824999" y="2818985"/>
                  <a:pt x="8826797" y="2820783"/>
                </a:cubicBezTo>
                <a:cubicBezTo>
                  <a:pt x="8829194" y="2821981"/>
                  <a:pt x="8839381" y="2826775"/>
                  <a:pt x="8844775" y="2826775"/>
                </a:cubicBezTo>
                <a:cubicBezTo>
                  <a:pt x="8850169" y="2826775"/>
                  <a:pt x="8853764" y="2830970"/>
                  <a:pt x="8853764" y="2833967"/>
                </a:cubicBezTo>
                <a:cubicBezTo>
                  <a:pt x="8853764" y="2836963"/>
                  <a:pt x="8855562" y="2838162"/>
                  <a:pt x="8857360" y="2840559"/>
                </a:cubicBezTo>
                <a:cubicBezTo>
                  <a:pt x="8859158" y="2842956"/>
                  <a:pt x="8862753" y="2844154"/>
                  <a:pt x="8862154" y="2847151"/>
                </a:cubicBezTo>
                <a:cubicBezTo>
                  <a:pt x="8861555" y="2850147"/>
                  <a:pt x="8866948" y="2857338"/>
                  <a:pt x="8868746" y="2860335"/>
                </a:cubicBezTo>
                <a:cubicBezTo>
                  <a:pt x="8870544" y="2863331"/>
                  <a:pt x="8869345" y="2872320"/>
                  <a:pt x="8868147" y="2875317"/>
                </a:cubicBezTo>
                <a:cubicBezTo>
                  <a:pt x="8866948" y="2878912"/>
                  <a:pt x="8866948" y="2883706"/>
                  <a:pt x="8868746" y="2883706"/>
                </a:cubicBezTo>
                <a:cubicBezTo>
                  <a:pt x="8870544" y="2883706"/>
                  <a:pt x="8871742" y="2880710"/>
                  <a:pt x="8872941" y="2878313"/>
                </a:cubicBezTo>
                <a:cubicBezTo>
                  <a:pt x="8874140" y="2875916"/>
                  <a:pt x="8872941" y="2870522"/>
                  <a:pt x="8874140" y="2866328"/>
                </a:cubicBezTo>
                <a:cubicBezTo>
                  <a:pt x="8875338" y="2862133"/>
                  <a:pt x="8878933" y="2865728"/>
                  <a:pt x="8881330" y="2868725"/>
                </a:cubicBezTo>
                <a:cubicBezTo>
                  <a:pt x="8883728" y="2871721"/>
                  <a:pt x="8883129" y="2874118"/>
                  <a:pt x="8882529" y="2876515"/>
                </a:cubicBezTo>
                <a:cubicBezTo>
                  <a:pt x="8881930" y="2878912"/>
                  <a:pt x="8882529" y="2883107"/>
                  <a:pt x="8881330" y="2886703"/>
                </a:cubicBezTo>
                <a:cubicBezTo>
                  <a:pt x="8880132" y="2889699"/>
                  <a:pt x="8880132" y="2891497"/>
                  <a:pt x="8880731" y="2892096"/>
                </a:cubicBezTo>
                <a:lnTo>
                  <a:pt x="8880132" y="2892096"/>
                </a:lnTo>
                <a:cubicBezTo>
                  <a:pt x="8880132" y="2892096"/>
                  <a:pt x="8879533" y="2892696"/>
                  <a:pt x="8878334" y="2893894"/>
                </a:cubicBezTo>
                <a:lnTo>
                  <a:pt x="8881930" y="2892096"/>
                </a:lnTo>
                <a:cubicBezTo>
                  <a:pt x="8884327" y="2891497"/>
                  <a:pt x="8884327" y="2887901"/>
                  <a:pt x="8886125" y="2882508"/>
                </a:cubicBezTo>
                <a:cubicBezTo>
                  <a:pt x="8887323" y="2877114"/>
                  <a:pt x="8889121" y="2878313"/>
                  <a:pt x="8893316" y="2881908"/>
                </a:cubicBezTo>
                <a:cubicBezTo>
                  <a:pt x="8897511" y="2886103"/>
                  <a:pt x="8895713" y="2891497"/>
                  <a:pt x="8894515" y="2898089"/>
                </a:cubicBezTo>
                <a:cubicBezTo>
                  <a:pt x="8893915" y="2904681"/>
                  <a:pt x="8897511" y="2907677"/>
                  <a:pt x="8897511" y="2907677"/>
                </a:cubicBezTo>
                <a:cubicBezTo>
                  <a:pt x="8897511" y="2907677"/>
                  <a:pt x="8897511" y="2914869"/>
                  <a:pt x="8896911" y="2921461"/>
                </a:cubicBezTo>
                <a:cubicBezTo>
                  <a:pt x="8896312" y="2928053"/>
                  <a:pt x="8898110" y="2928652"/>
                  <a:pt x="8902305" y="2935244"/>
                </a:cubicBezTo>
                <a:cubicBezTo>
                  <a:pt x="8906500" y="2941836"/>
                  <a:pt x="8910695" y="2952623"/>
                  <a:pt x="8910695" y="2955020"/>
                </a:cubicBezTo>
                <a:cubicBezTo>
                  <a:pt x="8910695" y="2957417"/>
                  <a:pt x="8911294" y="2960413"/>
                  <a:pt x="8914890" y="2967005"/>
                </a:cubicBezTo>
                <a:cubicBezTo>
                  <a:pt x="8918486" y="2973598"/>
                  <a:pt x="8917287" y="2982587"/>
                  <a:pt x="8916089" y="2987381"/>
                </a:cubicBezTo>
                <a:cubicBezTo>
                  <a:pt x="8914890" y="2992175"/>
                  <a:pt x="8917886" y="2991576"/>
                  <a:pt x="8920882" y="2990377"/>
                </a:cubicBezTo>
                <a:cubicBezTo>
                  <a:pt x="8923879" y="2989778"/>
                  <a:pt x="8925078" y="2989778"/>
                  <a:pt x="8931071" y="2990377"/>
                </a:cubicBezTo>
                <a:cubicBezTo>
                  <a:pt x="8936464" y="2990976"/>
                  <a:pt x="8934067" y="2997568"/>
                  <a:pt x="8935265" y="3003561"/>
                </a:cubicBezTo>
                <a:cubicBezTo>
                  <a:pt x="8935864" y="3009554"/>
                  <a:pt x="8936464" y="3015547"/>
                  <a:pt x="8932269" y="3014947"/>
                </a:cubicBezTo>
                <a:cubicBezTo>
                  <a:pt x="8924479" y="3013150"/>
                  <a:pt x="8926875" y="3014947"/>
                  <a:pt x="8931670" y="3020341"/>
                </a:cubicBezTo>
                <a:cubicBezTo>
                  <a:pt x="8936464" y="3025734"/>
                  <a:pt x="8929272" y="3032326"/>
                  <a:pt x="8926276" y="3037121"/>
                </a:cubicBezTo>
                <a:cubicBezTo>
                  <a:pt x="8923280" y="3041915"/>
                  <a:pt x="8920283" y="3043712"/>
                  <a:pt x="8921482" y="3050305"/>
                </a:cubicBezTo>
                <a:cubicBezTo>
                  <a:pt x="8922681" y="3057496"/>
                  <a:pt x="8919085" y="3060492"/>
                  <a:pt x="8915490" y="3063489"/>
                </a:cubicBezTo>
                <a:cubicBezTo>
                  <a:pt x="8911893" y="3067084"/>
                  <a:pt x="8908298" y="3067683"/>
                  <a:pt x="8907699" y="3074875"/>
                </a:cubicBezTo>
                <a:cubicBezTo>
                  <a:pt x="8907100" y="3082066"/>
                  <a:pt x="8899309" y="3090456"/>
                  <a:pt x="8895713" y="3094052"/>
                </a:cubicBezTo>
                <a:cubicBezTo>
                  <a:pt x="8892717" y="3097647"/>
                  <a:pt x="8888522" y="3100643"/>
                  <a:pt x="8889720" y="3107236"/>
                </a:cubicBezTo>
                <a:cubicBezTo>
                  <a:pt x="8890919" y="3113828"/>
                  <a:pt x="8889121" y="3117423"/>
                  <a:pt x="8886724" y="3125214"/>
                </a:cubicBezTo>
                <a:cubicBezTo>
                  <a:pt x="8884327" y="3133004"/>
                  <a:pt x="8863951" y="3137799"/>
                  <a:pt x="8860955" y="3144990"/>
                </a:cubicBezTo>
                <a:cubicBezTo>
                  <a:pt x="8857959" y="3152181"/>
                  <a:pt x="8852566" y="3153380"/>
                  <a:pt x="8847172" y="3156975"/>
                </a:cubicBezTo>
                <a:cubicBezTo>
                  <a:pt x="8845374" y="3158174"/>
                  <a:pt x="8845374" y="3158773"/>
                  <a:pt x="8845973" y="3158773"/>
                </a:cubicBezTo>
                <a:lnTo>
                  <a:pt x="8846573" y="3158773"/>
                </a:lnTo>
                <a:cubicBezTo>
                  <a:pt x="8846573" y="3158773"/>
                  <a:pt x="8846573" y="3158773"/>
                  <a:pt x="8845973" y="3158773"/>
                </a:cubicBezTo>
                <a:cubicBezTo>
                  <a:pt x="8847771" y="3159372"/>
                  <a:pt x="8851966" y="3158773"/>
                  <a:pt x="8854363" y="3157575"/>
                </a:cubicBezTo>
                <a:cubicBezTo>
                  <a:pt x="8858559" y="3156376"/>
                  <a:pt x="8859757" y="3153380"/>
                  <a:pt x="8862753" y="3148585"/>
                </a:cubicBezTo>
                <a:cubicBezTo>
                  <a:pt x="8865750" y="3143791"/>
                  <a:pt x="8869345" y="3140795"/>
                  <a:pt x="8874140" y="3140196"/>
                </a:cubicBezTo>
                <a:cubicBezTo>
                  <a:pt x="8878933" y="3139596"/>
                  <a:pt x="8878334" y="3139596"/>
                  <a:pt x="8886724" y="3132405"/>
                </a:cubicBezTo>
                <a:cubicBezTo>
                  <a:pt x="8895114" y="3125214"/>
                  <a:pt x="8893915" y="3111430"/>
                  <a:pt x="8893915" y="3106037"/>
                </a:cubicBezTo>
                <a:cubicBezTo>
                  <a:pt x="8894515" y="3100643"/>
                  <a:pt x="8899309" y="3105438"/>
                  <a:pt x="8898110" y="3108434"/>
                </a:cubicBezTo>
                <a:cubicBezTo>
                  <a:pt x="8896911" y="3111430"/>
                  <a:pt x="8899908" y="3119221"/>
                  <a:pt x="8896911" y="3129409"/>
                </a:cubicBezTo>
                <a:cubicBezTo>
                  <a:pt x="8893316" y="3141994"/>
                  <a:pt x="8883129" y="3144390"/>
                  <a:pt x="8877136" y="3146189"/>
                </a:cubicBezTo>
                <a:cubicBezTo>
                  <a:pt x="8871143" y="3147986"/>
                  <a:pt x="8871742" y="3155777"/>
                  <a:pt x="8871742" y="3161769"/>
                </a:cubicBezTo>
                <a:cubicBezTo>
                  <a:pt x="8871742" y="3167762"/>
                  <a:pt x="8874140" y="3189336"/>
                  <a:pt x="8877136" y="3198325"/>
                </a:cubicBezTo>
                <a:cubicBezTo>
                  <a:pt x="8880132" y="3206715"/>
                  <a:pt x="8879533" y="3200722"/>
                  <a:pt x="8879533" y="3197127"/>
                </a:cubicBezTo>
                <a:cubicBezTo>
                  <a:pt x="8879533" y="3193531"/>
                  <a:pt x="8877136" y="3173755"/>
                  <a:pt x="8875338" y="3161769"/>
                </a:cubicBezTo>
                <a:cubicBezTo>
                  <a:pt x="8874140" y="3149784"/>
                  <a:pt x="8881330" y="3149784"/>
                  <a:pt x="8892118" y="3144390"/>
                </a:cubicBezTo>
                <a:cubicBezTo>
                  <a:pt x="8902904" y="3138997"/>
                  <a:pt x="8904103" y="3119820"/>
                  <a:pt x="8904702" y="3112629"/>
                </a:cubicBezTo>
                <a:cubicBezTo>
                  <a:pt x="8905301" y="3105438"/>
                  <a:pt x="8905301" y="3106037"/>
                  <a:pt x="8908897" y="3108434"/>
                </a:cubicBezTo>
                <a:cubicBezTo>
                  <a:pt x="8912493" y="3110831"/>
                  <a:pt x="8909497" y="3116824"/>
                  <a:pt x="8911294" y="3119221"/>
                </a:cubicBezTo>
                <a:cubicBezTo>
                  <a:pt x="8912493" y="3121618"/>
                  <a:pt x="8916688" y="3106636"/>
                  <a:pt x="8917287" y="3110831"/>
                </a:cubicBezTo>
                <a:cubicBezTo>
                  <a:pt x="8917886" y="3115026"/>
                  <a:pt x="8919684" y="3100643"/>
                  <a:pt x="8917287" y="3095849"/>
                </a:cubicBezTo>
                <a:cubicBezTo>
                  <a:pt x="8914890" y="3090456"/>
                  <a:pt x="8922681" y="3085662"/>
                  <a:pt x="8927475" y="3085063"/>
                </a:cubicBezTo>
                <a:cubicBezTo>
                  <a:pt x="8932269" y="3084463"/>
                  <a:pt x="8952045" y="3084463"/>
                  <a:pt x="8956240" y="3082665"/>
                </a:cubicBezTo>
                <a:cubicBezTo>
                  <a:pt x="8960435" y="3080868"/>
                  <a:pt x="8966428" y="3082066"/>
                  <a:pt x="8971222" y="3083265"/>
                </a:cubicBezTo>
                <a:cubicBezTo>
                  <a:pt x="8976615" y="3083864"/>
                  <a:pt x="8975417" y="3085063"/>
                  <a:pt x="8973619" y="3087459"/>
                </a:cubicBezTo>
                <a:cubicBezTo>
                  <a:pt x="8971821" y="3089857"/>
                  <a:pt x="8970622" y="3093452"/>
                  <a:pt x="8970023" y="3096448"/>
                </a:cubicBezTo>
                <a:cubicBezTo>
                  <a:pt x="8969424" y="3099445"/>
                  <a:pt x="8967626" y="3106636"/>
                  <a:pt x="8968824" y="3110232"/>
                </a:cubicBezTo>
                <a:cubicBezTo>
                  <a:pt x="8969424" y="3114427"/>
                  <a:pt x="8967027" y="3120419"/>
                  <a:pt x="8964031" y="3123416"/>
                </a:cubicBezTo>
                <a:cubicBezTo>
                  <a:pt x="8961034" y="3125813"/>
                  <a:pt x="8957439" y="3140196"/>
                  <a:pt x="8957439" y="3140196"/>
                </a:cubicBezTo>
                <a:cubicBezTo>
                  <a:pt x="8955041" y="3146189"/>
                  <a:pt x="8942457" y="3150383"/>
                  <a:pt x="8939461" y="3152181"/>
                </a:cubicBezTo>
                <a:cubicBezTo>
                  <a:pt x="8936464" y="3154578"/>
                  <a:pt x="8917287" y="3161170"/>
                  <a:pt x="8913092" y="3163567"/>
                </a:cubicBezTo>
                <a:cubicBezTo>
                  <a:pt x="8908897" y="3165964"/>
                  <a:pt x="8915490" y="3166564"/>
                  <a:pt x="8919684" y="3165964"/>
                </a:cubicBezTo>
                <a:cubicBezTo>
                  <a:pt x="8923879" y="3165365"/>
                  <a:pt x="8931071" y="3164766"/>
                  <a:pt x="8941258" y="3158773"/>
                </a:cubicBezTo>
                <a:cubicBezTo>
                  <a:pt x="8951446" y="3152780"/>
                  <a:pt x="8948450" y="3158174"/>
                  <a:pt x="8947251" y="3159972"/>
                </a:cubicBezTo>
                <a:cubicBezTo>
                  <a:pt x="8946652" y="3162369"/>
                  <a:pt x="8943056" y="3168361"/>
                  <a:pt x="8943056" y="3176751"/>
                </a:cubicBezTo>
                <a:cubicBezTo>
                  <a:pt x="8943056" y="3184542"/>
                  <a:pt x="8946052" y="3176152"/>
                  <a:pt x="8947251" y="3170759"/>
                </a:cubicBezTo>
                <a:cubicBezTo>
                  <a:pt x="8948450" y="3165365"/>
                  <a:pt x="8950846" y="3159372"/>
                  <a:pt x="8957439" y="3150983"/>
                </a:cubicBezTo>
                <a:cubicBezTo>
                  <a:pt x="8964031" y="3142593"/>
                  <a:pt x="8967027" y="3149784"/>
                  <a:pt x="8967027" y="3154578"/>
                </a:cubicBezTo>
                <a:cubicBezTo>
                  <a:pt x="8967027" y="3159372"/>
                  <a:pt x="8967626" y="3158773"/>
                  <a:pt x="8974218" y="3153979"/>
                </a:cubicBezTo>
                <a:cubicBezTo>
                  <a:pt x="8980810" y="3149784"/>
                  <a:pt x="8976615" y="3149185"/>
                  <a:pt x="8974817" y="3146788"/>
                </a:cubicBezTo>
                <a:cubicBezTo>
                  <a:pt x="8972421" y="3144390"/>
                  <a:pt x="8972421" y="3142593"/>
                  <a:pt x="8971222" y="3136001"/>
                </a:cubicBezTo>
                <a:cubicBezTo>
                  <a:pt x="8970023" y="3129409"/>
                  <a:pt x="8971821" y="3125813"/>
                  <a:pt x="8974817" y="3126412"/>
                </a:cubicBezTo>
                <a:cubicBezTo>
                  <a:pt x="8977214" y="3127012"/>
                  <a:pt x="8977214" y="3124015"/>
                  <a:pt x="8977214" y="3121618"/>
                </a:cubicBezTo>
                <a:cubicBezTo>
                  <a:pt x="8977813" y="3119221"/>
                  <a:pt x="8977214" y="3116225"/>
                  <a:pt x="8977813" y="3111430"/>
                </a:cubicBezTo>
                <a:cubicBezTo>
                  <a:pt x="8978413" y="3106037"/>
                  <a:pt x="8996392" y="3102441"/>
                  <a:pt x="9001185" y="3103041"/>
                </a:cubicBezTo>
                <a:cubicBezTo>
                  <a:pt x="9005980" y="3103640"/>
                  <a:pt x="9019163" y="3110232"/>
                  <a:pt x="9019163" y="3113828"/>
                </a:cubicBezTo>
                <a:cubicBezTo>
                  <a:pt x="9019763" y="3117423"/>
                  <a:pt x="9019763" y="3121019"/>
                  <a:pt x="9023359" y="3122817"/>
                </a:cubicBezTo>
                <a:cubicBezTo>
                  <a:pt x="9026954" y="3125214"/>
                  <a:pt x="9030550" y="3122218"/>
                  <a:pt x="9029951" y="3128210"/>
                </a:cubicBezTo>
                <a:cubicBezTo>
                  <a:pt x="9029352" y="3134203"/>
                  <a:pt x="9030550" y="3132405"/>
                  <a:pt x="9037741" y="3130008"/>
                </a:cubicBezTo>
                <a:cubicBezTo>
                  <a:pt x="9044933" y="3127611"/>
                  <a:pt x="9043134" y="3134802"/>
                  <a:pt x="9042535" y="3141394"/>
                </a:cubicBezTo>
                <a:cubicBezTo>
                  <a:pt x="9041936" y="3147986"/>
                  <a:pt x="9043734" y="3155178"/>
                  <a:pt x="9046730" y="3156376"/>
                </a:cubicBezTo>
                <a:cubicBezTo>
                  <a:pt x="9049726" y="3157575"/>
                  <a:pt x="9050326" y="3153380"/>
                  <a:pt x="9049127" y="3150983"/>
                </a:cubicBezTo>
                <a:cubicBezTo>
                  <a:pt x="9048528" y="3148585"/>
                  <a:pt x="9047929" y="3146788"/>
                  <a:pt x="9049127" y="3143791"/>
                </a:cubicBezTo>
                <a:cubicBezTo>
                  <a:pt x="9050326" y="3141394"/>
                  <a:pt x="9052723" y="3144390"/>
                  <a:pt x="9058116" y="3147986"/>
                </a:cubicBezTo>
                <a:cubicBezTo>
                  <a:pt x="9068904" y="3155178"/>
                  <a:pt x="9070102" y="3168361"/>
                  <a:pt x="9068304" y="3172556"/>
                </a:cubicBezTo>
                <a:cubicBezTo>
                  <a:pt x="9066506" y="3176751"/>
                  <a:pt x="9060514" y="3185740"/>
                  <a:pt x="9065907" y="3184542"/>
                </a:cubicBezTo>
                <a:cubicBezTo>
                  <a:pt x="9071301" y="3183943"/>
                  <a:pt x="9070102" y="3188138"/>
                  <a:pt x="9064708" y="3197127"/>
                </a:cubicBezTo>
                <a:cubicBezTo>
                  <a:pt x="9059315" y="3206116"/>
                  <a:pt x="9063510" y="3208513"/>
                  <a:pt x="9062911" y="3214506"/>
                </a:cubicBezTo>
                <a:cubicBezTo>
                  <a:pt x="9062312" y="3220498"/>
                  <a:pt x="9062312" y="3221697"/>
                  <a:pt x="9065907" y="3220498"/>
                </a:cubicBezTo>
                <a:cubicBezTo>
                  <a:pt x="9070102" y="3219899"/>
                  <a:pt x="9066506" y="3210910"/>
                  <a:pt x="9069503" y="3203719"/>
                </a:cubicBezTo>
                <a:cubicBezTo>
                  <a:pt x="9071900" y="3196527"/>
                  <a:pt x="9081488" y="3196527"/>
                  <a:pt x="9083885" y="3197127"/>
                </a:cubicBezTo>
                <a:cubicBezTo>
                  <a:pt x="9086283" y="3197726"/>
                  <a:pt x="9089279" y="3195928"/>
                  <a:pt x="9088080" y="3192332"/>
                </a:cubicBezTo>
                <a:cubicBezTo>
                  <a:pt x="9086882" y="3188737"/>
                  <a:pt x="9088080" y="3188138"/>
                  <a:pt x="9092275" y="3192932"/>
                </a:cubicBezTo>
                <a:cubicBezTo>
                  <a:pt x="9096470" y="3197726"/>
                  <a:pt x="9097668" y="3194130"/>
                  <a:pt x="9094672" y="3190535"/>
                </a:cubicBezTo>
                <a:cubicBezTo>
                  <a:pt x="9091675" y="3186939"/>
                  <a:pt x="9097668" y="3183343"/>
                  <a:pt x="9105459" y="3192932"/>
                </a:cubicBezTo>
                <a:cubicBezTo>
                  <a:pt x="9113250" y="3203120"/>
                  <a:pt x="9115047" y="3203719"/>
                  <a:pt x="9118044" y="3202520"/>
                </a:cubicBezTo>
                <a:cubicBezTo>
                  <a:pt x="9121040" y="3201321"/>
                  <a:pt x="9121040" y="3199524"/>
                  <a:pt x="9122838" y="3201321"/>
                </a:cubicBezTo>
                <a:cubicBezTo>
                  <a:pt x="9124636" y="3203120"/>
                  <a:pt x="9124036" y="3204917"/>
                  <a:pt x="9126434" y="3203120"/>
                </a:cubicBezTo>
                <a:cubicBezTo>
                  <a:pt x="9128831" y="3201321"/>
                  <a:pt x="9127033" y="3199524"/>
                  <a:pt x="9136022" y="3205516"/>
                </a:cubicBezTo>
                <a:cubicBezTo>
                  <a:pt x="9144412" y="3210910"/>
                  <a:pt x="9152203" y="3212109"/>
                  <a:pt x="9158795" y="3209711"/>
                </a:cubicBezTo>
                <a:cubicBezTo>
                  <a:pt x="9165986" y="3207314"/>
                  <a:pt x="9173177" y="3210311"/>
                  <a:pt x="9174376" y="3214506"/>
                </a:cubicBezTo>
                <a:cubicBezTo>
                  <a:pt x="9175574" y="3218701"/>
                  <a:pt x="9182766" y="3222896"/>
                  <a:pt x="9186960" y="3223495"/>
                </a:cubicBezTo>
                <a:cubicBezTo>
                  <a:pt x="9191156" y="3224094"/>
                  <a:pt x="9197148" y="3226491"/>
                  <a:pt x="9197148" y="3230686"/>
                </a:cubicBezTo>
                <a:cubicBezTo>
                  <a:pt x="9196548" y="3234881"/>
                  <a:pt x="9197747" y="3236679"/>
                  <a:pt x="9200744" y="3237877"/>
                </a:cubicBezTo>
                <a:cubicBezTo>
                  <a:pt x="9203141" y="3239076"/>
                  <a:pt x="9203141" y="3242072"/>
                  <a:pt x="9204938" y="3244469"/>
                </a:cubicBezTo>
                <a:cubicBezTo>
                  <a:pt x="9206137" y="3246866"/>
                  <a:pt x="9214527" y="3257653"/>
                  <a:pt x="9219920" y="3264245"/>
                </a:cubicBezTo>
                <a:cubicBezTo>
                  <a:pt x="9225314" y="3270837"/>
                  <a:pt x="9230108" y="3285220"/>
                  <a:pt x="9233105" y="3288816"/>
                </a:cubicBezTo>
                <a:cubicBezTo>
                  <a:pt x="9236101" y="3292411"/>
                  <a:pt x="9239097" y="3290613"/>
                  <a:pt x="9239697" y="3300801"/>
                </a:cubicBezTo>
                <a:cubicBezTo>
                  <a:pt x="9240296" y="3310989"/>
                  <a:pt x="9242094" y="3312187"/>
                  <a:pt x="9244490" y="3310989"/>
                </a:cubicBezTo>
                <a:cubicBezTo>
                  <a:pt x="9246888" y="3310389"/>
                  <a:pt x="9248686" y="3310389"/>
                  <a:pt x="9248686" y="3315183"/>
                </a:cubicBezTo>
                <a:cubicBezTo>
                  <a:pt x="9248686" y="3319378"/>
                  <a:pt x="9254079" y="3319978"/>
                  <a:pt x="9257076" y="3319978"/>
                </a:cubicBezTo>
                <a:cubicBezTo>
                  <a:pt x="9260072" y="3319978"/>
                  <a:pt x="9266065" y="3320577"/>
                  <a:pt x="9275054" y="3321776"/>
                </a:cubicBezTo>
                <a:cubicBezTo>
                  <a:pt x="9284043" y="3322375"/>
                  <a:pt x="9287039" y="3333761"/>
                  <a:pt x="9285840" y="3344548"/>
                </a:cubicBezTo>
                <a:cubicBezTo>
                  <a:pt x="9285241" y="3355335"/>
                  <a:pt x="9288837" y="3386497"/>
                  <a:pt x="9290036" y="3393689"/>
                </a:cubicBezTo>
                <a:cubicBezTo>
                  <a:pt x="9290635" y="3400880"/>
                  <a:pt x="9292432" y="3404475"/>
                  <a:pt x="9287039" y="3416461"/>
                </a:cubicBezTo>
                <a:cubicBezTo>
                  <a:pt x="9281646" y="3428446"/>
                  <a:pt x="9284043" y="3426649"/>
                  <a:pt x="9288837" y="3420056"/>
                </a:cubicBezTo>
                <a:cubicBezTo>
                  <a:pt x="9277450" y="3409869"/>
                  <a:pt x="9278050" y="3416461"/>
                  <a:pt x="9277450" y="3420656"/>
                </a:cubicBezTo>
                <a:close/>
                <a:moveTo>
                  <a:pt x="7983619" y="2455226"/>
                </a:moveTo>
                <a:lnTo>
                  <a:pt x="7986615" y="2454626"/>
                </a:lnTo>
                <a:cubicBezTo>
                  <a:pt x="7985416" y="2454626"/>
                  <a:pt x="7984817" y="2455226"/>
                  <a:pt x="7983619" y="2455226"/>
                </a:cubicBezTo>
                <a:close/>
                <a:moveTo>
                  <a:pt x="8400114" y="4395675"/>
                </a:moveTo>
                <a:cubicBezTo>
                  <a:pt x="8400114" y="4395675"/>
                  <a:pt x="8401911" y="4395075"/>
                  <a:pt x="8404309" y="4394476"/>
                </a:cubicBezTo>
                <a:cubicBezTo>
                  <a:pt x="8404309" y="4393278"/>
                  <a:pt x="8404309" y="4392079"/>
                  <a:pt x="8404309" y="4390880"/>
                </a:cubicBezTo>
                <a:cubicBezTo>
                  <a:pt x="8404309" y="4390880"/>
                  <a:pt x="8404309" y="4390880"/>
                  <a:pt x="8403709" y="4390880"/>
                </a:cubicBezTo>
                <a:cubicBezTo>
                  <a:pt x="8402510" y="4392079"/>
                  <a:pt x="8401312" y="4393278"/>
                  <a:pt x="8398915" y="4395075"/>
                </a:cubicBezTo>
                <a:lnTo>
                  <a:pt x="8400114" y="4395675"/>
                </a:lnTo>
                <a:close/>
                <a:moveTo>
                  <a:pt x="8010586" y="2621824"/>
                </a:moveTo>
                <a:lnTo>
                  <a:pt x="8012384" y="2623022"/>
                </a:lnTo>
                <a:cubicBezTo>
                  <a:pt x="8011784" y="2622423"/>
                  <a:pt x="8011185" y="2621824"/>
                  <a:pt x="8010586" y="2621824"/>
                </a:cubicBezTo>
                <a:close/>
                <a:moveTo>
                  <a:pt x="8128643" y="2315595"/>
                </a:moveTo>
                <a:cubicBezTo>
                  <a:pt x="8126845" y="2311400"/>
                  <a:pt x="8118455" y="2309003"/>
                  <a:pt x="8113661" y="2305407"/>
                </a:cubicBezTo>
                <a:cubicBezTo>
                  <a:pt x="8108267" y="2301212"/>
                  <a:pt x="8105271" y="2303010"/>
                  <a:pt x="8099877" y="2303010"/>
                </a:cubicBezTo>
                <a:cubicBezTo>
                  <a:pt x="8094485" y="2303010"/>
                  <a:pt x="8084896" y="2302411"/>
                  <a:pt x="8080102" y="2310201"/>
                </a:cubicBezTo>
                <a:cubicBezTo>
                  <a:pt x="8075307" y="2318591"/>
                  <a:pt x="8081300" y="2317393"/>
                  <a:pt x="8081300" y="2317393"/>
                </a:cubicBezTo>
                <a:cubicBezTo>
                  <a:pt x="8081300" y="2317393"/>
                  <a:pt x="8083098" y="2317393"/>
                  <a:pt x="8086694" y="2316793"/>
                </a:cubicBezTo>
                <a:cubicBezTo>
                  <a:pt x="8090888" y="2316194"/>
                  <a:pt x="8089690" y="2319190"/>
                  <a:pt x="8093885" y="2323385"/>
                </a:cubicBezTo>
                <a:cubicBezTo>
                  <a:pt x="8098080" y="2327580"/>
                  <a:pt x="8098080" y="2326981"/>
                  <a:pt x="8100477" y="2327580"/>
                </a:cubicBezTo>
                <a:cubicBezTo>
                  <a:pt x="8102874" y="2328179"/>
                  <a:pt x="8102874" y="2325782"/>
                  <a:pt x="8107668" y="2328179"/>
                </a:cubicBezTo>
                <a:cubicBezTo>
                  <a:pt x="8112463" y="2330576"/>
                  <a:pt x="8112463" y="2328779"/>
                  <a:pt x="8112463" y="2328779"/>
                </a:cubicBezTo>
                <a:cubicBezTo>
                  <a:pt x="8112463" y="2328779"/>
                  <a:pt x="8113062" y="2324584"/>
                  <a:pt x="8114260" y="2320389"/>
                </a:cubicBezTo>
                <a:cubicBezTo>
                  <a:pt x="8114859" y="2315595"/>
                  <a:pt x="8118455" y="2318591"/>
                  <a:pt x="8122051" y="2323985"/>
                </a:cubicBezTo>
                <a:cubicBezTo>
                  <a:pt x="8125646" y="2329378"/>
                  <a:pt x="8125646" y="2326382"/>
                  <a:pt x="8130441" y="2328179"/>
                </a:cubicBezTo>
                <a:cubicBezTo>
                  <a:pt x="8135834" y="2329977"/>
                  <a:pt x="8134036" y="2325183"/>
                  <a:pt x="8132837" y="2323385"/>
                </a:cubicBezTo>
                <a:cubicBezTo>
                  <a:pt x="8132238" y="2320988"/>
                  <a:pt x="8130441" y="2319190"/>
                  <a:pt x="8128643" y="2315595"/>
                </a:cubicBezTo>
                <a:close/>
                <a:moveTo>
                  <a:pt x="8352172" y="2289826"/>
                </a:moveTo>
                <a:cubicBezTo>
                  <a:pt x="8351572" y="2294021"/>
                  <a:pt x="8352771" y="2294620"/>
                  <a:pt x="8355768" y="2295819"/>
                </a:cubicBezTo>
                <a:cubicBezTo>
                  <a:pt x="8358165" y="2297017"/>
                  <a:pt x="8361161" y="2296418"/>
                  <a:pt x="8366554" y="2294021"/>
                </a:cubicBezTo>
                <a:cubicBezTo>
                  <a:pt x="8371948" y="2291624"/>
                  <a:pt x="8373746" y="2292822"/>
                  <a:pt x="8377342" y="2293422"/>
                </a:cubicBezTo>
                <a:cubicBezTo>
                  <a:pt x="8380937" y="2294021"/>
                  <a:pt x="8381536" y="2294021"/>
                  <a:pt x="8385732" y="2292223"/>
                </a:cubicBezTo>
                <a:cubicBezTo>
                  <a:pt x="8389926" y="2290425"/>
                  <a:pt x="8388728" y="2288028"/>
                  <a:pt x="8388728" y="2286230"/>
                </a:cubicBezTo>
                <a:cubicBezTo>
                  <a:pt x="8388728" y="2284432"/>
                  <a:pt x="8387529" y="2283833"/>
                  <a:pt x="8389926" y="2281436"/>
                </a:cubicBezTo>
                <a:cubicBezTo>
                  <a:pt x="8392323" y="2279039"/>
                  <a:pt x="8391125" y="2276043"/>
                  <a:pt x="8389327" y="2273046"/>
                </a:cubicBezTo>
                <a:cubicBezTo>
                  <a:pt x="8387529" y="2270050"/>
                  <a:pt x="8382136" y="2271248"/>
                  <a:pt x="8377342" y="2270649"/>
                </a:cubicBezTo>
                <a:cubicBezTo>
                  <a:pt x="8373147" y="2270050"/>
                  <a:pt x="8368952" y="2270050"/>
                  <a:pt x="8364757" y="2272447"/>
                </a:cubicBezTo>
                <a:cubicBezTo>
                  <a:pt x="8360562" y="2274844"/>
                  <a:pt x="8359962" y="2274844"/>
                  <a:pt x="8352771" y="2274844"/>
                </a:cubicBezTo>
                <a:cubicBezTo>
                  <a:pt x="8345580" y="2274844"/>
                  <a:pt x="8350374" y="2282035"/>
                  <a:pt x="8350374" y="2282035"/>
                </a:cubicBezTo>
                <a:cubicBezTo>
                  <a:pt x="8350374" y="2282035"/>
                  <a:pt x="8352771" y="2285631"/>
                  <a:pt x="8352172" y="2289826"/>
                </a:cubicBezTo>
                <a:close/>
                <a:moveTo>
                  <a:pt x="8583492" y="2609239"/>
                </a:moveTo>
                <a:cubicBezTo>
                  <a:pt x="8585889" y="2614033"/>
                  <a:pt x="8582893" y="2617030"/>
                  <a:pt x="8576900" y="2621824"/>
                </a:cubicBezTo>
                <a:cubicBezTo>
                  <a:pt x="8571506" y="2626618"/>
                  <a:pt x="8579896" y="2624820"/>
                  <a:pt x="8582893" y="2624820"/>
                </a:cubicBezTo>
                <a:cubicBezTo>
                  <a:pt x="8585889" y="2624820"/>
                  <a:pt x="8590084" y="2622423"/>
                  <a:pt x="8593679" y="2621824"/>
                </a:cubicBezTo>
                <a:cubicBezTo>
                  <a:pt x="8597275" y="2621224"/>
                  <a:pt x="8596675" y="2611636"/>
                  <a:pt x="8594278" y="2606842"/>
                </a:cubicBezTo>
                <a:cubicBezTo>
                  <a:pt x="8591882" y="2602048"/>
                  <a:pt x="8591882" y="2594856"/>
                  <a:pt x="8593679" y="2591860"/>
                </a:cubicBezTo>
                <a:cubicBezTo>
                  <a:pt x="8595477" y="2589463"/>
                  <a:pt x="8593080" y="2585867"/>
                  <a:pt x="8590683" y="2587066"/>
                </a:cubicBezTo>
                <a:cubicBezTo>
                  <a:pt x="8588285" y="2588264"/>
                  <a:pt x="8581094" y="2587665"/>
                  <a:pt x="8576300" y="2589463"/>
                </a:cubicBezTo>
                <a:cubicBezTo>
                  <a:pt x="8571506" y="2591261"/>
                  <a:pt x="8575701" y="2597853"/>
                  <a:pt x="8575701" y="2597853"/>
                </a:cubicBezTo>
                <a:cubicBezTo>
                  <a:pt x="8575701" y="2597853"/>
                  <a:pt x="8581094" y="2604445"/>
                  <a:pt x="8583492" y="2609239"/>
                </a:cubicBezTo>
                <a:close/>
                <a:moveTo>
                  <a:pt x="7896124" y="5191511"/>
                </a:moveTo>
                <a:cubicBezTo>
                  <a:pt x="7902717" y="5186117"/>
                  <a:pt x="7897323" y="5184319"/>
                  <a:pt x="7890731" y="5184918"/>
                </a:cubicBezTo>
                <a:cubicBezTo>
                  <a:pt x="7884139" y="5185518"/>
                  <a:pt x="7884739" y="5184319"/>
                  <a:pt x="7883540" y="5180724"/>
                </a:cubicBezTo>
                <a:cubicBezTo>
                  <a:pt x="7882341" y="5177727"/>
                  <a:pt x="7881142" y="5175929"/>
                  <a:pt x="7878146" y="5175929"/>
                </a:cubicBezTo>
                <a:cubicBezTo>
                  <a:pt x="7875750" y="5175929"/>
                  <a:pt x="7876349" y="5178326"/>
                  <a:pt x="7877547" y="5185518"/>
                </a:cubicBezTo>
                <a:cubicBezTo>
                  <a:pt x="7878146" y="5192709"/>
                  <a:pt x="7868558" y="5191511"/>
                  <a:pt x="7864962" y="5192709"/>
                </a:cubicBezTo>
                <a:cubicBezTo>
                  <a:pt x="7861367" y="5193308"/>
                  <a:pt x="7862565" y="5196305"/>
                  <a:pt x="7865561" y="5196305"/>
                </a:cubicBezTo>
                <a:cubicBezTo>
                  <a:pt x="7868558" y="5196305"/>
                  <a:pt x="7870356" y="5195706"/>
                  <a:pt x="7869157" y="5196904"/>
                </a:cubicBezTo>
                <a:cubicBezTo>
                  <a:pt x="7867959" y="5198702"/>
                  <a:pt x="7867959" y="5199301"/>
                  <a:pt x="7858370" y="5201099"/>
                </a:cubicBezTo>
                <a:cubicBezTo>
                  <a:pt x="7848782" y="5202297"/>
                  <a:pt x="7848782" y="5206492"/>
                  <a:pt x="7848782" y="5206492"/>
                </a:cubicBezTo>
                <a:cubicBezTo>
                  <a:pt x="7848782" y="5206492"/>
                  <a:pt x="7851179" y="5211886"/>
                  <a:pt x="7852977" y="5210687"/>
                </a:cubicBezTo>
                <a:cubicBezTo>
                  <a:pt x="7854775" y="5210088"/>
                  <a:pt x="7855973" y="5210088"/>
                  <a:pt x="7858370" y="5211287"/>
                </a:cubicBezTo>
                <a:cubicBezTo>
                  <a:pt x="7860768" y="5212485"/>
                  <a:pt x="7861367" y="5211886"/>
                  <a:pt x="7862565" y="5208889"/>
                </a:cubicBezTo>
                <a:cubicBezTo>
                  <a:pt x="7863764" y="5205893"/>
                  <a:pt x="7864363" y="5206492"/>
                  <a:pt x="7866760" y="5205893"/>
                </a:cubicBezTo>
                <a:cubicBezTo>
                  <a:pt x="7869157" y="5205294"/>
                  <a:pt x="7872753" y="5205294"/>
                  <a:pt x="7876349" y="5204695"/>
                </a:cubicBezTo>
                <a:cubicBezTo>
                  <a:pt x="7879944" y="5204095"/>
                  <a:pt x="7889532" y="5197503"/>
                  <a:pt x="7896124" y="5191511"/>
                </a:cubicBezTo>
                <a:close/>
                <a:moveTo>
                  <a:pt x="7924291" y="5191511"/>
                </a:moveTo>
                <a:cubicBezTo>
                  <a:pt x="7920095" y="5190911"/>
                  <a:pt x="7920095" y="5192709"/>
                  <a:pt x="7916500" y="5196904"/>
                </a:cubicBezTo>
                <a:cubicBezTo>
                  <a:pt x="7912305" y="5201099"/>
                  <a:pt x="7912305" y="5192110"/>
                  <a:pt x="7916500" y="5188514"/>
                </a:cubicBezTo>
                <a:cubicBezTo>
                  <a:pt x="7920695" y="5184918"/>
                  <a:pt x="7920095" y="5184918"/>
                  <a:pt x="7917099" y="5183121"/>
                </a:cubicBezTo>
                <a:cubicBezTo>
                  <a:pt x="7914102" y="5181323"/>
                  <a:pt x="7912904" y="5182521"/>
                  <a:pt x="7910507" y="5184319"/>
                </a:cubicBezTo>
                <a:cubicBezTo>
                  <a:pt x="7908110" y="5186716"/>
                  <a:pt x="7906312" y="5189113"/>
                  <a:pt x="7902117" y="5192709"/>
                </a:cubicBezTo>
                <a:cubicBezTo>
                  <a:pt x="7897922" y="5196305"/>
                  <a:pt x="7898522" y="5199301"/>
                  <a:pt x="7896124" y="5199900"/>
                </a:cubicBezTo>
                <a:cubicBezTo>
                  <a:pt x="7893728" y="5200500"/>
                  <a:pt x="7893728" y="5200500"/>
                  <a:pt x="7890132" y="5202297"/>
                </a:cubicBezTo>
                <a:cubicBezTo>
                  <a:pt x="7885937" y="5204095"/>
                  <a:pt x="7883540" y="5203496"/>
                  <a:pt x="7881742" y="5205893"/>
                </a:cubicBezTo>
                <a:cubicBezTo>
                  <a:pt x="7879345" y="5208290"/>
                  <a:pt x="7879944" y="5206492"/>
                  <a:pt x="7873951" y="5210687"/>
                </a:cubicBezTo>
                <a:cubicBezTo>
                  <a:pt x="7867959" y="5214882"/>
                  <a:pt x="7872753" y="5218478"/>
                  <a:pt x="7872753" y="5218478"/>
                </a:cubicBezTo>
                <a:lnTo>
                  <a:pt x="7875150" y="5221474"/>
                </a:lnTo>
                <a:cubicBezTo>
                  <a:pt x="7875150" y="5221474"/>
                  <a:pt x="7881142" y="5222073"/>
                  <a:pt x="7878146" y="5219077"/>
                </a:cubicBezTo>
                <a:cubicBezTo>
                  <a:pt x="7875150" y="5216081"/>
                  <a:pt x="7877547" y="5216081"/>
                  <a:pt x="7879944" y="5216680"/>
                </a:cubicBezTo>
                <a:cubicBezTo>
                  <a:pt x="7882341" y="5217279"/>
                  <a:pt x="7881742" y="5216081"/>
                  <a:pt x="7882341" y="5212485"/>
                </a:cubicBezTo>
                <a:cubicBezTo>
                  <a:pt x="7882941" y="5209489"/>
                  <a:pt x="7882941" y="5211287"/>
                  <a:pt x="7886536" y="5214283"/>
                </a:cubicBezTo>
                <a:cubicBezTo>
                  <a:pt x="7890132" y="5217279"/>
                  <a:pt x="7890731" y="5215482"/>
                  <a:pt x="7893728" y="5216081"/>
                </a:cubicBezTo>
                <a:cubicBezTo>
                  <a:pt x="7897323" y="5216680"/>
                  <a:pt x="7894327" y="5211886"/>
                  <a:pt x="7893728" y="5208889"/>
                </a:cubicBezTo>
                <a:cubicBezTo>
                  <a:pt x="7893128" y="5205893"/>
                  <a:pt x="7894327" y="5204695"/>
                  <a:pt x="7894327" y="5204695"/>
                </a:cubicBezTo>
                <a:cubicBezTo>
                  <a:pt x="7894327" y="5204695"/>
                  <a:pt x="7897922" y="5207092"/>
                  <a:pt x="7900919" y="5208889"/>
                </a:cubicBezTo>
                <a:cubicBezTo>
                  <a:pt x="7903915" y="5211287"/>
                  <a:pt x="7909908" y="5206492"/>
                  <a:pt x="7912904" y="5204695"/>
                </a:cubicBezTo>
                <a:cubicBezTo>
                  <a:pt x="7915901" y="5203496"/>
                  <a:pt x="7921893" y="5198702"/>
                  <a:pt x="7927287" y="5196904"/>
                </a:cubicBezTo>
                <a:cubicBezTo>
                  <a:pt x="7931482" y="5195706"/>
                  <a:pt x="7928485" y="5192709"/>
                  <a:pt x="7924291" y="5191511"/>
                </a:cubicBezTo>
                <a:close/>
                <a:moveTo>
                  <a:pt x="8139430" y="3197127"/>
                </a:moveTo>
                <a:cubicBezTo>
                  <a:pt x="8137632" y="3201921"/>
                  <a:pt x="8141827" y="3202520"/>
                  <a:pt x="8141827" y="3202520"/>
                </a:cubicBezTo>
                <a:lnTo>
                  <a:pt x="8144224" y="3199524"/>
                </a:lnTo>
                <a:cubicBezTo>
                  <a:pt x="8144224" y="3199524"/>
                  <a:pt x="8146621" y="3197726"/>
                  <a:pt x="8149617" y="3195928"/>
                </a:cubicBezTo>
                <a:cubicBezTo>
                  <a:pt x="8152614" y="3194130"/>
                  <a:pt x="8150816" y="3193531"/>
                  <a:pt x="8149018" y="3192932"/>
                </a:cubicBezTo>
                <a:cubicBezTo>
                  <a:pt x="8145423" y="3192932"/>
                  <a:pt x="8140628" y="3192332"/>
                  <a:pt x="8139430" y="3197127"/>
                </a:cubicBezTo>
                <a:close/>
                <a:moveTo>
                  <a:pt x="8503189" y="2594856"/>
                </a:moveTo>
                <a:cubicBezTo>
                  <a:pt x="8507383" y="2596654"/>
                  <a:pt x="8516972" y="2596055"/>
                  <a:pt x="8516373" y="2589463"/>
                </a:cubicBezTo>
                <a:cubicBezTo>
                  <a:pt x="8515773" y="2582871"/>
                  <a:pt x="8513976" y="2581672"/>
                  <a:pt x="8512178" y="2584069"/>
                </a:cubicBezTo>
                <a:cubicBezTo>
                  <a:pt x="8510980" y="2586467"/>
                  <a:pt x="8510380" y="2587066"/>
                  <a:pt x="8510380" y="2588864"/>
                </a:cubicBezTo>
                <a:cubicBezTo>
                  <a:pt x="8510380" y="2590661"/>
                  <a:pt x="8510380" y="2591860"/>
                  <a:pt x="8507983" y="2591261"/>
                </a:cubicBezTo>
                <a:cubicBezTo>
                  <a:pt x="8505586" y="2590661"/>
                  <a:pt x="8503788" y="2589463"/>
                  <a:pt x="8501991" y="2589463"/>
                </a:cubicBezTo>
                <a:cubicBezTo>
                  <a:pt x="8500192" y="2589463"/>
                  <a:pt x="8499593" y="2591261"/>
                  <a:pt x="8499593" y="2591261"/>
                </a:cubicBezTo>
                <a:cubicBezTo>
                  <a:pt x="8499593" y="2591261"/>
                  <a:pt x="8499593" y="2593059"/>
                  <a:pt x="8503189" y="2594856"/>
                </a:cubicBezTo>
                <a:close/>
                <a:moveTo>
                  <a:pt x="8369551" y="2542720"/>
                </a:moveTo>
                <a:cubicBezTo>
                  <a:pt x="8368352" y="2545117"/>
                  <a:pt x="8371948" y="2549911"/>
                  <a:pt x="8371948" y="2549911"/>
                </a:cubicBezTo>
                <a:cubicBezTo>
                  <a:pt x="8371948" y="2549911"/>
                  <a:pt x="8376143" y="2552907"/>
                  <a:pt x="8374944" y="2547514"/>
                </a:cubicBezTo>
                <a:cubicBezTo>
                  <a:pt x="8373147" y="2542120"/>
                  <a:pt x="8370750" y="2540922"/>
                  <a:pt x="8369551" y="2542720"/>
                </a:cubicBezTo>
                <a:close/>
                <a:moveTo>
                  <a:pt x="8866349" y="2888501"/>
                </a:moveTo>
                <a:lnTo>
                  <a:pt x="8865150" y="2888501"/>
                </a:lnTo>
                <a:cubicBezTo>
                  <a:pt x="8865750" y="2889100"/>
                  <a:pt x="8865750" y="2889100"/>
                  <a:pt x="8866349" y="2888501"/>
                </a:cubicBezTo>
                <a:close/>
                <a:moveTo>
                  <a:pt x="3393780" y="2416872"/>
                </a:moveTo>
                <a:cubicBezTo>
                  <a:pt x="3393180" y="2416872"/>
                  <a:pt x="3392581" y="2416872"/>
                  <a:pt x="3391382" y="2416872"/>
                </a:cubicBezTo>
                <a:cubicBezTo>
                  <a:pt x="3388985" y="2416872"/>
                  <a:pt x="3385390" y="2417471"/>
                  <a:pt x="3380596" y="2417471"/>
                </a:cubicBezTo>
                <a:cubicBezTo>
                  <a:pt x="3379996" y="2417471"/>
                  <a:pt x="3378798" y="2417471"/>
                  <a:pt x="3378198" y="2417471"/>
                </a:cubicBezTo>
                <a:cubicBezTo>
                  <a:pt x="3373404" y="2417471"/>
                  <a:pt x="3367411" y="2418070"/>
                  <a:pt x="3364415" y="2419269"/>
                </a:cubicBezTo>
                <a:cubicBezTo>
                  <a:pt x="3363816" y="2419269"/>
                  <a:pt x="3363216" y="2419868"/>
                  <a:pt x="3363216" y="2419868"/>
                </a:cubicBezTo>
                <a:cubicBezTo>
                  <a:pt x="3360220" y="2421666"/>
                  <a:pt x="3359621" y="2421666"/>
                  <a:pt x="3356025" y="2421067"/>
                </a:cubicBezTo>
                <a:cubicBezTo>
                  <a:pt x="3355426" y="2421067"/>
                  <a:pt x="3354227" y="2421067"/>
                  <a:pt x="3354227" y="2421067"/>
                </a:cubicBezTo>
                <a:cubicBezTo>
                  <a:pt x="3352430" y="2421067"/>
                  <a:pt x="3352430" y="2422265"/>
                  <a:pt x="3351830" y="2424663"/>
                </a:cubicBezTo>
                <a:cubicBezTo>
                  <a:pt x="3351231" y="2425861"/>
                  <a:pt x="3350632" y="2427060"/>
                  <a:pt x="3350032" y="2427659"/>
                </a:cubicBezTo>
                <a:cubicBezTo>
                  <a:pt x="3349433" y="2428258"/>
                  <a:pt x="3348834" y="2428258"/>
                  <a:pt x="3348235" y="2428858"/>
                </a:cubicBezTo>
                <a:cubicBezTo>
                  <a:pt x="3347635" y="2429457"/>
                  <a:pt x="3347036" y="2429457"/>
                  <a:pt x="3347036" y="2429457"/>
                </a:cubicBezTo>
                <a:cubicBezTo>
                  <a:pt x="3347036" y="2429457"/>
                  <a:pt x="3347036" y="2429457"/>
                  <a:pt x="3346437" y="2430056"/>
                </a:cubicBezTo>
                <a:cubicBezTo>
                  <a:pt x="3345838" y="2430655"/>
                  <a:pt x="3344639" y="2431854"/>
                  <a:pt x="3343440" y="2432453"/>
                </a:cubicBezTo>
                <a:cubicBezTo>
                  <a:pt x="3342242" y="2433652"/>
                  <a:pt x="3341043" y="2434850"/>
                  <a:pt x="3339845" y="2435449"/>
                </a:cubicBezTo>
                <a:cubicBezTo>
                  <a:pt x="3339245" y="2436049"/>
                  <a:pt x="3338646" y="2436648"/>
                  <a:pt x="3338047" y="2437847"/>
                </a:cubicBezTo>
                <a:cubicBezTo>
                  <a:pt x="3336849" y="2439644"/>
                  <a:pt x="3336249" y="2442041"/>
                  <a:pt x="3335650" y="2444439"/>
                </a:cubicBezTo>
                <a:cubicBezTo>
                  <a:pt x="3335650" y="2445637"/>
                  <a:pt x="3335050" y="2447435"/>
                  <a:pt x="3335050" y="2448633"/>
                </a:cubicBezTo>
                <a:cubicBezTo>
                  <a:pt x="3335050" y="2451630"/>
                  <a:pt x="3334451" y="2454626"/>
                  <a:pt x="3335050" y="2457023"/>
                </a:cubicBezTo>
                <a:cubicBezTo>
                  <a:pt x="3335050" y="2458222"/>
                  <a:pt x="3335650" y="2459420"/>
                  <a:pt x="3335650" y="2460020"/>
                </a:cubicBezTo>
                <a:cubicBezTo>
                  <a:pt x="3336249" y="2461218"/>
                  <a:pt x="3336849" y="2461818"/>
                  <a:pt x="3337448" y="2462417"/>
                </a:cubicBezTo>
                <a:cubicBezTo>
                  <a:pt x="3339245" y="2463615"/>
                  <a:pt x="3341043" y="2464814"/>
                  <a:pt x="3342841" y="2465413"/>
                </a:cubicBezTo>
                <a:cubicBezTo>
                  <a:pt x="3344040" y="2466012"/>
                  <a:pt x="3345238" y="2466012"/>
                  <a:pt x="3346437" y="2466612"/>
                </a:cubicBezTo>
                <a:cubicBezTo>
                  <a:pt x="3347635" y="2466612"/>
                  <a:pt x="3349433" y="2467211"/>
                  <a:pt x="3350632" y="2467211"/>
                </a:cubicBezTo>
                <a:cubicBezTo>
                  <a:pt x="3355426" y="2467810"/>
                  <a:pt x="3357823" y="2469608"/>
                  <a:pt x="3360220" y="2469009"/>
                </a:cubicBezTo>
                <a:cubicBezTo>
                  <a:pt x="3360820" y="2469009"/>
                  <a:pt x="3361419" y="2468409"/>
                  <a:pt x="3362018" y="2467810"/>
                </a:cubicBezTo>
                <a:cubicBezTo>
                  <a:pt x="3362617" y="2467211"/>
                  <a:pt x="3362617" y="2467211"/>
                  <a:pt x="3363216" y="2466612"/>
                </a:cubicBezTo>
                <a:cubicBezTo>
                  <a:pt x="3363816" y="2466012"/>
                  <a:pt x="3364415" y="2466012"/>
                  <a:pt x="3365014" y="2465413"/>
                </a:cubicBezTo>
                <a:cubicBezTo>
                  <a:pt x="3369809" y="2463615"/>
                  <a:pt x="3377000" y="2461218"/>
                  <a:pt x="3381195" y="2458222"/>
                </a:cubicBezTo>
                <a:cubicBezTo>
                  <a:pt x="3386588" y="2454027"/>
                  <a:pt x="3387787" y="2454027"/>
                  <a:pt x="3385390" y="2452828"/>
                </a:cubicBezTo>
                <a:cubicBezTo>
                  <a:pt x="3384191" y="2452229"/>
                  <a:pt x="3384191" y="2451031"/>
                  <a:pt x="3384191" y="2450431"/>
                </a:cubicBezTo>
                <a:cubicBezTo>
                  <a:pt x="3384191" y="2449832"/>
                  <a:pt x="3384791" y="2448633"/>
                  <a:pt x="3385989" y="2448633"/>
                </a:cubicBezTo>
                <a:cubicBezTo>
                  <a:pt x="3386588" y="2448034"/>
                  <a:pt x="3387787" y="2446836"/>
                  <a:pt x="3388985" y="2445637"/>
                </a:cubicBezTo>
                <a:cubicBezTo>
                  <a:pt x="3390184" y="2444439"/>
                  <a:pt x="3390783" y="2442041"/>
                  <a:pt x="3391382" y="2440244"/>
                </a:cubicBezTo>
                <a:cubicBezTo>
                  <a:pt x="3392581" y="2436049"/>
                  <a:pt x="3395577" y="2433052"/>
                  <a:pt x="3400371" y="2429457"/>
                </a:cubicBezTo>
                <a:cubicBezTo>
                  <a:pt x="3404566" y="2426460"/>
                  <a:pt x="3405765" y="2423464"/>
                  <a:pt x="3403967" y="2418670"/>
                </a:cubicBezTo>
                <a:cubicBezTo>
                  <a:pt x="3403967" y="2418070"/>
                  <a:pt x="3403368" y="2417471"/>
                  <a:pt x="3403368" y="2416872"/>
                </a:cubicBezTo>
                <a:cubicBezTo>
                  <a:pt x="3402169" y="2413876"/>
                  <a:pt x="3400371" y="2413276"/>
                  <a:pt x="3399173" y="2413276"/>
                </a:cubicBezTo>
                <a:cubicBezTo>
                  <a:pt x="3397974" y="2413276"/>
                  <a:pt x="3397375" y="2413876"/>
                  <a:pt x="3397375" y="2415074"/>
                </a:cubicBezTo>
                <a:cubicBezTo>
                  <a:pt x="3397375" y="2416273"/>
                  <a:pt x="3396176" y="2416872"/>
                  <a:pt x="3393780" y="2416872"/>
                </a:cubicBezTo>
                <a:close/>
                <a:moveTo>
                  <a:pt x="3664651" y="2328779"/>
                </a:moveTo>
                <a:cubicBezTo>
                  <a:pt x="3665251" y="2333573"/>
                  <a:pt x="3667648" y="2343761"/>
                  <a:pt x="3673640" y="2343761"/>
                </a:cubicBezTo>
                <a:cubicBezTo>
                  <a:pt x="3677835" y="2343761"/>
                  <a:pt x="3676637" y="2347956"/>
                  <a:pt x="3676637" y="2349753"/>
                </a:cubicBezTo>
                <a:cubicBezTo>
                  <a:pt x="3676637" y="2352150"/>
                  <a:pt x="3676637" y="2353948"/>
                  <a:pt x="3679034" y="2356945"/>
                </a:cubicBezTo>
                <a:cubicBezTo>
                  <a:pt x="3681431" y="2359342"/>
                  <a:pt x="3683229" y="2358742"/>
                  <a:pt x="3682030" y="2352150"/>
                </a:cubicBezTo>
                <a:cubicBezTo>
                  <a:pt x="3681431" y="2345558"/>
                  <a:pt x="3683229" y="2335371"/>
                  <a:pt x="3689222" y="2329378"/>
                </a:cubicBezTo>
                <a:cubicBezTo>
                  <a:pt x="3695214" y="2323985"/>
                  <a:pt x="3703604" y="2314995"/>
                  <a:pt x="3705402" y="2307205"/>
                </a:cubicBezTo>
                <a:cubicBezTo>
                  <a:pt x="3706001" y="2303010"/>
                  <a:pt x="3708998" y="2297017"/>
                  <a:pt x="3708998" y="2292223"/>
                </a:cubicBezTo>
                <a:cubicBezTo>
                  <a:pt x="3708998" y="2286830"/>
                  <a:pt x="3714391" y="2275443"/>
                  <a:pt x="3716788" y="2272447"/>
                </a:cubicBezTo>
                <a:cubicBezTo>
                  <a:pt x="3719185" y="2269451"/>
                  <a:pt x="3720983" y="2262259"/>
                  <a:pt x="3720983" y="2258664"/>
                </a:cubicBezTo>
                <a:cubicBezTo>
                  <a:pt x="3721582" y="2255068"/>
                  <a:pt x="3721582" y="2254469"/>
                  <a:pt x="3722781" y="2249075"/>
                </a:cubicBezTo>
                <a:cubicBezTo>
                  <a:pt x="3723380" y="2243682"/>
                  <a:pt x="3721582" y="2240685"/>
                  <a:pt x="3718586" y="2241285"/>
                </a:cubicBezTo>
                <a:cubicBezTo>
                  <a:pt x="3714990" y="2241884"/>
                  <a:pt x="3710196" y="2235891"/>
                  <a:pt x="3706600" y="2240685"/>
                </a:cubicBezTo>
                <a:cubicBezTo>
                  <a:pt x="3702406" y="2245480"/>
                  <a:pt x="3691618" y="2248476"/>
                  <a:pt x="3685626" y="2262859"/>
                </a:cubicBezTo>
                <a:cubicBezTo>
                  <a:pt x="3679633" y="2277241"/>
                  <a:pt x="3667648" y="2294620"/>
                  <a:pt x="3667648" y="2299414"/>
                </a:cubicBezTo>
                <a:cubicBezTo>
                  <a:pt x="3667648" y="2304208"/>
                  <a:pt x="3668247" y="2307804"/>
                  <a:pt x="3666449" y="2310800"/>
                </a:cubicBezTo>
                <a:cubicBezTo>
                  <a:pt x="3665251" y="2313797"/>
                  <a:pt x="3664651" y="2323985"/>
                  <a:pt x="3664651" y="2328779"/>
                </a:cubicBezTo>
                <a:close/>
                <a:moveTo>
                  <a:pt x="1545019" y="807821"/>
                </a:moveTo>
                <a:cubicBezTo>
                  <a:pt x="1542622" y="807821"/>
                  <a:pt x="1539626" y="810818"/>
                  <a:pt x="1545019" y="811417"/>
                </a:cubicBezTo>
                <a:cubicBezTo>
                  <a:pt x="1550413" y="812016"/>
                  <a:pt x="1546817" y="813215"/>
                  <a:pt x="1549214" y="809020"/>
                </a:cubicBezTo>
                <a:cubicBezTo>
                  <a:pt x="1551611" y="805424"/>
                  <a:pt x="1548016" y="807821"/>
                  <a:pt x="1545019" y="807821"/>
                </a:cubicBezTo>
                <a:close/>
                <a:moveTo>
                  <a:pt x="1482695" y="714335"/>
                </a:moveTo>
                <a:cubicBezTo>
                  <a:pt x="1480298" y="717930"/>
                  <a:pt x="1482096" y="720327"/>
                  <a:pt x="1482096" y="720327"/>
                </a:cubicBezTo>
                <a:cubicBezTo>
                  <a:pt x="1482096" y="720327"/>
                  <a:pt x="1485092" y="718530"/>
                  <a:pt x="1486291" y="714934"/>
                </a:cubicBezTo>
                <a:cubicBezTo>
                  <a:pt x="1488088" y="711338"/>
                  <a:pt x="1485691" y="710739"/>
                  <a:pt x="1482695" y="714335"/>
                </a:cubicBezTo>
                <a:close/>
                <a:moveTo>
                  <a:pt x="7353781" y="304431"/>
                </a:moveTo>
                <a:cubicBezTo>
                  <a:pt x="7353781" y="304431"/>
                  <a:pt x="7356179" y="303832"/>
                  <a:pt x="7357977" y="303832"/>
                </a:cubicBezTo>
                <a:cubicBezTo>
                  <a:pt x="7359774" y="303832"/>
                  <a:pt x="7359774" y="302633"/>
                  <a:pt x="7359774" y="299637"/>
                </a:cubicBezTo>
                <a:cubicBezTo>
                  <a:pt x="7359774" y="296641"/>
                  <a:pt x="7358576" y="295442"/>
                  <a:pt x="7352583" y="298438"/>
                </a:cubicBezTo>
                <a:cubicBezTo>
                  <a:pt x="7346590" y="301435"/>
                  <a:pt x="7353781" y="304431"/>
                  <a:pt x="7353781" y="304431"/>
                </a:cubicBezTo>
                <a:close/>
                <a:moveTo>
                  <a:pt x="7434683" y="339189"/>
                </a:moveTo>
                <a:cubicBezTo>
                  <a:pt x="7437081" y="340388"/>
                  <a:pt x="7440077" y="339788"/>
                  <a:pt x="7438280" y="338590"/>
                </a:cubicBezTo>
                <a:cubicBezTo>
                  <a:pt x="7435882" y="337391"/>
                  <a:pt x="7436481" y="336193"/>
                  <a:pt x="7434084" y="333196"/>
                </a:cubicBezTo>
                <a:cubicBezTo>
                  <a:pt x="7431687" y="329601"/>
                  <a:pt x="7431088" y="333196"/>
                  <a:pt x="7431088" y="333196"/>
                </a:cubicBezTo>
                <a:cubicBezTo>
                  <a:pt x="7431088" y="333196"/>
                  <a:pt x="7432287" y="337991"/>
                  <a:pt x="7434683" y="339189"/>
                </a:cubicBezTo>
                <a:close/>
                <a:moveTo>
                  <a:pt x="7211754" y="251695"/>
                </a:moveTo>
                <a:cubicBezTo>
                  <a:pt x="7211754" y="251695"/>
                  <a:pt x="7214151" y="252894"/>
                  <a:pt x="7218346" y="248099"/>
                </a:cubicBezTo>
                <a:cubicBezTo>
                  <a:pt x="7222541" y="243305"/>
                  <a:pt x="7217746" y="243904"/>
                  <a:pt x="7211754" y="243904"/>
                </a:cubicBezTo>
                <a:cubicBezTo>
                  <a:pt x="7206360" y="243904"/>
                  <a:pt x="7210555" y="248099"/>
                  <a:pt x="7210555" y="248099"/>
                </a:cubicBezTo>
                <a:lnTo>
                  <a:pt x="7211754" y="251695"/>
                </a:lnTo>
                <a:close/>
                <a:moveTo>
                  <a:pt x="7442474" y="382936"/>
                </a:moveTo>
                <a:cubicBezTo>
                  <a:pt x="7447269" y="378741"/>
                  <a:pt x="7446669" y="377543"/>
                  <a:pt x="7445471" y="375146"/>
                </a:cubicBezTo>
                <a:cubicBezTo>
                  <a:pt x="7444871" y="372748"/>
                  <a:pt x="7444272" y="373947"/>
                  <a:pt x="7441276" y="376344"/>
                </a:cubicBezTo>
                <a:cubicBezTo>
                  <a:pt x="7438879" y="378741"/>
                  <a:pt x="7437680" y="381738"/>
                  <a:pt x="7437680" y="381738"/>
                </a:cubicBezTo>
                <a:cubicBezTo>
                  <a:pt x="7437680" y="381738"/>
                  <a:pt x="7437680" y="387131"/>
                  <a:pt x="7442474" y="382936"/>
                </a:cubicBezTo>
                <a:close/>
                <a:moveTo>
                  <a:pt x="7407716" y="361362"/>
                </a:moveTo>
                <a:cubicBezTo>
                  <a:pt x="7415507" y="360164"/>
                  <a:pt x="7419102" y="353572"/>
                  <a:pt x="7423897" y="348178"/>
                </a:cubicBezTo>
                <a:cubicBezTo>
                  <a:pt x="7429290" y="342785"/>
                  <a:pt x="7427492" y="340987"/>
                  <a:pt x="7423298" y="337991"/>
                </a:cubicBezTo>
                <a:cubicBezTo>
                  <a:pt x="7419102" y="334994"/>
                  <a:pt x="7420301" y="336193"/>
                  <a:pt x="7414908" y="336792"/>
                </a:cubicBezTo>
                <a:cubicBezTo>
                  <a:pt x="7409514" y="337391"/>
                  <a:pt x="7406518" y="337391"/>
                  <a:pt x="7397529" y="335593"/>
                </a:cubicBezTo>
                <a:cubicBezTo>
                  <a:pt x="7389139" y="333796"/>
                  <a:pt x="7372359" y="334994"/>
                  <a:pt x="7366966" y="337991"/>
                </a:cubicBezTo>
                <a:cubicBezTo>
                  <a:pt x="7361572" y="340987"/>
                  <a:pt x="7368164" y="343384"/>
                  <a:pt x="7368164" y="343384"/>
                </a:cubicBezTo>
                <a:cubicBezTo>
                  <a:pt x="7368164" y="343384"/>
                  <a:pt x="7371160" y="345781"/>
                  <a:pt x="7370561" y="349377"/>
                </a:cubicBezTo>
                <a:cubicBezTo>
                  <a:pt x="7369962" y="353572"/>
                  <a:pt x="7374756" y="352373"/>
                  <a:pt x="7377752" y="352373"/>
                </a:cubicBezTo>
                <a:cubicBezTo>
                  <a:pt x="7381349" y="352373"/>
                  <a:pt x="7380150" y="354171"/>
                  <a:pt x="7378951" y="357167"/>
                </a:cubicBezTo>
                <a:cubicBezTo>
                  <a:pt x="7377752" y="360164"/>
                  <a:pt x="7380150" y="360763"/>
                  <a:pt x="7384944" y="358366"/>
                </a:cubicBezTo>
                <a:cubicBezTo>
                  <a:pt x="7389738" y="355969"/>
                  <a:pt x="7389738" y="355969"/>
                  <a:pt x="7395131" y="355369"/>
                </a:cubicBezTo>
                <a:cubicBezTo>
                  <a:pt x="7400525" y="354770"/>
                  <a:pt x="7399327" y="354770"/>
                  <a:pt x="7396930" y="358965"/>
                </a:cubicBezTo>
                <a:cubicBezTo>
                  <a:pt x="7395131" y="363160"/>
                  <a:pt x="7399926" y="362561"/>
                  <a:pt x="7407716" y="361362"/>
                </a:cubicBezTo>
                <a:close/>
                <a:moveTo>
                  <a:pt x="6861778" y="92887"/>
                </a:moveTo>
                <a:cubicBezTo>
                  <a:pt x="6857583" y="91689"/>
                  <a:pt x="6848594" y="88093"/>
                  <a:pt x="6846796" y="93487"/>
                </a:cubicBezTo>
                <a:cubicBezTo>
                  <a:pt x="6844399" y="98880"/>
                  <a:pt x="6846197" y="99479"/>
                  <a:pt x="6841402" y="99479"/>
                </a:cubicBezTo>
                <a:cubicBezTo>
                  <a:pt x="6836009" y="99479"/>
                  <a:pt x="6834211" y="106671"/>
                  <a:pt x="6831215" y="110866"/>
                </a:cubicBezTo>
                <a:cubicBezTo>
                  <a:pt x="6828818" y="115061"/>
                  <a:pt x="6821027" y="127645"/>
                  <a:pt x="6828818" y="125848"/>
                </a:cubicBezTo>
                <a:cubicBezTo>
                  <a:pt x="6836009" y="124050"/>
                  <a:pt x="6838406" y="124050"/>
                  <a:pt x="6842601" y="124649"/>
                </a:cubicBezTo>
                <a:cubicBezTo>
                  <a:pt x="6844998" y="124649"/>
                  <a:pt x="6854587" y="119855"/>
                  <a:pt x="6862377" y="121653"/>
                </a:cubicBezTo>
                <a:cubicBezTo>
                  <a:pt x="6869568" y="122851"/>
                  <a:pt x="6874362" y="130642"/>
                  <a:pt x="6875561" y="131840"/>
                </a:cubicBezTo>
                <a:cubicBezTo>
                  <a:pt x="6877359" y="134237"/>
                  <a:pt x="6877359" y="137234"/>
                  <a:pt x="6876160" y="140230"/>
                </a:cubicBezTo>
                <a:cubicBezTo>
                  <a:pt x="6875561" y="143226"/>
                  <a:pt x="6875561" y="147421"/>
                  <a:pt x="6872565" y="148021"/>
                </a:cubicBezTo>
                <a:cubicBezTo>
                  <a:pt x="6869568" y="148620"/>
                  <a:pt x="6853988" y="160605"/>
                  <a:pt x="6845598" y="161804"/>
                </a:cubicBezTo>
                <a:cubicBezTo>
                  <a:pt x="6837208" y="163003"/>
                  <a:pt x="6828818" y="168995"/>
                  <a:pt x="6819828" y="168995"/>
                </a:cubicBezTo>
                <a:cubicBezTo>
                  <a:pt x="6811438" y="168995"/>
                  <a:pt x="6811438" y="171992"/>
                  <a:pt x="6809641" y="175587"/>
                </a:cubicBezTo>
                <a:cubicBezTo>
                  <a:pt x="6807843" y="179183"/>
                  <a:pt x="6805446" y="182179"/>
                  <a:pt x="6811438" y="184576"/>
                </a:cubicBezTo>
                <a:cubicBezTo>
                  <a:pt x="6817431" y="186973"/>
                  <a:pt x="6818031" y="186973"/>
                  <a:pt x="6821627" y="186973"/>
                </a:cubicBezTo>
                <a:cubicBezTo>
                  <a:pt x="6825222" y="186973"/>
                  <a:pt x="6827020" y="188771"/>
                  <a:pt x="6830017" y="191768"/>
                </a:cubicBezTo>
                <a:cubicBezTo>
                  <a:pt x="6830017" y="191768"/>
                  <a:pt x="6834810" y="195363"/>
                  <a:pt x="6840204" y="194764"/>
                </a:cubicBezTo>
                <a:cubicBezTo>
                  <a:pt x="6847995" y="194165"/>
                  <a:pt x="6862977" y="195363"/>
                  <a:pt x="6871966" y="188771"/>
                </a:cubicBezTo>
                <a:cubicBezTo>
                  <a:pt x="6874962" y="191768"/>
                  <a:pt x="6884550" y="195963"/>
                  <a:pt x="6888146" y="195963"/>
                </a:cubicBezTo>
                <a:cubicBezTo>
                  <a:pt x="6892340" y="195963"/>
                  <a:pt x="6913915" y="191168"/>
                  <a:pt x="6918110" y="188172"/>
                </a:cubicBezTo>
                <a:cubicBezTo>
                  <a:pt x="6922304" y="185176"/>
                  <a:pt x="6930095" y="182779"/>
                  <a:pt x="6932492" y="187573"/>
                </a:cubicBezTo>
                <a:cubicBezTo>
                  <a:pt x="6934889" y="191768"/>
                  <a:pt x="6937286" y="193565"/>
                  <a:pt x="6928897" y="193565"/>
                </a:cubicBezTo>
                <a:cubicBezTo>
                  <a:pt x="6920507" y="193565"/>
                  <a:pt x="6906124" y="195363"/>
                  <a:pt x="6905525" y="195963"/>
                </a:cubicBezTo>
                <a:cubicBezTo>
                  <a:pt x="6904926" y="196562"/>
                  <a:pt x="6900730" y="202555"/>
                  <a:pt x="6915712" y="200757"/>
                </a:cubicBezTo>
                <a:cubicBezTo>
                  <a:pt x="6930694" y="198959"/>
                  <a:pt x="6935489" y="196562"/>
                  <a:pt x="6938485" y="197161"/>
                </a:cubicBezTo>
                <a:cubicBezTo>
                  <a:pt x="6942080" y="197760"/>
                  <a:pt x="6946875" y="197161"/>
                  <a:pt x="6943279" y="200158"/>
                </a:cubicBezTo>
                <a:cubicBezTo>
                  <a:pt x="6939084" y="203154"/>
                  <a:pt x="6923503" y="205551"/>
                  <a:pt x="6919908" y="205551"/>
                </a:cubicBezTo>
                <a:cubicBezTo>
                  <a:pt x="6916311" y="205551"/>
                  <a:pt x="6895937" y="201356"/>
                  <a:pt x="6894139" y="207349"/>
                </a:cubicBezTo>
                <a:cubicBezTo>
                  <a:pt x="6892940" y="211544"/>
                  <a:pt x="6893539" y="211544"/>
                  <a:pt x="6890543" y="213941"/>
                </a:cubicBezTo>
                <a:cubicBezTo>
                  <a:pt x="6888146" y="216338"/>
                  <a:pt x="6887547" y="216937"/>
                  <a:pt x="6888146" y="219334"/>
                </a:cubicBezTo>
                <a:cubicBezTo>
                  <a:pt x="6888745" y="221731"/>
                  <a:pt x="6887547" y="222331"/>
                  <a:pt x="6892940" y="222331"/>
                </a:cubicBezTo>
                <a:cubicBezTo>
                  <a:pt x="6898333" y="222331"/>
                  <a:pt x="6903128" y="221132"/>
                  <a:pt x="6906124" y="218136"/>
                </a:cubicBezTo>
                <a:cubicBezTo>
                  <a:pt x="6909720" y="215739"/>
                  <a:pt x="6910919" y="213941"/>
                  <a:pt x="6913315" y="215739"/>
                </a:cubicBezTo>
                <a:cubicBezTo>
                  <a:pt x="6915712" y="217536"/>
                  <a:pt x="6918709" y="216338"/>
                  <a:pt x="6924102" y="216338"/>
                </a:cubicBezTo>
                <a:cubicBezTo>
                  <a:pt x="6929496" y="216937"/>
                  <a:pt x="6936088" y="215739"/>
                  <a:pt x="6931293" y="218735"/>
                </a:cubicBezTo>
                <a:cubicBezTo>
                  <a:pt x="6925900" y="221731"/>
                  <a:pt x="6919308" y="222930"/>
                  <a:pt x="6926500" y="225926"/>
                </a:cubicBezTo>
                <a:cubicBezTo>
                  <a:pt x="6933691" y="228923"/>
                  <a:pt x="6942680" y="228323"/>
                  <a:pt x="6946275" y="228923"/>
                </a:cubicBezTo>
                <a:cubicBezTo>
                  <a:pt x="6950470" y="229522"/>
                  <a:pt x="6951070" y="229522"/>
                  <a:pt x="6954665" y="231919"/>
                </a:cubicBezTo>
                <a:cubicBezTo>
                  <a:pt x="6958261" y="234316"/>
                  <a:pt x="6962456" y="232518"/>
                  <a:pt x="6965452" y="231320"/>
                </a:cubicBezTo>
                <a:cubicBezTo>
                  <a:pt x="6968449" y="230720"/>
                  <a:pt x="6972643" y="230121"/>
                  <a:pt x="6975041" y="230121"/>
                </a:cubicBezTo>
                <a:cubicBezTo>
                  <a:pt x="6977438" y="230121"/>
                  <a:pt x="6982232" y="228323"/>
                  <a:pt x="6977438" y="223529"/>
                </a:cubicBezTo>
                <a:cubicBezTo>
                  <a:pt x="6972643" y="218735"/>
                  <a:pt x="6973242" y="218136"/>
                  <a:pt x="6979835" y="218136"/>
                </a:cubicBezTo>
                <a:cubicBezTo>
                  <a:pt x="6987026" y="218735"/>
                  <a:pt x="6985228" y="216937"/>
                  <a:pt x="6990022" y="219334"/>
                </a:cubicBezTo>
                <a:cubicBezTo>
                  <a:pt x="6994217" y="221731"/>
                  <a:pt x="6995416" y="219934"/>
                  <a:pt x="6998412" y="218136"/>
                </a:cubicBezTo>
                <a:cubicBezTo>
                  <a:pt x="7000210" y="216937"/>
                  <a:pt x="7016391" y="210944"/>
                  <a:pt x="7019387" y="211544"/>
                </a:cubicBezTo>
                <a:cubicBezTo>
                  <a:pt x="7022383" y="212143"/>
                  <a:pt x="7030773" y="206150"/>
                  <a:pt x="7034968" y="207349"/>
                </a:cubicBezTo>
                <a:cubicBezTo>
                  <a:pt x="7039163" y="207948"/>
                  <a:pt x="7044556" y="207948"/>
                  <a:pt x="7048152" y="204952"/>
                </a:cubicBezTo>
                <a:cubicBezTo>
                  <a:pt x="7051748" y="201356"/>
                  <a:pt x="7055343" y="201356"/>
                  <a:pt x="7061336" y="204352"/>
                </a:cubicBezTo>
                <a:cubicBezTo>
                  <a:pt x="7067329" y="207349"/>
                  <a:pt x="7073322" y="204352"/>
                  <a:pt x="7078115" y="205551"/>
                </a:cubicBezTo>
                <a:cubicBezTo>
                  <a:pt x="7083509" y="206750"/>
                  <a:pt x="7088303" y="204952"/>
                  <a:pt x="7093097" y="204952"/>
                </a:cubicBezTo>
                <a:cubicBezTo>
                  <a:pt x="7098491" y="204952"/>
                  <a:pt x="7121264" y="203154"/>
                  <a:pt x="7123661" y="207948"/>
                </a:cubicBezTo>
                <a:cubicBezTo>
                  <a:pt x="7126057" y="212742"/>
                  <a:pt x="7140440" y="218136"/>
                  <a:pt x="7148231" y="219334"/>
                </a:cubicBezTo>
                <a:cubicBezTo>
                  <a:pt x="7156621" y="219934"/>
                  <a:pt x="7175198" y="227724"/>
                  <a:pt x="7179992" y="225327"/>
                </a:cubicBezTo>
                <a:cubicBezTo>
                  <a:pt x="7184786" y="222930"/>
                  <a:pt x="7191378" y="226526"/>
                  <a:pt x="7190779" y="231320"/>
                </a:cubicBezTo>
                <a:cubicBezTo>
                  <a:pt x="7190180" y="236114"/>
                  <a:pt x="7191977" y="235515"/>
                  <a:pt x="7191378" y="238511"/>
                </a:cubicBezTo>
                <a:cubicBezTo>
                  <a:pt x="7190779" y="240908"/>
                  <a:pt x="7192577" y="242706"/>
                  <a:pt x="7197371" y="237912"/>
                </a:cubicBezTo>
                <a:cubicBezTo>
                  <a:pt x="7202166" y="233118"/>
                  <a:pt x="7218346" y="238511"/>
                  <a:pt x="7223140" y="242107"/>
                </a:cubicBezTo>
                <a:cubicBezTo>
                  <a:pt x="7227934" y="246302"/>
                  <a:pt x="7236324" y="244504"/>
                  <a:pt x="7239919" y="248699"/>
                </a:cubicBezTo>
                <a:cubicBezTo>
                  <a:pt x="7244115" y="252894"/>
                  <a:pt x="7248309" y="262482"/>
                  <a:pt x="7254901" y="260684"/>
                </a:cubicBezTo>
                <a:cubicBezTo>
                  <a:pt x="7261494" y="258886"/>
                  <a:pt x="7266887" y="260085"/>
                  <a:pt x="7268086" y="264280"/>
                </a:cubicBezTo>
                <a:cubicBezTo>
                  <a:pt x="7269883" y="268475"/>
                  <a:pt x="7275277" y="279262"/>
                  <a:pt x="7279472" y="278662"/>
                </a:cubicBezTo>
                <a:cubicBezTo>
                  <a:pt x="7283667" y="278063"/>
                  <a:pt x="7289060" y="277464"/>
                  <a:pt x="7287861" y="283457"/>
                </a:cubicBezTo>
                <a:cubicBezTo>
                  <a:pt x="7287262" y="289449"/>
                  <a:pt x="7287861" y="290648"/>
                  <a:pt x="7290858" y="286453"/>
                </a:cubicBezTo>
                <a:cubicBezTo>
                  <a:pt x="7293854" y="282258"/>
                  <a:pt x="7292656" y="278063"/>
                  <a:pt x="7295053" y="279262"/>
                </a:cubicBezTo>
                <a:cubicBezTo>
                  <a:pt x="7297450" y="280460"/>
                  <a:pt x="7296251" y="286453"/>
                  <a:pt x="7293854" y="290049"/>
                </a:cubicBezTo>
                <a:cubicBezTo>
                  <a:pt x="7291457" y="294244"/>
                  <a:pt x="7292057" y="302034"/>
                  <a:pt x="7299248" y="303233"/>
                </a:cubicBezTo>
                <a:cubicBezTo>
                  <a:pt x="7306439" y="305030"/>
                  <a:pt x="7310634" y="307428"/>
                  <a:pt x="7314829" y="306229"/>
                </a:cubicBezTo>
                <a:cubicBezTo>
                  <a:pt x="7319024" y="305630"/>
                  <a:pt x="7317226" y="303832"/>
                  <a:pt x="7320821" y="303832"/>
                </a:cubicBezTo>
                <a:cubicBezTo>
                  <a:pt x="7324418" y="304431"/>
                  <a:pt x="7328013" y="301435"/>
                  <a:pt x="7325616" y="298438"/>
                </a:cubicBezTo>
                <a:cubicBezTo>
                  <a:pt x="7323219" y="295442"/>
                  <a:pt x="7320222" y="293644"/>
                  <a:pt x="7320222" y="290648"/>
                </a:cubicBezTo>
                <a:cubicBezTo>
                  <a:pt x="7320821" y="287652"/>
                  <a:pt x="7316028" y="284056"/>
                  <a:pt x="7312432" y="281059"/>
                </a:cubicBezTo>
                <a:cubicBezTo>
                  <a:pt x="7308836" y="278063"/>
                  <a:pt x="7307038" y="272670"/>
                  <a:pt x="7311832" y="275666"/>
                </a:cubicBezTo>
                <a:cubicBezTo>
                  <a:pt x="7316028" y="278063"/>
                  <a:pt x="7319024" y="281059"/>
                  <a:pt x="7327414" y="282857"/>
                </a:cubicBezTo>
                <a:cubicBezTo>
                  <a:pt x="7332208" y="284056"/>
                  <a:pt x="7334605" y="288850"/>
                  <a:pt x="7342396" y="287052"/>
                </a:cubicBezTo>
                <a:cubicBezTo>
                  <a:pt x="7350186" y="285254"/>
                  <a:pt x="7358576" y="290648"/>
                  <a:pt x="7360973" y="287652"/>
                </a:cubicBezTo>
                <a:cubicBezTo>
                  <a:pt x="7363370" y="285254"/>
                  <a:pt x="7381948" y="292446"/>
                  <a:pt x="7386142" y="293045"/>
                </a:cubicBezTo>
                <a:cubicBezTo>
                  <a:pt x="7390338" y="293644"/>
                  <a:pt x="7413709" y="306229"/>
                  <a:pt x="7415507" y="308027"/>
                </a:cubicBezTo>
                <a:cubicBezTo>
                  <a:pt x="7417305" y="310424"/>
                  <a:pt x="7413709" y="315218"/>
                  <a:pt x="7403521" y="315218"/>
                </a:cubicBezTo>
                <a:cubicBezTo>
                  <a:pt x="7393334" y="315218"/>
                  <a:pt x="7383146" y="315817"/>
                  <a:pt x="7378951" y="314020"/>
                </a:cubicBezTo>
                <a:cubicBezTo>
                  <a:pt x="7374756" y="312222"/>
                  <a:pt x="7363370" y="312821"/>
                  <a:pt x="7359175" y="315817"/>
                </a:cubicBezTo>
                <a:cubicBezTo>
                  <a:pt x="7354980" y="318814"/>
                  <a:pt x="7347190" y="321211"/>
                  <a:pt x="7351984" y="326005"/>
                </a:cubicBezTo>
                <a:cubicBezTo>
                  <a:pt x="7356778" y="331399"/>
                  <a:pt x="7364569" y="330799"/>
                  <a:pt x="7372959" y="327204"/>
                </a:cubicBezTo>
                <a:cubicBezTo>
                  <a:pt x="7381349" y="323608"/>
                  <a:pt x="7393334" y="324806"/>
                  <a:pt x="7399327" y="327204"/>
                </a:cubicBezTo>
                <a:cubicBezTo>
                  <a:pt x="7405320" y="329601"/>
                  <a:pt x="7416106" y="331399"/>
                  <a:pt x="7417904" y="327803"/>
                </a:cubicBezTo>
                <a:cubicBezTo>
                  <a:pt x="7419702" y="324207"/>
                  <a:pt x="7420301" y="324207"/>
                  <a:pt x="7423298" y="324806"/>
                </a:cubicBezTo>
                <a:cubicBezTo>
                  <a:pt x="7426294" y="325406"/>
                  <a:pt x="7427492" y="317615"/>
                  <a:pt x="7430489" y="322409"/>
                </a:cubicBezTo>
                <a:cubicBezTo>
                  <a:pt x="7433485" y="326604"/>
                  <a:pt x="7432886" y="324806"/>
                  <a:pt x="7434683" y="326604"/>
                </a:cubicBezTo>
                <a:cubicBezTo>
                  <a:pt x="7441276" y="331998"/>
                  <a:pt x="7446070" y="342785"/>
                  <a:pt x="7456258" y="345781"/>
                </a:cubicBezTo>
                <a:cubicBezTo>
                  <a:pt x="7463449" y="346980"/>
                  <a:pt x="7468243" y="352373"/>
                  <a:pt x="7464647" y="352373"/>
                </a:cubicBezTo>
                <a:cubicBezTo>
                  <a:pt x="7461052" y="352373"/>
                  <a:pt x="7458654" y="351774"/>
                  <a:pt x="7456857" y="349976"/>
                </a:cubicBezTo>
                <a:cubicBezTo>
                  <a:pt x="7455059" y="348777"/>
                  <a:pt x="7450265" y="350575"/>
                  <a:pt x="7453861" y="355369"/>
                </a:cubicBezTo>
                <a:cubicBezTo>
                  <a:pt x="7457456" y="360164"/>
                  <a:pt x="7458055" y="362561"/>
                  <a:pt x="7462251" y="360164"/>
                </a:cubicBezTo>
                <a:cubicBezTo>
                  <a:pt x="7466445" y="357767"/>
                  <a:pt x="7471839" y="354770"/>
                  <a:pt x="7468243" y="360763"/>
                </a:cubicBezTo>
                <a:cubicBezTo>
                  <a:pt x="7464647" y="366756"/>
                  <a:pt x="7452662" y="381738"/>
                  <a:pt x="7447269" y="384135"/>
                </a:cubicBezTo>
                <a:cubicBezTo>
                  <a:pt x="7441875" y="386532"/>
                  <a:pt x="7438280" y="391326"/>
                  <a:pt x="7443073" y="390727"/>
                </a:cubicBezTo>
                <a:cubicBezTo>
                  <a:pt x="7448467" y="390127"/>
                  <a:pt x="7450265" y="385932"/>
                  <a:pt x="7455059" y="385932"/>
                </a:cubicBezTo>
                <a:cubicBezTo>
                  <a:pt x="7459853" y="385932"/>
                  <a:pt x="7467044" y="385932"/>
                  <a:pt x="7471240" y="380539"/>
                </a:cubicBezTo>
                <a:cubicBezTo>
                  <a:pt x="7475434" y="375146"/>
                  <a:pt x="7473636" y="375146"/>
                  <a:pt x="7473037" y="372149"/>
                </a:cubicBezTo>
                <a:cubicBezTo>
                  <a:pt x="7472438" y="369153"/>
                  <a:pt x="7469442" y="368554"/>
                  <a:pt x="7473636" y="366156"/>
                </a:cubicBezTo>
                <a:cubicBezTo>
                  <a:pt x="7477832" y="363759"/>
                  <a:pt x="7480229" y="363160"/>
                  <a:pt x="7479030" y="367954"/>
                </a:cubicBezTo>
                <a:cubicBezTo>
                  <a:pt x="7477832" y="372748"/>
                  <a:pt x="7479629" y="378741"/>
                  <a:pt x="7476633" y="381138"/>
                </a:cubicBezTo>
                <a:cubicBezTo>
                  <a:pt x="7473037" y="383535"/>
                  <a:pt x="7473636" y="385932"/>
                  <a:pt x="7483225" y="383535"/>
                </a:cubicBezTo>
                <a:cubicBezTo>
                  <a:pt x="7492813" y="381138"/>
                  <a:pt x="7497607" y="379940"/>
                  <a:pt x="7503001" y="381138"/>
                </a:cubicBezTo>
                <a:cubicBezTo>
                  <a:pt x="7508394" y="382337"/>
                  <a:pt x="7507196" y="385333"/>
                  <a:pt x="7500603" y="385333"/>
                </a:cubicBezTo>
                <a:cubicBezTo>
                  <a:pt x="7494012" y="385333"/>
                  <a:pt x="7473037" y="391326"/>
                  <a:pt x="7473037" y="393723"/>
                </a:cubicBezTo>
                <a:cubicBezTo>
                  <a:pt x="7473037" y="396120"/>
                  <a:pt x="7468842" y="396120"/>
                  <a:pt x="7465846" y="397319"/>
                </a:cubicBezTo>
                <a:cubicBezTo>
                  <a:pt x="7462251" y="398517"/>
                  <a:pt x="7459853" y="402712"/>
                  <a:pt x="7462850" y="407506"/>
                </a:cubicBezTo>
                <a:cubicBezTo>
                  <a:pt x="7465846" y="412300"/>
                  <a:pt x="7470640" y="419492"/>
                  <a:pt x="7474835" y="411102"/>
                </a:cubicBezTo>
                <a:cubicBezTo>
                  <a:pt x="7486221" y="390127"/>
                  <a:pt x="7491614" y="399116"/>
                  <a:pt x="7500004" y="394922"/>
                </a:cubicBezTo>
                <a:cubicBezTo>
                  <a:pt x="7507196" y="389528"/>
                  <a:pt x="7508394" y="389528"/>
                  <a:pt x="7510792" y="389528"/>
                </a:cubicBezTo>
                <a:cubicBezTo>
                  <a:pt x="7513189" y="389528"/>
                  <a:pt x="7513189" y="389528"/>
                  <a:pt x="7510192" y="393124"/>
                </a:cubicBezTo>
                <a:cubicBezTo>
                  <a:pt x="7510192" y="394922"/>
                  <a:pt x="7510192" y="396719"/>
                  <a:pt x="7513189" y="397319"/>
                </a:cubicBezTo>
                <a:cubicBezTo>
                  <a:pt x="7518582" y="397319"/>
                  <a:pt x="7523975" y="399716"/>
                  <a:pt x="7517983" y="400914"/>
                </a:cubicBezTo>
                <a:cubicBezTo>
                  <a:pt x="7511990" y="401514"/>
                  <a:pt x="7494611" y="400315"/>
                  <a:pt x="7489218" y="404510"/>
                </a:cubicBezTo>
                <a:cubicBezTo>
                  <a:pt x="7483824" y="408705"/>
                  <a:pt x="7480828" y="411102"/>
                  <a:pt x="7479030" y="414698"/>
                </a:cubicBezTo>
                <a:cubicBezTo>
                  <a:pt x="7477232" y="418293"/>
                  <a:pt x="7476633" y="428481"/>
                  <a:pt x="7484423" y="429679"/>
                </a:cubicBezTo>
                <a:cubicBezTo>
                  <a:pt x="7491614" y="430279"/>
                  <a:pt x="7505398" y="432077"/>
                  <a:pt x="7509593" y="436271"/>
                </a:cubicBezTo>
                <a:cubicBezTo>
                  <a:pt x="7513788" y="440466"/>
                  <a:pt x="7517983" y="441066"/>
                  <a:pt x="7514387" y="442863"/>
                </a:cubicBezTo>
                <a:cubicBezTo>
                  <a:pt x="7510192" y="444661"/>
                  <a:pt x="7508993" y="446459"/>
                  <a:pt x="7511990" y="448257"/>
                </a:cubicBezTo>
                <a:cubicBezTo>
                  <a:pt x="7515585" y="450055"/>
                  <a:pt x="7517383" y="451853"/>
                  <a:pt x="7523376" y="441066"/>
                </a:cubicBezTo>
                <a:cubicBezTo>
                  <a:pt x="7529369" y="430878"/>
                  <a:pt x="7534163" y="423687"/>
                  <a:pt x="7537160" y="422488"/>
                </a:cubicBezTo>
                <a:cubicBezTo>
                  <a:pt x="7540156" y="421290"/>
                  <a:pt x="7544351" y="420091"/>
                  <a:pt x="7539556" y="425485"/>
                </a:cubicBezTo>
                <a:cubicBezTo>
                  <a:pt x="7534763" y="430878"/>
                  <a:pt x="7526373" y="440466"/>
                  <a:pt x="7523975" y="448856"/>
                </a:cubicBezTo>
                <a:cubicBezTo>
                  <a:pt x="7521578" y="457246"/>
                  <a:pt x="7522178" y="457246"/>
                  <a:pt x="7526373" y="458445"/>
                </a:cubicBezTo>
                <a:cubicBezTo>
                  <a:pt x="7530567" y="459643"/>
                  <a:pt x="7530567" y="459643"/>
                  <a:pt x="7534163" y="460842"/>
                </a:cubicBezTo>
                <a:cubicBezTo>
                  <a:pt x="7537759" y="462040"/>
                  <a:pt x="7541354" y="462639"/>
                  <a:pt x="7543153" y="466235"/>
                </a:cubicBezTo>
                <a:cubicBezTo>
                  <a:pt x="7545549" y="469831"/>
                  <a:pt x="7546748" y="468033"/>
                  <a:pt x="7550943" y="467434"/>
                </a:cubicBezTo>
                <a:cubicBezTo>
                  <a:pt x="7555138" y="466834"/>
                  <a:pt x="7556336" y="466834"/>
                  <a:pt x="7559333" y="469831"/>
                </a:cubicBezTo>
                <a:cubicBezTo>
                  <a:pt x="7562928" y="472827"/>
                  <a:pt x="7567723" y="470430"/>
                  <a:pt x="7568322" y="465636"/>
                </a:cubicBezTo>
                <a:cubicBezTo>
                  <a:pt x="7568921" y="461441"/>
                  <a:pt x="7571917" y="455448"/>
                  <a:pt x="7576113" y="455448"/>
                </a:cubicBezTo>
                <a:cubicBezTo>
                  <a:pt x="7580307" y="456047"/>
                  <a:pt x="7585701" y="456047"/>
                  <a:pt x="7581505" y="457845"/>
                </a:cubicBezTo>
                <a:cubicBezTo>
                  <a:pt x="7577311" y="460242"/>
                  <a:pt x="7572516" y="457845"/>
                  <a:pt x="7572516" y="463838"/>
                </a:cubicBezTo>
                <a:cubicBezTo>
                  <a:pt x="7572516" y="469831"/>
                  <a:pt x="7573116" y="471029"/>
                  <a:pt x="7571318" y="472827"/>
                </a:cubicBezTo>
                <a:cubicBezTo>
                  <a:pt x="7569520" y="475224"/>
                  <a:pt x="7570719" y="478221"/>
                  <a:pt x="7573715" y="477022"/>
                </a:cubicBezTo>
                <a:cubicBezTo>
                  <a:pt x="7576113" y="476423"/>
                  <a:pt x="7577311" y="475824"/>
                  <a:pt x="7578509" y="479419"/>
                </a:cubicBezTo>
                <a:cubicBezTo>
                  <a:pt x="7579708" y="483015"/>
                  <a:pt x="7581505" y="483015"/>
                  <a:pt x="7583903" y="483614"/>
                </a:cubicBezTo>
                <a:cubicBezTo>
                  <a:pt x="7586300" y="484213"/>
                  <a:pt x="7589296" y="484813"/>
                  <a:pt x="7591094" y="489008"/>
                </a:cubicBezTo>
                <a:cubicBezTo>
                  <a:pt x="7592892" y="493202"/>
                  <a:pt x="7599484" y="495000"/>
                  <a:pt x="7605476" y="498596"/>
                </a:cubicBezTo>
                <a:cubicBezTo>
                  <a:pt x="7610870" y="502192"/>
                  <a:pt x="7614466" y="503390"/>
                  <a:pt x="7616863" y="506986"/>
                </a:cubicBezTo>
                <a:cubicBezTo>
                  <a:pt x="7619260" y="510581"/>
                  <a:pt x="7622256" y="511181"/>
                  <a:pt x="7621657" y="506387"/>
                </a:cubicBezTo>
                <a:cubicBezTo>
                  <a:pt x="7621058" y="502192"/>
                  <a:pt x="7622256" y="489008"/>
                  <a:pt x="7621058" y="486011"/>
                </a:cubicBezTo>
                <a:cubicBezTo>
                  <a:pt x="7619260" y="483015"/>
                  <a:pt x="7618062" y="482416"/>
                  <a:pt x="7613866" y="481217"/>
                </a:cubicBezTo>
                <a:cubicBezTo>
                  <a:pt x="7609672" y="480018"/>
                  <a:pt x="7604278" y="478221"/>
                  <a:pt x="7605476" y="474026"/>
                </a:cubicBezTo>
                <a:cubicBezTo>
                  <a:pt x="7606675" y="469831"/>
                  <a:pt x="7603080" y="469232"/>
                  <a:pt x="7609672" y="474625"/>
                </a:cubicBezTo>
                <a:cubicBezTo>
                  <a:pt x="7616863" y="480018"/>
                  <a:pt x="7621657" y="478820"/>
                  <a:pt x="7626451" y="479419"/>
                </a:cubicBezTo>
                <a:cubicBezTo>
                  <a:pt x="7631245" y="480018"/>
                  <a:pt x="7633643" y="482416"/>
                  <a:pt x="7637837" y="482416"/>
                </a:cubicBezTo>
                <a:cubicBezTo>
                  <a:pt x="7642033" y="482416"/>
                  <a:pt x="7648025" y="483015"/>
                  <a:pt x="7640235" y="484813"/>
                </a:cubicBezTo>
                <a:cubicBezTo>
                  <a:pt x="7632444" y="486610"/>
                  <a:pt x="7633044" y="484213"/>
                  <a:pt x="7631845" y="487210"/>
                </a:cubicBezTo>
                <a:cubicBezTo>
                  <a:pt x="7631245" y="490206"/>
                  <a:pt x="7634841" y="506387"/>
                  <a:pt x="7637837" y="509982"/>
                </a:cubicBezTo>
                <a:cubicBezTo>
                  <a:pt x="7640834" y="514177"/>
                  <a:pt x="7647426" y="523166"/>
                  <a:pt x="7652819" y="523166"/>
                </a:cubicBezTo>
                <a:cubicBezTo>
                  <a:pt x="7658213" y="522567"/>
                  <a:pt x="7659411" y="520769"/>
                  <a:pt x="7660011" y="523765"/>
                </a:cubicBezTo>
                <a:cubicBezTo>
                  <a:pt x="7660610" y="526163"/>
                  <a:pt x="7662407" y="526163"/>
                  <a:pt x="7668400" y="523166"/>
                </a:cubicBezTo>
                <a:cubicBezTo>
                  <a:pt x="7673794" y="520170"/>
                  <a:pt x="7674393" y="520769"/>
                  <a:pt x="7677389" y="521968"/>
                </a:cubicBezTo>
                <a:cubicBezTo>
                  <a:pt x="7680386" y="522567"/>
                  <a:pt x="7680986" y="523765"/>
                  <a:pt x="7674993" y="526163"/>
                </a:cubicBezTo>
                <a:cubicBezTo>
                  <a:pt x="7669000" y="528560"/>
                  <a:pt x="7666603" y="527960"/>
                  <a:pt x="7666603" y="530357"/>
                </a:cubicBezTo>
                <a:cubicBezTo>
                  <a:pt x="7666603" y="532755"/>
                  <a:pt x="7666603" y="532755"/>
                  <a:pt x="7674993" y="532155"/>
                </a:cubicBezTo>
                <a:cubicBezTo>
                  <a:pt x="7683382" y="531556"/>
                  <a:pt x="7688177" y="527960"/>
                  <a:pt x="7689975" y="532755"/>
                </a:cubicBezTo>
                <a:cubicBezTo>
                  <a:pt x="7691772" y="537549"/>
                  <a:pt x="7695368" y="539946"/>
                  <a:pt x="7697765" y="535152"/>
                </a:cubicBezTo>
                <a:cubicBezTo>
                  <a:pt x="7700162" y="530357"/>
                  <a:pt x="7703158" y="529758"/>
                  <a:pt x="7702559" y="534552"/>
                </a:cubicBezTo>
                <a:cubicBezTo>
                  <a:pt x="7701960" y="539347"/>
                  <a:pt x="7700162" y="542942"/>
                  <a:pt x="7707353" y="546538"/>
                </a:cubicBezTo>
                <a:cubicBezTo>
                  <a:pt x="7714545" y="550134"/>
                  <a:pt x="7712747" y="551931"/>
                  <a:pt x="7716942" y="553729"/>
                </a:cubicBezTo>
                <a:cubicBezTo>
                  <a:pt x="7721137" y="556126"/>
                  <a:pt x="7722935" y="557924"/>
                  <a:pt x="7727728" y="557325"/>
                </a:cubicBezTo>
                <a:cubicBezTo>
                  <a:pt x="7732523" y="556726"/>
                  <a:pt x="7734920" y="555527"/>
                  <a:pt x="7740313" y="559123"/>
                </a:cubicBezTo>
                <a:cubicBezTo>
                  <a:pt x="7745707" y="562718"/>
                  <a:pt x="7746306" y="562119"/>
                  <a:pt x="7748703" y="562119"/>
                </a:cubicBezTo>
                <a:cubicBezTo>
                  <a:pt x="7751100" y="562119"/>
                  <a:pt x="7746906" y="571707"/>
                  <a:pt x="7752299" y="567512"/>
                </a:cubicBezTo>
                <a:cubicBezTo>
                  <a:pt x="7757692" y="563318"/>
                  <a:pt x="7759490" y="563318"/>
                  <a:pt x="7759490" y="567512"/>
                </a:cubicBezTo>
                <a:cubicBezTo>
                  <a:pt x="7760089" y="571707"/>
                  <a:pt x="7764884" y="577700"/>
                  <a:pt x="7770277" y="575902"/>
                </a:cubicBezTo>
                <a:cubicBezTo>
                  <a:pt x="7775670" y="573505"/>
                  <a:pt x="7779266" y="574104"/>
                  <a:pt x="7776869" y="577101"/>
                </a:cubicBezTo>
                <a:cubicBezTo>
                  <a:pt x="7774472" y="580097"/>
                  <a:pt x="7776869" y="578899"/>
                  <a:pt x="7779866" y="578899"/>
                </a:cubicBezTo>
                <a:cubicBezTo>
                  <a:pt x="7782862" y="578899"/>
                  <a:pt x="7784659" y="586689"/>
                  <a:pt x="7788855" y="583094"/>
                </a:cubicBezTo>
                <a:cubicBezTo>
                  <a:pt x="7793049" y="579498"/>
                  <a:pt x="7794848" y="581895"/>
                  <a:pt x="7799042" y="581895"/>
                </a:cubicBezTo>
                <a:cubicBezTo>
                  <a:pt x="7803237" y="581895"/>
                  <a:pt x="7809230" y="580697"/>
                  <a:pt x="7806233" y="585491"/>
                </a:cubicBezTo>
                <a:cubicBezTo>
                  <a:pt x="7802638" y="590285"/>
                  <a:pt x="7809230" y="593881"/>
                  <a:pt x="7814024" y="589686"/>
                </a:cubicBezTo>
                <a:cubicBezTo>
                  <a:pt x="7818819" y="585491"/>
                  <a:pt x="7827208" y="581296"/>
                  <a:pt x="7830804" y="579498"/>
                </a:cubicBezTo>
                <a:cubicBezTo>
                  <a:pt x="7834399" y="577700"/>
                  <a:pt x="7837396" y="575303"/>
                  <a:pt x="7837396" y="572307"/>
                </a:cubicBezTo>
                <a:cubicBezTo>
                  <a:pt x="7837396" y="568711"/>
                  <a:pt x="7836797" y="565115"/>
                  <a:pt x="7840991" y="568112"/>
                </a:cubicBezTo>
                <a:cubicBezTo>
                  <a:pt x="7845186" y="571108"/>
                  <a:pt x="7846385" y="572307"/>
                  <a:pt x="7848182" y="568711"/>
                </a:cubicBezTo>
                <a:cubicBezTo>
                  <a:pt x="7849980" y="565715"/>
                  <a:pt x="7852378" y="567512"/>
                  <a:pt x="7851779" y="571108"/>
                </a:cubicBezTo>
                <a:cubicBezTo>
                  <a:pt x="7851179" y="574704"/>
                  <a:pt x="7854175" y="580697"/>
                  <a:pt x="7857171" y="576502"/>
                </a:cubicBezTo>
                <a:cubicBezTo>
                  <a:pt x="7860168" y="572307"/>
                  <a:pt x="7862565" y="574104"/>
                  <a:pt x="7859569" y="579498"/>
                </a:cubicBezTo>
                <a:cubicBezTo>
                  <a:pt x="7857171" y="584891"/>
                  <a:pt x="7857771" y="589086"/>
                  <a:pt x="7861367" y="584891"/>
                </a:cubicBezTo>
                <a:cubicBezTo>
                  <a:pt x="7864962" y="580697"/>
                  <a:pt x="7878146" y="580097"/>
                  <a:pt x="7878146" y="585491"/>
                </a:cubicBezTo>
                <a:cubicBezTo>
                  <a:pt x="7878146" y="590884"/>
                  <a:pt x="7883540" y="602270"/>
                  <a:pt x="7884739" y="593881"/>
                </a:cubicBezTo>
                <a:cubicBezTo>
                  <a:pt x="7885937" y="585491"/>
                  <a:pt x="7880543" y="580697"/>
                  <a:pt x="7884739" y="578899"/>
                </a:cubicBezTo>
                <a:cubicBezTo>
                  <a:pt x="7888933" y="577101"/>
                  <a:pt x="7885937" y="582494"/>
                  <a:pt x="7888933" y="589086"/>
                </a:cubicBezTo>
                <a:cubicBezTo>
                  <a:pt x="7891331" y="595678"/>
                  <a:pt x="7891331" y="598075"/>
                  <a:pt x="7899721" y="598675"/>
                </a:cubicBezTo>
                <a:cubicBezTo>
                  <a:pt x="7908110" y="599274"/>
                  <a:pt x="7906911" y="597476"/>
                  <a:pt x="7905713" y="593281"/>
                </a:cubicBezTo>
                <a:cubicBezTo>
                  <a:pt x="7905113" y="589086"/>
                  <a:pt x="7900320" y="586689"/>
                  <a:pt x="7907511" y="589086"/>
                </a:cubicBezTo>
                <a:cubicBezTo>
                  <a:pt x="7912904" y="590884"/>
                  <a:pt x="7924291" y="589086"/>
                  <a:pt x="7918897" y="584891"/>
                </a:cubicBezTo>
                <a:cubicBezTo>
                  <a:pt x="7913503" y="580697"/>
                  <a:pt x="7909908" y="580697"/>
                  <a:pt x="7906911" y="580697"/>
                </a:cubicBezTo>
                <a:cubicBezTo>
                  <a:pt x="7904514" y="580697"/>
                  <a:pt x="7900320" y="580097"/>
                  <a:pt x="7900320" y="577700"/>
                </a:cubicBezTo>
                <a:cubicBezTo>
                  <a:pt x="7900320" y="575303"/>
                  <a:pt x="7900320" y="574704"/>
                  <a:pt x="7905113" y="576502"/>
                </a:cubicBezTo>
                <a:cubicBezTo>
                  <a:pt x="7909908" y="578299"/>
                  <a:pt x="7917099" y="577101"/>
                  <a:pt x="7919496" y="574104"/>
                </a:cubicBezTo>
                <a:cubicBezTo>
                  <a:pt x="7921893" y="570509"/>
                  <a:pt x="7920695" y="569310"/>
                  <a:pt x="7917099" y="570509"/>
                </a:cubicBezTo>
                <a:cubicBezTo>
                  <a:pt x="7913503" y="571707"/>
                  <a:pt x="7911706" y="571707"/>
                  <a:pt x="7909309" y="568112"/>
                </a:cubicBezTo>
                <a:cubicBezTo>
                  <a:pt x="7906911" y="563917"/>
                  <a:pt x="7904514" y="565715"/>
                  <a:pt x="7906312" y="562119"/>
                </a:cubicBezTo>
                <a:cubicBezTo>
                  <a:pt x="7908110" y="557924"/>
                  <a:pt x="7899721" y="557924"/>
                  <a:pt x="7899121" y="553729"/>
                </a:cubicBezTo>
                <a:cubicBezTo>
                  <a:pt x="7898522" y="549534"/>
                  <a:pt x="7891930" y="553130"/>
                  <a:pt x="7888933" y="551332"/>
                </a:cubicBezTo>
                <a:cubicBezTo>
                  <a:pt x="7885937" y="548935"/>
                  <a:pt x="7887735" y="548935"/>
                  <a:pt x="7889532" y="547137"/>
                </a:cubicBezTo>
                <a:cubicBezTo>
                  <a:pt x="7891930" y="544740"/>
                  <a:pt x="7889532" y="544740"/>
                  <a:pt x="7887135" y="541744"/>
                </a:cubicBezTo>
                <a:cubicBezTo>
                  <a:pt x="7884739" y="538747"/>
                  <a:pt x="7883540" y="539347"/>
                  <a:pt x="7884739" y="536949"/>
                </a:cubicBezTo>
                <a:cubicBezTo>
                  <a:pt x="7885338" y="534552"/>
                  <a:pt x="7877547" y="525563"/>
                  <a:pt x="7874551" y="524365"/>
                </a:cubicBezTo>
                <a:cubicBezTo>
                  <a:pt x="7871554" y="523166"/>
                  <a:pt x="7871554" y="522567"/>
                  <a:pt x="7870356" y="520170"/>
                </a:cubicBezTo>
                <a:cubicBezTo>
                  <a:pt x="7869157" y="517773"/>
                  <a:pt x="7864962" y="517773"/>
                  <a:pt x="7861367" y="515975"/>
                </a:cubicBezTo>
                <a:cubicBezTo>
                  <a:pt x="7857171" y="514776"/>
                  <a:pt x="7851779" y="514177"/>
                  <a:pt x="7857171" y="511780"/>
                </a:cubicBezTo>
                <a:cubicBezTo>
                  <a:pt x="7862565" y="509383"/>
                  <a:pt x="7856572" y="506387"/>
                  <a:pt x="7852977" y="506986"/>
                </a:cubicBezTo>
                <a:cubicBezTo>
                  <a:pt x="7849381" y="507585"/>
                  <a:pt x="7845786" y="509383"/>
                  <a:pt x="7846984" y="506387"/>
                </a:cubicBezTo>
                <a:cubicBezTo>
                  <a:pt x="7847583" y="503390"/>
                  <a:pt x="7847583" y="503989"/>
                  <a:pt x="7848782" y="501592"/>
                </a:cubicBezTo>
                <a:cubicBezTo>
                  <a:pt x="7849980" y="499195"/>
                  <a:pt x="7849980" y="499195"/>
                  <a:pt x="7852977" y="499195"/>
                </a:cubicBezTo>
                <a:cubicBezTo>
                  <a:pt x="7855374" y="499795"/>
                  <a:pt x="7855973" y="495000"/>
                  <a:pt x="7852378" y="492004"/>
                </a:cubicBezTo>
                <a:cubicBezTo>
                  <a:pt x="7848182" y="489008"/>
                  <a:pt x="7845186" y="488408"/>
                  <a:pt x="7843389" y="486610"/>
                </a:cubicBezTo>
                <a:cubicBezTo>
                  <a:pt x="7840991" y="484213"/>
                  <a:pt x="7832601" y="478221"/>
                  <a:pt x="7831403" y="474625"/>
                </a:cubicBezTo>
                <a:cubicBezTo>
                  <a:pt x="7830804" y="470430"/>
                  <a:pt x="7830804" y="472228"/>
                  <a:pt x="7833800" y="472827"/>
                </a:cubicBezTo>
                <a:cubicBezTo>
                  <a:pt x="7837396" y="473426"/>
                  <a:pt x="7836197" y="472228"/>
                  <a:pt x="7836797" y="470430"/>
                </a:cubicBezTo>
                <a:cubicBezTo>
                  <a:pt x="7837396" y="468033"/>
                  <a:pt x="7837396" y="469232"/>
                  <a:pt x="7840392" y="468632"/>
                </a:cubicBezTo>
                <a:cubicBezTo>
                  <a:pt x="7843389" y="468033"/>
                  <a:pt x="7840392" y="464437"/>
                  <a:pt x="7835598" y="465037"/>
                </a:cubicBezTo>
                <a:cubicBezTo>
                  <a:pt x="7830804" y="465636"/>
                  <a:pt x="7827208" y="465636"/>
                  <a:pt x="7827808" y="463239"/>
                </a:cubicBezTo>
                <a:cubicBezTo>
                  <a:pt x="7828407" y="460842"/>
                  <a:pt x="7827808" y="460242"/>
                  <a:pt x="7833201" y="462040"/>
                </a:cubicBezTo>
                <a:cubicBezTo>
                  <a:pt x="7838594" y="463838"/>
                  <a:pt x="7837396" y="461441"/>
                  <a:pt x="7835598" y="459044"/>
                </a:cubicBezTo>
                <a:cubicBezTo>
                  <a:pt x="7834399" y="456647"/>
                  <a:pt x="7831403" y="456047"/>
                  <a:pt x="7829605" y="453650"/>
                </a:cubicBezTo>
                <a:cubicBezTo>
                  <a:pt x="7827208" y="451253"/>
                  <a:pt x="7821215" y="452452"/>
                  <a:pt x="7817620" y="453051"/>
                </a:cubicBezTo>
                <a:cubicBezTo>
                  <a:pt x="7813425" y="453650"/>
                  <a:pt x="7808031" y="453051"/>
                  <a:pt x="7808031" y="449455"/>
                </a:cubicBezTo>
                <a:cubicBezTo>
                  <a:pt x="7808031" y="445860"/>
                  <a:pt x="7808630" y="444062"/>
                  <a:pt x="7812826" y="445261"/>
                </a:cubicBezTo>
                <a:cubicBezTo>
                  <a:pt x="7817020" y="446459"/>
                  <a:pt x="7820616" y="445860"/>
                  <a:pt x="7818819" y="443463"/>
                </a:cubicBezTo>
                <a:cubicBezTo>
                  <a:pt x="7817020" y="441066"/>
                  <a:pt x="7816421" y="441665"/>
                  <a:pt x="7811627" y="440466"/>
                </a:cubicBezTo>
                <a:cubicBezTo>
                  <a:pt x="7806833" y="439268"/>
                  <a:pt x="7803237" y="438069"/>
                  <a:pt x="7800240" y="435073"/>
                </a:cubicBezTo>
                <a:cubicBezTo>
                  <a:pt x="7797844" y="432676"/>
                  <a:pt x="7795447" y="431477"/>
                  <a:pt x="7790652" y="429679"/>
                </a:cubicBezTo>
                <a:cubicBezTo>
                  <a:pt x="7785858" y="427882"/>
                  <a:pt x="7781663" y="425485"/>
                  <a:pt x="7786458" y="423087"/>
                </a:cubicBezTo>
                <a:cubicBezTo>
                  <a:pt x="7791851" y="420690"/>
                  <a:pt x="7797844" y="426084"/>
                  <a:pt x="7795447" y="420690"/>
                </a:cubicBezTo>
                <a:cubicBezTo>
                  <a:pt x="7793049" y="415297"/>
                  <a:pt x="7793049" y="415896"/>
                  <a:pt x="7788255" y="413499"/>
                </a:cubicBezTo>
                <a:cubicBezTo>
                  <a:pt x="7784060" y="411102"/>
                  <a:pt x="7783461" y="411102"/>
                  <a:pt x="7786458" y="408106"/>
                </a:cubicBezTo>
                <a:cubicBezTo>
                  <a:pt x="7789454" y="405109"/>
                  <a:pt x="7789454" y="405109"/>
                  <a:pt x="7789454" y="402113"/>
                </a:cubicBezTo>
                <a:cubicBezTo>
                  <a:pt x="7789454" y="399116"/>
                  <a:pt x="7790652" y="399716"/>
                  <a:pt x="7794248" y="399716"/>
                </a:cubicBezTo>
                <a:cubicBezTo>
                  <a:pt x="7797844" y="399116"/>
                  <a:pt x="7797244" y="397918"/>
                  <a:pt x="7799042" y="396719"/>
                </a:cubicBezTo>
                <a:cubicBezTo>
                  <a:pt x="7800840" y="395521"/>
                  <a:pt x="7799641" y="393723"/>
                  <a:pt x="7796046" y="390727"/>
                </a:cubicBezTo>
                <a:cubicBezTo>
                  <a:pt x="7791851" y="387730"/>
                  <a:pt x="7790652" y="385333"/>
                  <a:pt x="7794248" y="386532"/>
                </a:cubicBezTo>
                <a:cubicBezTo>
                  <a:pt x="7797844" y="387730"/>
                  <a:pt x="7796046" y="384135"/>
                  <a:pt x="7791851" y="379940"/>
                </a:cubicBezTo>
                <a:cubicBezTo>
                  <a:pt x="7787656" y="375745"/>
                  <a:pt x="7783461" y="372748"/>
                  <a:pt x="7783461" y="372748"/>
                </a:cubicBezTo>
                <a:cubicBezTo>
                  <a:pt x="7783461" y="372748"/>
                  <a:pt x="7784659" y="366756"/>
                  <a:pt x="7790652" y="371550"/>
                </a:cubicBezTo>
                <a:cubicBezTo>
                  <a:pt x="7796046" y="376344"/>
                  <a:pt x="7803837" y="388929"/>
                  <a:pt x="7806833" y="381738"/>
                </a:cubicBezTo>
                <a:cubicBezTo>
                  <a:pt x="7807432" y="379340"/>
                  <a:pt x="7810429" y="379340"/>
                  <a:pt x="7812826" y="380539"/>
                </a:cubicBezTo>
                <a:cubicBezTo>
                  <a:pt x="7815222" y="381738"/>
                  <a:pt x="7816421" y="381138"/>
                  <a:pt x="7818219" y="378142"/>
                </a:cubicBezTo>
                <a:cubicBezTo>
                  <a:pt x="7820616" y="375146"/>
                  <a:pt x="7820017" y="373947"/>
                  <a:pt x="7822414" y="374546"/>
                </a:cubicBezTo>
                <a:cubicBezTo>
                  <a:pt x="7824811" y="375146"/>
                  <a:pt x="7829605" y="361961"/>
                  <a:pt x="7826609" y="355969"/>
                </a:cubicBezTo>
                <a:cubicBezTo>
                  <a:pt x="7823612" y="349976"/>
                  <a:pt x="7821215" y="346380"/>
                  <a:pt x="7826010" y="348777"/>
                </a:cubicBezTo>
                <a:cubicBezTo>
                  <a:pt x="7830804" y="351175"/>
                  <a:pt x="7830204" y="342785"/>
                  <a:pt x="7826010" y="337391"/>
                </a:cubicBezTo>
                <a:cubicBezTo>
                  <a:pt x="7821815" y="331998"/>
                  <a:pt x="7820616" y="329601"/>
                  <a:pt x="7818219" y="324207"/>
                </a:cubicBezTo>
                <a:cubicBezTo>
                  <a:pt x="7815822" y="318814"/>
                  <a:pt x="7809829" y="311622"/>
                  <a:pt x="7811028" y="306229"/>
                </a:cubicBezTo>
                <a:cubicBezTo>
                  <a:pt x="7812226" y="300836"/>
                  <a:pt x="7811627" y="291846"/>
                  <a:pt x="7803237" y="292446"/>
                </a:cubicBezTo>
                <a:cubicBezTo>
                  <a:pt x="7794848" y="293045"/>
                  <a:pt x="7798443" y="291846"/>
                  <a:pt x="7796046" y="289449"/>
                </a:cubicBezTo>
                <a:cubicBezTo>
                  <a:pt x="7793649" y="287052"/>
                  <a:pt x="7791851" y="286453"/>
                  <a:pt x="7787656" y="284655"/>
                </a:cubicBezTo>
                <a:cubicBezTo>
                  <a:pt x="7783461" y="282857"/>
                  <a:pt x="7780465" y="277464"/>
                  <a:pt x="7786458" y="279262"/>
                </a:cubicBezTo>
                <a:cubicBezTo>
                  <a:pt x="7791851" y="281059"/>
                  <a:pt x="7802638" y="283457"/>
                  <a:pt x="7806233" y="286453"/>
                </a:cubicBezTo>
                <a:cubicBezTo>
                  <a:pt x="7810429" y="288850"/>
                  <a:pt x="7812226" y="289449"/>
                  <a:pt x="7814623" y="287052"/>
                </a:cubicBezTo>
                <a:cubicBezTo>
                  <a:pt x="7817020" y="284655"/>
                  <a:pt x="7816421" y="284655"/>
                  <a:pt x="7820616" y="284655"/>
                </a:cubicBezTo>
                <a:cubicBezTo>
                  <a:pt x="7824811" y="285254"/>
                  <a:pt x="7824811" y="284655"/>
                  <a:pt x="7826010" y="282258"/>
                </a:cubicBezTo>
                <a:cubicBezTo>
                  <a:pt x="7827208" y="279861"/>
                  <a:pt x="7829605" y="282857"/>
                  <a:pt x="7830204" y="278662"/>
                </a:cubicBezTo>
                <a:cubicBezTo>
                  <a:pt x="7830804" y="274467"/>
                  <a:pt x="7832002" y="273269"/>
                  <a:pt x="7832002" y="273269"/>
                </a:cubicBezTo>
                <a:lnTo>
                  <a:pt x="7831403" y="271471"/>
                </a:lnTo>
                <a:cubicBezTo>
                  <a:pt x="7817620" y="261883"/>
                  <a:pt x="7805634" y="253493"/>
                  <a:pt x="7795447" y="246901"/>
                </a:cubicBezTo>
                <a:cubicBezTo>
                  <a:pt x="7760089" y="224128"/>
                  <a:pt x="7612069" y="126447"/>
                  <a:pt x="7569520" y="100678"/>
                </a:cubicBezTo>
                <a:cubicBezTo>
                  <a:pt x="7526972" y="74909"/>
                  <a:pt x="7390338" y="0"/>
                  <a:pt x="7390338" y="0"/>
                </a:cubicBezTo>
                <a:lnTo>
                  <a:pt x="7093697" y="0"/>
                </a:lnTo>
                <a:lnTo>
                  <a:pt x="7039163" y="0"/>
                </a:lnTo>
                <a:lnTo>
                  <a:pt x="6983431" y="0"/>
                </a:lnTo>
                <a:cubicBezTo>
                  <a:pt x="6983431" y="0"/>
                  <a:pt x="6989423" y="11386"/>
                  <a:pt x="7003206" y="10787"/>
                </a:cubicBezTo>
                <a:cubicBezTo>
                  <a:pt x="7016990" y="10188"/>
                  <a:pt x="7024781" y="11985"/>
                  <a:pt x="7021784" y="15581"/>
                </a:cubicBezTo>
                <a:cubicBezTo>
                  <a:pt x="7018788" y="19177"/>
                  <a:pt x="7012795" y="17379"/>
                  <a:pt x="7010997" y="17379"/>
                </a:cubicBezTo>
                <a:cubicBezTo>
                  <a:pt x="7009199" y="17379"/>
                  <a:pt x="7008600" y="16780"/>
                  <a:pt x="7008600" y="19776"/>
                </a:cubicBezTo>
                <a:cubicBezTo>
                  <a:pt x="7008600" y="22772"/>
                  <a:pt x="7010997" y="25769"/>
                  <a:pt x="6998412" y="25170"/>
                </a:cubicBezTo>
                <a:cubicBezTo>
                  <a:pt x="6986427" y="24570"/>
                  <a:pt x="6973842" y="24570"/>
                  <a:pt x="6977438" y="30563"/>
                </a:cubicBezTo>
                <a:cubicBezTo>
                  <a:pt x="6981632" y="36556"/>
                  <a:pt x="6982831" y="37754"/>
                  <a:pt x="6981632" y="40151"/>
                </a:cubicBezTo>
                <a:cubicBezTo>
                  <a:pt x="6981033" y="42548"/>
                  <a:pt x="6982232" y="43747"/>
                  <a:pt x="6977438" y="38953"/>
                </a:cubicBezTo>
                <a:cubicBezTo>
                  <a:pt x="6972643" y="34159"/>
                  <a:pt x="6971445" y="34159"/>
                  <a:pt x="6967850" y="32960"/>
                </a:cubicBezTo>
                <a:cubicBezTo>
                  <a:pt x="6964253" y="31762"/>
                  <a:pt x="6961857" y="27567"/>
                  <a:pt x="6952868" y="22772"/>
                </a:cubicBezTo>
                <a:cubicBezTo>
                  <a:pt x="6943879" y="18577"/>
                  <a:pt x="6939683" y="17978"/>
                  <a:pt x="6932492" y="22173"/>
                </a:cubicBezTo>
                <a:cubicBezTo>
                  <a:pt x="6925301" y="26368"/>
                  <a:pt x="6921705" y="25769"/>
                  <a:pt x="6917510" y="31162"/>
                </a:cubicBezTo>
                <a:cubicBezTo>
                  <a:pt x="6913315" y="36556"/>
                  <a:pt x="6915712" y="36556"/>
                  <a:pt x="6910919" y="34758"/>
                </a:cubicBezTo>
                <a:cubicBezTo>
                  <a:pt x="6906124" y="32960"/>
                  <a:pt x="6897135" y="38354"/>
                  <a:pt x="6891142" y="38953"/>
                </a:cubicBezTo>
                <a:cubicBezTo>
                  <a:pt x="6885749" y="39552"/>
                  <a:pt x="6880955" y="40751"/>
                  <a:pt x="6879157" y="43148"/>
                </a:cubicBezTo>
                <a:cubicBezTo>
                  <a:pt x="6877958" y="45545"/>
                  <a:pt x="6876160" y="47343"/>
                  <a:pt x="6885149" y="48541"/>
                </a:cubicBezTo>
                <a:cubicBezTo>
                  <a:pt x="6894139" y="49740"/>
                  <a:pt x="6897135" y="49140"/>
                  <a:pt x="6897734" y="52736"/>
                </a:cubicBezTo>
                <a:cubicBezTo>
                  <a:pt x="6898333" y="55732"/>
                  <a:pt x="6886948" y="53935"/>
                  <a:pt x="6879756" y="53335"/>
                </a:cubicBezTo>
                <a:cubicBezTo>
                  <a:pt x="6872565" y="52736"/>
                  <a:pt x="6865373" y="59328"/>
                  <a:pt x="6870168" y="65321"/>
                </a:cubicBezTo>
                <a:cubicBezTo>
                  <a:pt x="6874962" y="71314"/>
                  <a:pt x="6877359" y="75509"/>
                  <a:pt x="6880955" y="76108"/>
                </a:cubicBezTo>
                <a:cubicBezTo>
                  <a:pt x="6884550" y="76707"/>
                  <a:pt x="6888146" y="77906"/>
                  <a:pt x="6883951" y="80303"/>
                </a:cubicBezTo>
                <a:cubicBezTo>
                  <a:pt x="6879756" y="82700"/>
                  <a:pt x="6876759" y="81501"/>
                  <a:pt x="6870168" y="78505"/>
                </a:cubicBezTo>
                <a:cubicBezTo>
                  <a:pt x="6863576" y="75509"/>
                  <a:pt x="6855186" y="73711"/>
                  <a:pt x="6851590" y="74909"/>
                </a:cubicBezTo>
                <a:cubicBezTo>
                  <a:pt x="6847395" y="76108"/>
                  <a:pt x="6847395" y="79703"/>
                  <a:pt x="6853988" y="83299"/>
                </a:cubicBezTo>
                <a:cubicBezTo>
                  <a:pt x="6864175" y="90490"/>
                  <a:pt x="6865973" y="94086"/>
                  <a:pt x="6861778" y="92887"/>
                </a:cubicBezTo>
                <a:close/>
                <a:moveTo>
                  <a:pt x="4253738" y="1659989"/>
                </a:moveTo>
                <a:cubicBezTo>
                  <a:pt x="4251341" y="1660588"/>
                  <a:pt x="4245348" y="1664783"/>
                  <a:pt x="4244149" y="1670776"/>
                </a:cubicBezTo>
                <a:cubicBezTo>
                  <a:pt x="4243550" y="1676769"/>
                  <a:pt x="4241752" y="1681563"/>
                  <a:pt x="4247146" y="1682761"/>
                </a:cubicBezTo>
                <a:cubicBezTo>
                  <a:pt x="4252539" y="1683361"/>
                  <a:pt x="4250142" y="1691751"/>
                  <a:pt x="4247745" y="1694148"/>
                </a:cubicBezTo>
                <a:cubicBezTo>
                  <a:pt x="4243550" y="1698342"/>
                  <a:pt x="4248344" y="1706133"/>
                  <a:pt x="4253738" y="1706133"/>
                </a:cubicBezTo>
                <a:cubicBezTo>
                  <a:pt x="4262127" y="1706133"/>
                  <a:pt x="4255536" y="1696545"/>
                  <a:pt x="4260929" y="1697743"/>
                </a:cubicBezTo>
                <a:cubicBezTo>
                  <a:pt x="4266322" y="1698342"/>
                  <a:pt x="4275911" y="1697743"/>
                  <a:pt x="4273514" y="1692350"/>
                </a:cubicBezTo>
                <a:cubicBezTo>
                  <a:pt x="4271117" y="1686956"/>
                  <a:pt x="4268120" y="1682761"/>
                  <a:pt x="4262727" y="1683361"/>
                </a:cubicBezTo>
                <a:cubicBezTo>
                  <a:pt x="4257333" y="1683960"/>
                  <a:pt x="4254337" y="1681563"/>
                  <a:pt x="4256135" y="1674971"/>
                </a:cubicBezTo>
                <a:cubicBezTo>
                  <a:pt x="4258532" y="1667780"/>
                  <a:pt x="4262727" y="1669577"/>
                  <a:pt x="4265723" y="1672574"/>
                </a:cubicBezTo>
                <a:cubicBezTo>
                  <a:pt x="4268720" y="1675570"/>
                  <a:pt x="4271716" y="1674971"/>
                  <a:pt x="4277109" y="1668978"/>
                </a:cubicBezTo>
                <a:cubicBezTo>
                  <a:pt x="4282503" y="1663585"/>
                  <a:pt x="4291492" y="1663585"/>
                  <a:pt x="4297485" y="1669577"/>
                </a:cubicBezTo>
                <a:cubicBezTo>
                  <a:pt x="4303477" y="1674971"/>
                  <a:pt x="4320257" y="1676769"/>
                  <a:pt x="4325051" y="1686357"/>
                </a:cubicBezTo>
                <a:cubicBezTo>
                  <a:pt x="4329845" y="1695945"/>
                  <a:pt x="4333441" y="1698942"/>
                  <a:pt x="4334040" y="1688155"/>
                </a:cubicBezTo>
                <a:cubicBezTo>
                  <a:pt x="4334640" y="1677368"/>
                  <a:pt x="4333441" y="1673173"/>
                  <a:pt x="4341232" y="1666581"/>
                </a:cubicBezTo>
                <a:cubicBezTo>
                  <a:pt x="4344827" y="1662985"/>
                  <a:pt x="4350820" y="1656993"/>
                  <a:pt x="4358611" y="1660588"/>
                </a:cubicBezTo>
                <a:cubicBezTo>
                  <a:pt x="4364603" y="1662985"/>
                  <a:pt x="4365802" y="1658191"/>
                  <a:pt x="4365203" y="1656393"/>
                </a:cubicBezTo>
                <a:cubicBezTo>
                  <a:pt x="4364603" y="1653996"/>
                  <a:pt x="4367000" y="1651599"/>
                  <a:pt x="4369398" y="1651000"/>
                </a:cubicBezTo>
                <a:cubicBezTo>
                  <a:pt x="4371794" y="1650400"/>
                  <a:pt x="4374791" y="1652798"/>
                  <a:pt x="4369997" y="1654595"/>
                </a:cubicBezTo>
                <a:cubicBezTo>
                  <a:pt x="4365203" y="1656393"/>
                  <a:pt x="4370596" y="1660588"/>
                  <a:pt x="4375390" y="1655794"/>
                </a:cubicBezTo>
                <a:cubicBezTo>
                  <a:pt x="4379585" y="1651000"/>
                  <a:pt x="4382582" y="1647404"/>
                  <a:pt x="4388574" y="1646805"/>
                </a:cubicBezTo>
                <a:cubicBezTo>
                  <a:pt x="4395166" y="1646206"/>
                  <a:pt x="4395166" y="1641411"/>
                  <a:pt x="4390971" y="1639614"/>
                </a:cubicBezTo>
                <a:cubicBezTo>
                  <a:pt x="4386776" y="1638415"/>
                  <a:pt x="4379585" y="1632422"/>
                  <a:pt x="4384379" y="1622834"/>
                </a:cubicBezTo>
                <a:cubicBezTo>
                  <a:pt x="4389174" y="1612646"/>
                  <a:pt x="4386177" y="1606054"/>
                  <a:pt x="4382582" y="1613845"/>
                </a:cubicBezTo>
                <a:cubicBezTo>
                  <a:pt x="4378986" y="1621036"/>
                  <a:pt x="4371794" y="1628827"/>
                  <a:pt x="4367000" y="1628827"/>
                </a:cubicBezTo>
                <a:cubicBezTo>
                  <a:pt x="4362206" y="1628227"/>
                  <a:pt x="4362206" y="1626429"/>
                  <a:pt x="4362805" y="1624032"/>
                </a:cubicBezTo>
                <a:cubicBezTo>
                  <a:pt x="4363405" y="1621635"/>
                  <a:pt x="4360409" y="1619838"/>
                  <a:pt x="4358011" y="1622834"/>
                </a:cubicBezTo>
                <a:cubicBezTo>
                  <a:pt x="4355614" y="1625231"/>
                  <a:pt x="4353816" y="1624032"/>
                  <a:pt x="4354416" y="1622235"/>
                </a:cubicBezTo>
                <a:cubicBezTo>
                  <a:pt x="4355015" y="1619838"/>
                  <a:pt x="4344827" y="1615043"/>
                  <a:pt x="4341232" y="1613845"/>
                </a:cubicBezTo>
                <a:cubicBezTo>
                  <a:pt x="4337037" y="1612646"/>
                  <a:pt x="4330445" y="1606054"/>
                  <a:pt x="4328048" y="1604256"/>
                </a:cubicBezTo>
                <a:cubicBezTo>
                  <a:pt x="4325651" y="1602459"/>
                  <a:pt x="4316062" y="1595867"/>
                  <a:pt x="4314264" y="1588076"/>
                </a:cubicBezTo>
                <a:cubicBezTo>
                  <a:pt x="4311867" y="1580885"/>
                  <a:pt x="4305874" y="1574293"/>
                  <a:pt x="4304077" y="1571296"/>
                </a:cubicBezTo>
                <a:cubicBezTo>
                  <a:pt x="4302279" y="1568300"/>
                  <a:pt x="4298683" y="1565304"/>
                  <a:pt x="4297485" y="1577888"/>
                </a:cubicBezTo>
                <a:cubicBezTo>
                  <a:pt x="4296286" y="1590473"/>
                  <a:pt x="4290893" y="1597664"/>
                  <a:pt x="4292691" y="1606654"/>
                </a:cubicBezTo>
                <a:cubicBezTo>
                  <a:pt x="4294488" y="1615043"/>
                  <a:pt x="4293290" y="1622235"/>
                  <a:pt x="4290293" y="1625830"/>
                </a:cubicBezTo>
                <a:cubicBezTo>
                  <a:pt x="4287297" y="1629426"/>
                  <a:pt x="4286098" y="1635419"/>
                  <a:pt x="4285499" y="1638415"/>
                </a:cubicBezTo>
                <a:cubicBezTo>
                  <a:pt x="4284900" y="1641411"/>
                  <a:pt x="4283102" y="1645606"/>
                  <a:pt x="4279507" y="1644408"/>
                </a:cubicBezTo>
                <a:cubicBezTo>
                  <a:pt x="4275911" y="1643209"/>
                  <a:pt x="4272315" y="1648003"/>
                  <a:pt x="4265124" y="1642011"/>
                </a:cubicBezTo>
                <a:cubicBezTo>
                  <a:pt x="4257932" y="1636018"/>
                  <a:pt x="4259131" y="1638415"/>
                  <a:pt x="4256734" y="1640213"/>
                </a:cubicBezTo>
                <a:cubicBezTo>
                  <a:pt x="4254337" y="1642011"/>
                  <a:pt x="4254337" y="1647404"/>
                  <a:pt x="4260330" y="1651000"/>
                </a:cubicBezTo>
                <a:cubicBezTo>
                  <a:pt x="4265723" y="1652198"/>
                  <a:pt x="4256135" y="1658790"/>
                  <a:pt x="4253738" y="1659989"/>
                </a:cubicBezTo>
                <a:close/>
                <a:moveTo>
                  <a:pt x="3964888" y="1986593"/>
                </a:moveTo>
                <a:cubicBezTo>
                  <a:pt x="3965487" y="1988990"/>
                  <a:pt x="3965487" y="1991987"/>
                  <a:pt x="3967284" y="1994983"/>
                </a:cubicBezTo>
                <a:cubicBezTo>
                  <a:pt x="3968483" y="1998579"/>
                  <a:pt x="3972079" y="2000377"/>
                  <a:pt x="3972079" y="1994384"/>
                </a:cubicBezTo>
                <a:cubicBezTo>
                  <a:pt x="3972079" y="1988391"/>
                  <a:pt x="3971479" y="1980600"/>
                  <a:pt x="3976274" y="1985994"/>
                </a:cubicBezTo>
                <a:cubicBezTo>
                  <a:pt x="3981068" y="1991387"/>
                  <a:pt x="3980469" y="1994384"/>
                  <a:pt x="3978072" y="1994983"/>
                </a:cubicBezTo>
                <a:cubicBezTo>
                  <a:pt x="3975674" y="1995582"/>
                  <a:pt x="3975674" y="1997979"/>
                  <a:pt x="3978671" y="1999178"/>
                </a:cubicBezTo>
                <a:cubicBezTo>
                  <a:pt x="3981068" y="2000377"/>
                  <a:pt x="3979270" y="2005770"/>
                  <a:pt x="3976274" y="2006369"/>
                </a:cubicBezTo>
                <a:cubicBezTo>
                  <a:pt x="3973877" y="2006968"/>
                  <a:pt x="3973277" y="2012961"/>
                  <a:pt x="3973277" y="2014759"/>
                </a:cubicBezTo>
                <a:cubicBezTo>
                  <a:pt x="3973277" y="2017156"/>
                  <a:pt x="3967284" y="2014160"/>
                  <a:pt x="3968483" y="2021950"/>
                </a:cubicBezTo>
                <a:cubicBezTo>
                  <a:pt x="3969682" y="2030340"/>
                  <a:pt x="3969083" y="2031539"/>
                  <a:pt x="3971479" y="2035134"/>
                </a:cubicBezTo>
                <a:cubicBezTo>
                  <a:pt x="3971479" y="2035134"/>
                  <a:pt x="3972079" y="2042326"/>
                  <a:pt x="3970281" y="2043524"/>
                </a:cubicBezTo>
                <a:cubicBezTo>
                  <a:pt x="3968483" y="2044124"/>
                  <a:pt x="3966685" y="2047120"/>
                  <a:pt x="3970880" y="2048918"/>
                </a:cubicBezTo>
                <a:cubicBezTo>
                  <a:pt x="3975075" y="2051315"/>
                  <a:pt x="3978072" y="2048319"/>
                  <a:pt x="3976873" y="2044723"/>
                </a:cubicBezTo>
                <a:cubicBezTo>
                  <a:pt x="3975674" y="2041726"/>
                  <a:pt x="3973877" y="2037531"/>
                  <a:pt x="3976274" y="2035134"/>
                </a:cubicBezTo>
                <a:cubicBezTo>
                  <a:pt x="3978671" y="2032737"/>
                  <a:pt x="3980469" y="2029741"/>
                  <a:pt x="3983465" y="2029741"/>
                </a:cubicBezTo>
                <a:cubicBezTo>
                  <a:pt x="3986461" y="2030340"/>
                  <a:pt x="3985263" y="2033936"/>
                  <a:pt x="3982866" y="2035134"/>
                </a:cubicBezTo>
                <a:cubicBezTo>
                  <a:pt x="3980469" y="2035734"/>
                  <a:pt x="3979869" y="2039929"/>
                  <a:pt x="3981068" y="2042326"/>
                </a:cubicBezTo>
                <a:cubicBezTo>
                  <a:pt x="3982266" y="2044723"/>
                  <a:pt x="3981667" y="2047719"/>
                  <a:pt x="3979869" y="2049517"/>
                </a:cubicBezTo>
                <a:cubicBezTo>
                  <a:pt x="3977472" y="2051315"/>
                  <a:pt x="3973877" y="2059705"/>
                  <a:pt x="3979270" y="2054910"/>
                </a:cubicBezTo>
                <a:cubicBezTo>
                  <a:pt x="3986461" y="2047719"/>
                  <a:pt x="3994252" y="2047120"/>
                  <a:pt x="3994252" y="2042326"/>
                </a:cubicBezTo>
                <a:cubicBezTo>
                  <a:pt x="3994252" y="2037531"/>
                  <a:pt x="3996050" y="2033936"/>
                  <a:pt x="3999046" y="2032138"/>
                </a:cubicBezTo>
                <a:cubicBezTo>
                  <a:pt x="4002043" y="2030340"/>
                  <a:pt x="4003241" y="2026745"/>
                  <a:pt x="4003840" y="2020153"/>
                </a:cubicBezTo>
                <a:cubicBezTo>
                  <a:pt x="4004440" y="2013561"/>
                  <a:pt x="4009833" y="1995582"/>
                  <a:pt x="4015826" y="1993185"/>
                </a:cubicBezTo>
                <a:cubicBezTo>
                  <a:pt x="4022418" y="1990189"/>
                  <a:pt x="4016425" y="1978803"/>
                  <a:pt x="4016425" y="1978803"/>
                </a:cubicBezTo>
                <a:cubicBezTo>
                  <a:pt x="4017624" y="1975207"/>
                  <a:pt x="4014028" y="1975207"/>
                  <a:pt x="4012230" y="1975207"/>
                </a:cubicBezTo>
                <a:cubicBezTo>
                  <a:pt x="4010432" y="1975207"/>
                  <a:pt x="4008635" y="1972211"/>
                  <a:pt x="4012230" y="1971611"/>
                </a:cubicBezTo>
                <a:cubicBezTo>
                  <a:pt x="4015826" y="1971012"/>
                  <a:pt x="4011032" y="1963222"/>
                  <a:pt x="4008035" y="1963821"/>
                </a:cubicBezTo>
                <a:cubicBezTo>
                  <a:pt x="4004440" y="1962622"/>
                  <a:pt x="3995450" y="1960225"/>
                  <a:pt x="3994252" y="1958427"/>
                </a:cubicBezTo>
                <a:cubicBezTo>
                  <a:pt x="3994252" y="1959027"/>
                  <a:pt x="3992454" y="1959027"/>
                  <a:pt x="3986461" y="1958427"/>
                </a:cubicBezTo>
                <a:cubicBezTo>
                  <a:pt x="3982266" y="1955431"/>
                  <a:pt x="3966086" y="1970413"/>
                  <a:pt x="3966685" y="1972810"/>
                </a:cubicBezTo>
                <a:cubicBezTo>
                  <a:pt x="3966086" y="1977005"/>
                  <a:pt x="3964288" y="1984196"/>
                  <a:pt x="3964888" y="1986593"/>
                </a:cubicBezTo>
                <a:close/>
                <a:moveTo>
                  <a:pt x="4105717" y="1898500"/>
                </a:moveTo>
                <a:cubicBezTo>
                  <a:pt x="4103919" y="1901496"/>
                  <a:pt x="4093731" y="1898500"/>
                  <a:pt x="4087739" y="1899698"/>
                </a:cubicBezTo>
                <a:cubicBezTo>
                  <a:pt x="4081746" y="1900897"/>
                  <a:pt x="4079349" y="1901496"/>
                  <a:pt x="4077551" y="1902695"/>
                </a:cubicBezTo>
                <a:cubicBezTo>
                  <a:pt x="4072157" y="1906291"/>
                  <a:pt x="4069161" y="1902695"/>
                  <a:pt x="4066764" y="1903294"/>
                </a:cubicBezTo>
                <a:cubicBezTo>
                  <a:pt x="4059573" y="1904493"/>
                  <a:pt x="4057176" y="1902695"/>
                  <a:pt x="4053580" y="1903893"/>
                </a:cubicBezTo>
                <a:cubicBezTo>
                  <a:pt x="4048786" y="1906291"/>
                  <a:pt x="4043992" y="1903893"/>
                  <a:pt x="4041595" y="1908688"/>
                </a:cubicBezTo>
                <a:cubicBezTo>
                  <a:pt x="4039197" y="1913482"/>
                  <a:pt x="4032006" y="1913482"/>
                  <a:pt x="4026014" y="1921872"/>
                </a:cubicBezTo>
                <a:cubicBezTo>
                  <a:pt x="4021219" y="1928464"/>
                  <a:pt x="4013429" y="1926666"/>
                  <a:pt x="4011032" y="1926666"/>
                </a:cubicBezTo>
                <a:cubicBezTo>
                  <a:pt x="4008635" y="1926666"/>
                  <a:pt x="4005638" y="1929063"/>
                  <a:pt x="4003840" y="1933857"/>
                </a:cubicBezTo>
                <a:cubicBezTo>
                  <a:pt x="4001443" y="1941048"/>
                  <a:pt x="3990656" y="1938052"/>
                  <a:pt x="3988259" y="1945843"/>
                </a:cubicBezTo>
                <a:cubicBezTo>
                  <a:pt x="3985862" y="1953034"/>
                  <a:pt x="3985862" y="1953034"/>
                  <a:pt x="3987660" y="1955431"/>
                </a:cubicBezTo>
                <a:cubicBezTo>
                  <a:pt x="3988859" y="1956629"/>
                  <a:pt x="3992454" y="1958427"/>
                  <a:pt x="3992454" y="1959626"/>
                </a:cubicBezTo>
                <a:cubicBezTo>
                  <a:pt x="3991855" y="1958427"/>
                  <a:pt x="3994252" y="1957828"/>
                  <a:pt x="4001443" y="1957229"/>
                </a:cubicBezTo>
                <a:cubicBezTo>
                  <a:pt x="4006237" y="1953034"/>
                  <a:pt x="4010432" y="1954232"/>
                  <a:pt x="4012830" y="1956629"/>
                </a:cubicBezTo>
                <a:cubicBezTo>
                  <a:pt x="4015226" y="1959027"/>
                  <a:pt x="4024215" y="1957828"/>
                  <a:pt x="4021819" y="1954832"/>
                </a:cubicBezTo>
                <a:cubicBezTo>
                  <a:pt x="4019421" y="1951835"/>
                  <a:pt x="4024215" y="1950037"/>
                  <a:pt x="4025414" y="1955431"/>
                </a:cubicBezTo>
                <a:cubicBezTo>
                  <a:pt x="4025414" y="1959626"/>
                  <a:pt x="4033205" y="1956629"/>
                  <a:pt x="4033205" y="1951835"/>
                </a:cubicBezTo>
                <a:cubicBezTo>
                  <a:pt x="4033205" y="1947041"/>
                  <a:pt x="4035602" y="1945243"/>
                  <a:pt x="4038598" y="1945843"/>
                </a:cubicBezTo>
                <a:cubicBezTo>
                  <a:pt x="4042194" y="1946442"/>
                  <a:pt x="4039197" y="1943446"/>
                  <a:pt x="4043992" y="1941048"/>
                </a:cubicBezTo>
                <a:cubicBezTo>
                  <a:pt x="4048786" y="1938651"/>
                  <a:pt x="4048786" y="1936854"/>
                  <a:pt x="4051782" y="1938651"/>
                </a:cubicBezTo>
                <a:cubicBezTo>
                  <a:pt x="4054779" y="1941048"/>
                  <a:pt x="4056576" y="1939251"/>
                  <a:pt x="4057176" y="1936254"/>
                </a:cubicBezTo>
                <a:cubicBezTo>
                  <a:pt x="4057775" y="1932659"/>
                  <a:pt x="4064966" y="1932059"/>
                  <a:pt x="4067363" y="1933857"/>
                </a:cubicBezTo>
                <a:cubicBezTo>
                  <a:pt x="4069761" y="1935655"/>
                  <a:pt x="4076352" y="1935655"/>
                  <a:pt x="4078150" y="1930861"/>
                </a:cubicBezTo>
                <a:cubicBezTo>
                  <a:pt x="4079948" y="1926066"/>
                  <a:pt x="4089536" y="1926066"/>
                  <a:pt x="4093132" y="1927864"/>
                </a:cubicBezTo>
                <a:cubicBezTo>
                  <a:pt x="4097327" y="1929662"/>
                  <a:pt x="4111710" y="1939850"/>
                  <a:pt x="4109912" y="1944045"/>
                </a:cubicBezTo>
                <a:cubicBezTo>
                  <a:pt x="4108114" y="1948240"/>
                  <a:pt x="4105717" y="1951835"/>
                  <a:pt x="4105117" y="1954232"/>
                </a:cubicBezTo>
                <a:cubicBezTo>
                  <a:pt x="4104518" y="1956629"/>
                  <a:pt x="4104518" y="1959626"/>
                  <a:pt x="4106916" y="1965619"/>
                </a:cubicBezTo>
                <a:cubicBezTo>
                  <a:pt x="4109312" y="1971611"/>
                  <a:pt x="4118302" y="1982398"/>
                  <a:pt x="4122497" y="1972810"/>
                </a:cubicBezTo>
                <a:cubicBezTo>
                  <a:pt x="4126692" y="1963821"/>
                  <a:pt x="4128489" y="1957828"/>
                  <a:pt x="4130887" y="1956030"/>
                </a:cubicBezTo>
                <a:cubicBezTo>
                  <a:pt x="4133283" y="1954232"/>
                  <a:pt x="4135081" y="1952435"/>
                  <a:pt x="4132684" y="1951835"/>
                </a:cubicBezTo>
                <a:cubicBezTo>
                  <a:pt x="4130287" y="1951236"/>
                  <a:pt x="4133283" y="1947640"/>
                  <a:pt x="4136879" y="1944644"/>
                </a:cubicBezTo>
                <a:cubicBezTo>
                  <a:pt x="4140475" y="1942247"/>
                  <a:pt x="4143471" y="1941048"/>
                  <a:pt x="4147666" y="1942846"/>
                </a:cubicBezTo>
                <a:cubicBezTo>
                  <a:pt x="4153059" y="1945243"/>
                  <a:pt x="4157854" y="1942846"/>
                  <a:pt x="4151861" y="1938052"/>
                </a:cubicBezTo>
                <a:cubicBezTo>
                  <a:pt x="4145868" y="1933258"/>
                  <a:pt x="4146468" y="1928464"/>
                  <a:pt x="4148865" y="1924269"/>
                </a:cubicBezTo>
                <a:cubicBezTo>
                  <a:pt x="4152460" y="1920673"/>
                  <a:pt x="4163247" y="1924269"/>
                  <a:pt x="4165644" y="1926066"/>
                </a:cubicBezTo>
                <a:cubicBezTo>
                  <a:pt x="4168041" y="1927864"/>
                  <a:pt x="4170438" y="1931460"/>
                  <a:pt x="4165045" y="1930861"/>
                </a:cubicBezTo>
                <a:cubicBezTo>
                  <a:pt x="4159652" y="1930261"/>
                  <a:pt x="4155457" y="1931460"/>
                  <a:pt x="4157854" y="1935056"/>
                </a:cubicBezTo>
                <a:cubicBezTo>
                  <a:pt x="4160251" y="1938052"/>
                  <a:pt x="4177630" y="1932659"/>
                  <a:pt x="4182424" y="1934456"/>
                </a:cubicBezTo>
                <a:cubicBezTo>
                  <a:pt x="4187218" y="1936854"/>
                  <a:pt x="4192612" y="1930861"/>
                  <a:pt x="4195009" y="1932059"/>
                </a:cubicBezTo>
                <a:cubicBezTo>
                  <a:pt x="4197406" y="1932659"/>
                  <a:pt x="4199204" y="1929662"/>
                  <a:pt x="4197406" y="1927265"/>
                </a:cubicBezTo>
                <a:cubicBezTo>
                  <a:pt x="4195608" y="1924868"/>
                  <a:pt x="4198605" y="1920673"/>
                  <a:pt x="4201001" y="1920673"/>
                </a:cubicBezTo>
                <a:cubicBezTo>
                  <a:pt x="4203399" y="1920673"/>
                  <a:pt x="4209391" y="1911684"/>
                  <a:pt x="4208792" y="1918276"/>
                </a:cubicBezTo>
                <a:cubicBezTo>
                  <a:pt x="4208193" y="1925467"/>
                  <a:pt x="4205796" y="1927864"/>
                  <a:pt x="4206395" y="1932059"/>
                </a:cubicBezTo>
                <a:cubicBezTo>
                  <a:pt x="4206994" y="1936254"/>
                  <a:pt x="4203399" y="1939251"/>
                  <a:pt x="4205196" y="1940449"/>
                </a:cubicBezTo>
                <a:cubicBezTo>
                  <a:pt x="4206994" y="1941648"/>
                  <a:pt x="4215384" y="1935056"/>
                  <a:pt x="4216583" y="1928464"/>
                </a:cubicBezTo>
                <a:cubicBezTo>
                  <a:pt x="4217182" y="1921872"/>
                  <a:pt x="4219579" y="1918875"/>
                  <a:pt x="4223175" y="1917077"/>
                </a:cubicBezTo>
                <a:cubicBezTo>
                  <a:pt x="4226770" y="1915280"/>
                  <a:pt x="4228568" y="1916478"/>
                  <a:pt x="4228568" y="1910485"/>
                </a:cubicBezTo>
                <a:cubicBezTo>
                  <a:pt x="4229167" y="1904493"/>
                  <a:pt x="4232763" y="1900298"/>
                  <a:pt x="4238756" y="1900298"/>
                </a:cubicBezTo>
                <a:cubicBezTo>
                  <a:pt x="4244749" y="1900298"/>
                  <a:pt x="4241153" y="1905691"/>
                  <a:pt x="4238156" y="1909886"/>
                </a:cubicBezTo>
                <a:cubicBezTo>
                  <a:pt x="4235160" y="1914081"/>
                  <a:pt x="4230366" y="1926666"/>
                  <a:pt x="4235160" y="1927864"/>
                </a:cubicBezTo>
                <a:cubicBezTo>
                  <a:pt x="4239954" y="1929063"/>
                  <a:pt x="4242351" y="1918276"/>
                  <a:pt x="4245348" y="1917677"/>
                </a:cubicBezTo>
                <a:cubicBezTo>
                  <a:pt x="4248344" y="1917077"/>
                  <a:pt x="4250142" y="1911085"/>
                  <a:pt x="4250142" y="1908688"/>
                </a:cubicBezTo>
                <a:cubicBezTo>
                  <a:pt x="4250142" y="1906291"/>
                  <a:pt x="4253738" y="1903294"/>
                  <a:pt x="4256135" y="1903294"/>
                </a:cubicBezTo>
                <a:cubicBezTo>
                  <a:pt x="4258532" y="1903893"/>
                  <a:pt x="4256734" y="1897301"/>
                  <a:pt x="4254936" y="1893706"/>
                </a:cubicBezTo>
                <a:cubicBezTo>
                  <a:pt x="4252539" y="1890110"/>
                  <a:pt x="4250741" y="1876926"/>
                  <a:pt x="4258532" y="1867338"/>
                </a:cubicBezTo>
                <a:cubicBezTo>
                  <a:pt x="4265124" y="1859547"/>
                  <a:pt x="4268720" y="1842767"/>
                  <a:pt x="4265723" y="1834977"/>
                </a:cubicBezTo>
                <a:cubicBezTo>
                  <a:pt x="4262727" y="1826587"/>
                  <a:pt x="4268720" y="1814002"/>
                  <a:pt x="4275911" y="1818796"/>
                </a:cubicBezTo>
                <a:cubicBezTo>
                  <a:pt x="4283102" y="1824190"/>
                  <a:pt x="4284301" y="1815800"/>
                  <a:pt x="4281304" y="1812804"/>
                </a:cubicBezTo>
                <a:cubicBezTo>
                  <a:pt x="4278907" y="1809807"/>
                  <a:pt x="4280705" y="1803215"/>
                  <a:pt x="4284301" y="1800818"/>
                </a:cubicBezTo>
                <a:cubicBezTo>
                  <a:pt x="4287896" y="1798421"/>
                  <a:pt x="4293290" y="1784039"/>
                  <a:pt x="4290893" y="1781042"/>
                </a:cubicBezTo>
                <a:cubicBezTo>
                  <a:pt x="4288496" y="1778645"/>
                  <a:pt x="4290293" y="1777447"/>
                  <a:pt x="4291492" y="1775649"/>
                </a:cubicBezTo>
                <a:cubicBezTo>
                  <a:pt x="4293290" y="1773851"/>
                  <a:pt x="4294488" y="1767858"/>
                  <a:pt x="4292691" y="1765461"/>
                </a:cubicBezTo>
                <a:cubicBezTo>
                  <a:pt x="4290893" y="1763064"/>
                  <a:pt x="4290893" y="1759468"/>
                  <a:pt x="4291492" y="1757671"/>
                </a:cubicBezTo>
                <a:cubicBezTo>
                  <a:pt x="4292091" y="1755873"/>
                  <a:pt x="4286098" y="1746884"/>
                  <a:pt x="4286098" y="1741490"/>
                </a:cubicBezTo>
                <a:cubicBezTo>
                  <a:pt x="4286098" y="1736097"/>
                  <a:pt x="4275312" y="1733100"/>
                  <a:pt x="4277709" y="1720516"/>
                </a:cubicBezTo>
                <a:cubicBezTo>
                  <a:pt x="4279507" y="1711526"/>
                  <a:pt x="4278308" y="1715122"/>
                  <a:pt x="4280106" y="1712126"/>
                </a:cubicBezTo>
                <a:cubicBezTo>
                  <a:pt x="4281304" y="1708530"/>
                  <a:pt x="4282503" y="1703137"/>
                  <a:pt x="4278907" y="1703736"/>
                </a:cubicBezTo>
                <a:cubicBezTo>
                  <a:pt x="4274712" y="1704335"/>
                  <a:pt x="4270517" y="1700140"/>
                  <a:pt x="4268120" y="1707931"/>
                </a:cubicBezTo>
                <a:cubicBezTo>
                  <a:pt x="4265723" y="1715122"/>
                  <a:pt x="4265723" y="1716321"/>
                  <a:pt x="4270517" y="1713324"/>
                </a:cubicBezTo>
                <a:cubicBezTo>
                  <a:pt x="4275911" y="1709729"/>
                  <a:pt x="4274113" y="1717519"/>
                  <a:pt x="4273514" y="1719916"/>
                </a:cubicBezTo>
                <a:cubicBezTo>
                  <a:pt x="4272914" y="1722313"/>
                  <a:pt x="4272315" y="1727108"/>
                  <a:pt x="4269319" y="1726508"/>
                </a:cubicBezTo>
                <a:cubicBezTo>
                  <a:pt x="4266322" y="1725909"/>
                  <a:pt x="4260929" y="1728306"/>
                  <a:pt x="4262727" y="1723512"/>
                </a:cubicBezTo>
                <a:cubicBezTo>
                  <a:pt x="4264525" y="1718718"/>
                  <a:pt x="4254337" y="1710927"/>
                  <a:pt x="4252539" y="1721115"/>
                </a:cubicBezTo>
                <a:cubicBezTo>
                  <a:pt x="4250741" y="1731302"/>
                  <a:pt x="4248943" y="1729505"/>
                  <a:pt x="4246546" y="1729505"/>
                </a:cubicBezTo>
                <a:cubicBezTo>
                  <a:pt x="4244149" y="1729505"/>
                  <a:pt x="4239355" y="1727707"/>
                  <a:pt x="4241153" y="1733700"/>
                </a:cubicBezTo>
                <a:cubicBezTo>
                  <a:pt x="4242951" y="1739692"/>
                  <a:pt x="4238156" y="1742689"/>
                  <a:pt x="4241153" y="1745685"/>
                </a:cubicBezTo>
                <a:cubicBezTo>
                  <a:pt x="4244149" y="1748682"/>
                  <a:pt x="4242951" y="1752277"/>
                  <a:pt x="4241752" y="1754075"/>
                </a:cubicBezTo>
                <a:cubicBezTo>
                  <a:pt x="4240554" y="1755873"/>
                  <a:pt x="4241153" y="1759468"/>
                  <a:pt x="4244149" y="1757071"/>
                </a:cubicBezTo>
                <a:cubicBezTo>
                  <a:pt x="4247146" y="1754674"/>
                  <a:pt x="4245348" y="1763064"/>
                  <a:pt x="4244149" y="1766060"/>
                </a:cubicBezTo>
                <a:cubicBezTo>
                  <a:pt x="4242951" y="1769057"/>
                  <a:pt x="4243550" y="1778046"/>
                  <a:pt x="4239954" y="1781642"/>
                </a:cubicBezTo>
                <a:cubicBezTo>
                  <a:pt x="4236958" y="1785836"/>
                  <a:pt x="4236958" y="1792428"/>
                  <a:pt x="4236958" y="1794826"/>
                </a:cubicBezTo>
                <a:cubicBezTo>
                  <a:pt x="4236958" y="1797223"/>
                  <a:pt x="4229767" y="1808609"/>
                  <a:pt x="4223774" y="1815201"/>
                </a:cubicBezTo>
                <a:cubicBezTo>
                  <a:pt x="4217781" y="1821793"/>
                  <a:pt x="4199803" y="1839771"/>
                  <a:pt x="4198005" y="1842767"/>
                </a:cubicBezTo>
                <a:cubicBezTo>
                  <a:pt x="4196207" y="1846363"/>
                  <a:pt x="4184821" y="1852955"/>
                  <a:pt x="4182424" y="1853554"/>
                </a:cubicBezTo>
                <a:cubicBezTo>
                  <a:pt x="4180027" y="1854154"/>
                  <a:pt x="4177030" y="1855952"/>
                  <a:pt x="4175233" y="1857749"/>
                </a:cubicBezTo>
                <a:cubicBezTo>
                  <a:pt x="4172836" y="1859547"/>
                  <a:pt x="4168041" y="1861944"/>
                  <a:pt x="4165644" y="1857749"/>
                </a:cubicBezTo>
                <a:cubicBezTo>
                  <a:pt x="4163247" y="1853554"/>
                  <a:pt x="4158453" y="1849959"/>
                  <a:pt x="4165045" y="1848760"/>
                </a:cubicBezTo>
                <a:cubicBezTo>
                  <a:pt x="4171637" y="1847562"/>
                  <a:pt x="4178229" y="1834977"/>
                  <a:pt x="4165644" y="1841569"/>
                </a:cubicBezTo>
                <a:cubicBezTo>
                  <a:pt x="4153059" y="1848161"/>
                  <a:pt x="4149464" y="1849359"/>
                  <a:pt x="4150663" y="1857150"/>
                </a:cubicBezTo>
                <a:cubicBezTo>
                  <a:pt x="4151262" y="1864941"/>
                  <a:pt x="4143471" y="1874529"/>
                  <a:pt x="4138677" y="1876926"/>
                </a:cubicBezTo>
                <a:cubicBezTo>
                  <a:pt x="4133883" y="1879323"/>
                  <a:pt x="4131486" y="1887713"/>
                  <a:pt x="4130887" y="1893706"/>
                </a:cubicBezTo>
                <a:cubicBezTo>
                  <a:pt x="4130287" y="1899698"/>
                  <a:pt x="4127291" y="1902096"/>
                  <a:pt x="4122497" y="1900897"/>
                </a:cubicBezTo>
                <a:cubicBezTo>
                  <a:pt x="4117702" y="1900298"/>
                  <a:pt x="4109312" y="1906291"/>
                  <a:pt x="4110511" y="1899698"/>
                </a:cubicBezTo>
                <a:cubicBezTo>
                  <a:pt x="4112908" y="1893706"/>
                  <a:pt x="4106916" y="1895504"/>
                  <a:pt x="4105717" y="1898500"/>
                </a:cubicBezTo>
                <a:close/>
                <a:moveTo>
                  <a:pt x="3174445" y="2738083"/>
                </a:moveTo>
                <a:cubicBezTo>
                  <a:pt x="3170250" y="2738682"/>
                  <a:pt x="3171449" y="2739281"/>
                  <a:pt x="3172048" y="2746473"/>
                </a:cubicBezTo>
                <a:cubicBezTo>
                  <a:pt x="3172647" y="2753664"/>
                  <a:pt x="3176243" y="2747671"/>
                  <a:pt x="3176842" y="2744075"/>
                </a:cubicBezTo>
                <a:cubicBezTo>
                  <a:pt x="3177442" y="2739881"/>
                  <a:pt x="3178640" y="2737484"/>
                  <a:pt x="3174445" y="2738083"/>
                </a:cubicBezTo>
                <a:close/>
                <a:moveTo>
                  <a:pt x="3646074" y="2549911"/>
                </a:moveTo>
                <a:cubicBezTo>
                  <a:pt x="3641280" y="2541521"/>
                  <a:pt x="3640081" y="2545117"/>
                  <a:pt x="3638882" y="2549311"/>
                </a:cubicBezTo>
                <a:cubicBezTo>
                  <a:pt x="3638283" y="2553506"/>
                  <a:pt x="3637684" y="2557102"/>
                  <a:pt x="3640680" y="2557102"/>
                </a:cubicBezTo>
                <a:cubicBezTo>
                  <a:pt x="3643677" y="2557102"/>
                  <a:pt x="3644276" y="2564293"/>
                  <a:pt x="3643677" y="2567290"/>
                </a:cubicBezTo>
                <a:cubicBezTo>
                  <a:pt x="3643077" y="2569687"/>
                  <a:pt x="3644875" y="2575680"/>
                  <a:pt x="3647872" y="2582272"/>
                </a:cubicBezTo>
                <a:cubicBezTo>
                  <a:pt x="3650868" y="2588264"/>
                  <a:pt x="3644875" y="2595456"/>
                  <a:pt x="3651467" y="2602048"/>
                </a:cubicBezTo>
                <a:cubicBezTo>
                  <a:pt x="3658059" y="2608640"/>
                  <a:pt x="3658658" y="2606242"/>
                  <a:pt x="3658658" y="2602647"/>
                </a:cubicBezTo>
                <a:cubicBezTo>
                  <a:pt x="3658658" y="2599651"/>
                  <a:pt x="3654464" y="2598452"/>
                  <a:pt x="3663453" y="2598452"/>
                </a:cubicBezTo>
                <a:cubicBezTo>
                  <a:pt x="3671842" y="2598452"/>
                  <a:pt x="3666449" y="2609838"/>
                  <a:pt x="3664651" y="2611037"/>
                </a:cubicBezTo>
                <a:cubicBezTo>
                  <a:pt x="3662853" y="2612235"/>
                  <a:pt x="3661655" y="2615232"/>
                  <a:pt x="3662254" y="2619427"/>
                </a:cubicBezTo>
                <a:cubicBezTo>
                  <a:pt x="3662853" y="2623622"/>
                  <a:pt x="3658658" y="2625419"/>
                  <a:pt x="3659857" y="2627816"/>
                </a:cubicBezTo>
                <a:cubicBezTo>
                  <a:pt x="3660457" y="2630213"/>
                  <a:pt x="3663453" y="2627217"/>
                  <a:pt x="3664651" y="2626618"/>
                </a:cubicBezTo>
                <a:cubicBezTo>
                  <a:pt x="3665850" y="2626019"/>
                  <a:pt x="3668247" y="2625419"/>
                  <a:pt x="3665850" y="2629015"/>
                </a:cubicBezTo>
                <a:cubicBezTo>
                  <a:pt x="3663453" y="2632611"/>
                  <a:pt x="3667648" y="2632611"/>
                  <a:pt x="3669446" y="2630813"/>
                </a:cubicBezTo>
                <a:cubicBezTo>
                  <a:pt x="3671243" y="2629015"/>
                  <a:pt x="3673041" y="2630213"/>
                  <a:pt x="3673640" y="2633210"/>
                </a:cubicBezTo>
                <a:cubicBezTo>
                  <a:pt x="3674240" y="2636206"/>
                  <a:pt x="3680832" y="2635607"/>
                  <a:pt x="3683828" y="2632611"/>
                </a:cubicBezTo>
                <a:cubicBezTo>
                  <a:pt x="3686824" y="2629015"/>
                  <a:pt x="3691618" y="2625419"/>
                  <a:pt x="3701207" y="2632011"/>
                </a:cubicBezTo>
                <a:cubicBezTo>
                  <a:pt x="3710795" y="2639203"/>
                  <a:pt x="3710196" y="2641000"/>
                  <a:pt x="3711395" y="2645195"/>
                </a:cubicBezTo>
                <a:cubicBezTo>
                  <a:pt x="3714990" y="2653585"/>
                  <a:pt x="3720384" y="2646993"/>
                  <a:pt x="3717987" y="2642798"/>
                </a:cubicBezTo>
                <a:cubicBezTo>
                  <a:pt x="3714391" y="2636805"/>
                  <a:pt x="3715589" y="2636206"/>
                  <a:pt x="3715589" y="2633210"/>
                </a:cubicBezTo>
                <a:cubicBezTo>
                  <a:pt x="3715589" y="2630213"/>
                  <a:pt x="3719784" y="2626019"/>
                  <a:pt x="3724579" y="2635607"/>
                </a:cubicBezTo>
                <a:cubicBezTo>
                  <a:pt x="3729972" y="2645195"/>
                  <a:pt x="3728774" y="2643997"/>
                  <a:pt x="3732369" y="2645795"/>
                </a:cubicBezTo>
                <a:cubicBezTo>
                  <a:pt x="3735965" y="2647593"/>
                  <a:pt x="3736564" y="2651188"/>
                  <a:pt x="3732969" y="2652986"/>
                </a:cubicBezTo>
                <a:cubicBezTo>
                  <a:pt x="3728774" y="2655383"/>
                  <a:pt x="3735366" y="2661975"/>
                  <a:pt x="3745553" y="2661975"/>
                </a:cubicBezTo>
                <a:cubicBezTo>
                  <a:pt x="3758737" y="2661975"/>
                  <a:pt x="3753943" y="2663773"/>
                  <a:pt x="3751546" y="2666170"/>
                </a:cubicBezTo>
                <a:cubicBezTo>
                  <a:pt x="3749149" y="2668567"/>
                  <a:pt x="3758737" y="2680553"/>
                  <a:pt x="3759936" y="2670964"/>
                </a:cubicBezTo>
                <a:cubicBezTo>
                  <a:pt x="3760535" y="2666170"/>
                  <a:pt x="3760535" y="2667968"/>
                  <a:pt x="3761734" y="2665571"/>
                </a:cubicBezTo>
                <a:cubicBezTo>
                  <a:pt x="3762333" y="2663173"/>
                  <a:pt x="3762333" y="2660177"/>
                  <a:pt x="3759337" y="2660177"/>
                </a:cubicBezTo>
                <a:cubicBezTo>
                  <a:pt x="3756340" y="2660177"/>
                  <a:pt x="3749149" y="2652986"/>
                  <a:pt x="3750947" y="2646394"/>
                </a:cubicBezTo>
                <a:cubicBezTo>
                  <a:pt x="3752145" y="2639203"/>
                  <a:pt x="3747950" y="2639802"/>
                  <a:pt x="3746153" y="2639802"/>
                </a:cubicBezTo>
                <a:cubicBezTo>
                  <a:pt x="3744355" y="2639802"/>
                  <a:pt x="3741958" y="2634408"/>
                  <a:pt x="3747950" y="2635008"/>
                </a:cubicBezTo>
                <a:cubicBezTo>
                  <a:pt x="3753344" y="2635607"/>
                  <a:pt x="3756340" y="2635607"/>
                  <a:pt x="3753943" y="2631412"/>
                </a:cubicBezTo>
                <a:cubicBezTo>
                  <a:pt x="3751546" y="2627217"/>
                  <a:pt x="3747351" y="2630813"/>
                  <a:pt x="3744355" y="2626019"/>
                </a:cubicBezTo>
                <a:cubicBezTo>
                  <a:pt x="3741358" y="2621224"/>
                  <a:pt x="3738961" y="2623622"/>
                  <a:pt x="3740160" y="2627217"/>
                </a:cubicBezTo>
                <a:cubicBezTo>
                  <a:pt x="3740759" y="2631412"/>
                  <a:pt x="3735366" y="2629614"/>
                  <a:pt x="3734766" y="2623622"/>
                </a:cubicBezTo>
                <a:cubicBezTo>
                  <a:pt x="3734167" y="2617629"/>
                  <a:pt x="3726377" y="2613434"/>
                  <a:pt x="3723380" y="2611636"/>
                </a:cubicBezTo>
                <a:cubicBezTo>
                  <a:pt x="3720384" y="2609838"/>
                  <a:pt x="3715589" y="2608040"/>
                  <a:pt x="3713792" y="2612235"/>
                </a:cubicBezTo>
                <a:cubicBezTo>
                  <a:pt x="3711994" y="2616430"/>
                  <a:pt x="3710795" y="2615232"/>
                  <a:pt x="3708998" y="2612835"/>
                </a:cubicBezTo>
                <a:cubicBezTo>
                  <a:pt x="3707200" y="2610437"/>
                  <a:pt x="3704803" y="2610437"/>
                  <a:pt x="3705402" y="2618228"/>
                </a:cubicBezTo>
                <a:cubicBezTo>
                  <a:pt x="3706001" y="2626019"/>
                  <a:pt x="3703005" y="2624221"/>
                  <a:pt x="3701207" y="2622423"/>
                </a:cubicBezTo>
                <a:cubicBezTo>
                  <a:pt x="3699409" y="2620625"/>
                  <a:pt x="3695813" y="2620026"/>
                  <a:pt x="3693417" y="2620026"/>
                </a:cubicBezTo>
                <a:cubicBezTo>
                  <a:pt x="3691019" y="2620026"/>
                  <a:pt x="3685626" y="2616430"/>
                  <a:pt x="3689222" y="2605643"/>
                </a:cubicBezTo>
                <a:cubicBezTo>
                  <a:pt x="3693417" y="2594856"/>
                  <a:pt x="3687424" y="2586467"/>
                  <a:pt x="3684427" y="2584669"/>
                </a:cubicBezTo>
                <a:cubicBezTo>
                  <a:pt x="3681431" y="2582871"/>
                  <a:pt x="3681431" y="2573882"/>
                  <a:pt x="3691618" y="2569088"/>
                </a:cubicBezTo>
                <a:cubicBezTo>
                  <a:pt x="3695813" y="2566691"/>
                  <a:pt x="3697012" y="2565492"/>
                  <a:pt x="3697611" y="2563694"/>
                </a:cubicBezTo>
                <a:cubicBezTo>
                  <a:pt x="3698211" y="2561297"/>
                  <a:pt x="3696413" y="2559499"/>
                  <a:pt x="3693417" y="2560698"/>
                </a:cubicBezTo>
                <a:cubicBezTo>
                  <a:pt x="3691019" y="2561297"/>
                  <a:pt x="3692218" y="2555304"/>
                  <a:pt x="3695813" y="2551709"/>
                </a:cubicBezTo>
                <a:cubicBezTo>
                  <a:pt x="3700008" y="2547514"/>
                  <a:pt x="3704803" y="2548113"/>
                  <a:pt x="3704203" y="2550510"/>
                </a:cubicBezTo>
                <a:cubicBezTo>
                  <a:pt x="3703005" y="2555304"/>
                  <a:pt x="3706001" y="2552308"/>
                  <a:pt x="3709597" y="2546315"/>
                </a:cubicBezTo>
                <a:cubicBezTo>
                  <a:pt x="3709597" y="2546315"/>
                  <a:pt x="3714990" y="2545117"/>
                  <a:pt x="3711994" y="2536727"/>
                </a:cubicBezTo>
                <a:cubicBezTo>
                  <a:pt x="3710795" y="2533131"/>
                  <a:pt x="3711395" y="2526539"/>
                  <a:pt x="3715589" y="2520546"/>
                </a:cubicBezTo>
                <a:cubicBezTo>
                  <a:pt x="3717388" y="2518149"/>
                  <a:pt x="3718586" y="2510359"/>
                  <a:pt x="3716788" y="2508561"/>
                </a:cubicBezTo>
                <a:cubicBezTo>
                  <a:pt x="3714990" y="2506763"/>
                  <a:pt x="3714391" y="2503167"/>
                  <a:pt x="3716788" y="2501969"/>
                </a:cubicBezTo>
                <a:cubicBezTo>
                  <a:pt x="3719185" y="2500770"/>
                  <a:pt x="3716189" y="2497774"/>
                  <a:pt x="3713193" y="2497774"/>
                </a:cubicBezTo>
                <a:cubicBezTo>
                  <a:pt x="3708998" y="2497774"/>
                  <a:pt x="3713792" y="2479796"/>
                  <a:pt x="3714391" y="2476799"/>
                </a:cubicBezTo>
                <a:cubicBezTo>
                  <a:pt x="3714990" y="2473803"/>
                  <a:pt x="3715589" y="2471406"/>
                  <a:pt x="3713792" y="2468409"/>
                </a:cubicBezTo>
                <a:cubicBezTo>
                  <a:pt x="3710795" y="2463615"/>
                  <a:pt x="3708398" y="2466012"/>
                  <a:pt x="3708398" y="2471406"/>
                </a:cubicBezTo>
                <a:cubicBezTo>
                  <a:pt x="3708398" y="2476799"/>
                  <a:pt x="3700008" y="2478597"/>
                  <a:pt x="3696413" y="2473803"/>
                </a:cubicBezTo>
                <a:cubicBezTo>
                  <a:pt x="3693417" y="2469009"/>
                  <a:pt x="3689222" y="2467810"/>
                  <a:pt x="3686225" y="2466012"/>
                </a:cubicBezTo>
                <a:cubicBezTo>
                  <a:pt x="3682629" y="2464215"/>
                  <a:pt x="3677236" y="2458222"/>
                  <a:pt x="3672442" y="2464215"/>
                </a:cubicBezTo>
                <a:cubicBezTo>
                  <a:pt x="3667648" y="2470207"/>
                  <a:pt x="3665251" y="2476799"/>
                  <a:pt x="3664052" y="2479197"/>
                </a:cubicBezTo>
                <a:cubicBezTo>
                  <a:pt x="3663453" y="2481594"/>
                  <a:pt x="3662254" y="2485189"/>
                  <a:pt x="3664052" y="2487586"/>
                </a:cubicBezTo>
                <a:cubicBezTo>
                  <a:pt x="3667048" y="2491781"/>
                  <a:pt x="3661655" y="2494778"/>
                  <a:pt x="3661655" y="2498972"/>
                </a:cubicBezTo>
                <a:cubicBezTo>
                  <a:pt x="3661655" y="2503167"/>
                  <a:pt x="3658059" y="2509760"/>
                  <a:pt x="3659857" y="2516951"/>
                </a:cubicBezTo>
                <a:cubicBezTo>
                  <a:pt x="3661655" y="2524142"/>
                  <a:pt x="3655662" y="2528936"/>
                  <a:pt x="3654464" y="2531933"/>
                </a:cubicBezTo>
                <a:cubicBezTo>
                  <a:pt x="3652666" y="2534929"/>
                  <a:pt x="3652067" y="2542120"/>
                  <a:pt x="3654464" y="2545716"/>
                </a:cubicBezTo>
                <a:cubicBezTo>
                  <a:pt x="3658658" y="2548712"/>
                  <a:pt x="3649669" y="2555304"/>
                  <a:pt x="3646074" y="2549911"/>
                </a:cubicBezTo>
                <a:close/>
                <a:moveTo>
                  <a:pt x="3793495" y="2678755"/>
                </a:moveTo>
                <a:cubicBezTo>
                  <a:pt x="3791098" y="2676358"/>
                  <a:pt x="3789300" y="2671563"/>
                  <a:pt x="3783907" y="2673361"/>
                </a:cubicBezTo>
                <a:cubicBezTo>
                  <a:pt x="3778513" y="2675758"/>
                  <a:pt x="3772520" y="2673961"/>
                  <a:pt x="3772520" y="2673961"/>
                </a:cubicBezTo>
                <a:cubicBezTo>
                  <a:pt x="3770124" y="2671563"/>
                  <a:pt x="3764131" y="2669166"/>
                  <a:pt x="3768326" y="2676358"/>
                </a:cubicBezTo>
                <a:cubicBezTo>
                  <a:pt x="3770723" y="2680553"/>
                  <a:pt x="3765929" y="2686545"/>
                  <a:pt x="3775517" y="2693137"/>
                </a:cubicBezTo>
                <a:cubicBezTo>
                  <a:pt x="3782109" y="2697931"/>
                  <a:pt x="3782708" y="2699729"/>
                  <a:pt x="3780910" y="2702726"/>
                </a:cubicBezTo>
                <a:cubicBezTo>
                  <a:pt x="3779113" y="2705722"/>
                  <a:pt x="3780910" y="2709917"/>
                  <a:pt x="3783308" y="2712314"/>
                </a:cubicBezTo>
                <a:cubicBezTo>
                  <a:pt x="3786903" y="2716509"/>
                  <a:pt x="3783907" y="2724300"/>
                  <a:pt x="3790499" y="2723101"/>
                </a:cubicBezTo>
                <a:cubicBezTo>
                  <a:pt x="3797091" y="2721902"/>
                  <a:pt x="3797690" y="2722502"/>
                  <a:pt x="3799488" y="2723700"/>
                </a:cubicBezTo>
                <a:cubicBezTo>
                  <a:pt x="3801885" y="2724899"/>
                  <a:pt x="3804282" y="2721303"/>
                  <a:pt x="3801885" y="2720105"/>
                </a:cubicBezTo>
                <a:cubicBezTo>
                  <a:pt x="3799488" y="2718906"/>
                  <a:pt x="3797690" y="2716509"/>
                  <a:pt x="3799488" y="2715310"/>
                </a:cubicBezTo>
                <a:cubicBezTo>
                  <a:pt x="3801885" y="2714112"/>
                  <a:pt x="3800087" y="2711115"/>
                  <a:pt x="3797091" y="2709318"/>
                </a:cubicBezTo>
                <a:cubicBezTo>
                  <a:pt x="3794694" y="2706921"/>
                  <a:pt x="3794694" y="2695534"/>
                  <a:pt x="3796491" y="2691339"/>
                </a:cubicBezTo>
                <a:cubicBezTo>
                  <a:pt x="3798290" y="2688343"/>
                  <a:pt x="3795892" y="2681751"/>
                  <a:pt x="3793495" y="2678755"/>
                </a:cubicBezTo>
                <a:close/>
                <a:moveTo>
                  <a:pt x="3683828" y="2651188"/>
                </a:moveTo>
                <a:cubicBezTo>
                  <a:pt x="3678435" y="2651188"/>
                  <a:pt x="3676637" y="2647593"/>
                  <a:pt x="3675438" y="2645195"/>
                </a:cubicBezTo>
                <a:cubicBezTo>
                  <a:pt x="3674240" y="2642798"/>
                  <a:pt x="3670644" y="2641000"/>
                  <a:pt x="3668247" y="2643398"/>
                </a:cubicBezTo>
                <a:cubicBezTo>
                  <a:pt x="3665850" y="2645795"/>
                  <a:pt x="3659258" y="2644596"/>
                  <a:pt x="3658059" y="2642798"/>
                </a:cubicBezTo>
                <a:cubicBezTo>
                  <a:pt x="3656262" y="2641000"/>
                  <a:pt x="3657460" y="2642199"/>
                  <a:pt x="3653864" y="2642199"/>
                </a:cubicBezTo>
                <a:cubicBezTo>
                  <a:pt x="3647872" y="2641600"/>
                  <a:pt x="3647272" y="2647593"/>
                  <a:pt x="3653265" y="2646993"/>
                </a:cubicBezTo>
                <a:cubicBezTo>
                  <a:pt x="3660457" y="2646394"/>
                  <a:pt x="3659258" y="2650589"/>
                  <a:pt x="3659258" y="2652387"/>
                </a:cubicBezTo>
                <a:cubicBezTo>
                  <a:pt x="3659258" y="2654784"/>
                  <a:pt x="3661655" y="2661975"/>
                  <a:pt x="3665251" y="2664372"/>
                </a:cubicBezTo>
                <a:cubicBezTo>
                  <a:pt x="3668846" y="2666769"/>
                  <a:pt x="3670045" y="2673361"/>
                  <a:pt x="3669446" y="2676358"/>
                </a:cubicBezTo>
                <a:cubicBezTo>
                  <a:pt x="3668846" y="2682950"/>
                  <a:pt x="3677835" y="2686545"/>
                  <a:pt x="3679034" y="2682350"/>
                </a:cubicBezTo>
                <a:cubicBezTo>
                  <a:pt x="3680832" y="2676358"/>
                  <a:pt x="3682030" y="2672762"/>
                  <a:pt x="3684427" y="2670365"/>
                </a:cubicBezTo>
                <a:cubicBezTo>
                  <a:pt x="3686824" y="2667968"/>
                  <a:pt x="3687424" y="2661975"/>
                  <a:pt x="3686824" y="2659578"/>
                </a:cubicBezTo>
                <a:cubicBezTo>
                  <a:pt x="3685027" y="2657181"/>
                  <a:pt x="3689222" y="2651188"/>
                  <a:pt x="3683828" y="2651188"/>
                </a:cubicBezTo>
                <a:close/>
                <a:moveTo>
                  <a:pt x="3689821" y="2744075"/>
                </a:moveTo>
                <a:cubicBezTo>
                  <a:pt x="3689222" y="2747671"/>
                  <a:pt x="3691618" y="2752465"/>
                  <a:pt x="3696413" y="2745873"/>
                </a:cubicBezTo>
                <a:cubicBezTo>
                  <a:pt x="3701207" y="2739281"/>
                  <a:pt x="3704203" y="2735686"/>
                  <a:pt x="3707200" y="2734487"/>
                </a:cubicBezTo>
                <a:cubicBezTo>
                  <a:pt x="3710196" y="2733289"/>
                  <a:pt x="3713792" y="2726697"/>
                  <a:pt x="3713792" y="2723700"/>
                </a:cubicBezTo>
                <a:cubicBezTo>
                  <a:pt x="3713792" y="2720704"/>
                  <a:pt x="3718586" y="2716509"/>
                  <a:pt x="3721582" y="2715310"/>
                </a:cubicBezTo>
                <a:cubicBezTo>
                  <a:pt x="3724579" y="2713513"/>
                  <a:pt x="3726976" y="2708718"/>
                  <a:pt x="3728774" y="2703325"/>
                </a:cubicBezTo>
                <a:cubicBezTo>
                  <a:pt x="3730571" y="2697931"/>
                  <a:pt x="3728174" y="2694935"/>
                  <a:pt x="3725178" y="2697931"/>
                </a:cubicBezTo>
                <a:cubicBezTo>
                  <a:pt x="3722182" y="2700928"/>
                  <a:pt x="3717388" y="2701527"/>
                  <a:pt x="3713792" y="2701527"/>
                </a:cubicBezTo>
                <a:cubicBezTo>
                  <a:pt x="3710196" y="2701527"/>
                  <a:pt x="3706001" y="2700928"/>
                  <a:pt x="3700008" y="2696134"/>
                </a:cubicBezTo>
                <a:cubicBezTo>
                  <a:pt x="3694016" y="2691339"/>
                  <a:pt x="3688622" y="2692538"/>
                  <a:pt x="3692817" y="2697332"/>
                </a:cubicBezTo>
                <a:cubicBezTo>
                  <a:pt x="3697012" y="2702126"/>
                  <a:pt x="3699409" y="2702726"/>
                  <a:pt x="3697012" y="2706321"/>
                </a:cubicBezTo>
                <a:cubicBezTo>
                  <a:pt x="3694615" y="2709917"/>
                  <a:pt x="3694615" y="2712913"/>
                  <a:pt x="3694615" y="2718307"/>
                </a:cubicBezTo>
                <a:cubicBezTo>
                  <a:pt x="3694615" y="2723700"/>
                  <a:pt x="3695214" y="2731491"/>
                  <a:pt x="3692817" y="2734487"/>
                </a:cubicBezTo>
                <a:cubicBezTo>
                  <a:pt x="3691019" y="2736884"/>
                  <a:pt x="3691019" y="2740480"/>
                  <a:pt x="3689821" y="2744075"/>
                </a:cubicBezTo>
                <a:close/>
                <a:moveTo>
                  <a:pt x="3735965" y="2735086"/>
                </a:moveTo>
                <a:cubicBezTo>
                  <a:pt x="3739560" y="2732689"/>
                  <a:pt x="3734766" y="2727895"/>
                  <a:pt x="3730571" y="2727895"/>
                </a:cubicBezTo>
                <a:cubicBezTo>
                  <a:pt x="3726377" y="2727895"/>
                  <a:pt x="3722781" y="2730892"/>
                  <a:pt x="3722182" y="2735086"/>
                </a:cubicBezTo>
                <a:cubicBezTo>
                  <a:pt x="3721582" y="2739281"/>
                  <a:pt x="3719784" y="2741079"/>
                  <a:pt x="3720384" y="2743476"/>
                </a:cubicBezTo>
                <a:cubicBezTo>
                  <a:pt x="3720983" y="2745873"/>
                  <a:pt x="3717388" y="2749469"/>
                  <a:pt x="3714391" y="2750668"/>
                </a:cubicBezTo>
                <a:cubicBezTo>
                  <a:pt x="3711395" y="2751866"/>
                  <a:pt x="3701806" y="2763252"/>
                  <a:pt x="3707200" y="2769245"/>
                </a:cubicBezTo>
                <a:cubicBezTo>
                  <a:pt x="3712593" y="2775238"/>
                  <a:pt x="3720384" y="2784227"/>
                  <a:pt x="3725178" y="2784227"/>
                </a:cubicBezTo>
                <a:cubicBezTo>
                  <a:pt x="3729373" y="2784227"/>
                  <a:pt x="3733568" y="2778833"/>
                  <a:pt x="3729373" y="2775238"/>
                </a:cubicBezTo>
                <a:cubicBezTo>
                  <a:pt x="3725178" y="2771043"/>
                  <a:pt x="3728774" y="2762054"/>
                  <a:pt x="3730571" y="2755462"/>
                </a:cubicBezTo>
                <a:cubicBezTo>
                  <a:pt x="3732369" y="2748870"/>
                  <a:pt x="3732369" y="2736884"/>
                  <a:pt x="3735965" y="2735086"/>
                </a:cubicBezTo>
                <a:close/>
                <a:moveTo>
                  <a:pt x="3614312" y="2730892"/>
                </a:moveTo>
                <a:cubicBezTo>
                  <a:pt x="3611915" y="2732689"/>
                  <a:pt x="3610117" y="2738083"/>
                  <a:pt x="3608320" y="2736285"/>
                </a:cubicBezTo>
                <a:cubicBezTo>
                  <a:pt x="3606522" y="2733888"/>
                  <a:pt x="3604724" y="2736884"/>
                  <a:pt x="3604724" y="2740480"/>
                </a:cubicBezTo>
                <a:cubicBezTo>
                  <a:pt x="3604724" y="2744075"/>
                  <a:pt x="3601727" y="2751267"/>
                  <a:pt x="3599330" y="2750668"/>
                </a:cubicBezTo>
                <a:cubicBezTo>
                  <a:pt x="3596933" y="2750068"/>
                  <a:pt x="3596334" y="2753065"/>
                  <a:pt x="3595136" y="2755462"/>
                </a:cubicBezTo>
                <a:cubicBezTo>
                  <a:pt x="3594536" y="2757859"/>
                  <a:pt x="3580154" y="2774039"/>
                  <a:pt x="3574161" y="2775238"/>
                </a:cubicBezTo>
                <a:cubicBezTo>
                  <a:pt x="3568168" y="2776436"/>
                  <a:pt x="3556782" y="2788422"/>
                  <a:pt x="3553785" y="2797411"/>
                </a:cubicBezTo>
                <a:cubicBezTo>
                  <a:pt x="3550789" y="2805801"/>
                  <a:pt x="3546594" y="2814191"/>
                  <a:pt x="3553785" y="2808198"/>
                </a:cubicBezTo>
                <a:cubicBezTo>
                  <a:pt x="3560977" y="2802205"/>
                  <a:pt x="3559179" y="2797411"/>
                  <a:pt x="3565771" y="2796212"/>
                </a:cubicBezTo>
                <a:cubicBezTo>
                  <a:pt x="3572363" y="2795613"/>
                  <a:pt x="3575360" y="2787823"/>
                  <a:pt x="3575959" y="2785426"/>
                </a:cubicBezTo>
                <a:cubicBezTo>
                  <a:pt x="3576558" y="2783028"/>
                  <a:pt x="3582551" y="2778234"/>
                  <a:pt x="3585547" y="2777635"/>
                </a:cubicBezTo>
                <a:cubicBezTo>
                  <a:pt x="3588544" y="2777036"/>
                  <a:pt x="3594536" y="2769844"/>
                  <a:pt x="3597533" y="2764451"/>
                </a:cubicBezTo>
                <a:cubicBezTo>
                  <a:pt x="3599930" y="2759057"/>
                  <a:pt x="3602926" y="2754863"/>
                  <a:pt x="3605323" y="2754263"/>
                </a:cubicBezTo>
                <a:cubicBezTo>
                  <a:pt x="3607720" y="2753664"/>
                  <a:pt x="3611915" y="2748870"/>
                  <a:pt x="3614312" y="2745274"/>
                </a:cubicBezTo>
                <a:cubicBezTo>
                  <a:pt x="3616709" y="2741079"/>
                  <a:pt x="3619706" y="2738682"/>
                  <a:pt x="3621504" y="2739881"/>
                </a:cubicBezTo>
                <a:cubicBezTo>
                  <a:pt x="3623901" y="2740480"/>
                  <a:pt x="3623301" y="2737484"/>
                  <a:pt x="3622702" y="2733888"/>
                </a:cubicBezTo>
                <a:cubicBezTo>
                  <a:pt x="3622103" y="2730292"/>
                  <a:pt x="3622702" y="2723101"/>
                  <a:pt x="3622103" y="2721303"/>
                </a:cubicBezTo>
                <a:cubicBezTo>
                  <a:pt x="3621504" y="2719505"/>
                  <a:pt x="3621504" y="2720105"/>
                  <a:pt x="3622702" y="2715310"/>
                </a:cubicBezTo>
                <a:cubicBezTo>
                  <a:pt x="3623901" y="2710516"/>
                  <a:pt x="3620904" y="2708119"/>
                  <a:pt x="3619706" y="2712913"/>
                </a:cubicBezTo>
                <a:cubicBezTo>
                  <a:pt x="3618507" y="2717707"/>
                  <a:pt x="3613713" y="2720105"/>
                  <a:pt x="3615511" y="2724300"/>
                </a:cubicBezTo>
                <a:cubicBezTo>
                  <a:pt x="3618507" y="2727895"/>
                  <a:pt x="3616709" y="2729094"/>
                  <a:pt x="3614312" y="2730892"/>
                </a:cubicBezTo>
                <a:close/>
                <a:moveTo>
                  <a:pt x="3764131" y="2801606"/>
                </a:moveTo>
                <a:cubicBezTo>
                  <a:pt x="3761734" y="2796812"/>
                  <a:pt x="3757539" y="2801007"/>
                  <a:pt x="3756340" y="2804003"/>
                </a:cubicBezTo>
                <a:cubicBezTo>
                  <a:pt x="3755142" y="2807599"/>
                  <a:pt x="3751546" y="2811794"/>
                  <a:pt x="3747950" y="2814191"/>
                </a:cubicBezTo>
                <a:cubicBezTo>
                  <a:pt x="3744355" y="2816588"/>
                  <a:pt x="3743156" y="2818386"/>
                  <a:pt x="3742557" y="2820783"/>
                </a:cubicBezTo>
                <a:cubicBezTo>
                  <a:pt x="3741958" y="2823180"/>
                  <a:pt x="3738961" y="2826176"/>
                  <a:pt x="3738362" y="2820183"/>
                </a:cubicBezTo>
                <a:cubicBezTo>
                  <a:pt x="3737763" y="2814191"/>
                  <a:pt x="3740759" y="2813591"/>
                  <a:pt x="3741358" y="2811194"/>
                </a:cubicBezTo>
                <a:cubicBezTo>
                  <a:pt x="3741958" y="2808797"/>
                  <a:pt x="3739560" y="2805801"/>
                  <a:pt x="3734766" y="2804602"/>
                </a:cubicBezTo>
                <a:cubicBezTo>
                  <a:pt x="3729972" y="2804003"/>
                  <a:pt x="3728774" y="2803404"/>
                  <a:pt x="3726377" y="2805201"/>
                </a:cubicBezTo>
                <a:cubicBezTo>
                  <a:pt x="3723979" y="2806999"/>
                  <a:pt x="3715589" y="2805801"/>
                  <a:pt x="3716788" y="2812992"/>
                </a:cubicBezTo>
                <a:cubicBezTo>
                  <a:pt x="3717987" y="2820183"/>
                  <a:pt x="3716788" y="2821382"/>
                  <a:pt x="3710196" y="2820183"/>
                </a:cubicBezTo>
                <a:cubicBezTo>
                  <a:pt x="3703604" y="2819584"/>
                  <a:pt x="3699409" y="2821382"/>
                  <a:pt x="3696413" y="2826775"/>
                </a:cubicBezTo>
                <a:cubicBezTo>
                  <a:pt x="3693417" y="2832169"/>
                  <a:pt x="3692218" y="2836364"/>
                  <a:pt x="3689821" y="2838162"/>
                </a:cubicBezTo>
                <a:cubicBezTo>
                  <a:pt x="3687424" y="2839959"/>
                  <a:pt x="3687424" y="2845353"/>
                  <a:pt x="3687424" y="2847750"/>
                </a:cubicBezTo>
                <a:cubicBezTo>
                  <a:pt x="3687424" y="2850147"/>
                  <a:pt x="3688622" y="2851346"/>
                  <a:pt x="3691618" y="2851945"/>
                </a:cubicBezTo>
                <a:cubicBezTo>
                  <a:pt x="3694615" y="2852544"/>
                  <a:pt x="3695813" y="2852544"/>
                  <a:pt x="3695214" y="2849548"/>
                </a:cubicBezTo>
                <a:cubicBezTo>
                  <a:pt x="3694615" y="2846551"/>
                  <a:pt x="3697012" y="2843555"/>
                  <a:pt x="3698211" y="2843555"/>
                </a:cubicBezTo>
                <a:cubicBezTo>
                  <a:pt x="3701806" y="2842956"/>
                  <a:pt x="3697611" y="2836963"/>
                  <a:pt x="3702406" y="2835165"/>
                </a:cubicBezTo>
                <a:cubicBezTo>
                  <a:pt x="3707799" y="2833367"/>
                  <a:pt x="3712593" y="2833367"/>
                  <a:pt x="3710795" y="2836963"/>
                </a:cubicBezTo>
                <a:cubicBezTo>
                  <a:pt x="3708998" y="2840559"/>
                  <a:pt x="3714990" y="2841158"/>
                  <a:pt x="3716788" y="2835765"/>
                </a:cubicBezTo>
                <a:cubicBezTo>
                  <a:pt x="3719185" y="2830371"/>
                  <a:pt x="3721582" y="2835165"/>
                  <a:pt x="3721582" y="2838162"/>
                </a:cubicBezTo>
                <a:cubicBezTo>
                  <a:pt x="3721582" y="2841158"/>
                  <a:pt x="3726377" y="2843555"/>
                  <a:pt x="3728774" y="2844154"/>
                </a:cubicBezTo>
                <a:cubicBezTo>
                  <a:pt x="3731171" y="2844754"/>
                  <a:pt x="3733568" y="2841757"/>
                  <a:pt x="3730571" y="2839360"/>
                </a:cubicBezTo>
                <a:cubicBezTo>
                  <a:pt x="3727575" y="2836963"/>
                  <a:pt x="3729972" y="2833967"/>
                  <a:pt x="3731770" y="2831570"/>
                </a:cubicBezTo>
                <a:cubicBezTo>
                  <a:pt x="3733568" y="2829172"/>
                  <a:pt x="3738362" y="2830371"/>
                  <a:pt x="3741958" y="2833367"/>
                </a:cubicBezTo>
                <a:cubicBezTo>
                  <a:pt x="3745553" y="2836364"/>
                  <a:pt x="3752744" y="2838761"/>
                  <a:pt x="3750348" y="2841757"/>
                </a:cubicBezTo>
                <a:cubicBezTo>
                  <a:pt x="3747950" y="2845353"/>
                  <a:pt x="3751546" y="2851945"/>
                  <a:pt x="3745553" y="2851346"/>
                </a:cubicBezTo>
                <a:cubicBezTo>
                  <a:pt x="3741358" y="2850746"/>
                  <a:pt x="3743156" y="2862732"/>
                  <a:pt x="3744355" y="2865728"/>
                </a:cubicBezTo>
                <a:cubicBezTo>
                  <a:pt x="3745553" y="2868725"/>
                  <a:pt x="3744954" y="2871721"/>
                  <a:pt x="3744355" y="2874118"/>
                </a:cubicBezTo>
                <a:cubicBezTo>
                  <a:pt x="3743755" y="2876515"/>
                  <a:pt x="3744954" y="2879511"/>
                  <a:pt x="3746752" y="2880111"/>
                </a:cubicBezTo>
                <a:cubicBezTo>
                  <a:pt x="3749149" y="2880710"/>
                  <a:pt x="3747351" y="2890298"/>
                  <a:pt x="3758737" y="2891497"/>
                </a:cubicBezTo>
                <a:cubicBezTo>
                  <a:pt x="3767726" y="2892696"/>
                  <a:pt x="3767726" y="2893295"/>
                  <a:pt x="3770124" y="2895093"/>
                </a:cubicBezTo>
                <a:cubicBezTo>
                  <a:pt x="3772520" y="2896890"/>
                  <a:pt x="3777914" y="2895093"/>
                  <a:pt x="3778513" y="2892696"/>
                </a:cubicBezTo>
                <a:cubicBezTo>
                  <a:pt x="3779113" y="2890298"/>
                  <a:pt x="3785705" y="2889699"/>
                  <a:pt x="3783308" y="2895093"/>
                </a:cubicBezTo>
                <a:cubicBezTo>
                  <a:pt x="3780910" y="2900486"/>
                  <a:pt x="3785705" y="2905280"/>
                  <a:pt x="3790499" y="2901085"/>
                </a:cubicBezTo>
                <a:cubicBezTo>
                  <a:pt x="3794694" y="2896890"/>
                  <a:pt x="3796491" y="2891497"/>
                  <a:pt x="3797690" y="2887302"/>
                </a:cubicBezTo>
                <a:cubicBezTo>
                  <a:pt x="3798290" y="2883107"/>
                  <a:pt x="3793495" y="2877114"/>
                  <a:pt x="3791697" y="2875317"/>
                </a:cubicBezTo>
                <a:cubicBezTo>
                  <a:pt x="3789300" y="2873519"/>
                  <a:pt x="3786903" y="2866927"/>
                  <a:pt x="3790499" y="2862732"/>
                </a:cubicBezTo>
                <a:cubicBezTo>
                  <a:pt x="3794095" y="2858537"/>
                  <a:pt x="3792896" y="2851945"/>
                  <a:pt x="3795293" y="2849548"/>
                </a:cubicBezTo>
                <a:cubicBezTo>
                  <a:pt x="3797690" y="2847151"/>
                  <a:pt x="3800686" y="2848948"/>
                  <a:pt x="3798889" y="2851945"/>
                </a:cubicBezTo>
                <a:cubicBezTo>
                  <a:pt x="3797091" y="2854941"/>
                  <a:pt x="3800686" y="2859136"/>
                  <a:pt x="3803084" y="2862133"/>
                </a:cubicBezTo>
                <a:cubicBezTo>
                  <a:pt x="3805481" y="2864530"/>
                  <a:pt x="3806679" y="2868725"/>
                  <a:pt x="3806080" y="2872919"/>
                </a:cubicBezTo>
                <a:cubicBezTo>
                  <a:pt x="3804881" y="2880111"/>
                  <a:pt x="3813271" y="2886103"/>
                  <a:pt x="3810275" y="2874118"/>
                </a:cubicBezTo>
                <a:cubicBezTo>
                  <a:pt x="3809076" y="2868725"/>
                  <a:pt x="3807878" y="2862133"/>
                  <a:pt x="3810874" y="2863930"/>
                </a:cubicBezTo>
                <a:cubicBezTo>
                  <a:pt x="3816268" y="2866328"/>
                  <a:pt x="3812672" y="2858537"/>
                  <a:pt x="3817466" y="2857938"/>
                </a:cubicBezTo>
                <a:cubicBezTo>
                  <a:pt x="3822860" y="2857338"/>
                  <a:pt x="3818065" y="2847750"/>
                  <a:pt x="3820462" y="2841158"/>
                </a:cubicBezTo>
                <a:cubicBezTo>
                  <a:pt x="3821661" y="2836963"/>
                  <a:pt x="3819863" y="2833367"/>
                  <a:pt x="3817466" y="2832768"/>
                </a:cubicBezTo>
                <a:cubicBezTo>
                  <a:pt x="3815069" y="2832169"/>
                  <a:pt x="3814470" y="2827974"/>
                  <a:pt x="3817466" y="2825577"/>
                </a:cubicBezTo>
                <a:cubicBezTo>
                  <a:pt x="3820462" y="2823180"/>
                  <a:pt x="3819863" y="2816588"/>
                  <a:pt x="3818065" y="2813591"/>
                </a:cubicBezTo>
                <a:cubicBezTo>
                  <a:pt x="3816867" y="2810595"/>
                  <a:pt x="3818065" y="2805201"/>
                  <a:pt x="3812672" y="2805801"/>
                </a:cubicBezTo>
                <a:cubicBezTo>
                  <a:pt x="3807279" y="2806400"/>
                  <a:pt x="3808477" y="2800407"/>
                  <a:pt x="3810874" y="2798609"/>
                </a:cubicBezTo>
                <a:cubicBezTo>
                  <a:pt x="3813271" y="2796212"/>
                  <a:pt x="3812073" y="2790220"/>
                  <a:pt x="3810874" y="2788422"/>
                </a:cubicBezTo>
                <a:cubicBezTo>
                  <a:pt x="3809675" y="2786624"/>
                  <a:pt x="3810275" y="2781231"/>
                  <a:pt x="3806679" y="2781830"/>
                </a:cubicBezTo>
                <a:cubicBezTo>
                  <a:pt x="3803084" y="2782429"/>
                  <a:pt x="3802484" y="2780631"/>
                  <a:pt x="3802484" y="2777635"/>
                </a:cubicBezTo>
                <a:cubicBezTo>
                  <a:pt x="3802484" y="2774638"/>
                  <a:pt x="3795892" y="2773440"/>
                  <a:pt x="3792896" y="2771642"/>
                </a:cubicBezTo>
                <a:cubicBezTo>
                  <a:pt x="3789900" y="2769844"/>
                  <a:pt x="3785705" y="2766249"/>
                  <a:pt x="3787502" y="2773440"/>
                </a:cubicBezTo>
                <a:cubicBezTo>
                  <a:pt x="3789900" y="2780631"/>
                  <a:pt x="3792297" y="2782429"/>
                  <a:pt x="3789900" y="2784826"/>
                </a:cubicBezTo>
                <a:cubicBezTo>
                  <a:pt x="3787502" y="2787223"/>
                  <a:pt x="3785705" y="2787223"/>
                  <a:pt x="3783907" y="2787223"/>
                </a:cubicBezTo>
                <a:cubicBezTo>
                  <a:pt x="3781510" y="2786624"/>
                  <a:pt x="3779712" y="2787823"/>
                  <a:pt x="3779712" y="2789620"/>
                </a:cubicBezTo>
                <a:cubicBezTo>
                  <a:pt x="3779712" y="2792017"/>
                  <a:pt x="3776715" y="2794415"/>
                  <a:pt x="3772520" y="2790220"/>
                </a:cubicBezTo>
                <a:cubicBezTo>
                  <a:pt x="3770124" y="2787823"/>
                  <a:pt x="3765929" y="2786624"/>
                  <a:pt x="3767127" y="2795014"/>
                </a:cubicBezTo>
                <a:cubicBezTo>
                  <a:pt x="3771322" y="2805801"/>
                  <a:pt x="3766528" y="2806400"/>
                  <a:pt x="3764131" y="2801606"/>
                </a:cubicBezTo>
                <a:close/>
                <a:moveTo>
                  <a:pt x="2541612" y="2827974"/>
                </a:moveTo>
                <a:cubicBezTo>
                  <a:pt x="2542810" y="2819584"/>
                  <a:pt x="2539814" y="2809996"/>
                  <a:pt x="2537417" y="2806999"/>
                </a:cubicBezTo>
                <a:cubicBezTo>
                  <a:pt x="2535020" y="2803404"/>
                  <a:pt x="2533222" y="2802804"/>
                  <a:pt x="2533821" y="2796812"/>
                </a:cubicBezTo>
                <a:cubicBezTo>
                  <a:pt x="2534421" y="2790819"/>
                  <a:pt x="2529627" y="2790220"/>
                  <a:pt x="2529627" y="2786624"/>
                </a:cubicBezTo>
                <a:cubicBezTo>
                  <a:pt x="2529027" y="2783028"/>
                  <a:pt x="2526031" y="2776436"/>
                  <a:pt x="2523034" y="2771642"/>
                </a:cubicBezTo>
                <a:cubicBezTo>
                  <a:pt x="2520038" y="2766249"/>
                  <a:pt x="2518840" y="2760855"/>
                  <a:pt x="2519439" y="2757859"/>
                </a:cubicBezTo>
                <a:cubicBezTo>
                  <a:pt x="2520038" y="2754863"/>
                  <a:pt x="2518240" y="2753065"/>
                  <a:pt x="2516442" y="2751267"/>
                </a:cubicBezTo>
                <a:cubicBezTo>
                  <a:pt x="2514645" y="2749469"/>
                  <a:pt x="2514045" y="2748270"/>
                  <a:pt x="2513446" y="2744075"/>
                </a:cubicBezTo>
                <a:cubicBezTo>
                  <a:pt x="2512847" y="2739881"/>
                  <a:pt x="2508652" y="2739881"/>
                  <a:pt x="2503258" y="2739281"/>
                </a:cubicBezTo>
                <a:cubicBezTo>
                  <a:pt x="2497865" y="2738682"/>
                  <a:pt x="2497865" y="2746473"/>
                  <a:pt x="2498464" y="2751267"/>
                </a:cubicBezTo>
                <a:cubicBezTo>
                  <a:pt x="2499064" y="2756061"/>
                  <a:pt x="2519439" y="2753664"/>
                  <a:pt x="2505056" y="2760256"/>
                </a:cubicBezTo>
                <a:cubicBezTo>
                  <a:pt x="2502659" y="2761455"/>
                  <a:pt x="2502659" y="2763252"/>
                  <a:pt x="2502659" y="2769245"/>
                </a:cubicBezTo>
                <a:cubicBezTo>
                  <a:pt x="2503258" y="2775238"/>
                  <a:pt x="2500262" y="2773440"/>
                  <a:pt x="2497266" y="2771043"/>
                </a:cubicBezTo>
                <a:cubicBezTo>
                  <a:pt x="2494269" y="2768646"/>
                  <a:pt x="2493071" y="2769245"/>
                  <a:pt x="2493670" y="2772841"/>
                </a:cubicBezTo>
                <a:cubicBezTo>
                  <a:pt x="2494269" y="2776436"/>
                  <a:pt x="2494269" y="2782429"/>
                  <a:pt x="2493071" y="2786025"/>
                </a:cubicBezTo>
                <a:cubicBezTo>
                  <a:pt x="2491273" y="2789620"/>
                  <a:pt x="2491872" y="2794415"/>
                  <a:pt x="2491273" y="2800407"/>
                </a:cubicBezTo>
                <a:cubicBezTo>
                  <a:pt x="2490674" y="2805801"/>
                  <a:pt x="2487078" y="2804602"/>
                  <a:pt x="2487078" y="2801007"/>
                </a:cubicBezTo>
                <a:cubicBezTo>
                  <a:pt x="2487677" y="2796812"/>
                  <a:pt x="2485280" y="2795014"/>
                  <a:pt x="2484082" y="2798010"/>
                </a:cubicBezTo>
                <a:cubicBezTo>
                  <a:pt x="2482883" y="2801007"/>
                  <a:pt x="2482883" y="2805201"/>
                  <a:pt x="2484681" y="2810595"/>
                </a:cubicBezTo>
                <a:cubicBezTo>
                  <a:pt x="2487078" y="2815988"/>
                  <a:pt x="2485280" y="2830371"/>
                  <a:pt x="2484082" y="2837562"/>
                </a:cubicBezTo>
                <a:cubicBezTo>
                  <a:pt x="2482284" y="2844754"/>
                  <a:pt x="2486479" y="2860335"/>
                  <a:pt x="2488876" y="2866328"/>
                </a:cubicBezTo>
                <a:cubicBezTo>
                  <a:pt x="2491273" y="2872919"/>
                  <a:pt x="2495468" y="2880111"/>
                  <a:pt x="2500861" y="2881908"/>
                </a:cubicBezTo>
                <a:cubicBezTo>
                  <a:pt x="2506255" y="2883706"/>
                  <a:pt x="2530825" y="2874118"/>
                  <a:pt x="2537417" y="2868125"/>
                </a:cubicBezTo>
                <a:cubicBezTo>
                  <a:pt x="2544009" y="2862133"/>
                  <a:pt x="2542810" y="2853143"/>
                  <a:pt x="2541612" y="2850147"/>
                </a:cubicBezTo>
                <a:cubicBezTo>
                  <a:pt x="2541013" y="2845353"/>
                  <a:pt x="2540413" y="2836364"/>
                  <a:pt x="2541612" y="2827974"/>
                </a:cubicBezTo>
                <a:close/>
                <a:moveTo>
                  <a:pt x="1733191" y="3969591"/>
                </a:moveTo>
                <a:cubicBezTo>
                  <a:pt x="1733191" y="3969591"/>
                  <a:pt x="1728996" y="3960602"/>
                  <a:pt x="1731993" y="3958205"/>
                </a:cubicBezTo>
                <a:cubicBezTo>
                  <a:pt x="1734989" y="3955807"/>
                  <a:pt x="1733191" y="3955807"/>
                  <a:pt x="1737386" y="3946219"/>
                </a:cubicBezTo>
                <a:cubicBezTo>
                  <a:pt x="1741581" y="3936631"/>
                  <a:pt x="1734989" y="3925245"/>
                  <a:pt x="1737386" y="3918652"/>
                </a:cubicBezTo>
                <a:cubicBezTo>
                  <a:pt x="1739783" y="3912061"/>
                  <a:pt x="1739783" y="3909663"/>
                  <a:pt x="1737986" y="3903071"/>
                </a:cubicBezTo>
                <a:cubicBezTo>
                  <a:pt x="1736188" y="3896479"/>
                  <a:pt x="1735589" y="3891086"/>
                  <a:pt x="1735589" y="3882696"/>
                </a:cubicBezTo>
                <a:cubicBezTo>
                  <a:pt x="1735589" y="3874306"/>
                  <a:pt x="1733791" y="3865317"/>
                  <a:pt x="1733791" y="3865317"/>
                </a:cubicBezTo>
                <a:cubicBezTo>
                  <a:pt x="1733791" y="3865317"/>
                  <a:pt x="1731993" y="3837750"/>
                  <a:pt x="1731993" y="3830559"/>
                </a:cubicBezTo>
                <a:cubicBezTo>
                  <a:pt x="1731993" y="3823368"/>
                  <a:pt x="1727199" y="3794603"/>
                  <a:pt x="1729596" y="3788610"/>
                </a:cubicBezTo>
                <a:cubicBezTo>
                  <a:pt x="1731993" y="3782617"/>
                  <a:pt x="1729596" y="3778423"/>
                  <a:pt x="1729596" y="3778423"/>
                </a:cubicBezTo>
                <a:cubicBezTo>
                  <a:pt x="1729596" y="3778423"/>
                  <a:pt x="1724202" y="3772430"/>
                  <a:pt x="1724202" y="3769433"/>
                </a:cubicBezTo>
                <a:cubicBezTo>
                  <a:pt x="1724202" y="3766437"/>
                  <a:pt x="1724202" y="3761643"/>
                  <a:pt x="1724801" y="3757448"/>
                </a:cubicBezTo>
                <a:cubicBezTo>
                  <a:pt x="1725401" y="3753253"/>
                  <a:pt x="1727798" y="3753852"/>
                  <a:pt x="1727798" y="3748459"/>
                </a:cubicBezTo>
                <a:cubicBezTo>
                  <a:pt x="1727798" y="3743065"/>
                  <a:pt x="1731993" y="3740668"/>
                  <a:pt x="1731993" y="3740668"/>
                </a:cubicBezTo>
                <a:cubicBezTo>
                  <a:pt x="1731993" y="3740668"/>
                  <a:pt x="1733791" y="3735874"/>
                  <a:pt x="1733791" y="3732278"/>
                </a:cubicBezTo>
                <a:cubicBezTo>
                  <a:pt x="1733791" y="3728683"/>
                  <a:pt x="1731993" y="3726286"/>
                  <a:pt x="1731993" y="3726286"/>
                </a:cubicBezTo>
                <a:cubicBezTo>
                  <a:pt x="1731993" y="3726286"/>
                  <a:pt x="1727199" y="3723289"/>
                  <a:pt x="1726000" y="3717896"/>
                </a:cubicBezTo>
                <a:cubicBezTo>
                  <a:pt x="1725401" y="3712502"/>
                  <a:pt x="1721805" y="3705910"/>
                  <a:pt x="1718809" y="3699917"/>
                </a:cubicBezTo>
                <a:cubicBezTo>
                  <a:pt x="1715213" y="3693925"/>
                  <a:pt x="1714614" y="3691528"/>
                  <a:pt x="1716412" y="3687932"/>
                </a:cubicBezTo>
                <a:cubicBezTo>
                  <a:pt x="1718209" y="3683737"/>
                  <a:pt x="1719408" y="3680741"/>
                  <a:pt x="1722404" y="3689131"/>
                </a:cubicBezTo>
                <a:cubicBezTo>
                  <a:pt x="1725401" y="3697521"/>
                  <a:pt x="1726000" y="3701116"/>
                  <a:pt x="1728996" y="3702914"/>
                </a:cubicBezTo>
                <a:cubicBezTo>
                  <a:pt x="1731993" y="3704712"/>
                  <a:pt x="1731993" y="3705311"/>
                  <a:pt x="1731993" y="3705311"/>
                </a:cubicBezTo>
                <a:lnTo>
                  <a:pt x="1733191" y="3708307"/>
                </a:lnTo>
                <a:cubicBezTo>
                  <a:pt x="1733191" y="3710105"/>
                  <a:pt x="1733191" y="3711903"/>
                  <a:pt x="1736787" y="3710704"/>
                </a:cubicBezTo>
                <a:cubicBezTo>
                  <a:pt x="1740383" y="3709506"/>
                  <a:pt x="1738585" y="3707109"/>
                  <a:pt x="1739184" y="3697521"/>
                </a:cubicBezTo>
                <a:cubicBezTo>
                  <a:pt x="1739783" y="3687333"/>
                  <a:pt x="1733191" y="3680741"/>
                  <a:pt x="1733191" y="3680741"/>
                </a:cubicBezTo>
                <a:lnTo>
                  <a:pt x="1731993" y="3674149"/>
                </a:lnTo>
                <a:cubicBezTo>
                  <a:pt x="1731993" y="3674149"/>
                  <a:pt x="1728996" y="3671751"/>
                  <a:pt x="1728996" y="3668755"/>
                </a:cubicBezTo>
                <a:cubicBezTo>
                  <a:pt x="1729596" y="3665759"/>
                  <a:pt x="1728397" y="3668755"/>
                  <a:pt x="1727199" y="3661564"/>
                </a:cubicBezTo>
                <a:cubicBezTo>
                  <a:pt x="1726000" y="3654373"/>
                  <a:pt x="1724202" y="3655571"/>
                  <a:pt x="1723004" y="3651376"/>
                </a:cubicBezTo>
                <a:cubicBezTo>
                  <a:pt x="1721805" y="3647181"/>
                  <a:pt x="1720007" y="3639391"/>
                  <a:pt x="1720007" y="3632799"/>
                </a:cubicBezTo>
                <a:cubicBezTo>
                  <a:pt x="1720007" y="3626207"/>
                  <a:pt x="1717610" y="3616619"/>
                  <a:pt x="1715213" y="3612424"/>
                </a:cubicBezTo>
                <a:cubicBezTo>
                  <a:pt x="1712816" y="3608229"/>
                  <a:pt x="1709820" y="3604034"/>
                  <a:pt x="1706823" y="3599839"/>
                </a:cubicBezTo>
                <a:cubicBezTo>
                  <a:pt x="1703827" y="3595644"/>
                  <a:pt x="1702628" y="3594445"/>
                  <a:pt x="1698433" y="3592648"/>
                </a:cubicBezTo>
                <a:cubicBezTo>
                  <a:pt x="1694238" y="3591449"/>
                  <a:pt x="1694238" y="3588453"/>
                  <a:pt x="1694238" y="3585456"/>
                </a:cubicBezTo>
                <a:cubicBezTo>
                  <a:pt x="1694238" y="3581860"/>
                  <a:pt x="1691841" y="3580662"/>
                  <a:pt x="1691841" y="3577066"/>
                </a:cubicBezTo>
                <a:cubicBezTo>
                  <a:pt x="1691841" y="3573471"/>
                  <a:pt x="1688845" y="3574669"/>
                  <a:pt x="1687047" y="3574070"/>
                </a:cubicBezTo>
                <a:cubicBezTo>
                  <a:pt x="1685249" y="3573471"/>
                  <a:pt x="1684051" y="3574070"/>
                  <a:pt x="1684051" y="3569276"/>
                </a:cubicBezTo>
                <a:cubicBezTo>
                  <a:pt x="1684051" y="3564482"/>
                  <a:pt x="1679856" y="3564482"/>
                  <a:pt x="1678658" y="3568677"/>
                </a:cubicBezTo>
                <a:cubicBezTo>
                  <a:pt x="1677459" y="3572871"/>
                  <a:pt x="1674463" y="3573471"/>
                  <a:pt x="1674463" y="3575868"/>
                </a:cubicBezTo>
                <a:cubicBezTo>
                  <a:pt x="1674463" y="3578265"/>
                  <a:pt x="1674463" y="3578265"/>
                  <a:pt x="1671466" y="3578864"/>
                </a:cubicBezTo>
                <a:cubicBezTo>
                  <a:pt x="1668470" y="3579464"/>
                  <a:pt x="1669069" y="3581261"/>
                  <a:pt x="1671466" y="3586055"/>
                </a:cubicBezTo>
                <a:cubicBezTo>
                  <a:pt x="1673863" y="3590250"/>
                  <a:pt x="1676260" y="3593247"/>
                  <a:pt x="1675062" y="3598041"/>
                </a:cubicBezTo>
                <a:cubicBezTo>
                  <a:pt x="1673863" y="3602236"/>
                  <a:pt x="1673863" y="3602236"/>
                  <a:pt x="1673863" y="3608229"/>
                </a:cubicBezTo>
                <a:cubicBezTo>
                  <a:pt x="1673863" y="3614221"/>
                  <a:pt x="1675062" y="3615420"/>
                  <a:pt x="1671466" y="3617218"/>
                </a:cubicBezTo>
                <a:cubicBezTo>
                  <a:pt x="1667870" y="3619015"/>
                  <a:pt x="1666073" y="3619015"/>
                  <a:pt x="1668470" y="3623210"/>
                </a:cubicBezTo>
                <a:cubicBezTo>
                  <a:pt x="1670867" y="3627405"/>
                  <a:pt x="1670867" y="3625008"/>
                  <a:pt x="1667870" y="3628604"/>
                </a:cubicBezTo>
                <a:cubicBezTo>
                  <a:pt x="1665473" y="3632799"/>
                  <a:pt x="1667271" y="3635196"/>
                  <a:pt x="1662477" y="3631001"/>
                </a:cubicBezTo>
                <a:cubicBezTo>
                  <a:pt x="1657683" y="3626806"/>
                  <a:pt x="1651690" y="3622611"/>
                  <a:pt x="1652289" y="3629203"/>
                </a:cubicBezTo>
                <a:cubicBezTo>
                  <a:pt x="1652889" y="3635795"/>
                  <a:pt x="1654687" y="3639391"/>
                  <a:pt x="1658282" y="3642387"/>
                </a:cubicBezTo>
                <a:cubicBezTo>
                  <a:pt x="1662477" y="3645384"/>
                  <a:pt x="1662477" y="3647781"/>
                  <a:pt x="1657683" y="3647781"/>
                </a:cubicBezTo>
                <a:cubicBezTo>
                  <a:pt x="1652889" y="3647781"/>
                  <a:pt x="1654687" y="3648979"/>
                  <a:pt x="1654687" y="3653174"/>
                </a:cubicBezTo>
                <a:cubicBezTo>
                  <a:pt x="1654687" y="3657369"/>
                  <a:pt x="1656484" y="3663362"/>
                  <a:pt x="1658881" y="3663362"/>
                </a:cubicBezTo>
                <a:cubicBezTo>
                  <a:pt x="1661278" y="3662762"/>
                  <a:pt x="1664275" y="3665160"/>
                  <a:pt x="1664275" y="3668156"/>
                </a:cubicBezTo>
                <a:cubicBezTo>
                  <a:pt x="1664275" y="3671152"/>
                  <a:pt x="1664275" y="3668755"/>
                  <a:pt x="1660080" y="3666957"/>
                </a:cubicBezTo>
                <a:cubicBezTo>
                  <a:pt x="1655885" y="3664560"/>
                  <a:pt x="1655885" y="3667557"/>
                  <a:pt x="1654687" y="3670553"/>
                </a:cubicBezTo>
                <a:cubicBezTo>
                  <a:pt x="1653488" y="3673550"/>
                  <a:pt x="1651690" y="3677145"/>
                  <a:pt x="1651690" y="3677145"/>
                </a:cubicBezTo>
                <a:cubicBezTo>
                  <a:pt x="1651690" y="3677145"/>
                  <a:pt x="1651091" y="3674748"/>
                  <a:pt x="1651091" y="3671751"/>
                </a:cubicBezTo>
                <a:cubicBezTo>
                  <a:pt x="1651091" y="3668156"/>
                  <a:pt x="1645697" y="3665160"/>
                  <a:pt x="1646297" y="3672950"/>
                </a:cubicBezTo>
                <a:cubicBezTo>
                  <a:pt x="1646896" y="3680741"/>
                  <a:pt x="1645098" y="3685535"/>
                  <a:pt x="1648694" y="3690329"/>
                </a:cubicBezTo>
                <a:cubicBezTo>
                  <a:pt x="1652289" y="3695123"/>
                  <a:pt x="1660080" y="3703513"/>
                  <a:pt x="1654087" y="3704712"/>
                </a:cubicBezTo>
                <a:cubicBezTo>
                  <a:pt x="1648095" y="3705910"/>
                  <a:pt x="1645697" y="3706510"/>
                  <a:pt x="1646297" y="3699917"/>
                </a:cubicBezTo>
                <a:cubicBezTo>
                  <a:pt x="1646896" y="3693326"/>
                  <a:pt x="1645697" y="3693326"/>
                  <a:pt x="1640903" y="3695722"/>
                </a:cubicBezTo>
                <a:cubicBezTo>
                  <a:pt x="1636708" y="3698120"/>
                  <a:pt x="1634311" y="3699917"/>
                  <a:pt x="1635510" y="3704712"/>
                </a:cubicBezTo>
                <a:cubicBezTo>
                  <a:pt x="1636708" y="3709506"/>
                  <a:pt x="1637907" y="3714899"/>
                  <a:pt x="1640304" y="3717297"/>
                </a:cubicBezTo>
                <a:cubicBezTo>
                  <a:pt x="1642701" y="3719693"/>
                  <a:pt x="1642701" y="3725686"/>
                  <a:pt x="1642701" y="3725686"/>
                </a:cubicBezTo>
                <a:cubicBezTo>
                  <a:pt x="1642701" y="3725686"/>
                  <a:pt x="1640304" y="3727484"/>
                  <a:pt x="1637307" y="3721492"/>
                </a:cubicBezTo>
                <a:cubicBezTo>
                  <a:pt x="1634910" y="3715499"/>
                  <a:pt x="1631914" y="3713102"/>
                  <a:pt x="1630116" y="3713701"/>
                </a:cubicBezTo>
                <a:cubicBezTo>
                  <a:pt x="1627719" y="3714300"/>
                  <a:pt x="1627719" y="3714300"/>
                  <a:pt x="1625921" y="3716697"/>
                </a:cubicBezTo>
                <a:cubicBezTo>
                  <a:pt x="1624124" y="3719094"/>
                  <a:pt x="1621726" y="3720892"/>
                  <a:pt x="1621726" y="3720892"/>
                </a:cubicBezTo>
                <a:cubicBezTo>
                  <a:pt x="1621726" y="3720892"/>
                  <a:pt x="1621127" y="3723289"/>
                  <a:pt x="1621127" y="3725686"/>
                </a:cubicBezTo>
                <a:cubicBezTo>
                  <a:pt x="1621127" y="3728083"/>
                  <a:pt x="1621127" y="3726286"/>
                  <a:pt x="1617532" y="3726286"/>
                </a:cubicBezTo>
                <a:cubicBezTo>
                  <a:pt x="1613936" y="3726286"/>
                  <a:pt x="1613936" y="3726885"/>
                  <a:pt x="1613337" y="3728683"/>
                </a:cubicBezTo>
                <a:cubicBezTo>
                  <a:pt x="1612737" y="3731080"/>
                  <a:pt x="1612737" y="3728683"/>
                  <a:pt x="1611539" y="3724488"/>
                </a:cubicBezTo>
                <a:cubicBezTo>
                  <a:pt x="1610939" y="3720293"/>
                  <a:pt x="1609142" y="3722690"/>
                  <a:pt x="1606145" y="3725087"/>
                </a:cubicBezTo>
                <a:cubicBezTo>
                  <a:pt x="1603748" y="3727484"/>
                  <a:pt x="1603149" y="3732878"/>
                  <a:pt x="1598355" y="3732278"/>
                </a:cubicBezTo>
                <a:cubicBezTo>
                  <a:pt x="1593561" y="3731679"/>
                  <a:pt x="1588766" y="3732878"/>
                  <a:pt x="1590564" y="3739470"/>
                </a:cubicBezTo>
                <a:cubicBezTo>
                  <a:pt x="1592362" y="3746062"/>
                  <a:pt x="1591763" y="3749058"/>
                  <a:pt x="1590564" y="3752653"/>
                </a:cubicBezTo>
                <a:cubicBezTo>
                  <a:pt x="1589366" y="3756249"/>
                  <a:pt x="1589965" y="3762841"/>
                  <a:pt x="1589965" y="3769433"/>
                </a:cubicBezTo>
                <a:cubicBezTo>
                  <a:pt x="1590564" y="3775426"/>
                  <a:pt x="1590564" y="3780220"/>
                  <a:pt x="1588167" y="3782617"/>
                </a:cubicBezTo>
                <a:cubicBezTo>
                  <a:pt x="1585770" y="3785014"/>
                  <a:pt x="1588766" y="3791007"/>
                  <a:pt x="1591763" y="3797599"/>
                </a:cubicBezTo>
                <a:cubicBezTo>
                  <a:pt x="1594759" y="3804191"/>
                  <a:pt x="1597756" y="3811982"/>
                  <a:pt x="1602550" y="3817375"/>
                </a:cubicBezTo>
                <a:cubicBezTo>
                  <a:pt x="1607344" y="3822769"/>
                  <a:pt x="1610939" y="3827563"/>
                  <a:pt x="1609741" y="3832357"/>
                </a:cubicBezTo>
                <a:cubicBezTo>
                  <a:pt x="1609142" y="3837750"/>
                  <a:pt x="1613936" y="3845541"/>
                  <a:pt x="1616932" y="3852133"/>
                </a:cubicBezTo>
                <a:cubicBezTo>
                  <a:pt x="1619929" y="3858725"/>
                  <a:pt x="1619929" y="3862321"/>
                  <a:pt x="1621127" y="3865317"/>
                </a:cubicBezTo>
                <a:cubicBezTo>
                  <a:pt x="1622326" y="3868314"/>
                  <a:pt x="1621127" y="3872508"/>
                  <a:pt x="1621726" y="3876104"/>
                </a:cubicBezTo>
                <a:cubicBezTo>
                  <a:pt x="1622326" y="3879700"/>
                  <a:pt x="1624723" y="3884494"/>
                  <a:pt x="1622326" y="3886891"/>
                </a:cubicBezTo>
                <a:cubicBezTo>
                  <a:pt x="1619929" y="3889288"/>
                  <a:pt x="1620528" y="3892884"/>
                  <a:pt x="1621127" y="3897079"/>
                </a:cubicBezTo>
                <a:cubicBezTo>
                  <a:pt x="1621726" y="3901274"/>
                  <a:pt x="1618730" y="3904869"/>
                  <a:pt x="1616932" y="3907266"/>
                </a:cubicBezTo>
                <a:cubicBezTo>
                  <a:pt x="1615734" y="3909663"/>
                  <a:pt x="1615134" y="3913858"/>
                  <a:pt x="1616932" y="3919252"/>
                </a:cubicBezTo>
                <a:cubicBezTo>
                  <a:pt x="1618730" y="3924645"/>
                  <a:pt x="1616333" y="3928840"/>
                  <a:pt x="1613936" y="3930039"/>
                </a:cubicBezTo>
                <a:cubicBezTo>
                  <a:pt x="1611539" y="3931837"/>
                  <a:pt x="1609142" y="3933634"/>
                  <a:pt x="1610340" y="3937230"/>
                </a:cubicBezTo>
                <a:cubicBezTo>
                  <a:pt x="1611539" y="3941425"/>
                  <a:pt x="1607943" y="3941425"/>
                  <a:pt x="1610939" y="3945620"/>
                </a:cubicBezTo>
                <a:cubicBezTo>
                  <a:pt x="1613936" y="3950414"/>
                  <a:pt x="1616333" y="3952811"/>
                  <a:pt x="1616333" y="3958804"/>
                </a:cubicBezTo>
                <a:cubicBezTo>
                  <a:pt x="1615734" y="3964797"/>
                  <a:pt x="1620528" y="3977381"/>
                  <a:pt x="1623524" y="3980977"/>
                </a:cubicBezTo>
                <a:cubicBezTo>
                  <a:pt x="1626521" y="3984573"/>
                  <a:pt x="1630116" y="3991165"/>
                  <a:pt x="1636109" y="3998356"/>
                </a:cubicBezTo>
                <a:cubicBezTo>
                  <a:pt x="1642102" y="4005547"/>
                  <a:pt x="1641502" y="4008544"/>
                  <a:pt x="1644499" y="4013338"/>
                </a:cubicBezTo>
                <a:cubicBezTo>
                  <a:pt x="1647495" y="4018132"/>
                  <a:pt x="1646297" y="4018731"/>
                  <a:pt x="1645697" y="4021728"/>
                </a:cubicBezTo>
                <a:cubicBezTo>
                  <a:pt x="1645098" y="4025323"/>
                  <a:pt x="1645098" y="4024125"/>
                  <a:pt x="1648095" y="4027720"/>
                </a:cubicBezTo>
                <a:cubicBezTo>
                  <a:pt x="1651091" y="4031915"/>
                  <a:pt x="1649293" y="4032514"/>
                  <a:pt x="1650492" y="4039107"/>
                </a:cubicBezTo>
                <a:cubicBezTo>
                  <a:pt x="1651690" y="4045699"/>
                  <a:pt x="1654687" y="4051691"/>
                  <a:pt x="1658282" y="4055287"/>
                </a:cubicBezTo>
                <a:cubicBezTo>
                  <a:pt x="1662477" y="4058883"/>
                  <a:pt x="1665473" y="4065475"/>
                  <a:pt x="1672665" y="4069670"/>
                </a:cubicBezTo>
                <a:cubicBezTo>
                  <a:pt x="1679856" y="4073865"/>
                  <a:pt x="1681055" y="4075662"/>
                  <a:pt x="1679856" y="4077460"/>
                </a:cubicBezTo>
                <a:cubicBezTo>
                  <a:pt x="1678058" y="4079258"/>
                  <a:pt x="1677459" y="4080456"/>
                  <a:pt x="1681654" y="4080456"/>
                </a:cubicBezTo>
                <a:cubicBezTo>
                  <a:pt x="1685849" y="4080456"/>
                  <a:pt x="1684051" y="4082254"/>
                  <a:pt x="1688845" y="4085251"/>
                </a:cubicBezTo>
                <a:cubicBezTo>
                  <a:pt x="1693040" y="4088247"/>
                  <a:pt x="1696036" y="4087648"/>
                  <a:pt x="1700831" y="4090644"/>
                </a:cubicBezTo>
                <a:cubicBezTo>
                  <a:pt x="1705625" y="4093640"/>
                  <a:pt x="1711018" y="4086449"/>
                  <a:pt x="1714614" y="4081655"/>
                </a:cubicBezTo>
                <a:cubicBezTo>
                  <a:pt x="1718209" y="4076261"/>
                  <a:pt x="1721206" y="4071467"/>
                  <a:pt x="1726000" y="4070269"/>
                </a:cubicBezTo>
                <a:cubicBezTo>
                  <a:pt x="1730794" y="4069670"/>
                  <a:pt x="1730794" y="4069670"/>
                  <a:pt x="1730794" y="4069670"/>
                </a:cubicBezTo>
                <a:cubicBezTo>
                  <a:pt x="1730794" y="4069670"/>
                  <a:pt x="1738585" y="4069670"/>
                  <a:pt x="1741581" y="4064875"/>
                </a:cubicBezTo>
                <a:cubicBezTo>
                  <a:pt x="1744578" y="4059482"/>
                  <a:pt x="1745177" y="4040904"/>
                  <a:pt x="1744578" y="4017533"/>
                </a:cubicBezTo>
                <a:cubicBezTo>
                  <a:pt x="1745177" y="3994760"/>
                  <a:pt x="1733191" y="3969591"/>
                  <a:pt x="1733191" y="3969591"/>
                </a:cubicBezTo>
                <a:close/>
                <a:moveTo>
                  <a:pt x="1568990" y="1713324"/>
                </a:moveTo>
                <a:cubicBezTo>
                  <a:pt x="1581575" y="1707931"/>
                  <a:pt x="1574384" y="1706732"/>
                  <a:pt x="1564795" y="1709129"/>
                </a:cubicBezTo>
                <a:cubicBezTo>
                  <a:pt x="1555806" y="1711526"/>
                  <a:pt x="1549814" y="1712126"/>
                  <a:pt x="1542023" y="1710328"/>
                </a:cubicBezTo>
                <a:cubicBezTo>
                  <a:pt x="1534832" y="1708530"/>
                  <a:pt x="1528839" y="1707331"/>
                  <a:pt x="1528240" y="1710328"/>
                </a:cubicBezTo>
                <a:cubicBezTo>
                  <a:pt x="1527640" y="1713324"/>
                  <a:pt x="1523446" y="1715122"/>
                  <a:pt x="1515655" y="1716920"/>
                </a:cubicBezTo>
                <a:cubicBezTo>
                  <a:pt x="1507864" y="1718718"/>
                  <a:pt x="1510262" y="1722313"/>
                  <a:pt x="1513258" y="1724711"/>
                </a:cubicBezTo>
                <a:cubicBezTo>
                  <a:pt x="1516853" y="1727108"/>
                  <a:pt x="1516853" y="1733700"/>
                  <a:pt x="1516853" y="1733700"/>
                </a:cubicBezTo>
                <a:cubicBezTo>
                  <a:pt x="1516853" y="1733700"/>
                  <a:pt x="1516853" y="1733700"/>
                  <a:pt x="1519251" y="1737894"/>
                </a:cubicBezTo>
                <a:cubicBezTo>
                  <a:pt x="1521648" y="1742089"/>
                  <a:pt x="1523446" y="1737894"/>
                  <a:pt x="1531236" y="1734299"/>
                </a:cubicBezTo>
                <a:cubicBezTo>
                  <a:pt x="1538427" y="1730703"/>
                  <a:pt x="1533633" y="1736097"/>
                  <a:pt x="1538427" y="1731902"/>
                </a:cubicBezTo>
                <a:cubicBezTo>
                  <a:pt x="1543222" y="1727707"/>
                  <a:pt x="1542023" y="1728905"/>
                  <a:pt x="1547416" y="1732501"/>
                </a:cubicBezTo>
                <a:cubicBezTo>
                  <a:pt x="1552810" y="1736696"/>
                  <a:pt x="1554008" y="1733100"/>
                  <a:pt x="1551611" y="1725909"/>
                </a:cubicBezTo>
                <a:cubicBezTo>
                  <a:pt x="1549814" y="1719916"/>
                  <a:pt x="1556405" y="1718718"/>
                  <a:pt x="1568990" y="1713324"/>
                </a:cubicBezTo>
                <a:close/>
                <a:moveTo>
                  <a:pt x="1830274" y="1514965"/>
                </a:moveTo>
                <a:cubicBezTo>
                  <a:pt x="1830274" y="1514965"/>
                  <a:pt x="1830274" y="1514365"/>
                  <a:pt x="1830274" y="1514965"/>
                </a:cubicBezTo>
                <a:cubicBezTo>
                  <a:pt x="1829674" y="1514365"/>
                  <a:pt x="1830274" y="1514965"/>
                  <a:pt x="1830274" y="1514965"/>
                </a:cubicBezTo>
                <a:close/>
                <a:moveTo>
                  <a:pt x="5138865" y="4472382"/>
                </a:moveTo>
                <a:cubicBezTo>
                  <a:pt x="5142461" y="4470584"/>
                  <a:pt x="5144259" y="4463992"/>
                  <a:pt x="5141861" y="4462793"/>
                </a:cubicBezTo>
                <a:cubicBezTo>
                  <a:pt x="5139465" y="4461595"/>
                  <a:pt x="5137667" y="4462194"/>
                  <a:pt x="5136468" y="4467588"/>
                </a:cubicBezTo>
                <a:cubicBezTo>
                  <a:pt x="5135869" y="4472981"/>
                  <a:pt x="5129277" y="4473580"/>
                  <a:pt x="5131674" y="4466988"/>
                </a:cubicBezTo>
                <a:cubicBezTo>
                  <a:pt x="5134071" y="4460396"/>
                  <a:pt x="5132872" y="4460995"/>
                  <a:pt x="5128078" y="4463393"/>
                </a:cubicBezTo>
                <a:cubicBezTo>
                  <a:pt x="5122086" y="4467588"/>
                  <a:pt x="5120887" y="4475378"/>
                  <a:pt x="5114894" y="4474779"/>
                </a:cubicBezTo>
                <a:cubicBezTo>
                  <a:pt x="5108901" y="4474180"/>
                  <a:pt x="5109501" y="4467588"/>
                  <a:pt x="5111299" y="4460396"/>
                </a:cubicBezTo>
                <a:cubicBezTo>
                  <a:pt x="5113696" y="4453205"/>
                  <a:pt x="5110700" y="4451407"/>
                  <a:pt x="5107703" y="4451407"/>
                </a:cubicBezTo>
                <a:cubicBezTo>
                  <a:pt x="5104707" y="4451407"/>
                  <a:pt x="5102909" y="4446613"/>
                  <a:pt x="5107104" y="4444216"/>
                </a:cubicBezTo>
                <a:cubicBezTo>
                  <a:pt x="5111299" y="4441819"/>
                  <a:pt x="5108302" y="4439422"/>
                  <a:pt x="5103508" y="4440620"/>
                </a:cubicBezTo>
                <a:cubicBezTo>
                  <a:pt x="5098714" y="4441819"/>
                  <a:pt x="5098714" y="4446613"/>
                  <a:pt x="5096916" y="4449609"/>
                </a:cubicBezTo>
                <a:cubicBezTo>
                  <a:pt x="5095118" y="4452606"/>
                  <a:pt x="5094519" y="4456800"/>
                  <a:pt x="5089725" y="4459198"/>
                </a:cubicBezTo>
                <a:cubicBezTo>
                  <a:pt x="5084930" y="4461595"/>
                  <a:pt x="5080736" y="4471782"/>
                  <a:pt x="5079537" y="4474779"/>
                </a:cubicBezTo>
                <a:cubicBezTo>
                  <a:pt x="5078938" y="4477775"/>
                  <a:pt x="5072945" y="4486165"/>
                  <a:pt x="5068151" y="4487963"/>
                </a:cubicBezTo>
                <a:cubicBezTo>
                  <a:pt x="5059761" y="4491559"/>
                  <a:pt x="5059761" y="4502945"/>
                  <a:pt x="5059761" y="4505941"/>
                </a:cubicBezTo>
                <a:cubicBezTo>
                  <a:pt x="5059761" y="4508937"/>
                  <a:pt x="5056165" y="4520923"/>
                  <a:pt x="5046577" y="4528713"/>
                </a:cubicBezTo>
                <a:cubicBezTo>
                  <a:pt x="5036389" y="4536504"/>
                  <a:pt x="5035191" y="4537702"/>
                  <a:pt x="5032794" y="4537702"/>
                </a:cubicBezTo>
                <a:cubicBezTo>
                  <a:pt x="5030397" y="4537702"/>
                  <a:pt x="5025603" y="4541897"/>
                  <a:pt x="5023205" y="4543695"/>
                </a:cubicBezTo>
                <a:cubicBezTo>
                  <a:pt x="5020808" y="4546092"/>
                  <a:pt x="5014216" y="4550287"/>
                  <a:pt x="5010021" y="4550287"/>
                </a:cubicBezTo>
                <a:cubicBezTo>
                  <a:pt x="5005827" y="4550287"/>
                  <a:pt x="5004628" y="4554482"/>
                  <a:pt x="5009422" y="4554482"/>
                </a:cubicBezTo>
                <a:cubicBezTo>
                  <a:pt x="5015415" y="4553883"/>
                  <a:pt x="5015415" y="4558677"/>
                  <a:pt x="5010021" y="4558078"/>
                </a:cubicBezTo>
                <a:cubicBezTo>
                  <a:pt x="5004628" y="4557479"/>
                  <a:pt x="4999834" y="4557479"/>
                  <a:pt x="4996837" y="4557479"/>
                </a:cubicBezTo>
                <a:cubicBezTo>
                  <a:pt x="4993841" y="4556879"/>
                  <a:pt x="4989646" y="4558078"/>
                  <a:pt x="4988447" y="4560475"/>
                </a:cubicBezTo>
                <a:cubicBezTo>
                  <a:pt x="4986650" y="4562872"/>
                  <a:pt x="4984253" y="4564670"/>
                  <a:pt x="4982455" y="4565269"/>
                </a:cubicBezTo>
                <a:cubicBezTo>
                  <a:pt x="4980657" y="4565868"/>
                  <a:pt x="4977061" y="4570663"/>
                  <a:pt x="4977061" y="4574258"/>
                </a:cubicBezTo>
                <a:cubicBezTo>
                  <a:pt x="4977061" y="4579652"/>
                  <a:pt x="4975263" y="4579053"/>
                  <a:pt x="4972267" y="4578453"/>
                </a:cubicBezTo>
                <a:cubicBezTo>
                  <a:pt x="4969271" y="4577854"/>
                  <a:pt x="4968672" y="4582049"/>
                  <a:pt x="4966874" y="4583248"/>
                </a:cubicBezTo>
                <a:cubicBezTo>
                  <a:pt x="4965076" y="4584446"/>
                  <a:pt x="4961480" y="4585644"/>
                  <a:pt x="4961480" y="4588641"/>
                </a:cubicBezTo>
                <a:cubicBezTo>
                  <a:pt x="4961480" y="4591637"/>
                  <a:pt x="4957885" y="4589839"/>
                  <a:pt x="4954289" y="4592836"/>
                </a:cubicBezTo>
                <a:cubicBezTo>
                  <a:pt x="4950693" y="4595233"/>
                  <a:pt x="4939906" y="4600027"/>
                  <a:pt x="4945899" y="4601825"/>
                </a:cubicBezTo>
                <a:cubicBezTo>
                  <a:pt x="4951292" y="4603623"/>
                  <a:pt x="4947097" y="4607218"/>
                  <a:pt x="4945300" y="4607218"/>
                </a:cubicBezTo>
                <a:cubicBezTo>
                  <a:pt x="4942903" y="4607818"/>
                  <a:pt x="4940506" y="4613810"/>
                  <a:pt x="4943502" y="4614410"/>
                </a:cubicBezTo>
                <a:cubicBezTo>
                  <a:pt x="4946498" y="4615009"/>
                  <a:pt x="4945899" y="4619204"/>
                  <a:pt x="4939307" y="4618604"/>
                </a:cubicBezTo>
                <a:cubicBezTo>
                  <a:pt x="4933314" y="4618005"/>
                  <a:pt x="4930917" y="4621002"/>
                  <a:pt x="4929719" y="4624597"/>
                </a:cubicBezTo>
                <a:cubicBezTo>
                  <a:pt x="4929119" y="4628193"/>
                  <a:pt x="4927321" y="4633586"/>
                  <a:pt x="4939307" y="4631789"/>
                </a:cubicBezTo>
                <a:cubicBezTo>
                  <a:pt x="4951292" y="4629392"/>
                  <a:pt x="4957285" y="4629392"/>
                  <a:pt x="4958484" y="4633586"/>
                </a:cubicBezTo>
                <a:cubicBezTo>
                  <a:pt x="4959083" y="4635984"/>
                  <a:pt x="4962079" y="4639579"/>
                  <a:pt x="4968072" y="4640179"/>
                </a:cubicBezTo>
                <a:cubicBezTo>
                  <a:pt x="4971068" y="4641377"/>
                  <a:pt x="4973466" y="4643774"/>
                  <a:pt x="4974664" y="4643175"/>
                </a:cubicBezTo>
                <a:cubicBezTo>
                  <a:pt x="4978859" y="4642575"/>
                  <a:pt x="4980058" y="4644374"/>
                  <a:pt x="4978859" y="4647370"/>
                </a:cubicBezTo>
                <a:cubicBezTo>
                  <a:pt x="4977661" y="4650366"/>
                  <a:pt x="4979458" y="4654561"/>
                  <a:pt x="4986050" y="4651565"/>
                </a:cubicBezTo>
                <a:cubicBezTo>
                  <a:pt x="4992642" y="4648568"/>
                  <a:pt x="4995039" y="4650965"/>
                  <a:pt x="4998635" y="4650965"/>
                </a:cubicBezTo>
                <a:cubicBezTo>
                  <a:pt x="5002231" y="4650965"/>
                  <a:pt x="5007025" y="4648568"/>
                  <a:pt x="5009422" y="4644374"/>
                </a:cubicBezTo>
                <a:cubicBezTo>
                  <a:pt x="5011819" y="4640179"/>
                  <a:pt x="5014816" y="4640179"/>
                  <a:pt x="5017213" y="4640778"/>
                </a:cubicBezTo>
                <a:cubicBezTo>
                  <a:pt x="5019610" y="4641377"/>
                  <a:pt x="5022606" y="4638381"/>
                  <a:pt x="5025003" y="4634785"/>
                </a:cubicBezTo>
                <a:cubicBezTo>
                  <a:pt x="5027400" y="4631189"/>
                  <a:pt x="5029198" y="4629392"/>
                  <a:pt x="5034592" y="4629991"/>
                </a:cubicBezTo>
                <a:cubicBezTo>
                  <a:pt x="5039985" y="4630590"/>
                  <a:pt x="5044180" y="4625197"/>
                  <a:pt x="5042382" y="4621601"/>
                </a:cubicBezTo>
                <a:cubicBezTo>
                  <a:pt x="5040584" y="4617406"/>
                  <a:pt x="5044180" y="4615608"/>
                  <a:pt x="5045379" y="4609615"/>
                </a:cubicBezTo>
                <a:cubicBezTo>
                  <a:pt x="5046577" y="4603623"/>
                  <a:pt x="5053169" y="4597630"/>
                  <a:pt x="5053769" y="4591637"/>
                </a:cubicBezTo>
                <a:cubicBezTo>
                  <a:pt x="5054368" y="4586244"/>
                  <a:pt x="5056165" y="4583847"/>
                  <a:pt x="5053769" y="4581450"/>
                </a:cubicBezTo>
                <a:cubicBezTo>
                  <a:pt x="5051371" y="4579053"/>
                  <a:pt x="5056165" y="4577854"/>
                  <a:pt x="5056765" y="4574258"/>
                </a:cubicBezTo>
                <a:cubicBezTo>
                  <a:pt x="5057364" y="4570063"/>
                  <a:pt x="5058563" y="4570063"/>
                  <a:pt x="5060959" y="4572461"/>
                </a:cubicBezTo>
                <a:cubicBezTo>
                  <a:pt x="5064555" y="4576655"/>
                  <a:pt x="5062758" y="4567666"/>
                  <a:pt x="5068151" y="4568865"/>
                </a:cubicBezTo>
                <a:cubicBezTo>
                  <a:pt x="5072346" y="4569464"/>
                  <a:pt x="5078339" y="4563472"/>
                  <a:pt x="5076541" y="4561673"/>
                </a:cubicBezTo>
                <a:cubicBezTo>
                  <a:pt x="5074144" y="4558078"/>
                  <a:pt x="5075941" y="4554482"/>
                  <a:pt x="5079537" y="4559277"/>
                </a:cubicBezTo>
                <a:cubicBezTo>
                  <a:pt x="5083133" y="4564071"/>
                  <a:pt x="5085530" y="4561074"/>
                  <a:pt x="5087927" y="4560475"/>
                </a:cubicBezTo>
                <a:cubicBezTo>
                  <a:pt x="5090324" y="4559876"/>
                  <a:pt x="5095118" y="4559876"/>
                  <a:pt x="5098714" y="4562273"/>
                </a:cubicBezTo>
                <a:cubicBezTo>
                  <a:pt x="5102310" y="4564670"/>
                  <a:pt x="5113096" y="4556879"/>
                  <a:pt x="5107104" y="4554482"/>
                </a:cubicBezTo>
                <a:cubicBezTo>
                  <a:pt x="5101111" y="4552085"/>
                  <a:pt x="5096916" y="4552684"/>
                  <a:pt x="5098714" y="4546092"/>
                </a:cubicBezTo>
                <a:cubicBezTo>
                  <a:pt x="5100512" y="4538901"/>
                  <a:pt x="5102310" y="4536504"/>
                  <a:pt x="5109501" y="4532309"/>
                </a:cubicBezTo>
                <a:cubicBezTo>
                  <a:pt x="5116692" y="4528114"/>
                  <a:pt x="5118490" y="4515530"/>
                  <a:pt x="5124483" y="4514331"/>
                </a:cubicBezTo>
                <a:cubicBezTo>
                  <a:pt x="5129876" y="4513732"/>
                  <a:pt x="5129876" y="4495154"/>
                  <a:pt x="5136468" y="4497551"/>
                </a:cubicBezTo>
                <a:cubicBezTo>
                  <a:pt x="5140663" y="4498750"/>
                  <a:pt x="5140663" y="4493956"/>
                  <a:pt x="5134670" y="4490959"/>
                </a:cubicBezTo>
                <a:cubicBezTo>
                  <a:pt x="5132273" y="4489761"/>
                  <a:pt x="5132273" y="4484367"/>
                  <a:pt x="5137067" y="4484966"/>
                </a:cubicBezTo>
                <a:cubicBezTo>
                  <a:pt x="5141861" y="4485566"/>
                  <a:pt x="5143660" y="4478974"/>
                  <a:pt x="5137667" y="4479573"/>
                </a:cubicBezTo>
                <a:cubicBezTo>
                  <a:pt x="5132273" y="4477775"/>
                  <a:pt x="5135869" y="4474180"/>
                  <a:pt x="5138865" y="4472382"/>
                </a:cubicBezTo>
                <a:close/>
                <a:moveTo>
                  <a:pt x="5267709" y="4348931"/>
                </a:moveTo>
                <a:cubicBezTo>
                  <a:pt x="5259919" y="4346534"/>
                  <a:pt x="5255124" y="4338744"/>
                  <a:pt x="5254525" y="4346534"/>
                </a:cubicBezTo>
                <a:cubicBezTo>
                  <a:pt x="5253926" y="4356722"/>
                  <a:pt x="5246135" y="4356722"/>
                  <a:pt x="5244338" y="4358520"/>
                </a:cubicBezTo>
                <a:cubicBezTo>
                  <a:pt x="5242540" y="4360318"/>
                  <a:pt x="5236547" y="4362715"/>
                  <a:pt x="5234749" y="4362115"/>
                </a:cubicBezTo>
                <a:cubicBezTo>
                  <a:pt x="5232951" y="4361516"/>
                  <a:pt x="5230554" y="4361516"/>
                  <a:pt x="5229955" y="4364513"/>
                </a:cubicBezTo>
                <a:cubicBezTo>
                  <a:pt x="5229356" y="4366909"/>
                  <a:pt x="5226359" y="4366909"/>
                  <a:pt x="5225161" y="4363913"/>
                </a:cubicBezTo>
                <a:cubicBezTo>
                  <a:pt x="5223962" y="4360917"/>
                  <a:pt x="5213175" y="4359718"/>
                  <a:pt x="5210778" y="4356722"/>
                </a:cubicBezTo>
                <a:cubicBezTo>
                  <a:pt x="5208381" y="4353726"/>
                  <a:pt x="5203587" y="4356123"/>
                  <a:pt x="5198792" y="4353726"/>
                </a:cubicBezTo>
                <a:cubicBezTo>
                  <a:pt x="5194598" y="4351328"/>
                  <a:pt x="5196995" y="4349531"/>
                  <a:pt x="5199991" y="4348931"/>
                </a:cubicBezTo>
                <a:cubicBezTo>
                  <a:pt x="5202987" y="4348332"/>
                  <a:pt x="5202388" y="4339343"/>
                  <a:pt x="5202388" y="4335747"/>
                </a:cubicBezTo>
                <a:cubicBezTo>
                  <a:pt x="5201789" y="4331552"/>
                  <a:pt x="5204186" y="4324960"/>
                  <a:pt x="5199991" y="4325560"/>
                </a:cubicBezTo>
                <a:cubicBezTo>
                  <a:pt x="5195796" y="4326159"/>
                  <a:pt x="5192800" y="4323162"/>
                  <a:pt x="5197594" y="4322563"/>
                </a:cubicBezTo>
                <a:cubicBezTo>
                  <a:pt x="5202388" y="4321964"/>
                  <a:pt x="5201789" y="4318967"/>
                  <a:pt x="5198193" y="4317170"/>
                </a:cubicBezTo>
                <a:cubicBezTo>
                  <a:pt x="5195197" y="4315372"/>
                  <a:pt x="5193998" y="4307581"/>
                  <a:pt x="5192201" y="4314773"/>
                </a:cubicBezTo>
                <a:cubicBezTo>
                  <a:pt x="5189803" y="4321964"/>
                  <a:pt x="5193399" y="4323162"/>
                  <a:pt x="5190403" y="4326159"/>
                </a:cubicBezTo>
                <a:cubicBezTo>
                  <a:pt x="5187407" y="4328556"/>
                  <a:pt x="5187407" y="4330953"/>
                  <a:pt x="5187407" y="4333350"/>
                </a:cubicBezTo>
                <a:cubicBezTo>
                  <a:pt x="5187407" y="4335747"/>
                  <a:pt x="5185009" y="4338744"/>
                  <a:pt x="5185009" y="4333949"/>
                </a:cubicBezTo>
                <a:cubicBezTo>
                  <a:pt x="5185009" y="4329155"/>
                  <a:pt x="5182612" y="4329755"/>
                  <a:pt x="5180215" y="4329155"/>
                </a:cubicBezTo>
                <a:cubicBezTo>
                  <a:pt x="5177818" y="4328556"/>
                  <a:pt x="5170627" y="4323762"/>
                  <a:pt x="5171226" y="4319567"/>
                </a:cubicBezTo>
                <a:cubicBezTo>
                  <a:pt x="5171825" y="4315372"/>
                  <a:pt x="5171825" y="4312975"/>
                  <a:pt x="5174822" y="4311177"/>
                </a:cubicBezTo>
                <a:cubicBezTo>
                  <a:pt x="5177219" y="4308780"/>
                  <a:pt x="5175421" y="4304585"/>
                  <a:pt x="5172425" y="4300989"/>
                </a:cubicBezTo>
                <a:cubicBezTo>
                  <a:pt x="5168829" y="4297394"/>
                  <a:pt x="5165832" y="4292600"/>
                  <a:pt x="5164634" y="4289004"/>
                </a:cubicBezTo>
                <a:cubicBezTo>
                  <a:pt x="5163436" y="4286007"/>
                  <a:pt x="5164035" y="4283611"/>
                  <a:pt x="5167031" y="4284809"/>
                </a:cubicBezTo>
                <a:cubicBezTo>
                  <a:pt x="5170027" y="4286007"/>
                  <a:pt x="5172425" y="4278816"/>
                  <a:pt x="5168829" y="4274621"/>
                </a:cubicBezTo>
                <a:cubicBezTo>
                  <a:pt x="5164634" y="4270426"/>
                  <a:pt x="5163436" y="4271625"/>
                  <a:pt x="5161638" y="4275221"/>
                </a:cubicBezTo>
                <a:cubicBezTo>
                  <a:pt x="5159840" y="4279416"/>
                  <a:pt x="5154446" y="4275820"/>
                  <a:pt x="5158042" y="4271625"/>
                </a:cubicBezTo>
                <a:cubicBezTo>
                  <a:pt x="5162237" y="4267430"/>
                  <a:pt x="5157443" y="4266231"/>
                  <a:pt x="5153847" y="4264434"/>
                </a:cubicBezTo>
                <a:cubicBezTo>
                  <a:pt x="5150251" y="4263235"/>
                  <a:pt x="5146656" y="4259640"/>
                  <a:pt x="5147255" y="4256643"/>
                </a:cubicBezTo>
                <a:cubicBezTo>
                  <a:pt x="5147854" y="4253647"/>
                  <a:pt x="5144858" y="4252448"/>
                  <a:pt x="5142461" y="4256643"/>
                </a:cubicBezTo>
                <a:cubicBezTo>
                  <a:pt x="5140064" y="4260838"/>
                  <a:pt x="5136468" y="4259040"/>
                  <a:pt x="5137067" y="4253047"/>
                </a:cubicBezTo>
                <a:cubicBezTo>
                  <a:pt x="5138266" y="4244658"/>
                  <a:pt x="5126880" y="4245856"/>
                  <a:pt x="5134670" y="4242860"/>
                </a:cubicBezTo>
                <a:cubicBezTo>
                  <a:pt x="5141861" y="4239864"/>
                  <a:pt x="5135869" y="4237466"/>
                  <a:pt x="5134071" y="4237466"/>
                </a:cubicBezTo>
                <a:cubicBezTo>
                  <a:pt x="5131674" y="4238065"/>
                  <a:pt x="5131674" y="4238065"/>
                  <a:pt x="5129277" y="4239264"/>
                </a:cubicBezTo>
                <a:cubicBezTo>
                  <a:pt x="5126880" y="4239864"/>
                  <a:pt x="5123284" y="4244658"/>
                  <a:pt x="5128078" y="4249452"/>
                </a:cubicBezTo>
                <a:cubicBezTo>
                  <a:pt x="5132872" y="4254246"/>
                  <a:pt x="5133472" y="4277018"/>
                  <a:pt x="5140064" y="4274022"/>
                </a:cubicBezTo>
                <a:cubicBezTo>
                  <a:pt x="5146056" y="4271625"/>
                  <a:pt x="5139465" y="4277018"/>
                  <a:pt x="5141861" y="4282412"/>
                </a:cubicBezTo>
                <a:cubicBezTo>
                  <a:pt x="5144259" y="4287806"/>
                  <a:pt x="5150851" y="4314173"/>
                  <a:pt x="5158641" y="4308181"/>
                </a:cubicBezTo>
                <a:cubicBezTo>
                  <a:pt x="5165832" y="4302188"/>
                  <a:pt x="5168230" y="4306982"/>
                  <a:pt x="5165233" y="4308780"/>
                </a:cubicBezTo>
                <a:cubicBezTo>
                  <a:pt x="5162237" y="4311177"/>
                  <a:pt x="5164634" y="4315372"/>
                  <a:pt x="5159840" y="4312975"/>
                </a:cubicBezTo>
                <a:cubicBezTo>
                  <a:pt x="5155046" y="4310578"/>
                  <a:pt x="5158042" y="4315372"/>
                  <a:pt x="5160439" y="4320166"/>
                </a:cubicBezTo>
                <a:cubicBezTo>
                  <a:pt x="5162836" y="4325560"/>
                  <a:pt x="5169428" y="4326159"/>
                  <a:pt x="5168829" y="4330354"/>
                </a:cubicBezTo>
                <a:cubicBezTo>
                  <a:pt x="5168230" y="4334549"/>
                  <a:pt x="5165233" y="4337545"/>
                  <a:pt x="5163436" y="4333350"/>
                </a:cubicBezTo>
                <a:cubicBezTo>
                  <a:pt x="5161638" y="4329155"/>
                  <a:pt x="5157443" y="4330354"/>
                  <a:pt x="5159840" y="4335747"/>
                </a:cubicBezTo>
                <a:cubicBezTo>
                  <a:pt x="5162237" y="4341141"/>
                  <a:pt x="5163436" y="4341740"/>
                  <a:pt x="5165832" y="4342938"/>
                </a:cubicBezTo>
                <a:cubicBezTo>
                  <a:pt x="5168230" y="4344137"/>
                  <a:pt x="5168230" y="4353126"/>
                  <a:pt x="5165233" y="4354924"/>
                </a:cubicBezTo>
                <a:cubicBezTo>
                  <a:pt x="5162836" y="4357321"/>
                  <a:pt x="5161638" y="4363314"/>
                  <a:pt x="5165832" y="4364513"/>
                </a:cubicBezTo>
                <a:cubicBezTo>
                  <a:pt x="5170027" y="4365711"/>
                  <a:pt x="5167631" y="4371104"/>
                  <a:pt x="5164634" y="4370505"/>
                </a:cubicBezTo>
                <a:cubicBezTo>
                  <a:pt x="5161638" y="4369906"/>
                  <a:pt x="5160439" y="4374700"/>
                  <a:pt x="5157443" y="4379494"/>
                </a:cubicBezTo>
                <a:cubicBezTo>
                  <a:pt x="5155046" y="4384288"/>
                  <a:pt x="5149053" y="4391480"/>
                  <a:pt x="5144259" y="4394476"/>
                </a:cubicBezTo>
                <a:cubicBezTo>
                  <a:pt x="5139465" y="4396873"/>
                  <a:pt x="5137067" y="4401068"/>
                  <a:pt x="5135869" y="4405263"/>
                </a:cubicBezTo>
                <a:cubicBezTo>
                  <a:pt x="5135270" y="4409458"/>
                  <a:pt x="5131674" y="4418447"/>
                  <a:pt x="5142461" y="4416649"/>
                </a:cubicBezTo>
                <a:cubicBezTo>
                  <a:pt x="5153248" y="4414851"/>
                  <a:pt x="5148454" y="4417848"/>
                  <a:pt x="5152649" y="4420844"/>
                </a:cubicBezTo>
                <a:cubicBezTo>
                  <a:pt x="5160439" y="4426238"/>
                  <a:pt x="5167031" y="4421444"/>
                  <a:pt x="5168829" y="4428635"/>
                </a:cubicBezTo>
                <a:cubicBezTo>
                  <a:pt x="5170627" y="4435826"/>
                  <a:pt x="5173024" y="4453205"/>
                  <a:pt x="5164634" y="4460396"/>
                </a:cubicBezTo>
                <a:cubicBezTo>
                  <a:pt x="5156244" y="4467588"/>
                  <a:pt x="5152049" y="4465190"/>
                  <a:pt x="5152049" y="4472382"/>
                </a:cubicBezTo>
                <a:cubicBezTo>
                  <a:pt x="5152049" y="4479573"/>
                  <a:pt x="5158641" y="4479573"/>
                  <a:pt x="5162836" y="4479573"/>
                </a:cubicBezTo>
                <a:cubicBezTo>
                  <a:pt x="5167031" y="4478974"/>
                  <a:pt x="5169428" y="4481371"/>
                  <a:pt x="5167631" y="4483768"/>
                </a:cubicBezTo>
                <a:cubicBezTo>
                  <a:pt x="5165832" y="4486165"/>
                  <a:pt x="5169428" y="4490360"/>
                  <a:pt x="5177818" y="4481371"/>
                </a:cubicBezTo>
                <a:cubicBezTo>
                  <a:pt x="5186208" y="4472981"/>
                  <a:pt x="5192800" y="4468187"/>
                  <a:pt x="5196396" y="4462793"/>
                </a:cubicBezTo>
                <a:cubicBezTo>
                  <a:pt x="5200591" y="4457400"/>
                  <a:pt x="5206583" y="4451407"/>
                  <a:pt x="5209580" y="4447811"/>
                </a:cubicBezTo>
                <a:cubicBezTo>
                  <a:pt x="5213774" y="4443017"/>
                  <a:pt x="5217969" y="4435826"/>
                  <a:pt x="5219767" y="4432830"/>
                </a:cubicBezTo>
                <a:cubicBezTo>
                  <a:pt x="5220966" y="4429833"/>
                  <a:pt x="5222164" y="4426837"/>
                  <a:pt x="5223962" y="4425039"/>
                </a:cubicBezTo>
                <a:cubicBezTo>
                  <a:pt x="5226359" y="4423241"/>
                  <a:pt x="5225161" y="4419046"/>
                  <a:pt x="5222164" y="4419646"/>
                </a:cubicBezTo>
                <a:cubicBezTo>
                  <a:pt x="5219168" y="4420245"/>
                  <a:pt x="5216172" y="4417848"/>
                  <a:pt x="5222763" y="4411256"/>
                </a:cubicBezTo>
                <a:cubicBezTo>
                  <a:pt x="5229955" y="4404664"/>
                  <a:pt x="5231153" y="4401668"/>
                  <a:pt x="5236547" y="4405263"/>
                </a:cubicBezTo>
                <a:cubicBezTo>
                  <a:pt x="5241940" y="4408859"/>
                  <a:pt x="5235948" y="4417249"/>
                  <a:pt x="5243139" y="4411256"/>
                </a:cubicBezTo>
                <a:cubicBezTo>
                  <a:pt x="5250330" y="4405862"/>
                  <a:pt x="5248533" y="4402866"/>
                  <a:pt x="5245536" y="4401068"/>
                </a:cubicBezTo>
                <a:cubicBezTo>
                  <a:pt x="5242540" y="4399869"/>
                  <a:pt x="5245536" y="4398671"/>
                  <a:pt x="5247334" y="4396274"/>
                </a:cubicBezTo>
                <a:cubicBezTo>
                  <a:pt x="5249132" y="4393877"/>
                  <a:pt x="5246734" y="4389682"/>
                  <a:pt x="5245536" y="4387884"/>
                </a:cubicBezTo>
                <a:cubicBezTo>
                  <a:pt x="5244338" y="4385487"/>
                  <a:pt x="5244338" y="4383689"/>
                  <a:pt x="5250330" y="4384288"/>
                </a:cubicBezTo>
                <a:cubicBezTo>
                  <a:pt x="5256323" y="4384888"/>
                  <a:pt x="5264713" y="4377097"/>
                  <a:pt x="5263514" y="4370505"/>
                </a:cubicBezTo>
                <a:cubicBezTo>
                  <a:pt x="5262316" y="4363913"/>
                  <a:pt x="5264713" y="4362115"/>
                  <a:pt x="5268908" y="4360917"/>
                </a:cubicBezTo>
                <a:cubicBezTo>
                  <a:pt x="5271305" y="4359718"/>
                  <a:pt x="5275500" y="4351328"/>
                  <a:pt x="5267709" y="4348931"/>
                </a:cubicBezTo>
                <a:close/>
                <a:moveTo>
                  <a:pt x="7933280" y="987603"/>
                </a:moveTo>
                <a:cubicBezTo>
                  <a:pt x="7929084" y="991199"/>
                  <a:pt x="7942269" y="987004"/>
                  <a:pt x="7941070" y="991798"/>
                </a:cubicBezTo>
                <a:cubicBezTo>
                  <a:pt x="7939872" y="995993"/>
                  <a:pt x="7953055" y="1020564"/>
                  <a:pt x="7958449" y="1024159"/>
                </a:cubicBezTo>
                <a:cubicBezTo>
                  <a:pt x="7963843" y="1028354"/>
                  <a:pt x="7959648" y="1037943"/>
                  <a:pt x="7967438" y="1034946"/>
                </a:cubicBezTo>
                <a:cubicBezTo>
                  <a:pt x="7970434" y="1033748"/>
                  <a:pt x="7972832" y="1032549"/>
                  <a:pt x="7973431" y="1037343"/>
                </a:cubicBezTo>
                <a:cubicBezTo>
                  <a:pt x="7974030" y="1042137"/>
                  <a:pt x="7973431" y="1049329"/>
                  <a:pt x="7970434" y="1043935"/>
                </a:cubicBezTo>
                <a:cubicBezTo>
                  <a:pt x="7967438" y="1038542"/>
                  <a:pt x="7965641" y="1039740"/>
                  <a:pt x="7966240" y="1043336"/>
                </a:cubicBezTo>
                <a:cubicBezTo>
                  <a:pt x="7966839" y="1046332"/>
                  <a:pt x="7967438" y="1050527"/>
                  <a:pt x="7970434" y="1054722"/>
                </a:cubicBezTo>
                <a:cubicBezTo>
                  <a:pt x="7972832" y="1058917"/>
                  <a:pt x="7966240" y="1059516"/>
                  <a:pt x="7965041" y="1062513"/>
                </a:cubicBezTo>
                <a:cubicBezTo>
                  <a:pt x="7963243" y="1065509"/>
                  <a:pt x="7963843" y="1068506"/>
                  <a:pt x="7963243" y="1074498"/>
                </a:cubicBezTo>
                <a:cubicBezTo>
                  <a:pt x="7962644" y="1080491"/>
                  <a:pt x="7965641" y="1076895"/>
                  <a:pt x="7972233" y="1069105"/>
                </a:cubicBezTo>
                <a:cubicBezTo>
                  <a:pt x="7979423" y="1060715"/>
                  <a:pt x="7980023" y="1064910"/>
                  <a:pt x="7980023" y="1071502"/>
                </a:cubicBezTo>
                <a:cubicBezTo>
                  <a:pt x="7980023" y="1078094"/>
                  <a:pt x="7970434" y="1083487"/>
                  <a:pt x="7974030" y="1096072"/>
                </a:cubicBezTo>
                <a:cubicBezTo>
                  <a:pt x="7977626" y="1109256"/>
                  <a:pt x="7990810" y="1106260"/>
                  <a:pt x="7996803" y="1104462"/>
                </a:cubicBezTo>
                <a:cubicBezTo>
                  <a:pt x="8003394" y="1102664"/>
                  <a:pt x="8002795" y="1102065"/>
                  <a:pt x="8002795" y="1096671"/>
                </a:cubicBezTo>
                <a:cubicBezTo>
                  <a:pt x="8002795" y="1091278"/>
                  <a:pt x="8004593" y="1092476"/>
                  <a:pt x="8006391" y="1096072"/>
                </a:cubicBezTo>
                <a:cubicBezTo>
                  <a:pt x="8008189" y="1100267"/>
                  <a:pt x="8020774" y="1101466"/>
                  <a:pt x="8021373" y="1099069"/>
                </a:cubicBezTo>
                <a:cubicBezTo>
                  <a:pt x="8021972" y="1096671"/>
                  <a:pt x="8029763" y="1094874"/>
                  <a:pt x="8033957" y="1091877"/>
                </a:cubicBezTo>
                <a:cubicBezTo>
                  <a:pt x="8038153" y="1089480"/>
                  <a:pt x="8038752" y="1085885"/>
                  <a:pt x="8039950" y="1082888"/>
                </a:cubicBezTo>
                <a:cubicBezTo>
                  <a:pt x="8041149" y="1079892"/>
                  <a:pt x="8041149" y="1070903"/>
                  <a:pt x="8044145" y="1072101"/>
                </a:cubicBezTo>
                <a:cubicBezTo>
                  <a:pt x="8046543" y="1072700"/>
                  <a:pt x="8049539" y="1076296"/>
                  <a:pt x="8050138" y="1078693"/>
                </a:cubicBezTo>
                <a:cubicBezTo>
                  <a:pt x="8051336" y="1083487"/>
                  <a:pt x="8053134" y="1085885"/>
                  <a:pt x="8052535" y="1090679"/>
                </a:cubicBezTo>
                <a:cubicBezTo>
                  <a:pt x="8051935" y="1094874"/>
                  <a:pt x="8056730" y="1090079"/>
                  <a:pt x="8059726" y="1088282"/>
                </a:cubicBezTo>
                <a:cubicBezTo>
                  <a:pt x="8062723" y="1086484"/>
                  <a:pt x="8060925" y="1084087"/>
                  <a:pt x="8061524" y="1081090"/>
                </a:cubicBezTo>
                <a:cubicBezTo>
                  <a:pt x="8062124" y="1077495"/>
                  <a:pt x="8062124" y="1078693"/>
                  <a:pt x="8066917" y="1073899"/>
                </a:cubicBezTo>
                <a:cubicBezTo>
                  <a:pt x="8071712" y="1069704"/>
                  <a:pt x="8072311" y="1074498"/>
                  <a:pt x="8069914" y="1077495"/>
                </a:cubicBezTo>
                <a:cubicBezTo>
                  <a:pt x="8067517" y="1080491"/>
                  <a:pt x="8068116" y="1085285"/>
                  <a:pt x="8069315" y="1088881"/>
                </a:cubicBezTo>
                <a:cubicBezTo>
                  <a:pt x="8071113" y="1092476"/>
                  <a:pt x="8072311" y="1091278"/>
                  <a:pt x="8068715" y="1098469"/>
                </a:cubicBezTo>
                <a:cubicBezTo>
                  <a:pt x="8064521" y="1105660"/>
                  <a:pt x="8064521" y="1107458"/>
                  <a:pt x="8068715" y="1109256"/>
                </a:cubicBezTo>
                <a:cubicBezTo>
                  <a:pt x="8072910" y="1111054"/>
                  <a:pt x="8074109" y="1110455"/>
                  <a:pt x="8074109" y="1108657"/>
                </a:cubicBezTo>
                <a:cubicBezTo>
                  <a:pt x="8074708" y="1106859"/>
                  <a:pt x="8075307" y="1106260"/>
                  <a:pt x="8077705" y="1104462"/>
                </a:cubicBezTo>
                <a:cubicBezTo>
                  <a:pt x="8080102" y="1102664"/>
                  <a:pt x="8080102" y="1101466"/>
                  <a:pt x="8078304" y="1097271"/>
                </a:cubicBezTo>
                <a:cubicBezTo>
                  <a:pt x="8076506" y="1093076"/>
                  <a:pt x="8077705" y="1093076"/>
                  <a:pt x="8077705" y="1086484"/>
                </a:cubicBezTo>
                <a:cubicBezTo>
                  <a:pt x="8077705" y="1079892"/>
                  <a:pt x="8080102" y="1082289"/>
                  <a:pt x="8083098" y="1084087"/>
                </a:cubicBezTo>
                <a:cubicBezTo>
                  <a:pt x="8085495" y="1085885"/>
                  <a:pt x="8084896" y="1081690"/>
                  <a:pt x="8083697" y="1078693"/>
                </a:cubicBezTo>
                <a:cubicBezTo>
                  <a:pt x="8082499" y="1076296"/>
                  <a:pt x="8078903" y="1072101"/>
                  <a:pt x="8078304" y="1067307"/>
                </a:cubicBezTo>
                <a:cubicBezTo>
                  <a:pt x="8077705" y="1062513"/>
                  <a:pt x="8080701" y="1066708"/>
                  <a:pt x="8083697" y="1069704"/>
                </a:cubicBezTo>
                <a:cubicBezTo>
                  <a:pt x="8087293" y="1072700"/>
                  <a:pt x="8090888" y="1076296"/>
                  <a:pt x="8095683" y="1079892"/>
                </a:cubicBezTo>
                <a:cubicBezTo>
                  <a:pt x="8101076" y="1083487"/>
                  <a:pt x="8099877" y="1084087"/>
                  <a:pt x="8099278" y="1092476"/>
                </a:cubicBezTo>
                <a:cubicBezTo>
                  <a:pt x="8098679" y="1100866"/>
                  <a:pt x="8101076" y="1099668"/>
                  <a:pt x="8104672" y="1099668"/>
                </a:cubicBezTo>
                <a:cubicBezTo>
                  <a:pt x="8108867" y="1099668"/>
                  <a:pt x="8108267" y="1094274"/>
                  <a:pt x="8107668" y="1091278"/>
                </a:cubicBezTo>
                <a:cubicBezTo>
                  <a:pt x="8107069" y="1088282"/>
                  <a:pt x="8107069" y="1085885"/>
                  <a:pt x="8107069" y="1085885"/>
                </a:cubicBezTo>
                <a:cubicBezTo>
                  <a:pt x="8107069" y="1085885"/>
                  <a:pt x="8111863" y="1087682"/>
                  <a:pt x="8112463" y="1091278"/>
                </a:cubicBezTo>
                <a:cubicBezTo>
                  <a:pt x="8113062" y="1094874"/>
                  <a:pt x="8113661" y="1096072"/>
                  <a:pt x="8116657" y="1097271"/>
                </a:cubicBezTo>
                <a:cubicBezTo>
                  <a:pt x="8119055" y="1098469"/>
                  <a:pt x="8119055" y="1100267"/>
                  <a:pt x="8120852" y="1102664"/>
                </a:cubicBezTo>
                <a:cubicBezTo>
                  <a:pt x="8123249" y="1105061"/>
                  <a:pt x="8126246" y="1102065"/>
                  <a:pt x="8128044" y="1103263"/>
                </a:cubicBezTo>
                <a:cubicBezTo>
                  <a:pt x="8129841" y="1105061"/>
                  <a:pt x="8131040" y="1103263"/>
                  <a:pt x="8131040" y="1099668"/>
                </a:cubicBezTo>
                <a:cubicBezTo>
                  <a:pt x="8131040" y="1096072"/>
                  <a:pt x="8130441" y="1094874"/>
                  <a:pt x="8126845" y="1091278"/>
                </a:cubicBezTo>
                <a:cubicBezTo>
                  <a:pt x="8123848" y="1087682"/>
                  <a:pt x="8122650" y="1084087"/>
                  <a:pt x="8122650" y="1079292"/>
                </a:cubicBezTo>
                <a:cubicBezTo>
                  <a:pt x="8122650" y="1079292"/>
                  <a:pt x="8123848" y="1074498"/>
                  <a:pt x="8121452" y="1070303"/>
                </a:cubicBezTo>
                <a:cubicBezTo>
                  <a:pt x="8119055" y="1066108"/>
                  <a:pt x="8116657" y="1056520"/>
                  <a:pt x="8114859" y="1059516"/>
                </a:cubicBezTo>
                <a:cubicBezTo>
                  <a:pt x="8112463" y="1062513"/>
                  <a:pt x="8119055" y="1074498"/>
                  <a:pt x="8119055" y="1074498"/>
                </a:cubicBezTo>
                <a:cubicBezTo>
                  <a:pt x="8114859" y="1074498"/>
                  <a:pt x="8114859" y="1074498"/>
                  <a:pt x="8110066" y="1071502"/>
                </a:cubicBezTo>
                <a:cubicBezTo>
                  <a:pt x="8105271" y="1068506"/>
                  <a:pt x="8107668" y="1061914"/>
                  <a:pt x="8106470" y="1058318"/>
                </a:cubicBezTo>
                <a:cubicBezTo>
                  <a:pt x="8105870" y="1054722"/>
                  <a:pt x="8106470" y="1046332"/>
                  <a:pt x="8104073" y="1043935"/>
                </a:cubicBezTo>
                <a:cubicBezTo>
                  <a:pt x="8101676" y="1041538"/>
                  <a:pt x="8099877" y="1045733"/>
                  <a:pt x="8099877" y="1049329"/>
                </a:cubicBezTo>
                <a:cubicBezTo>
                  <a:pt x="8099877" y="1052924"/>
                  <a:pt x="8099278" y="1051726"/>
                  <a:pt x="8096881" y="1057119"/>
                </a:cubicBezTo>
                <a:cubicBezTo>
                  <a:pt x="8094485" y="1062513"/>
                  <a:pt x="8099278" y="1065509"/>
                  <a:pt x="8101676" y="1068506"/>
                </a:cubicBezTo>
                <a:cubicBezTo>
                  <a:pt x="8104073" y="1071502"/>
                  <a:pt x="8104672" y="1072700"/>
                  <a:pt x="8104073" y="1075098"/>
                </a:cubicBezTo>
                <a:cubicBezTo>
                  <a:pt x="8103474" y="1077495"/>
                  <a:pt x="8101676" y="1078094"/>
                  <a:pt x="8099877" y="1074498"/>
                </a:cubicBezTo>
                <a:cubicBezTo>
                  <a:pt x="8098080" y="1070303"/>
                  <a:pt x="8089690" y="1057719"/>
                  <a:pt x="8086694" y="1056520"/>
                </a:cubicBezTo>
                <a:cubicBezTo>
                  <a:pt x="8083697" y="1054722"/>
                  <a:pt x="8084296" y="1052924"/>
                  <a:pt x="8086694" y="1051127"/>
                </a:cubicBezTo>
                <a:cubicBezTo>
                  <a:pt x="8089091" y="1048729"/>
                  <a:pt x="8088492" y="1045134"/>
                  <a:pt x="8090888" y="1040340"/>
                </a:cubicBezTo>
                <a:cubicBezTo>
                  <a:pt x="8093286" y="1035545"/>
                  <a:pt x="8090888" y="1031950"/>
                  <a:pt x="8089091" y="1036145"/>
                </a:cubicBezTo>
                <a:cubicBezTo>
                  <a:pt x="8087293" y="1040340"/>
                  <a:pt x="8087293" y="1036744"/>
                  <a:pt x="8083697" y="1037943"/>
                </a:cubicBezTo>
                <a:cubicBezTo>
                  <a:pt x="8079503" y="1039141"/>
                  <a:pt x="8083697" y="1037943"/>
                  <a:pt x="8079503" y="1046332"/>
                </a:cubicBezTo>
                <a:cubicBezTo>
                  <a:pt x="8077705" y="1049928"/>
                  <a:pt x="8076506" y="1049329"/>
                  <a:pt x="8075307" y="1053524"/>
                </a:cubicBezTo>
                <a:cubicBezTo>
                  <a:pt x="8074109" y="1057719"/>
                  <a:pt x="8073510" y="1058917"/>
                  <a:pt x="8072311" y="1056520"/>
                </a:cubicBezTo>
                <a:cubicBezTo>
                  <a:pt x="8071113" y="1054123"/>
                  <a:pt x="8071113" y="1050527"/>
                  <a:pt x="8072910" y="1047531"/>
                </a:cubicBezTo>
                <a:cubicBezTo>
                  <a:pt x="8074708" y="1044535"/>
                  <a:pt x="8072311" y="1039740"/>
                  <a:pt x="8068715" y="1043336"/>
                </a:cubicBezTo>
                <a:cubicBezTo>
                  <a:pt x="8065120" y="1047531"/>
                  <a:pt x="8063921" y="1023560"/>
                  <a:pt x="8060325" y="1024758"/>
                </a:cubicBezTo>
                <a:cubicBezTo>
                  <a:pt x="8056730" y="1025358"/>
                  <a:pt x="8060325" y="1016369"/>
                  <a:pt x="8060325" y="1012773"/>
                </a:cubicBezTo>
                <a:cubicBezTo>
                  <a:pt x="8060325" y="1009177"/>
                  <a:pt x="8056131" y="1007380"/>
                  <a:pt x="8052535" y="1007380"/>
                </a:cubicBezTo>
                <a:cubicBezTo>
                  <a:pt x="8048340" y="1006780"/>
                  <a:pt x="8042347" y="1003185"/>
                  <a:pt x="8039950" y="1008578"/>
                </a:cubicBezTo>
                <a:cubicBezTo>
                  <a:pt x="8037554" y="1013972"/>
                  <a:pt x="8018975" y="1013972"/>
                  <a:pt x="8018975" y="1017567"/>
                </a:cubicBezTo>
                <a:cubicBezTo>
                  <a:pt x="8018376" y="1021163"/>
                  <a:pt x="8013583" y="1018166"/>
                  <a:pt x="8010586" y="1018766"/>
                </a:cubicBezTo>
                <a:cubicBezTo>
                  <a:pt x="8007590" y="1019365"/>
                  <a:pt x="8006391" y="1019964"/>
                  <a:pt x="8003994" y="1018166"/>
                </a:cubicBezTo>
                <a:cubicBezTo>
                  <a:pt x="8001597" y="1015769"/>
                  <a:pt x="8002196" y="1018766"/>
                  <a:pt x="8000398" y="1021762"/>
                </a:cubicBezTo>
                <a:cubicBezTo>
                  <a:pt x="7998601" y="1024159"/>
                  <a:pt x="8000997" y="1010376"/>
                  <a:pt x="8002795" y="1006780"/>
                </a:cubicBezTo>
                <a:cubicBezTo>
                  <a:pt x="8005193" y="1003185"/>
                  <a:pt x="8002196" y="996593"/>
                  <a:pt x="8000997" y="998390"/>
                </a:cubicBezTo>
                <a:cubicBezTo>
                  <a:pt x="7999799" y="1000188"/>
                  <a:pt x="7984817" y="1000787"/>
                  <a:pt x="7983019" y="995993"/>
                </a:cubicBezTo>
                <a:cubicBezTo>
                  <a:pt x="7981222" y="991199"/>
                  <a:pt x="7981821" y="990001"/>
                  <a:pt x="7980023" y="991798"/>
                </a:cubicBezTo>
                <a:cubicBezTo>
                  <a:pt x="7978225" y="993596"/>
                  <a:pt x="7978824" y="998390"/>
                  <a:pt x="7979423" y="1001986"/>
                </a:cubicBezTo>
                <a:cubicBezTo>
                  <a:pt x="7980023" y="1005582"/>
                  <a:pt x="7980023" y="1007380"/>
                  <a:pt x="7981821" y="1013972"/>
                </a:cubicBezTo>
                <a:cubicBezTo>
                  <a:pt x="7983019" y="1019964"/>
                  <a:pt x="7981222" y="1020564"/>
                  <a:pt x="7978225" y="1018766"/>
                </a:cubicBezTo>
                <a:cubicBezTo>
                  <a:pt x="7975828" y="1016968"/>
                  <a:pt x="7975828" y="1008578"/>
                  <a:pt x="7975828" y="1005582"/>
                </a:cubicBezTo>
                <a:cubicBezTo>
                  <a:pt x="7976427" y="1002585"/>
                  <a:pt x="7971633" y="990600"/>
                  <a:pt x="7970434" y="987603"/>
                </a:cubicBezTo>
                <a:cubicBezTo>
                  <a:pt x="7969236" y="985206"/>
                  <a:pt x="7968037" y="969625"/>
                  <a:pt x="7965641" y="966030"/>
                </a:cubicBezTo>
                <a:cubicBezTo>
                  <a:pt x="7963243" y="962434"/>
                  <a:pt x="7962644" y="958838"/>
                  <a:pt x="7961445" y="954044"/>
                </a:cubicBezTo>
                <a:cubicBezTo>
                  <a:pt x="7960846" y="949250"/>
                  <a:pt x="7956052" y="955243"/>
                  <a:pt x="7952456" y="956441"/>
                </a:cubicBezTo>
                <a:cubicBezTo>
                  <a:pt x="7948262" y="957041"/>
                  <a:pt x="7947063" y="954044"/>
                  <a:pt x="7948861" y="952246"/>
                </a:cubicBezTo>
                <a:cubicBezTo>
                  <a:pt x="7950659" y="950449"/>
                  <a:pt x="7956052" y="948051"/>
                  <a:pt x="7958449" y="946254"/>
                </a:cubicBezTo>
                <a:cubicBezTo>
                  <a:pt x="7960846" y="943856"/>
                  <a:pt x="7957850" y="938463"/>
                  <a:pt x="7953055" y="937864"/>
                </a:cubicBezTo>
                <a:cubicBezTo>
                  <a:pt x="7948861" y="937265"/>
                  <a:pt x="7939872" y="939062"/>
                  <a:pt x="7939872" y="939062"/>
                </a:cubicBezTo>
                <a:cubicBezTo>
                  <a:pt x="7939872" y="939062"/>
                  <a:pt x="7939272" y="946254"/>
                  <a:pt x="7938673" y="949849"/>
                </a:cubicBezTo>
                <a:cubicBezTo>
                  <a:pt x="7938073" y="954044"/>
                  <a:pt x="7939272" y="975618"/>
                  <a:pt x="7939272" y="979813"/>
                </a:cubicBezTo>
                <a:cubicBezTo>
                  <a:pt x="7938673" y="982809"/>
                  <a:pt x="7936875" y="984008"/>
                  <a:pt x="7933280" y="987603"/>
                </a:cubicBezTo>
                <a:close/>
                <a:moveTo>
                  <a:pt x="7393933" y="1016968"/>
                </a:moveTo>
                <a:cubicBezTo>
                  <a:pt x="7398128" y="1016968"/>
                  <a:pt x="7399327" y="1016968"/>
                  <a:pt x="7403521" y="1017567"/>
                </a:cubicBezTo>
                <a:cubicBezTo>
                  <a:pt x="7407716" y="1018166"/>
                  <a:pt x="7408316" y="1016369"/>
                  <a:pt x="7407117" y="1012773"/>
                </a:cubicBezTo>
                <a:cubicBezTo>
                  <a:pt x="7405919" y="1009177"/>
                  <a:pt x="7402922" y="1010975"/>
                  <a:pt x="7396930" y="1005582"/>
                </a:cubicBezTo>
                <a:cubicBezTo>
                  <a:pt x="7391536" y="1000188"/>
                  <a:pt x="7383745" y="997192"/>
                  <a:pt x="7380150" y="1006780"/>
                </a:cubicBezTo>
                <a:cubicBezTo>
                  <a:pt x="7376554" y="1016369"/>
                  <a:pt x="7385543" y="1015769"/>
                  <a:pt x="7385543" y="1015769"/>
                </a:cubicBezTo>
                <a:cubicBezTo>
                  <a:pt x="7385543" y="1015769"/>
                  <a:pt x="7390338" y="1016968"/>
                  <a:pt x="7393933" y="1016968"/>
                </a:cubicBezTo>
                <a:close/>
                <a:moveTo>
                  <a:pt x="7453261" y="1034946"/>
                </a:moveTo>
                <a:cubicBezTo>
                  <a:pt x="7453261" y="1034946"/>
                  <a:pt x="7449066" y="1037343"/>
                  <a:pt x="7449066" y="1039141"/>
                </a:cubicBezTo>
                <a:cubicBezTo>
                  <a:pt x="7449066" y="1040939"/>
                  <a:pt x="7453261" y="1040939"/>
                  <a:pt x="7453261" y="1040939"/>
                </a:cubicBezTo>
                <a:lnTo>
                  <a:pt x="7453261" y="1034946"/>
                </a:lnTo>
                <a:close/>
                <a:moveTo>
                  <a:pt x="8119654" y="2195740"/>
                </a:moveTo>
                <a:cubicBezTo>
                  <a:pt x="8117256" y="2198137"/>
                  <a:pt x="8119055" y="2201133"/>
                  <a:pt x="8114859" y="2198137"/>
                </a:cubicBezTo>
                <a:cubicBezTo>
                  <a:pt x="8110665" y="2195141"/>
                  <a:pt x="8109466" y="2196339"/>
                  <a:pt x="8109466" y="2193343"/>
                </a:cubicBezTo>
                <a:cubicBezTo>
                  <a:pt x="8109466" y="2190346"/>
                  <a:pt x="8116657" y="2192743"/>
                  <a:pt x="8111264" y="2189148"/>
                </a:cubicBezTo>
                <a:cubicBezTo>
                  <a:pt x="8105870" y="2184953"/>
                  <a:pt x="8107668" y="2185552"/>
                  <a:pt x="8102874" y="2185552"/>
                </a:cubicBezTo>
                <a:cubicBezTo>
                  <a:pt x="8097481" y="2185552"/>
                  <a:pt x="8096881" y="2186152"/>
                  <a:pt x="8094485" y="2180159"/>
                </a:cubicBezTo>
                <a:cubicBezTo>
                  <a:pt x="8092087" y="2174166"/>
                  <a:pt x="8088492" y="2171769"/>
                  <a:pt x="8086694" y="2175365"/>
                </a:cubicBezTo>
                <a:cubicBezTo>
                  <a:pt x="8084896" y="2178960"/>
                  <a:pt x="8086694" y="2180758"/>
                  <a:pt x="8084296" y="2180758"/>
                </a:cubicBezTo>
                <a:cubicBezTo>
                  <a:pt x="8081899" y="2180758"/>
                  <a:pt x="8081300" y="2181357"/>
                  <a:pt x="8081300" y="2178361"/>
                </a:cubicBezTo>
                <a:cubicBezTo>
                  <a:pt x="8081300" y="2175365"/>
                  <a:pt x="8080102" y="2172368"/>
                  <a:pt x="8077105" y="2174166"/>
                </a:cubicBezTo>
                <a:cubicBezTo>
                  <a:pt x="8074708" y="2175964"/>
                  <a:pt x="8074109" y="2180159"/>
                  <a:pt x="8071113" y="2173567"/>
                </a:cubicBezTo>
                <a:cubicBezTo>
                  <a:pt x="8068116" y="2166975"/>
                  <a:pt x="8066318" y="2169372"/>
                  <a:pt x="8064521" y="2169372"/>
                </a:cubicBezTo>
                <a:cubicBezTo>
                  <a:pt x="8062723" y="2169372"/>
                  <a:pt x="8062124" y="2175365"/>
                  <a:pt x="8058528" y="2171769"/>
                </a:cubicBezTo>
                <a:cubicBezTo>
                  <a:pt x="8054932" y="2167574"/>
                  <a:pt x="8053134" y="2168173"/>
                  <a:pt x="8056131" y="2166375"/>
                </a:cubicBezTo>
                <a:cubicBezTo>
                  <a:pt x="8058528" y="2164578"/>
                  <a:pt x="8059726" y="2163978"/>
                  <a:pt x="8056730" y="2161581"/>
                </a:cubicBezTo>
                <a:cubicBezTo>
                  <a:pt x="8053734" y="2159184"/>
                  <a:pt x="8054333" y="2162181"/>
                  <a:pt x="8050737" y="2162181"/>
                </a:cubicBezTo>
                <a:cubicBezTo>
                  <a:pt x="8046543" y="2162181"/>
                  <a:pt x="8047142" y="2163379"/>
                  <a:pt x="8042347" y="2159783"/>
                </a:cubicBezTo>
                <a:cubicBezTo>
                  <a:pt x="8037554" y="2155589"/>
                  <a:pt x="8035156" y="2152592"/>
                  <a:pt x="8027365" y="2148997"/>
                </a:cubicBezTo>
                <a:cubicBezTo>
                  <a:pt x="8019575" y="2145401"/>
                  <a:pt x="8014781" y="2140007"/>
                  <a:pt x="8009387" y="2141805"/>
                </a:cubicBezTo>
                <a:cubicBezTo>
                  <a:pt x="8003994" y="2143603"/>
                  <a:pt x="8003394" y="2143004"/>
                  <a:pt x="7997402" y="2138210"/>
                </a:cubicBezTo>
                <a:cubicBezTo>
                  <a:pt x="7992008" y="2133415"/>
                  <a:pt x="7993207" y="2132217"/>
                  <a:pt x="7990211" y="2131618"/>
                </a:cubicBezTo>
                <a:cubicBezTo>
                  <a:pt x="7987813" y="2131018"/>
                  <a:pt x="7987813" y="2126823"/>
                  <a:pt x="7987813" y="2126823"/>
                </a:cubicBezTo>
                <a:cubicBezTo>
                  <a:pt x="7987813" y="2126823"/>
                  <a:pt x="7986015" y="2126224"/>
                  <a:pt x="7982420" y="2126224"/>
                </a:cubicBezTo>
                <a:cubicBezTo>
                  <a:pt x="7978824" y="2126224"/>
                  <a:pt x="7976427" y="2128621"/>
                  <a:pt x="7976427" y="2128621"/>
                </a:cubicBezTo>
                <a:cubicBezTo>
                  <a:pt x="7976427" y="2128621"/>
                  <a:pt x="7972233" y="2132816"/>
                  <a:pt x="7968037" y="2125026"/>
                </a:cubicBezTo>
                <a:cubicBezTo>
                  <a:pt x="7963843" y="2117235"/>
                  <a:pt x="7962644" y="2119632"/>
                  <a:pt x="7959648" y="2122029"/>
                </a:cubicBezTo>
                <a:cubicBezTo>
                  <a:pt x="7956652" y="2124426"/>
                  <a:pt x="7952456" y="2126224"/>
                  <a:pt x="7953655" y="2122629"/>
                </a:cubicBezTo>
                <a:cubicBezTo>
                  <a:pt x="7954254" y="2119632"/>
                  <a:pt x="7956052" y="2116636"/>
                  <a:pt x="7949460" y="2119632"/>
                </a:cubicBezTo>
                <a:cubicBezTo>
                  <a:pt x="7943467" y="2122629"/>
                  <a:pt x="7941070" y="2124426"/>
                  <a:pt x="7941070" y="2124426"/>
                </a:cubicBezTo>
                <a:cubicBezTo>
                  <a:pt x="7941070" y="2124426"/>
                  <a:pt x="7938673" y="2125026"/>
                  <a:pt x="7938673" y="2122629"/>
                </a:cubicBezTo>
                <a:cubicBezTo>
                  <a:pt x="7938673" y="2120231"/>
                  <a:pt x="7936276" y="2118434"/>
                  <a:pt x="7933280" y="2122629"/>
                </a:cubicBezTo>
                <a:cubicBezTo>
                  <a:pt x="7930283" y="2126823"/>
                  <a:pt x="7930882" y="2116636"/>
                  <a:pt x="7926088" y="2118434"/>
                </a:cubicBezTo>
                <a:cubicBezTo>
                  <a:pt x="7921294" y="2120831"/>
                  <a:pt x="7905713" y="2124426"/>
                  <a:pt x="7905713" y="2128621"/>
                </a:cubicBezTo>
                <a:cubicBezTo>
                  <a:pt x="7906312" y="2135213"/>
                  <a:pt x="7899121" y="2132816"/>
                  <a:pt x="7897323" y="2134015"/>
                </a:cubicBezTo>
                <a:cubicBezTo>
                  <a:pt x="7894327" y="2136412"/>
                  <a:pt x="7897922" y="2134015"/>
                  <a:pt x="7892529" y="2138210"/>
                </a:cubicBezTo>
                <a:cubicBezTo>
                  <a:pt x="7887135" y="2142404"/>
                  <a:pt x="7879345" y="2150794"/>
                  <a:pt x="7879345" y="2150794"/>
                </a:cubicBezTo>
                <a:cubicBezTo>
                  <a:pt x="7879345" y="2150794"/>
                  <a:pt x="7873951" y="2156188"/>
                  <a:pt x="7875150" y="2160383"/>
                </a:cubicBezTo>
                <a:cubicBezTo>
                  <a:pt x="7875750" y="2164578"/>
                  <a:pt x="7875150" y="2165776"/>
                  <a:pt x="7878146" y="2168772"/>
                </a:cubicBezTo>
                <a:cubicBezTo>
                  <a:pt x="7881142" y="2171769"/>
                  <a:pt x="7882941" y="2172967"/>
                  <a:pt x="7877547" y="2172967"/>
                </a:cubicBezTo>
                <a:cubicBezTo>
                  <a:pt x="7872153" y="2173567"/>
                  <a:pt x="7872753" y="2174765"/>
                  <a:pt x="7870356" y="2176563"/>
                </a:cubicBezTo>
                <a:cubicBezTo>
                  <a:pt x="7867959" y="2178361"/>
                  <a:pt x="7866161" y="2180758"/>
                  <a:pt x="7866161" y="2180758"/>
                </a:cubicBezTo>
                <a:cubicBezTo>
                  <a:pt x="7866161" y="2180758"/>
                  <a:pt x="7864363" y="2187350"/>
                  <a:pt x="7869157" y="2184354"/>
                </a:cubicBezTo>
                <a:cubicBezTo>
                  <a:pt x="7873951" y="2181357"/>
                  <a:pt x="7873352" y="2180758"/>
                  <a:pt x="7877547" y="2181357"/>
                </a:cubicBezTo>
                <a:cubicBezTo>
                  <a:pt x="7881742" y="2181957"/>
                  <a:pt x="7880543" y="2181357"/>
                  <a:pt x="7880543" y="2184354"/>
                </a:cubicBezTo>
                <a:cubicBezTo>
                  <a:pt x="7880543" y="2187350"/>
                  <a:pt x="7880543" y="2188549"/>
                  <a:pt x="7884739" y="2183754"/>
                </a:cubicBezTo>
                <a:cubicBezTo>
                  <a:pt x="7888933" y="2179560"/>
                  <a:pt x="7891930" y="2179560"/>
                  <a:pt x="7891331" y="2176563"/>
                </a:cubicBezTo>
                <a:cubicBezTo>
                  <a:pt x="7890731" y="2173567"/>
                  <a:pt x="7890731" y="2167574"/>
                  <a:pt x="7893728" y="2166375"/>
                </a:cubicBezTo>
                <a:cubicBezTo>
                  <a:pt x="7896724" y="2165177"/>
                  <a:pt x="7901518" y="2166975"/>
                  <a:pt x="7902117" y="2163978"/>
                </a:cubicBezTo>
                <a:cubicBezTo>
                  <a:pt x="7902717" y="2161581"/>
                  <a:pt x="7902117" y="2159184"/>
                  <a:pt x="7905713" y="2155589"/>
                </a:cubicBezTo>
                <a:cubicBezTo>
                  <a:pt x="7909309" y="2151394"/>
                  <a:pt x="7912904" y="2144802"/>
                  <a:pt x="7916500" y="2143603"/>
                </a:cubicBezTo>
                <a:cubicBezTo>
                  <a:pt x="7920695" y="2142404"/>
                  <a:pt x="7929684" y="2141206"/>
                  <a:pt x="7933280" y="2141206"/>
                </a:cubicBezTo>
                <a:cubicBezTo>
                  <a:pt x="7936875" y="2140607"/>
                  <a:pt x="7944666" y="2148997"/>
                  <a:pt x="7938673" y="2148997"/>
                </a:cubicBezTo>
                <a:cubicBezTo>
                  <a:pt x="7933280" y="2148997"/>
                  <a:pt x="7927287" y="2146599"/>
                  <a:pt x="7928485" y="2149596"/>
                </a:cubicBezTo>
                <a:cubicBezTo>
                  <a:pt x="7929684" y="2152592"/>
                  <a:pt x="7929684" y="2154390"/>
                  <a:pt x="7933879" y="2154989"/>
                </a:cubicBezTo>
                <a:cubicBezTo>
                  <a:pt x="7938073" y="2155589"/>
                  <a:pt x="7936875" y="2155589"/>
                  <a:pt x="7941070" y="2157386"/>
                </a:cubicBezTo>
                <a:cubicBezTo>
                  <a:pt x="7945265" y="2158585"/>
                  <a:pt x="7946463" y="2159184"/>
                  <a:pt x="7948262" y="2160383"/>
                </a:cubicBezTo>
                <a:cubicBezTo>
                  <a:pt x="7950659" y="2161581"/>
                  <a:pt x="7951258" y="2160982"/>
                  <a:pt x="7951258" y="2157986"/>
                </a:cubicBezTo>
                <a:cubicBezTo>
                  <a:pt x="7951258" y="2154989"/>
                  <a:pt x="7952456" y="2152592"/>
                  <a:pt x="7956052" y="2156787"/>
                </a:cubicBezTo>
                <a:cubicBezTo>
                  <a:pt x="7959648" y="2160982"/>
                  <a:pt x="7959648" y="2161581"/>
                  <a:pt x="7965641" y="2162780"/>
                </a:cubicBezTo>
                <a:cubicBezTo>
                  <a:pt x="7971633" y="2163978"/>
                  <a:pt x="7974030" y="2163379"/>
                  <a:pt x="7972832" y="2159783"/>
                </a:cubicBezTo>
                <a:cubicBezTo>
                  <a:pt x="7971034" y="2155589"/>
                  <a:pt x="7968637" y="2152592"/>
                  <a:pt x="7972233" y="2153791"/>
                </a:cubicBezTo>
                <a:cubicBezTo>
                  <a:pt x="7975828" y="2154390"/>
                  <a:pt x="7976427" y="2156787"/>
                  <a:pt x="7978225" y="2160982"/>
                </a:cubicBezTo>
                <a:cubicBezTo>
                  <a:pt x="7980023" y="2165177"/>
                  <a:pt x="7981222" y="2168173"/>
                  <a:pt x="7986615" y="2169971"/>
                </a:cubicBezTo>
                <a:cubicBezTo>
                  <a:pt x="7992008" y="2172368"/>
                  <a:pt x="7993806" y="2172368"/>
                  <a:pt x="7995604" y="2174166"/>
                </a:cubicBezTo>
                <a:cubicBezTo>
                  <a:pt x="7997402" y="2175964"/>
                  <a:pt x="7997402" y="2174765"/>
                  <a:pt x="8002795" y="2174765"/>
                </a:cubicBezTo>
                <a:cubicBezTo>
                  <a:pt x="8008189" y="2175365"/>
                  <a:pt x="8009387" y="2176563"/>
                  <a:pt x="8012983" y="2178960"/>
                </a:cubicBezTo>
                <a:cubicBezTo>
                  <a:pt x="8017178" y="2181357"/>
                  <a:pt x="8021972" y="2180758"/>
                  <a:pt x="8024968" y="2178361"/>
                </a:cubicBezTo>
                <a:cubicBezTo>
                  <a:pt x="8027965" y="2175964"/>
                  <a:pt x="8032160" y="2175365"/>
                  <a:pt x="8030362" y="2179560"/>
                </a:cubicBezTo>
                <a:cubicBezTo>
                  <a:pt x="8027965" y="2183754"/>
                  <a:pt x="8035755" y="2185552"/>
                  <a:pt x="8038752" y="2188549"/>
                </a:cubicBezTo>
                <a:cubicBezTo>
                  <a:pt x="8041149" y="2191545"/>
                  <a:pt x="8043546" y="2198137"/>
                  <a:pt x="8047142" y="2201733"/>
                </a:cubicBezTo>
                <a:cubicBezTo>
                  <a:pt x="8051336" y="2205328"/>
                  <a:pt x="8051935" y="2205328"/>
                  <a:pt x="8060925" y="2205328"/>
                </a:cubicBezTo>
                <a:cubicBezTo>
                  <a:pt x="8069914" y="2205328"/>
                  <a:pt x="8074109" y="2207725"/>
                  <a:pt x="8074708" y="2210722"/>
                </a:cubicBezTo>
                <a:cubicBezTo>
                  <a:pt x="8075307" y="2213718"/>
                  <a:pt x="8077705" y="2214917"/>
                  <a:pt x="8078304" y="2217913"/>
                </a:cubicBezTo>
                <a:cubicBezTo>
                  <a:pt x="8078903" y="2221509"/>
                  <a:pt x="8078903" y="2220909"/>
                  <a:pt x="8079503" y="2223306"/>
                </a:cubicBezTo>
                <a:cubicBezTo>
                  <a:pt x="8080102" y="2225704"/>
                  <a:pt x="8080102" y="2229299"/>
                  <a:pt x="8075906" y="2229899"/>
                </a:cubicBezTo>
                <a:cubicBezTo>
                  <a:pt x="8071712" y="2230498"/>
                  <a:pt x="8071712" y="2229899"/>
                  <a:pt x="8069914" y="2233494"/>
                </a:cubicBezTo>
                <a:cubicBezTo>
                  <a:pt x="8068116" y="2237090"/>
                  <a:pt x="8064521" y="2241884"/>
                  <a:pt x="8070514" y="2242483"/>
                </a:cubicBezTo>
                <a:cubicBezTo>
                  <a:pt x="8077105" y="2243083"/>
                  <a:pt x="8097481" y="2240086"/>
                  <a:pt x="8102874" y="2238288"/>
                </a:cubicBezTo>
                <a:cubicBezTo>
                  <a:pt x="8108267" y="2237090"/>
                  <a:pt x="8111264" y="2235891"/>
                  <a:pt x="8112463" y="2232895"/>
                </a:cubicBezTo>
                <a:cubicBezTo>
                  <a:pt x="8113062" y="2230498"/>
                  <a:pt x="8112463" y="2231696"/>
                  <a:pt x="8116058" y="2233494"/>
                </a:cubicBezTo>
                <a:cubicBezTo>
                  <a:pt x="8119654" y="2235891"/>
                  <a:pt x="8128044" y="2237689"/>
                  <a:pt x="8128044" y="2232895"/>
                </a:cubicBezTo>
                <a:cubicBezTo>
                  <a:pt x="8128044" y="2228101"/>
                  <a:pt x="8127445" y="2226902"/>
                  <a:pt x="8130441" y="2227501"/>
                </a:cubicBezTo>
                <a:cubicBezTo>
                  <a:pt x="8132837" y="2228101"/>
                  <a:pt x="8134636" y="2228101"/>
                  <a:pt x="8132837" y="2231696"/>
                </a:cubicBezTo>
                <a:cubicBezTo>
                  <a:pt x="8131040" y="2234693"/>
                  <a:pt x="8132238" y="2238888"/>
                  <a:pt x="8137033" y="2234693"/>
                </a:cubicBezTo>
                <a:cubicBezTo>
                  <a:pt x="8142426" y="2230498"/>
                  <a:pt x="8142426" y="2226303"/>
                  <a:pt x="8149018" y="2226902"/>
                </a:cubicBezTo>
                <a:cubicBezTo>
                  <a:pt x="8155610" y="2227501"/>
                  <a:pt x="8156209" y="2225704"/>
                  <a:pt x="8155610" y="2222108"/>
                </a:cubicBezTo>
                <a:cubicBezTo>
                  <a:pt x="8155011" y="2218512"/>
                  <a:pt x="8156209" y="2214917"/>
                  <a:pt x="8151416" y="2214917"/>
                </a:cubicBezTo>
                <a:cubicBezTo>
                  <a:pt x="8147220" y="2214917"/>
                  <a:pt x="8138830" y="2215516"/>
                  <a:pt x="8138231" y="2210722"/>
                </a:cubicBezTo>
                <a:cubicBezTo>
                  <a:pt x="8137632" y="2206527"/>
                  <a:pt x="8134036" y="2201733"/>
                  <a:pt x="8128643" y="2200534"/>
                </a:cubicBezTo>
                <a:cubicBezTo>
                  <a:pt x="8125646" y="2197538"/>
                  <a:pt x="8122051" y="2193942"/>
                  <a:pt x="8119654" y="2195740"/>
                </a:cubicBezTo>
                <a:close/>
                <a:moveTo>
                  <a:pt x="8173588" y="2300613"/>
                </a:moveTo>
                <a:cubicBezTo>
                  <a:pt x="8177783" y="2301212"/>
                  <a:pt x="8179581" y="2301212"/>
                  <a:pt x="8182578" y="2303010"/>
                </a:cubicBezTo>
                <a:cubicBezTo>
                  <a:pt x="8185574" y="2305407"/>
                  <a:pt x="8189768" y="2308403"/>
                  <a:pt x="8192166" y="2303010"/>
                </a:cubicBezTo>
                <a:cubicBezTo>
                  <a:pt x="8194563" y="2297616"/>
                  <a:pt x="8199957" y="2298815"/>
                  <a:pt x="8209545" y="2298815"/>
                </a:cubicBezTo>
                <a:cubicBezTo>
                  <a:pt x="8219133" y="2298815"/>
                  <a:pt x="8231718" y="2296418"/>
                  <a:pt x="8235314" y="2299414"/>
                </a:cubicBezTo>
                <a:cubicBezTo>
                  <a:pt x="8237710" y="2301212"/>
                  <a:pt x="8241307" y="2302411"/>
                  <a:pt x="8243703" y="2304208"/>
                </a:cubicBezTo>
                <a:cubicBezTo>
                  <a:pt x="8245501" y="2305407"/>
                  <a:pt x="8247299" y="2307205"/>
                  <a:pt x="8247299" y="2310201"/>
                </a:cubicBezTo>
                <a:cubicBezTo>
                  <a:pt x="8247299" y="2316793"/>
                  <a:pt x="8249696" y="2322187"/>
                  <a:pt x="8256288" y="2319790"/>
                </a:cubicBezTo>
                <a:cubicBezTo>
                  <a:pt x="8263479" y="2317393"/>
                  <a:pt x="8260483" y="2303010"/>
                  <a:pt x="8259285" y="2300613"/>
                </a:cubicBezTo>
                <a:cubicBezTo>
                  <a:pt x="8258685" y="2298216"/>
                  <a:pt x="8256888" y="2297616"/>
                  <a:pt x="8259884" y="2295819"/>
                </a:cubicBezTo>
                <a:cubicBezTo>
                  <a:pt x="8262880" y="2294021"/>
                  <a:pt x="8262281" y="2294021"/>
                  <a:pt x="8264079" y="2291624"/>
                </a:cubicBezTo>
                <a:cubicBezTo>
                  <a:pt x="8265877" y="2289227"/>
                  <a:pt x="8270071" y="2286830"/>
                  <a:pt x="8269472" y="2293422"/>
                </a:cubicBezTo>
                <a:cubicBezTo>
                  <a:pt x="8268873" y="2300014"/>
                  <a:pt x="8269472" y="2298815"/>
                  <a:pt x="8271270" y="2300014"/>
                </a:cubicBezTo>
                <a:cubicBezTo>
                  <a:pt x="8273068" y="2300613"/>
                  <a:pt x="8273068" y="2300014"/>
                  <a:pt x="8276064" y="2297616"/>
                </a:cubicBezTo>
                <a:cubicBezTo>
                  <a:pt x="8279060" y="2295219"/>
                  <a:pt x="8281458" y="2292822"/>
                  <a:pt x="8281458" y="2288627"/>
                </a:cubicBezTo>
                <a:cubicBezTo>
                  <a:pt x="8281458" y="2284432"/>
                  <a:pt x="8284454" y="2281436"/>
                  <a:pt x="8290447" y="2281436"/>
                </a:cubicBezTo>
                <a:cubicBezTo>
                  <a:pt x="8296440" y="2281436"/>
                  <a:pt x="8302432" y="2276043"/>
                  <a:pt x="8306627" y="2279039"/>
                </a:cubicBezTo>
                <a:cubicBezTo>
                  <a:pt x="8310822" y="2282035"/>
                  <a:pt x="8312620" y="2286230"/>
                  <a:pt x="8313819" y="2288627"/>
                </a:cubicBezTo>
                <a:cubicBezTo>
                  <a:pt x="8315017" y="2291025"/>
                  <a:pt x="8315616" y="2294021"/>
                  <a:pt x="8317414" y="2287429"/>
                </a:cubicBezTo>
                <a:cubicBezTo>
                  <a:pt x="8319811" y="2280837"/>
                  <a:pt x="8318013" y="2280237"/>
                  <a:pt x="8319811" y="2279039"/>
                </a:cubicBezTo>
                <a:cubicBezTo>
                  <a:pt x="8321609" y="2278440"/>
                  <a:pt x="8319212" y="2277840"/>
                  <a:pt x="8318013" y="2274844"/>
                </a:cubicBezTo>
                <a:cubicBezTo>
                  <a:pt x="8317414" y="2271848"/>
                  <a:pt x="8317414" y="2270649"/>
                  <a:pt x="8317414" y="2267054"/>
                </a:cubicBezTo>
                <a:cubicBezTo>
                  <a:pt x="8318013" y="2262859"/>
                  <a:pt x="8316815" y="2261061"/>
                  <a:pt x="8310223" y="2258664"/>
                </a:cubicBezTo>
                <a:cubicBezTo>
                  <a:pt x="8303631" y="2256267"/>
                  <a:pt x="8303031" y="2255068"/>
                  <a:pt x="8300035" y="2255667"/>
                </a:cubicBezTo>
                <a:cubicBezTo>
                  <a:pt x="8296440" y="2256267"/>
                  <a:pt x="8292844" y="2252072"/>
                  <a:pt x="8285652" y="2254469"/>
                </a:cubicBezTo>
                <a:cubicBezTo>
                  <a:pt x="8278461" y="2256866"/>
                  <a:pt x="8276663" y="2254469"/>
                  <a:pt x="8276064" y="2252671"/>
                </a:cubicBezTo>
                <a:cubicBezTo>
                  <a:pt x="8275465" y="2250873"/>
                  <a:pt x="8275465" y="2250274"/>
                  <a:pt x="8280259" y="2250274"/>
                </a:cubicBezTo>
                <a:cubicBezTo>
                  <a:pt x="8285053" y="2250274"/>
                  <a:pt x="8288649" y="2249075"/>
                  <a:pt x="8288050" y="2246079"/>
                </a:cubicBezTo>
                <a:cubicBezTo>
                  <a:pt x="8287450" y="2243083"/>
                  <a:pt x="8288050" y="2243682"/>
                  <a:pt x="8282057" y="2244281"/>
                </a:cubicBezTo>
                <a:cubicBezTo>
                  <a:pt x="8276064" y="2244880"/>
                  <a:pt x="8271270" y="2247277"/>
                  <a:pt x="8270071" y="2241884"/>
                </a:cubicBezTo>
                <a:cubicBezTo>
                  <a:pt x="8269472" y="2236491"/>
                  <a:pt x="8267075" y="2229299"/>
                  <a:pt x="8264678" y="2228700"/>
                </a:cubicBezTo>
                <a:cubicBezTo>
                  <a:pt x="8262281" y="2228101"/>
                  <a:pt x="8254490" y="2228101"/>
                  <a:pt x="8249696" y="2227501"/>
                </a:cubicBezTo>
                <a:cubicBezTo>
                  <a:pt x="8244902" y="2226902"/>
                  <a:pt x="8232917" y="2225704"/>
                  <a:pt x="8229321" y="2228101"/>
                </a:cubicBezTo>
                <a:cubicBezTo>
                  <a:pt x="8225126" y="2230498"/>
                  <a:pt x="8222129" y="2234693"/>
                  <a:pt x="8222129" y="2234693"/>
                </a:cubicBezTo>
                <a:lnTo>
                  <a:pt x="8224527" y="2235891"/>
                </a:lnTo>
                <a:cubicBezTo>
                  <a:pt x="8224527" y="2235891"/>
                  <a:pt x="8224527" y="2235891"/>
                  <a:pt x="8224527" y="2236491"/>
                </a:cubicBezTo>
                <a:cubicBezTo>
                  <a:pt x="8223328" y="2235292"/>
                  <a:pt x="8222729" y="2234693"/>
                  <a:pt x="8222729" y="2234693"/>
                </a:cubicBezTo>
                <a:cubicBezTo>
                  <a:pt x="8222729" y="2234693"/>
                  <a:pt x="8216137" y="2230498"/>
                  <a:pt x="8204750" y="2231696"/>
                </a:cubicBezTo>
                <a:cubicBezTo>
                  <a:pt x="8192765" y="2232895"/>
                  <a:pt x="8187971" y="2231696"/>
                  <a:pt x="8184975" y="2234093"/>
                </a:cubicBezTo>
                <a:cubicBezTo>
                  <a:pt x="8181379" y="2236491"/>
                  <a:pt x="8182578" y="2235891"/>
                  <a:pt x="8181379" y="2238288"/>
                </a:cubicBezTo>
                <a:cubicBezTo>
                  <a:pt x="8180180" y="2240685"/>
                  <a:pt x="8181379" y="2243083"/>
                  <a:pt x="8181379" y="2243083"/>
                </a:cubicBezTo>
                <a:cubicBezTo>
                  <a:pt x="8181379" y="2243083"/>
                  <a:pt x="8179581" y="2247277"/>
                  <a:pt x="8185574" y="2246079"/>
                </a:cubicBezTo>
                <a:cubicBezTo>
                  <a:pt x="8191567" y="2245480"/>
                  <a:pt x="8205350" y="2245480"/>
                  <a:pt x="8204151" y="2249674"/>
                </a:cubicBezTo>
                <a:cubicBezTo>
                  <a:pt x="8203552" y="2253869"/>
                  <a:pt x="8202354" y="2255667"/>
                  <a:pt x="8204750" y="2259862"/>
                </a:cubicBezTo>
                <a:cubicBezTo>
                  <a:pt x="8207148" y="2264057"/>
                  <a:pt x="8208347" y="2270649"/>
                  <a:pt x="8211942" y="2273645"/>
                </a:cubicBezTo>
                <a:cubicBezTo>
                  <a:pt x="8215538" y="2276642"/>
                  <a:pt x="8221530" y="2277840"/>
                  <a:pt x="8220332" y="2280837"/>
                </a:cubicBezTo>
                <a:cubicBezTo>
                  <a:pt x="8219133" y="2283234"/>
                  <a:pt x="8221530" y="2287429"/>
                  <a:pt x="8216137" y="2288627"/>
                </a:cubicBezTo>
                <a:cubicBezTo>
                  <a:pt x="8210743" y="2289826"/>
                  <a:pt x="8202953" y="2289227"/>
                  <a:pt x="8199357" y="2291025"/>
                </a:cubicBezTo>
                <a:cubicBezTo>
                  <a:pt x="8196361" y="2292223"/>
                  <a:pt x="8192765" y="2293422"/>
                  <a:pt x="8192765" y="2293422"/>
                </a:cubicBezTo>
                <a:cubicBezTo>
                  <a:pt x="8192765" y="2293422"/>
                  <a:pt x="8190368" y="2295219"/>
                  <a:pt x="8191567" y="2289826"/>
                </a:cubicBezTo>
                <a:cubicBezTo>
                  <a:pt x="8192765" y="2284432"/>
                  <a:pt x="8190967" y="2287429"/>
                  <a:pt x="8187971" y="2288627"/>
                </a:cubicBezTo>
                <a:cubicBezTo>
                  <a:pt x="8184975" y="2289826"/>
                  <a:pt x="8181978" y="2289826"/>
                  <a:pt x="8177783" y="2289826"/>
                </a:cubicBezTo>
                <a:cubicBezTo>
                  <a:pt x="8173588" y="2289826"/>
                  <a:pt x="8171790" y="2290425"/>
                  <a:pt x="8170592" y="2294021"/>
                </a:cubicBezTo>
                <a:cubicBezTo>
                  <a:pt x="8170592" y="2295819"/>
                  <a:pt x="8168794" y="2299414"/>
                  <a:pt x="8173588" y="2300613"/>
                </a:cubicBezTo>
                <a:close/>
                <a:moveTo>
                  <a:pt x="7579109" y="5199900"/>
                </a:moveTo>
                <a:cubicBezTo>
                  <a:pt x="7582105" y="5194507"/>
                  <a:pt x="7584502" y="5187915"/>
                  <a:pt x="7592293" y="5187915"/>
                </a:cubicBezTo>
                <a:cubicBezTo>
                  <a:pt x="7599484" y="5187915"/>
                  <a:pt x="7603679" y="5186716"/>
                  <a:pt x="7608473" y="5183720"/>
                </a:cubicBezTo>
                <a:cubicBezTo>
                  <a:pt x="7613267" y="5181323"/>
                  <a:pt x="7617462" y="5179525"/>
                  <a:pt x="7616863" y="5175929"/>
                </a:cubicBezTo>
                <a:cubicBezTo>
                  <a:pt x="7616264" y="5172334"/>
                  <a:pt x="7615065" y="5168738"/>
                  <a:pt x="7612668" y="5171135"/>
                </a:cubicBezTo>
                <a:cubicBezTo>
                  <a:pt x="7610271" y="5173532"/>
                  <a:pt x="7606076" y="5177727"/>
                  <a:pt x="7601282" y="5175929"/>
                </a:cubicBezTo>
                <a:cubicBezTo>
                  <a:pt x="7596487" y="5174131"/>
                  <a:pt x="7594091" y="5173532"/>
                  <a:pt x="7594091" y="5173532"/>
                </a:cubicBezTo>
                <a:cubicBezTo>
                  <a:pt x="7594091" y="5173532"/>
                  <a:pt x="7593491" y="5174131"/>
                  <a:pt x="7591094" y="5178326"/>
                </a:cubicBezTo>
                <a:cubicBezTo>
                  <a:pt x="7588697" y="5182521"/>
                  <a:pt x="7589296" y="5186117"/>
                  <a:pt x="7583304" y="5185518"/>
                </a:cubicBezTo>
                <a:cubicBezTo>
                  <a:pt x="7577311" y="5184918"/>
                  <a:pt x="7573116" y="5185518"/>
                  <a:pt x="7573116" y="5185518"/>
                </a:cubicBezTo>
                <a:cubicBezTo>
                  <a:pt x="7573116" y="5185518"/>
                  <a:pt x="7574914" y="5186117"/>
                  <a:pt x="7574914" y="5189113"/>
                </a:cubicBezTo>
                <a:cubicBezTo>
                  <a:pt x="7574914" y="5192110"/>
                  <a:pt x="7574914" y="5196305"/>
                  <a:pt x="7574914" y="5196305"/>
                </a:cubicBezTo>
                <a:cubicBezTo>
                  <a:pt x="7574914" y="5196305"/>
                  <a:pt x="7575513" y="5205294"/>
                  <a:pt x="7579109" y="5199900"/>
                </a:cubicBezTo>
                <a:close/>
                <a:moveTo>
                  <a:pt x="7690574" y="5273012"/>
                </a:moveTo>
                <a:cubicBezTo>
                  <a:pt x="7688177" y="5271214"/>
                  <a:pt x="7686378" y="5268817"/>
                  <a:pt x="7682184" y="5265820"/>
                </a:cubicBezTo>
                <a:cubicBezTo>
                  <a:pt x="7677989" y="5262225"/>
                  <a:pt x="7679787" y="5250838"/>
                  <a:pt x="7674993" y="5247842"/>
                </a:cubicBezTo>
                <a:cubicBezTo>
                  <a:pt x="7670797" y="5245445"/>
                  <a:pt x="7668400" y="5235857"/>
                  <a:pt x="7664805" y="5231063"/>
                </a:cubicBezTo>
                <a:cubicBezTo>
                  <a:pt x="7660610" y="5225669"/>
                  <a:pt x="7667202" y="5218478"/>
                  <a:pt x="7667202" y="5214882"/>
                </a:cubicBezTo>
                <a:cubicBezTo>
                  <a:pt x="7667202" y="5211287"/>
                  <a:pt x="7665404" y="5210088"/>
                  <a:pt x="7671397" y="5207691"/>
                </a:cubicBezTo>
                <a:cubicBezTo>
                  <a:pt x="7677389" y="5205294"/>
                  <a:pt x="7676790" y="5202297"/>
                  <a:pt x="7677989" y="5195706"/>
                </a:cubicBezTo>
                <a:cubicBezTo>
                  <a:pt x="7678588" y="5192110"/>
                  <a:pt x="7678588" y="5190312"/>
                  <a:pt x="7677989" y="5189113"/>
                </a:cubicBezTo>
                <a:cubicBezTo>
                  <a:pt x="7677389" y="5188514"/>
                  <a:pt x="7675592" y="5187915"/>
                  <a:pt x="7673195" y="5187915"/>
                </a:cubicBezTo>
                <a:cubicBezTo>
                  <a:pt x="7666603" y="5187915"/>
                  <a:pt x="7667801" y="5187316"/>
                  <a:pt x="7665404" y="5183720"/>
                </a:cubicBezTo>
                <a:cubicBezTo>
                  <a:pt x="7663007" y="5180124"/>
                  <a:pt x="7658812" y="5180724"/>
                  <a:pt x="7656415" y="5185518"/>
                </a:cubicBezTo>
                <a:cubicBezTo>
                  <a:pt x="7654018" y="5190312"/>
                  <a:pt x="7649224" y="5188514"/>
                  <a:pt x="7644429" y="5187915"/>
                </a:cubicBezTo>
                <a:cubicBezTo>
                  <a:pt x="7639635" y="5187316"/>
                  <a:pt x="7639635" y="5187316"/>
                  <a:pt x="7640834" y="5190911"/>
                </a:cubicBezTo>
                <a:cubicBezTo>
                  <a:pt x="7642033" y="5195106"/>
                  <a:pt x="7639635" y="5195106"/>
                  <a:pt x="7635440" y="5197503"/>
                </a:cubicBezTo>
                <a:cubicBezTo>
                  <a:pt x="7631245" y="5199900"/>
                  <a:pt x="7629447" y="5198702"/>
                  <a:pt x="7629447" y="5205294"/>
                </a:cubicBezTo>
                <a:cubicBezTo>
                  <a:pt x="7629447" y="5211886"/>
                  <a:pt x="7636639" y="5209489"/>
                  <a:pt x="7639635" y="5207092"/>
                </a:cubicBezTo>
                <a:cubicBezTo>
                  <a:pt x="7642632" y="5204695"/>
                  <a:pt x="7644429" y="5205893"/>
                  <a:pt x="7642632" y="5209489"/>
                </a:cubicBezTo>
                <a:cubicBezTo>
                  <a:pt x="7640834" y="5213684"/>
                  <a:pt x="7637238" y="5217279"/>
                  <a:pt x="7627051" y="5219677"/>
                </a:cubicBezTo>
                <a:cubicBezTo>
                  <a:pt x="7616863" y="5222073"/>
                  <a:pt x="7615665" y="5228666"/>
                  <a:pt x="7615665" y="5237055"/>
                </a:cubicBezTo>
                <a:cubicBezTo>
                  <a:pt x="7615665" y="5242449"/>
                  <a:pt x="7622256" y="5248442"/>
                  <a:pt x="7630047" y="5252637"/>
                </a:cubicBezTo>
                <a:cubicBezTo>
                  <a:pt x="7634242" y="5255033"/>
                  <a:pt x="7639036" y="5256831"/>
                  <a:pt x="7642632" y="5257431"/>
                </a:cubicBezTo>
                <a:cubicBezTo>
                  <a:pt x="7652819" y="5258629"/>
                  <a:pt x="7651022" y="5261026"/>
                  <a:pt x="7648025" y="5261626"/>
                </a:cubicBezTo>
                <a:cubicBezTo>
                  <a:pt x="7645628" y="5262225"/>
                  <a:pt x="7639635" y="5260427"/>
                  <a:pt x="7634841" y="5258629"/>
                </a:cubicBezTo>
                <a:cubicBezTo>
                  <a:pt x="7633044" y="5258030"/>
                  <a:pt x="7630047" y="5257431"/>
                  <a:pt x="7627650" y="5256232"/>
                </a:cubicBezTo>
                <a:lnTo>
                  <a:pt x="7627650" y="5255633"/>
                </a:lnTo>
                <a:cubicBezTo>
                  <a:pt x="7624054" y="5254434"/>
                  <a:pt x="7619859" y="5252637"/>
                  <a:pt x="7616863" y="5251438"/>
                </a:cubicBezTo>
                <a:cubicBezTo>
                  <a:pt x="7611469" y="5249041"/>
                  <a:pt x="7611469" y="5250838"/>
                  <a:pt x="7615065" y="5248442"/>
                </a:cubicBezTo>
                <a:cubicBezTo>
                  <a:pt x="7618661" y="5246044"/>
                  <a:pt x="7612668" y="5243647"/>
                  <a:pt x="7607275" y="5244846"/>
                </a:cubicBezTo>
                <a:cubicBezTo>
                  <a:pt x="7601881" y="5246044"/>
                  <a:pt x="7602480" y="5244247"/>
                  <a:pt x="7601881" y="5240651"/>
                </a:cubicBezTo>
                <a:cubicBezTo>
                  <a:pt x="7601282" y="5237655"/>
                  <a:pt x="7601282" y="5234059"/>
                  <a:pt x="7597686" y="5235257"/>
                </a:cubicBezTo>
                <a:cubicBezTo>
                  <a:pt x="7594091" y="5235857"/>
                  <a:pt x="7597686" y="5237055"/>
                  <a:pt x="7599484" y="5242449"/>
                </a:cubicBezTo>
                <a:cubicBezTo>
                  <a:pt x="7601282" y="5247842"/>
                  <a:pt x="7598885" y="5247243"/>
                  <a:pt x="7596487" y="5245445"/>
                </a:cubicBezTo>
                <a:cubicBezTo>
                  <a:pt x="7594091" y="5243647"/>
                  <a:pt x="7594091" y="5243647"/>
                  <a:pt x="7592293" y="5246044"/>
                </a:cubicBezTo>
                <a:cubicBezTo>
                  <a:pt x="7590495" y="5248442"/>
                  <a:pt x="7588697" y="5249640"/>
                  <a:pt x="7589296" y="5244846"/>
                </a:cubicBezTo>
                <a:cubicBezTo>
                  <a:pt x="7589895" y="5240052"/>
                  <a:pt x="7585701" y="5241250"/>
                  <a:pt x="7582105" y="5240052"/>
                </a:cubicBezTo>
                <a:cubicBezTo>
                  <a:pt x="7577910" y="5238853"/>
                  <a:pt x="7577311" y="5238853"/>
                  <a:pt x="7574314" y="5240052"/>
                </a:cubicBezTo>
                <a:cubicBezTo>
                  <a:pt x="7571318" y="5241250"/>
                  <a:pt x="7571318" y="5241849"/>
                  <a:pt x="7568921" y="5239452"/>
                </a:cubicBezTo>
                <a:cubicBezTo>
                  <a:pt x="7566524" y="5237055"/>
                  <a:pt x="7566524" y="5236456"/>
                  <a:pt x="7564726" y="5238254"/>
                </a:cubicBezTo>
                <a:cubicBezTo>
                  <a:pt x="7562329" y="5240052"/>
                  <a:pt x="7565325" y="5243647"/>
                  <a:pt x="7565325" y="5243647"/>
                </a:cubicBezTo>
                <a:cubicBezTo>
                  <a:pt x="7565325" y="5243647"/>
                  <a:pt x="7568921" y="5245445"/>
                  <a:pt x="7571318" y="5246044"/>
                </a:cubicBezTo>
                <a:cubicBezTo>
                  <a:pt x="7573715" y="5246644"/>
                  <a:pt x="7574914" y="5246644"/>
                  <a:pt x="7578509" y="5251438"/>
                </a:cubicBezTo>
                <a:cubicBezTo>
                  <a:pt x="7582105" y="5256232"/>
                  <a:pt x="7596487" y="5259828"/>
                  <a:pt x="7603080" y="5260427"/>
                </a:cubicBezTo>
                <a:cubicBezTo>
                  <a:pt x="7609073" y="5261026"/>
                  <a:pt x="7616863" y="5264023"/>
                  <a:pt x="7619859" y="5263423"/>
                </a:cubicBezTo>
                <a:cubicBezTo>
                  <a:pt x="7621058" y="5263423"/>
                  <a:pt x="7622856" y="5262824"/>
                  <a:pt x="7624054" y="5262824"/>
                </a:cubicBezTo>
                <a:cubicBezTo>
                  <a:pt x="7625253" y="5262824"/>
                  <a:pt x="7626451" y="5263423"/>
                  <a:pt x="7627650" y="5264023"/>
                </a:cubicBezTo>
                <a:cubicBezTo>
                  <a:pt x="7630047" y="5265820"/>
                  <a:pt x="7633643" y="5265820"/>
                  <a:pt x="7638436" y="5267019"/>
                </a:cubicBezTo>
                <a:cubicBezTo>
                  <a:pt x="7643231" y="5268218"/>
                  <a:pt x="7651621" y="5276008"/>
                  <a:pt x="7654617" y="5279604"/>
                </a:cubicBezTo>
                <a:cubicBezTo>
                  <a:pt x="7657614" y="5283199"/>
                  <a:pt x="7671397" y="5282600"/>
                  <a:pt x="7674393" y="5280203"/>
                </a:cubicBezTo>
                <a:cubicBezTo>
                  <a:pt x="7677389" y="5277806"/>
                  <a:pt x="7676790" y="5279004"/>
                  <a:pt x="7679187" y="5280802"/>
                </a:cubicBezTo>
                <a:cubicBezTo>
                  <a:pt x="7681585" y="5283199"/>
                  <a:pt x="7684581" y="5282001"/>
                  <a:pt x="7691173" y="5280203"/>
                </a:cubicBezTo>
                <a:cubicBezTo>
                  <a:pt x="7697765" y="5278405"/>
                  <a:pt x="7692971" y="5274210"/>
                  <a:pt x="7690574" y="5273012"/>
                </a:cubicBezTo>
                <a:close/>
                <a:moveTo>
                  <a:pt x="6452474" y="152815"/>
                </a:moveTo>
                <a:cubicBezTo>
                  <a:pt x="6458467" y="151616"/>
                  <a:pt x="6465658" y="142627"/>
                  <a:pt x="6481838" y="139631"/>
                </a:cubicBezTo>
                <a:cubicBezTo>
                  <a:pt x="6496820" y="137234"/>
                  <a:pt x="6504611" y="142028"/>
                  <a:pt x="6486632" y="143826"/>
                </a:cubicBezTo>
                <a:cubicBezTo>
                  <a:pt x="6471650" y="145024"/>
                  <a:pt x="6472849" y="157010"/>
                  <a:pt x="6468654" y="155811"/>
                </a:cubicBezTo>
                <a:cubicBezTo>
                  <a:pt x="6464459" y="155212"/>
                  <a:pt x="6460264" y="162403"/>
                  <a:pt x="6469253" y="163003"/>
                </a:cubicBezTo>
                <a:cubicBezTo>
                  <a:pt x="6478841" y="163602"/>
                  <a:pt x="6481838" y="152815"/>
                  <a:pt x="6489629" y="151017"/>
                </a:cubicBezTo>
                <a:cubicBezTo>
                  <a:pt x="6497420" y="149219"/>
                  <a:pt x="6508206" y="145624"/>
                  <a:pt x="6509405" y="142627"/>
                </a:cubicBezTo>
                <a:cubicBezTo>
                  <a:pt x="6511202" y="137234"/>
                  <a:pt x="6515997" y="135436"/>
                  <a:pt x="6511802" y="143826"/>
                </a:cubicBezTo>
                <a:cubicBezTo>
                  <a:pt x="6507607" y="152216"/>
                  <a:pt x="6502213" y="151017"/>
                  <a:pt x="6499217" y="151616"/>
                </a:cubicBezTo>
                <a:cubicBezTo>
                  <a:pt x="6496221" y="152216"/>
                  <a:pt x="6490827" y="152216"/>
                  <a:pt x="6486033" y="160006"/>
                </a:cubicBezTo>
                <a:cubicBezTo>
                  <a:pt x="6481239" y="167797"/>
                  <a:pt x="6488430" y="173789"/>
                  <a:pt x="6501614" y="172591"/>
                </a:cubicBezTo>
                <a:cubicBezTo>
                  <a:pt x="6514798" y="171392"/>
                  <a:pt x="6514798" y="167197"/>
                  <a:pt x="6520191" y="167797"/>
                </a:cubicBezTo>
                <a:cubicBezTo>
                  <a:pt x="6525585" y="168396"/>
                  <a:pt x="6527982" y="167197"/>
                  <a:pt x="6527383" y="157609"/>
                </a:cubicBezTo>
                <a:cubicBezTo>
                  <a:pt x="6526783" y="148021"/>
                  <a:pt x="6526783" y="147421"/>
                  <a:pt x="6527982" y="143226"/>
                </a:cubicBezTo>
                <a:cubicBezTo>
                  <a:pt x="6528581" y="142028"/>
                  <a:pt x="6528581" y="140829"/>
                  <a:pt x="6529181" y="139631"/>
                </a:cubicBezTo>
                <a:cubicBezTo>
                  <a:pt x="6526783" y="134837"/>
                  <a:pt x="6530380" y="135436"/>
                  <a:pt x="6532177" y="140230"/>
                </a:cubicBezTo>
                <a:cubicBezTo>
                  <a:pt x="6534574" y="147421"/>
                  <a:pt x="6526783" y="152216"/>
                  <a:pt x="6532776" y="158208"/>
                </a:cubicBezTo>
                <a:cubicBezTo>
                  <a:pt x="6538769" y="163602"/>
                  <a:pt x="6551354" y="160605"/>
                  <a:pt x="6548957" y="149219"/>
                </a:cubicBezTo>
                <a:cubicBezTo>
                  <a:pt x="6548358" y="146822"/>
                  <a:pt x="6548957" y="144425"/>
                  <a:pt x="6550155" y="142627"/>
                </a:cubicBezTo>
                <a:cubicBezTo>
                  <a:pt x="6551354" y="140829"/>
                  <a:pt x="6568733" y="139032"/>
                  <a:pt x="6569332" y="142028"/>
                </a:cubicBezTo>
                <a:cubicBezTo>
                  <a:pt x="6569932" y="145624"/>
                  <a:pt x="6562740" y="147421"/>
                  <a:pt x="6569332" y="150418"/>
                </a:cubicBezTo>
                <a:cubicBezTo>
                  <a:pt x="6575924" y="154013"/>
                  <a:pt x="6589108" y="140829"/>
                  <a:pt x="6599296" y="139032"/>
                </a:cubicBezTo>
                <a:cubicBezTo>
                  <a:pt x="6609483" y="137234"/>
                  <a:pt x="6641844" y="122851"/>
                  <a:pt x="6646638" y="118656"/>
                </a:cubicBezTo>
                <a:cubicBezTo>
                  <a:pt x="6651433" y="114461"/>
                  <a:pt x="6659823" y="109068"/>
                  <a:pt x="6667613" y="108469"/>
                </a:cubicBezTo>
                <a:cubicBezTo>
                  <a:pt x="6675404" y="107869"/>
                  <a:pt x="6671808" y="112664"/>
                  <a:pt x="6667014" y="112664"/>
                </a:cubicBezTo>
                <a:cubicBezTo>
                  <a:pt x="6662220" y="112664"/>
                  <a:pt x="6658624" y="115660"/>
                  <a:pt x="6656826" y="118057"/>
                </a:cubicBezTo>
                <a:cubicBezTo>
                  <a:pt x="6655028" y="120454"/>
                  <a:pt x="6652032" y="124050"/>
                  <a:pt x="6648436" y="125248"/>
                </a:cubicBezTo>
                <a:cubicBezTo>
                  <a:pt x="6644841" y="126447"/>
                  <a:pt x="6639447" y="136035"/>
                  <a:pt x="6650834" y="132440"/>
                </a:cubicBezTo>
                <a:cubicBezTo>
                  <a:pt x="6659223" y="130042"/>
                  <a:pt x="6663418" y="124050"/>
                  <a:pt x="6670609" y="127046"/>
                </a:cubicBezTo>
                <a:cubicBezTo>
                  <a:pt x="6677801" y="129443"/>
                  <a:pt x="6674804" y="132440"/>
                  <a:pt x="6669411" y="131840"/>
                </a:cubicBezTo>
                <a:cubicBezTo>
                  <a:pt x="6664017" y="131241"/>
                  <a:pt x="6651433" y="136634"/>
                  <a:pt x="6655028" y="139631"/>
                </a:cubicBezTo>
                <a:cubicBezTo>
                  <a:pt x="6659223" y="142627"/>
                  <a:pt x="6674804" y="138432"/>
                  <a:pt x="6664017" y="143826"/>
                </a:cubicBezTo>
                <a:cubicBezTo>
                  <a:pt x="6657425" y="147421"/>
                  <a:pt x="6650834" y="146223"/>
                  <a:pt x="6647837" y="145024"/>
                </a:cubicBezTo>
                <a:cubicBezTo>
                  <a:pt x="6645440" y="144425"/>
                  <a:pt x="6634653" y="144425"/>
                  <a:pt x="6631057" y="147421"/>
                </a:cubicBezTo>
                <a:cubicBezTo>
                  <a:pt x="6626863" y="150418"/>
                  <a:pt x="6621469" y="152216"/>
                  <a:pt x="6618473" y="152216"/>
                </a:cubicBezTo>
                <a:cubicBezTo>
                  <a:pt x="6615476" y="152216"/>
                  <a:pt x="6607685" y="161804"/>
                  <a:pt x="6619671" y="162403"/>
                </a:cubicBezTo>
                <a:cubicBezTo>
                  <a:pt x="6631656" y="163003"/>
                  <a:pt x="6626863" y="166598"/>
                  <a:pt x="6632855" y="169595"/>
                </a:cubicBezTo>
                <a:cubicBezTo>
                  <a:pt x="6638848" y="172591"/>
                  <a:pt x="6643043" y="172591"/>
                  <a:pt x="6647238" y="171992"/>
                </a:cubicBezTo>
                <a:cubicBezTo>
                  <a:pt x="6651433" y="171392"/>
                  <a:pt x="6651433" y="172591"/>
                  <a:pt x="6650234" y="176187"/>
                </a:cubicBezTo>
                <a:cubicBezTo>
                  <a:pt x="6649635" y="179183"/>
                  <a:pt x="6647837" y="179782"/>
                  <a:pt x="6644841" y="177385"/>
                </a:cubicBezTo>
                <a:cubicBezTo>
                  <a:pt x="6641844" y="174988"/>
                  <a:pt x="6632256" y="175587"/>
                  <a:pt x="6628061" y="174988"/>
                </a:cubicBezTo>
                <a:cubicBezTo>
                  <a:pt x="6620870" y="174389"/>
                  <a:pt x="6610083" y="168396"/>
                  <a:pt x="6605289" y="165999"/>
                </a:cubicBezTo>
                <a:cubicBezTo>
                  <a:pt x="6600494" y="163602"/>
                  <a:pt x="6592703" y="160006"/>
                  <a:pt x="6589108" y="163003"/>
                </a:cubicBezTo>
                <a:cubicBezTo>
                  <a:pt x="6584913" y="165999"/>
                  <a:pt x="6569332" y="162403"/>
                  <a:pt x="6563340" y="161804"/>
                </a:cubicBezTo>
                <a:cubicBezTo>
                  <a:pt x="6557946" y="161205"/>
                  <a:pt x="6544162" y="160006"/>
                  <a:pt x="6551354" y="172591"/>
                </a:cubicBezTo>
                <a:cubicBezTo>
                  <a:pt x="6558545" y="185176"/>
                  <a:pt x="6563340" y="182779"/>
                  <a:pt x="6569332" y="181580"/>
                </a:cubicBezTo>
                <a:cubicBezTo>
                  <a:pt x="6575924" y="180981"/>
                  <a:pt x="6575325" y="182179"/>
                  <a:pt x="6571729" y="183977"/>
                </a:cubicBezTo>
                <a:cubicBezTo>
                  <a:pt x="6568133" y="185775"/>
                  <a:pt x="6569332" y="188172"/>
                  <a:pt x="6578322" y="186374"/>
                </a:cubicBezTo>
                <a:cubicBezTo>
                  <a:pt x="6586711" y="184576"/>
                  <a:pt x="6605888" y="196562"/>
                  <a:pt x="6611881" y="196562"/>
                </a:cubicBezTo>
                <a:cubicBezTo>
                  <a:pt x="6618473" y="196562"/>
                  <a:pt x="6618473" y="202555"/>
                  <a:pt x="6612480" y="201955"/>
                </a:cubicBezTo>
                <a:cubicBezTo>
                  <a:pt x="6606487" y="201356"/>
                  <a:pt x="6600494" y="201955"/>
                  <a:pt x="6604090" y="206750"/>
                </a:cubicBezTo>
                <a:cubicBezTo>
                  <a:pt x="6607685" y="211544"/>
                  <a:pt x="6620271" y="209746"/>
                  <a:pt x="6628660" y="206150"/>
                </a:cubicBezTo>
                <a:cubicBezTo>
                  <a:pt x="6637050" y="201955"/>
                  <a:pt x="6644841" y="203154"/>
                  <a:pt x="6651433" y="198959"/>
                </a:cubicBezTo>
                <a:cubicBezTo>
                  <a:pt x="6655627" y="196562"/>
                  <a:pt x="6659823" y="198360"/>
                  <a:pt x="6663418" y="200158"/>
                </a:cubicBezTo>
                <a:cubicBezTo>
                  <a:pt x="6667014" y="202555"/>
                  <a:pt x="6667613" y="205551"/>
                  <a:pt x="6657425" y="204352"/>
                </a:cubicBezTo>
                <a:cubicBezTo>
                  <a:pt x="6647238" y="203753"/>
                  <a:pt x="6645440" y="204352"/>
                  <a:pt x="6644242" y="206150"/>
                </a:cubicBezTo>
                <a:cubicBezTo>
                  <a:pt x="6642444" y="207948"/>
                  <a:pt x="6645440" y="210345"/>
                  <a:pt x="6655627" y="208547"/>
                </a:cubicBezTo>
                <a:cubicBezTo>
                  <a:pt x="6662819" y="207349"/>
                  <a:pt x="6663418" y="213941"/>
                  <a:pt x="6653830" y="212143"/>
                </a:cubicBezTo>
                <a:cubicBezTo>
                  <a:pt x="6646039" y="210944"/>
                  <a:pt x="6637649" y="210345"/>
                  <a:pt x="6634054" y="209746"/>
                </a:cubicBezTo>
                <a:cubicBezTo>
                  <a:pt x="6629859" y="209147"/>
                  <a:pt x="6622667" y="209746"/>
                  <a:pt x="6619671" y="212742"/>
                </a:cubicBezTo>
                <a:cubicBezTo>
                  <a:pt x="6616674" y="215739"/>
                  <a:pt x="6608285" y="214540"/>
                  <a:pt x="6606487" y="214540"/>
                </a:cubicBezTo>
                <a:cubicBezTo>
                  <a:pt x="6604090" y="214540"/>
                  <a:pt x="6598097" y="215139"/>
                  <a:pt x="6595700" y="218735"/>
                </a:cubicBezTo>
                <a:cubicBezTo>
                  <a:pt x="6593902" y="221132"/>
                  <a:pt x="6592703" y="222930"/>
                  <a:pt x="6589707" y="224128"/>
                </a:cubicBezTo>
                <a:cubicBezTo>
                  <a:pt x="6586711" y="224728"/>
                  <a:pt x="6584314" y="231320"/>
                  <a:pt x="6589108" y="231919"/>
                </a:cubicBezTo>
                <a:cubicBezTo>
                  <a:pt x="6593902" y="232518"/>
                  <a:pt x="6593902" y="231919"/>
                  <a:pt x="6593902" y="236114"/>
                </a:cubicBezTo>
                <a:cubicBezTo>
                  <a:pt x="6593902" y="240309"/>
                  <a:pt x="6599895" y="243305"/>
                  <a:pt x="6607086" y="235515"/>
                </a:cubicBezTo>
                <a:cubicBezTo>
                  <a:pt x="6610083" y="231919"/>
                  <a:pt x="6611881" y="231320"/>
                  <a:pt x="6613079" y="228923"/>
                </a:cubicBezTo>
                <a:cubicBezTo>
                  <a:pt x="6614278" y="226526"/>
                  <a:pt x="6619072" y="224728"/>
                  <a:pt x="6616674" y="230720"/>
                </a:cubicBezTo>
                <a:cubicBezTo>
                  <a:pt x="6613678" y="237912"/>
                  <a:pt x="6620271" y="237912"/>
                  <a:pt x="6623866" y="233717"/>
                </a:cubicBezTo>
                <a:cubicBezTo>
                  <a:pt x="6628061" y="229522"/>
                  <a:pt x="6624465" y="225926"/>
                  <a:pt x="6623267" y="223529"/>
                </a:cubicBezTo>
                <a:cubicBezTo>
                  <a:pt x="6621469" y="221132"/>
                  <a:pt x="6620870" y="216338"/>
                  <a:pt x="6625664" y="220533"/>
                </a:cubicBezTo>
                <a:cubicBezTo>
                  <a:pt x="6630458" y="224728"/>
                  <a:pt x="6632855" y="227125"/>
                  <a:pt x="6638249" y="225926"/>
                </a:cubicBezTo>
                <a:cubicBezTo>
                  <a:pt x="6643642" y="225327"/>
                  <a:pt x="6645440" y="228323"/>
                  <a:pt x="6638848" y="230720"/>
                </a:cubicBezTo>
                <a:cubicBezTo>
                  <a:pt x="6632256" y="233118"/>
                  <a:pt x="6636451" y="239110"/>
                  <a:pt x="6641245" y="237912"/>
                </a:cubicBezTo>
                <a:cubicBezTo>
                  <a:pt x="6646039" y="236713"/>
                  <a:pt x="6643043" y="240908"/>
                  <a:pt x="6641844" y="243305"/>
                </a:cubicBezTo>
                <a:cubicBezTo>
                  <a:pt x="6641245" y="245702"/>
                  <a:pt x="6644242" y="250497"/>
                  <a:pt x="6650234" y="246302"/>
                </a:cubicBezTo>
                <a:cubicBezTo>
                  <a:pt x="6656227" y="242107"/>
                  <a:pt x="6654429" y="243904"/>
                  <a:pt x="6658024" y="245702"/>
                </a:cubicBezTo>
                <a:cubicBezTo>
                  <a:pt x="6661620" y="247500"/>
                  <a:pt x="6668213" y="248099"/>
                  <a:pt x="6671209" y="243305"/>
                </a:cubicBezTo>
                <a:cubicBezTo>
                  <a:pt x="6674205" y="238511"/>
                  <a:pt x="6668812" y="234915"/>
                  <a:pt x="6667014" y="233118"/>
                </a:cubicBezTo>
                <a:cubicBezTo>
                  <a:pt x="6665216" y="231320"/>
                  <a:pt x="6664017" y="226526"/>
                  <a:pt x="6669411" y="224728"/>
                </a:cubicBezTo>
                <a:cubicBezTo>
                  <a:pt x="6674804" y="222930"/>
                  <a:pt x="6674205" y="225327"/>
                  <a:pt x="6672407" y="227724"/>
                </a:cubicBezTo>
                <a:cubicBezTo>
                  <a:pt x="6670609" y="230121"/>
                  <a:pt x="6675404" y="237912"/>
                  <a:pt x="6679598" y="242706"/>
                </a:cubicBezTo>
                <a:cubicBezTo>
                  <a:pt x="6683794" y="248099"/>
                  <a:pt x="6680198" y="251096"/>
                  <a:pt x="6671209" y="251695"/>
                </a:cubicBezTo>
                <a:cubicBezTo>
                  <a:pt x="6662819" y="252294"/>
                  <a:pt x="6650834" y="251695"/>
                  <a:pt x="6650234" y="254092"/>
                </a:cubicBezTo>
                <a:cubicBezTo>
                  <a:pt x="6649635" y="256489"/>
                  <a:pt x="6641245" y="256489"/>
                  <a:pt x="6636451" y="248699"/>
                </a:cubicBezTo>
                <a:cubicBezTo>
                  <a:pt x="6634054" y="244504"/>
                  <a:pt x="6624465" y="236713"/>
                  <a:pt x="6614877" y="242706"/>
                </a:cubicBezTo>
                <a:cubicBezTo>
                  <a:pt x="6605289" y="248099"/>
                  <a:pt x="6602292" y="247500"/>
                  <a:pt x="6599296" y="247500"/>
                </a:cubicBezTo>
                <a:cubicBezTo>
                  <a:pt x="6596300" y="247500"/>
                  <a:pt x="6592703" y="253493"/>
                  <a:pt x="6603491" y="254691"/>
                </a:cubicBezTo>
                <a:cubicBezTo>
                  <a:pt x="6614278" y="255890"/>
                  <a:pt x="6614877" y="261883"/>
                  <a:pt x="6619671" y="260684"/>
                </a:cubicBezTo>
                <a:cubicBezTo>
                  <a:pt x="6624465" y="260085"/>
                  <a:pt x="6624465" y="261883"/>
                  <a:pt x="6620870" y="264879"/>
                </a:cubicBezTo>
                <a:cubicBezTo>
                  <a:pt x="6617873" y="267276"/>
                  <a:pt x="6611282" y="263081"/>
                  <a:pt x="6606487" y="267276"/>
                </a:cubicBezTo>
                <a:cubicBezTo>
                  <a:pt x="6601693" y="271471"/>
                  <a:pt x="6594502" y="264280"/>
                  <a:pt x="6597498" y="279262"/>
                </a:cubicBezTo>
                <a:cubicBezTo>
                  <a:pt x="6598097" y="283457"/>
                  <a:pt x="6602892" y="288251"/>
                  <a:pt x="6613678" y="293045"/>
                </a:cubicBezTo>
                <a:cubicBezTo>
                  <a:pt x="6623866" y="297839"/>
                  <a:pt x="6625064" y="290648"/>
                  <a:pt x="6620271" y="285854"/>
                </a:cubicBezTo>
                <a:cubicBezTo>
                  <a:pt x="6615476" y="281059"/>
                  <a:pt x="6617873" y="272670"/>
                  <a:pt x="6622667" y="281659"/>
                </a:cubicBezTo>
                <a:cubicBezTo>
                  <a:pt x="6627462" y="290648"/>
                  <a:pt x="6630458" y="291247"/>
                  <a:pt x="6635852" y="290049"/>
                </a:cubicBezTo>
                <a:cubicBezTo>
                  <a:pt x="6641245" y="289449"/>
                  <a:pt x="6642444" y="285854"/>
                  <a:pt x="6639447" y="281659"/>
                </a:cubicBezTo>
                <a:cubicBezTo>
                  <a:pt x="6636451" y="277464"/>
                  <a:pt x="6640046" y="273269"/>
                  <a:pt x="6643043" y="282258"/>
                </a:cubicBezTo>
                <a:cubicBezTo>
                  <a:pt x="6646039" y="291247"/>
                  <a:pt x="6673605" y="284056"/>
                  <a:pt x="6681995" y="282258"/>
                </a:cubicBezTo>
                <a:cubicBezTo>
                  <a:pt x="6690385" y="280460"/>
                  <a:pt x="6687389" y="278662"/>
                  <a:pt x="6687389" y="275666"/>
                </a:cubicBezTo>
                <a:cubicBezTo>
                  <a:pt x="6687389" y="272670"/>
                  <a:pt x="6686790" y="270872"/>
                  <a:pt x="6682595" y="270872"/>
                </a:cubicBezTo>
                <a:cubicBezTo>
                  <a:pt x="6678400" y="270872"/>
                  <a:pt x="6675404" y="267875"/>
                  <a:pt x="6683794" y="267276"/>
                </a:cubicBezTo>
                <a:cubicBezTo>
                  <a:pt x="6692184" y="266677"/>
                  <a:pt x="6690985" y="267875"/>
                  <a:pt x="6693981" y="271471"/>
                </a:cubicBezTo>
                <a:cubicBezTo>
                  <a:pt x="6696977" y="274467"/>
                  <a:pt x="6698176" y="276265"/>
                  <a:pt x="6700573" y="273868"/>
                </a:cubicBezTo>
                <a:cubicBezTo>
                  <a:pt x="6702970" y="271471"/>
                  <a:pt x="6703569" y="269673"/>
                  <a:pt x="6699974" y="268475"/>
                </a:cubicBezTo>
                <a:cubicBezTo>
                  <a:pt x="6694580" y="266078"/>
                  <a:pt x="6695779" y="263081"/>
                  <a:pt x="6701772" y="264879"/>
                </a:cubicBezTo>
                <a:cubicBezTo>
                  <a:pt x="6707765" y="266677"/>
                  <a:pt x="6710761" y="276265"/>
                  <a:pt x="6717952" y="273269"/>
                </a:cubicBezTo>
                <a:cubicBezTo>
                  <a:pt x="6725144" y="270872"/>
                  <a:pt x="6722147" y="264879"/>
                  <a:pt x="6716754" y="266078"/>
                </a:cubicBezTo>
                <a:cubicBezTo>
                  <a:pt x="6708963" y="267276"/>
                  <a:pt x="6703569" y="258886"/>
                  <a:pt x="6711959" y="260684"/>
                </a:cubicBezTo>
                <a:cubicBezTo>
                  <a:pt x="6720349" y="263081"/>
                  <a:pt x="6716754" y="263681"/>
                  <a:pt x="6724544" y="263081"/>
                </a:cubicBezTo>
                <a:cubicBezTo>
                  <a:pt x="6732335" y="262482"/>
                  <a:pt x="6729338" y="270273"/>
                  <a:pt x="6738926" y="270273"/>
                </a:cubicBezTo>
                <a:cubicBezTo>
                  <a:pt x="6748515" y="269673"/>
                  <a:pt x="6750912" y="272670"/>
                  <a:pt x="6750912" y="272670"/>
                </a:cubicBezTo>
                <a:cubicBezTo>
                  <a:pt x="6753908" y="273868"/>
                  <a:pt x="6756905" y="270872"/>
                  <a:pt x="6761100" y="267875"/>
                </a:cubicBezTo>
                <a:cubicBezTo>
                  <a:pt x="6765295" y="264879"/>
                  <a:pt x="6769489" y="262482"/>
                  <a:pt x="6770688" y="259486"/>
                </a:cubicBezTo>
                <a:cubicBezTo>
                  <a:pt x="6771287" y="255890"/>
                  <a:pt x="6771287" y="255291"/>
                  <a:pt x="6776681" y="257089"/>
                </a:cubicBezTo>
                <a:cubicBezTo>
                  <a:pt x="6782075" y="258886"/>
                  <a:pt x="6780876" y="254092"/>
                  <a:pt x="6783273" y="251096"/>
                </a:cubicBezTo>
                <a:cubicBezTo>
                  <a:pt x="6785670" y="248099"/>
                  <a:pt x="6790464" y="246302"/>
                  <a:pt x="6791064" y="242706"/>
                </a:cubicBezTo>
                <a:cubicBezTo>
                  <a:pt x="6791663" y="239110"/>
                  <a:pt x="6782674" y="238511"/>
                  <a:pt x="6777280" y="242706"/>
                </a:cubicBezTo>
                <a:cubicBezTo>
                  <a:pt x="6771887" y="246901"/>
                  <a:pt x="6767692" y="246901"/>
                  <a:pt x="6760500" y="242706"/>
                </a:cubicBezTo>
                <a:cubicBezTo>
                  <a:pt x="6755706" y="239710"/>
                  <a:pt x="6750912" y="237912"/>
                  <a:pt x="6750912" y="237912"/>
                </a:cubicBezTo>
                <a:cubicBezTo>
                  <a:pt x="6750912" y="237912"/>
                  <a:pt x="6742522" y="236713"/>
                  <a:pt x="6737728" y="240908"/>
                </a:cubicBezTo>
                <a:cubicBezTo>
                  <a:pt x="6734133" y="243904"/>
                  <a:pt x="6717952" y="245702"/>
                  <a:pt x="6707165" y="242706"/>
                </a:cubicBezTo>
                <a:cubicBezTo>
                  <a:pt x="6699974" y="240908"/>
                  <a:pt x="6695779" y="235515"/>
                  <a:pt x="6694580" y="232518"/>
                </a:cubicBezTo>
                <a:cubicBezTo>
                  <a:pt x="6691584" y="225327"/>
                  <a:pt x="6696977" y="228323"/>
                  <a:pt x="6698775" y="230121"/>
                </a:cubicBezTo>
                <a:cubicBezTo>
                  <a:pt x="6700573" y="231919"/>
                  <a:pt x="6705367" y="234316"/>
                  <a:pt x="6708364" y="234316"/>
                </a:cubicBezTo>
                <a:cubicBezTo>
                  <a:pt x="6711360" y="234316"/>
                  <a:pt x="6718551" y="236713"/>
                  <a:pt x="6731136" y="236713"/>
                </a:cubicBezTo>
                <a:cubicBezTo>
                  <a:pt x="6743721" y="236713"/>
                  <a:pt x="6751511" y="229522"/>
                  <a:pt x="6751511" y="229522"/>
                </a:cubicBezTo>
                <a:cubicBezTo>
                  <a:pt x="6755706" y="229522"/>
                  <a:pt x="6755107" y="228923"/>
                  <a:pt x="6759302" y="227724"/>
                </a:cubicBezTo>
                <a:cubicBezTo>
                  <a:pt x="6763497" y="227125"/>
                  <a:pt x="6763497" y="225327"/>
                  <a:pt x="6764096" y="221132"/>
                </a:cubicBezTo>
                <a:cubicBezTo>
                  <a:pt x="6764696" y="216937"/>
                  <a:pt x="6764696" y="216338"/>
                  <a:pt x="6760500" y="214540"/>
                </a:cubicBezTo>
                <a:cubicBezTo>
                  <a:pt x="6756306" y="212742"/>
                  <a:pt x="6758104" y="209746"/>
                  <a:pt x="6761100" y="209746"/>
                </a:cubicBezTo>
                <a:cubicBezTo>
                  <a:pt x="6764096" y="209746"/>
                  <a:pt x="6764696" y="207349"/>
                  <a:pt x="6773685" y="207349"/>
                </a:cubicBezTo>
                <a:cubicBezTo>
                  <a:pt x="6782674" y="207349"/>
                  <a:pt x="6784471" y="205551"/>
                  <a:pt x="6783872" y="201356"/>
                </a:cubicBezTo>
                <a:cubicBezTo>
                  <a:pt x="6783273" y="197161"/>
                  <a:pt x="6776681" y="194764"/>
                  <a:pt x="6776681" y="192367"/>
                </a:cubicBezTo>
                <a:cubicBezTo>
                  <a:pt x="6776082" y="189970"/>
                  <a:pt x="6751511" y="180981"/>
                  <a:pt x="6751511" y="180981"/>
                </a:cubicBezTo>
                <a:cubicBezTo>
                  <a:pt x="6751511" y="178584"/>
                  <a:pt x="6732335" y="183378"/>
                  <a:pt x="6731136" y="189371"/>
                </a:cubicBezTo>
                <a:cubicBezTo>
                  <a:pt x="6728739" y="192966"/>
                  <a:pt x="6726941" y="191768"/>
                  <a:pt x="6726342" y="189970"/>
                </a:cubicBezTo>
                <a:cubicBezTo>
                  <a:pt x="6725743" y="188771"/>
                  <a:pt x="6717353" y="186374"/>
                  <a:pt x="6717952" y="183378"/>
                </a:cubicBezTo>
                <a:cubicBezTo>
                  <a:pt x="6719151" y="176187"/>
                  <a:pt x="6737728" y="176786"/>
                  <a:pt x="6746118" y="176187"/>
                </a:cubicBezTo>
                <a:cubicBezTo>
                  <a:pt x="6758703" y="175587"/>
                  <a:pt x="6752710" y="168995"/>
                  <a:pt x="6745518" y="169595"/>
                </a:cubicBezTo>
                <a:cubicBezTo>
                  <a:pt x="6742522" y="170194"/>
                  <a:pt x="6740125" y="173789"/>
                  <a:pt x="6733533" y="172591"/>
                </a:cubicBezTo>
                <a:cubicBezTo>
                  <a:pt x="6729937" y="171992"/>
                  <a:pt x="6721547" y="170194"/>
                  <a:pt x="6716754" y="173190"/>
                </a:cubicBezTo>
                <a:cubicBezTo>
                  <a:pt x="6711959" y="176187"/>
                  <a:pt x="6711959" y="174988"/>
                  <a:pt x="6711959" y="171992"/>
                </a:cubicBezTo>
                <a:cubicBezTo>
                  <a:pt x="6711959" y="168995"/>
                  <a:pt x="6720948" y="166598"/>
                  <a:pt x="6726941" y="166598"/>
                </a:cubicBezTo>
                <a:cubicBezTo>
                  <a:pt x="6732934" y="167197"/>
                  <a:pt x="6741324" y="165999"/>
                  <a:pt x="6738926" y="163003"/>
                </a:cubicBezTo>
                <a:cubicBezTo>
                  <a:pt x="6736529" y="160006"/>
                  <a:pt x="6743122" y="160006"/>
                  <a:pt x="6746118" y="162403"/>
                </a:cubicBezTo>
                <a:cubicBezTo>
                  <a:pt x="6749115" y="164800"/>
                  <a:pt x="6751511" y="165999"/>
                  <a:pt x="6751511" y="165999"/>
                </a:cubicBezTo>
                <a:cubicBezTo>
                  <a:pt x="6751511" y="165999"/>
                  <a:pt x="6752111" y="165999"/>
                  <a:pt x="6758703" y="165999"/>
                </a:cubicBezTo>
                <a:cubicBezTo>
                  <a:pt x="6765894" y="165400"/>
                  <a:pt x="6766493" y="161804"/>
                  <a:pt x="6765295" y="157010"/>
                </a:cubicBezTo>
                <a:cubicBezTo>
                  <a:pt x="6764096" y="151616"/>
                  <a:pt x="6751511" y="154013"/>
                  <a:pt x="6751511" y="154013"/>
                </a:cubicBezTo>
                <a:cubicBezTo>
                  <a:pt x="6748515" y="154613"/>
                  <a:pt x="6743721" y="158208"/>
                  <a:pt x="6741923" y="154613"/>
                </a:cubicBezTo>
                <a:cubicBezTo>
                  <a:pt x="6739526" y="151017"/>
                  <a:pt x="6751511" y="149818"/>
                  <a:pt x="6751511" y="149818"/>
                </a:cubicBezTo>
                <a:cubicBezTo>
                  <a:pt x="6756905" y="146822"/>
                  <a:pt x="6763497" y="149818"/>
                  <a:pt x="6770688" y="152216"/>
                </a:cubicBezTo>
                <a:cubicBezTo>
                  <a:pt x="6777879" y="154613"/>
                  <a:pt x="6790464" y="140230"/>
                  <a:pt x="6793460" y="136035"/>
                </a:cubicBezTo>
                <a:cubicBezTo>
                  <a:pt x="6796457" y="131840"/>
                  <a:pt x="6788067" y="133039"/>
                  <a:pt x="6780277" y="135436"/>
                </a:cubicBezTo>
                <a:cubicBezTo>
                  <a:pt x="6771887" y="137833"/>
                  <a:pt x="6773086" y="134837"/>
                  <a:pt x="6777280" y="131840"/>
                </a:cubicBezTo>
                <a:cubicBezTo>
                  <a:pt x="6781475" y="128844"/>
                  <a:pt x="6788067" y="127645"/>
                  <a:pt x="6795258" y="129443"/>
                </a:cubicBezTo>
                <a:cubicBezTo>
                  <a:pt x="6802449" y="130642"/>
                  <a:pt x="6801251" y="126447"/>
                  <a:pt x="6797656" y="122851"/>
                </a:cubicBezTo>
                <a:cubicBezTo>
                  <a:pt x="6794060" y="119256"/>
                  <a:pt x="6798255" y="116858"/>
                  <a:pt x="6803049" y="121053"/>
                </a:cubicBezTo>
                <a:cubicBezTo>
                  <a:pt x="6807244" y="125248"/>
                  <a:pt x="6809042" y="124050"/>
                  <a:pt x="6811438" y="116858"/>
                </a:cubicBezTo>
                <a:cubicBezTo>
                  <a:pt x="6813836" y="109667"/>
                  <a:pt x="6817431" y="103674"/>
                  <a:pt x="6821627" y="100079"/>
                </a:cubicBezTo>
                <a:cubicBezTo>
                  <a:pt x="6825821" y="97082"/>
                  <a:pt x="6825821" y="92288"/>
                  <a:pt x="6828818" y="83898"/>
                </a:cubicBezTo>
                <a:cubicBezTo>
                  <a:pt x="6831814" y="75509"/>
                  <a:pt x="6821027" y="79104"/>
                  <a:pt x="6816832" y="83299"/>
                </a:cubicBezTo>
                <a:cubicBezTo>
                  <a:pt x="6812637" y="87494"/>
                  <a:pt x="6806645" y="88693"/>
                  <a:pt x="6798255" y="92288"/>
                </a:cubicBezTo>
                <a:cubicBezTo>
                  <a:pt x="6789865" y="96483"/>
                  <a:pt x="6786269" y="96483"/>
                  <a:pt x="6794060" y="88693"/>
                </a:cubicBezTo>
                <a:cubicBezTo>
                  <a:pt x="6801850" y="80902"/>
                  <a:pt x="6788667" y="86295"/>
                  <a:pt x="6779078" y="89292"/>
                </a:cubicBezTo>
                <a:cubicBezTo>
                  <a:pt x="6770089" y="91689"/>
                  <a:pt x="6770688" y="86295"/>
                  <a:pt x="6774284" y="83898"/>
                </a:cubicBezTo>
                <a:cubicBezTo>
                  <a:pt x="6777879" y="81501"/>
                  <a:pt x="6784471" y="80902"/>
                  <a:pt x="6793460" y="79703"/>
                </a:cubicBezTo>
                <a:cubicBezTo>
                  <a:pt x="6802449" y="78505"/>
                  <a:pt x="6809042" y="77306"/>
                  <a:pt x="6812038" y="73711"/>
                </a:cubicBezTo>
                <a:cubicBezTo>
                  <a:pt x="6815035" y="70115"/>
                  <a:pt x="6815035" y="71314"/>
                  <a:pt x="6820428" y="71314"/>
                </a:cubicBezTo>
                <a:cubicBezTo>
                  <a:pt x="6825821" y="71913"/>
                  <a:pt x="6832413" y="65920"/>
                  <a:pt x="6836009" y="63523"/>
                </a:cubicBezTo>
                <a:cubicBezTo>
                  <a:pt x="6839605" y="61126"/>
                  <a:pt x="6845598" y="59328"/>
                  <a:pt x="6850991" y="58130"/>
                </a:cubicBezTo>
                <a:cubicBezTo>
                  <a:pt x="6856384" y="57530"/>
                  <a:pt x="6853988" y="52736"/>
                  <a:pt x="6853988" y="43148"/>
                </a:cubicBezTo>
                <a:cubicBezTo>
                  <a:pt x="6853988" y="33559"/>
                  <a:pt x="6839006" y="36556"/>
                  <a:pt x="6835409" y="41350"/>
                </a:cubicBezTo>
                <a:cubicBezTo>
                  <a:pt x="6831814" y="46144"/>
                  <a:pt x="6827020" y="47343"/>
                  <a:pt x="6822226" y="46743"/>
                </a:cubicBezTo>
                <a:cubicBezTo>
                  <a:pt x="6816832" y="46144"/>
                  <a:pt x="6785670" y="42548"/>
                  <a:pt x="6777879" y="40751"/>
                </a:cubicBezTo>
                <a:cubicBezTo>
                  <a:pt x="6770089" y="38953"/>
                  <a:pt x="6769489" y="41350"/>
                  <a:pt x="6769489" y="44946"/>
                </a:cubicBezTo>
                <a:cubicBezTo>
                  <a:pt x="6769489" y="48541"/>
                  <a:pt x="6768291" y="48541"/>
                  <a:pt x="6764096" y="47343"/>
                </a:cubicBezTo>
                <a:cubicBezTo>
                  <a:pt x="6759901" y="46743"/>
                  <a:pt x="6752111" y="53335"/>
                  <a:pt x="6752111" y="53335"/>
                </a:cubicBezTo>
                <a:cubicBezTo>
                  <a:pt x="6752111" y="53335"/>
                  <a:pt x="6749714" y="55732"/>
                  <a:pt x="6743122" y="55732"/>
                </a:cubicBezTo>
                <a:cubicBezTo>
                  <a:pt x="6737728" y="55732"/>
                  <a:pt x="6729937" y="61126"/>
                  <a:pt x="6723346" y="61126"/>
                </a:cubicBezTo>
                <a:cubicBezTo>
                  <a:pt x="6717353" y="61126"/>
                  <a:pt x="6711360" y="57530"/>
                  <a:pt x="6728739" y="54534"/>
                </a:cubicBezTo>
                <a:cubicBezTo>
                  <a:pt x="6746118" y="51538"/>
                  <a:pt x="6747316" y="49740"/>
                  <a:pt x="6749714" y="47343"/>
                </a:cubicBezTo>
                <a:cubicBezTo>
                  <a:pt x="6752111" y="44946"/>
                  <a:pt x="6749714" y="40751"/>
                  <a:pt x="6743122" y="43148"/>
                </a:cubicBezTo>
                <a:cubicBezTo>
                  <a:pt x="6736529" y="45545"/>
                  <a:pt x="6722147" y="44346"/>
                  <a:pt x="6719151" y="44346"/>
                </a:cubicBezTo>
                <a:cubicBezTo>
                  <a:pt x="6716754" y="44346"/>
                  <a:pt x="6711959" y="44346"/>
                  <a:pt x="6709562" y="46743"/>
                </a:cubicBezTo>
                <a:cubicBezTo>
                  <a:pt x="6707165" y="49140"/>
                  <a:pt x="6702970" y="48541"/>
                  <a:pt x="6702371" y="47343"/>
                </a:cubicBezTo>
                <a:cubicBezTo>
                  <a:pt x="6701772" y="46743"/>
                  <a:pt x="6674205" y="54534"/>
                  <a:pt x="6670010" y="57530"/>
                </a:cubicBezTo>
                <a:cubicBezTo>
                  <a:pt x="6665815" y="59927"/>
                  <a:pt x="6665815" y="63523"/>
                  <a:pt x="6673605" y="62924"/>
                </a:cubicBezTo>
                <a:cubicBezTo>
                  <a:pt x="6681396" y="62324"/>
                  <a:pt x="6678999" y="68317"/>
                  <a:pt x="6671808" y="67119"/>
                </a:cubicBezTo>
                <a:cubicBezTo>
                  <a:pt x="6664616" y="66519"/>
                  <a:pt x="6657425" y="63523"/>
                  <a:pt x="6655028" y="62324"/>
                </a:cubicBezTo>
                <a:cubicBezTo>
                  <a:pt x="6652631" y="61126"/>
                  <a:pt x="6644242" y="61725"/>
                  <a:pt x="6637649" y="62924"/>
                </a:cubicBezTo>
                <a:cubicBezTo>
                  <a:pt x="6631057" y="64122"/>
                  <a:pt x="6628061" y="67718"/>
                  <a:pt x="6623267" y="67718"/>
                </a:cubicBezTo>
                <a:cubicBezTo>
                  <a:pt x="6618473" y="67718"/>
                  <a:pt x="6614877" y="70115"/>
                  <a:pt x="6625064" y="74909"/>
                </a:cubicBezTo>
                <a:cubicBezTo>
                  <a:pt x="6635253" y="79703"/>
                  <a:pt x="6635253" y="89891"/>
                  <a:pt x="6620870" y="78505"/>
                </a:cubicBezTo>
                <a:cubicBezTo>
                  <a:pt x="6602892" y="65920"/>
                  <a:pt x="6589707" y="85097"/>
                  <a:pt x="6582516" y="83299"/>
                </a:cubicBezTo>
                <a:cubicBezTo>
                  <a:pt x="6578322" y="80902"/>
                  <a:pt x="6564538" y="89292"/>
                  <a:pt x="6575924" y="89292"/>
                </a:cubicBezTo>
                <a:cubicBezTo>
                  <a:pt x="6587910" y="89292"/>
                  <a:pt x="6593902" y="86895"/>
                  <a:pt x="6598097" y="91689"/>
                </a:cubicBezTo>
                <a:cubicBezTo>
                  <a:pt x="6602292" y="96483"/>
                  <a:pt x="6584913" y="92887"/>
                  <a:pt x="6580119" y="92887"/>
                </a:cubicBezTo>
                <a:cubicBezTo>
                  <a:pt x="6574725" y="92887"/>
                  <a:pt x="6566336" y="87494"/>
                  <a:pt x="6562141" y="92288"/>
                </a:cubicBezTo>
                <a:cubicBezTo>
                  <a:pt x="6557946" y="97082"/>
                  <a:pt x="6566336" y="100678"/>
                  <a:pt x="6577722" y="100678"/>
                </a:cubicBezTo>
                <a:cubicBezTo>
                  <a:pt x="6589108" y="100678"/>
                  <a:pt x="6582516" y="106671"/>
                  <a:pt x="6574725" y="104873"/>
                </a:cubicBezTo>
                <a:cubicBezTo>
                  <a:pt x="6566935" y="102476"/>
                  <a:pt x="6562740" y="104274"/>
                  <a:pt x="6560942" y="106671"/>
                </a:cubicBezTo>
                <a:cubicBezTo>
                  <a:pt x="6559144" y="109068"/>
                  <a:pt x="6554950" y="106671"/>
                  <a:pt x="6553152" y="104873"/>
                </a:cubicBezTo>
                <a:cubicBezTo>
                  <a:pt x="6551354" y="103075"/>
                  <a:pt x="6535173" y="103674"/>
                  <a:pt x="6530380" y="104274"/>
                </a:cubicBezTo>
                <a:cubicBezTo>
                  <a:pt x="6525585" y="104873"/>
                  <a:pt x="6517195" y="104873"/>
                  <a:pt x="6515398" y="100678"/>
                </a:cubicBezTo>
                <a:cubicBezTo>
                  <a:pt x="6513600" y="96483"/>
                  <a:pt x="6505809" y="98281"/>
                  <a:pt x="6502812" y="98880"/>
                </a:cubicBezTo>
                <a:cubicBezTo>
                  <a:pt x="6499816" y="99479"/>
                  <a:pt x="6493823" y="98281"/>
                  <a:pt x="6490827" y="101277"/>
                </a:cubicBezTo>
                <a:cubicBezTo>
                  <a:pt x="6487831" y="104274"/>
                  <a:pt x="6495621" y="106071"/>
                  <a:pt x="6502812" y="106071"/>
                </a:cubicBezTo>
                <a:cubicBezTo>
                  <a:pt x="6510004" y="106071"/>
                  <a:pt x="6513600" y="108469"/>
                  <a:pt x="6513600" y="110266"/>
                </a:cubicBezTo>
                <a:cubicBezTo>
                  <a:pt x="6513600" y="112064"/>
                  <a:pt x="6516596" y="113862"/>
                  <a:pt x="6524387" y="112064"/>
                </a:cubicBezTo>
                <a:cubicBezTo>
                  <a:pt x="6532177" y="110266"/>
                  <a:pt x="6530380" y="116259"/>
                  <a:pt x="6522589" y="116858"/>
                </a:cubicBezTo>
                <a:cubicBezTo>
                  <a:pt x="6514798" y="117458"/>
                  <a:pt x="6502812" y="116858"/>
                  <a:pt x="6498019" y="114461"/>
                </a:cubicBezTo>
                <a:cubicBezTo>
                  <a:pt x="6493224" y="112064"/>
                  <a:pt x="6487831" y="113862"/>
                  <a:pt x="6487831" y="116259"/>
                </a:cubicBezTo>
                <a:cubicBezTo>
                  <a:pt x="6487831" y="118656"/>
                  <a:pt x="6492026" y="119855"/>
                  <a:pt x="6495621" y="119855"/>
                </a:cubicBezTo>
                <a:cubicBezTo>
                  <a:pt x="6499816" y="119855"/>
                  <a:pt x="6499217" y="123450"/>
                  <a:pt x="6491427" y="122252"/>
                </a:cubicBezTo>
                <a:cubicBezTo>
                  <a:pt x="6483636" y="121653"/>
                  <a:pt x="6478841" y="120454"/>
                  <a:pt x="6476445" y="119256"/>
                </a:cubicBezTo>
                <a:cubicBezTo>
                  <a:pt x="6474048" y="118057"/>
                  <a:pt x="6464459" y="117458"/>
                  <a:pt x="6463860" y="123450"/>
                </a:cubicBezTo>
                <a:cubicBezTo>
                  <a:pt x="6463260" y="128844"/>
                  <a:pt x="6456069" y="129443"/>
                  <a:pt x="6451874" y="130042"/>
                </a:cubicBezTo>
                <a:cubicBezTo>
                  <a:pt x="6447679" y="130642"/>
                  <a:pt x="6433896" y="136634"/>
                  <a:pt x="6433896" y="142028"/>
                </a:cubicBezTo>
                <a:cubicBezTo>
                  <a:pt x="6429102" y="151017"/>
                  <a:pt x="6444683" y="154613"/>
                  <a:pt x="6452474" y="152815"/>
                </a:cubicBezTo>
                <a:close/>
                <a:moveTo>
                  <a:pt x="6375767" y="170194"/>
                </a:moveTo>
                <a:cubicBezTo>
                  <a:pt x="6381759" y="169595"/>
                  <a:pt x="6386554" y="168396"/>
                  <a:pt x="6390748" y="167797"/>
                </a:cubicBezTo>
                <a:cubicBezTo>
                  <a:pt x="6394943" y="167197"/>
                  <a:pt x="6398539" y="167197"/>
                  <a:pt x="6401536" y="165400"/>
                </a:cubicBezTo>
                <a:cubicBezTo>
                  <a:pt x="6405131" y="163602"/>
                  <a:pt x="6414719" y="160006"/>
                  <a:pt x="6410525" y="165999"/>
                </a:cubicBezTo>
                <a:cubicBezTo>
                  <a:pt x="6406329" y="171392"/>
                  <a:pt x="6389550" y="173190"/>
                  <a:pt x="6384756" y="173190"/>
                </a:cubicBezTo>
                <a:cubicBezTo>
                  <a:pt x="6379362" y="173190"/>
                  <a:pt x="6367377" y="173789"/>
                  <a:pt x="6375167" y="181580"/>
                </a:cubicBezTo>
                <a:cubicBezTo>
                  <a:pt x="6382958" y="188771"/>
                  <a:pt x="6397340" y="176187"/>
                  <a:pt x="6399738" y="180981"/>
                </a:cubicBezTo>
                <a:cubicBezTo>
                  <a:pt x="6402135" y="185775"/>
                  <a:pt x="6412921" y="178584"/>
                  <a:pt x="6419514" y="176786"/>
                </a:cubicBezTo>
                <a:cubicBezTo>
                  <a:pt x="6425507" y="174389"/>
                  <a:pt x="6426705" y="176786"/>
                  <a:pt x="6427903" y="177984"/>
                </a:cubicBezTo>
                <a:cubicBezTo>
                  <a:pt x="6429701" y="179183"/>
                  <a:pt x="6434496" y="178584"/>
                  <a:pt x="6438091" y="180381"/>
                </a:cubicBezTo>
                <a:cubicBezTo>
                  <a:pt x="6442286" y="181580"/>
                  <a:pt x="6446481" y="180981"/>
                  <a:pt x="6448878" y="180981"/>
                </a:cubicBezTo>
                <a:cubicBezTo>
                  <a:pt x="6451275" y="180981"/>
                  <a:pt x="6457867" y="186374"/>
                  <a:pt x="6448279" y="185176"/>
                </a:cubicBezTo>
                <a:cubicBezTo>
                  <a:pt x="6438091" y="183378"/>
                  <a:pt x="6429701" y="183977"/>
                  <a:pt x="6425507" y="184576"/>
                </a:cubicBezTo>
                <a:cubicBezTo>
                  <a:pt x="6421311" y="185176"/>
                  <a:pt x="6415319" y="186973"/>
                  <a:pt x="6411124" y="186973"/>
                </a:cubicBezTo>
                <a:cubicBezTo>
                  <a:pt x="6406929" y="186973"/>
                  <a:pt x="6402734" y="196562"/>
                  <a:pt x="6411723" y="192367"/>
                </a:cubicBezTo>
                <a:cubicBezTo>
                  <a:pt x="6421311" y="188172"/>
                  <a:pt x="6421311" y="194764"/>
                  <a:pt x="6416518" y="195363"/>
                </a:cubicBezTo>
                <a:cubicBezTo>
                  <a:pt x="6416518" y="195363"/>
                  <a:pt x="6409326" y="198959"/>
                  <a:pt x="6414120" y="201356"/>
                </a:cubicBezTo>
                <a:cubicBezTo>
                  <a:pt x="6418914" y="203753"/>
                  <a:pt x="6432099" y="200158"/>
                  <a:pt x="6436892" y="200757"/>
                </a:cubicBezTo>
                <a:cubicBezTo>
                  <a:pt x="6441687" y="201356"/>
                  <a:pt x="6452474" y="198360"/>
                  <a:pt x="6456669" y="195363"/>
                </a:cubicBezTo>
                <a:cubicBezTo>
                  <a:pt x="6460863" y="192367"/>
                  <a:pt x="6462661" y="194764"/>
                  <a:pt x="6461463" y="197760"/>
                </a:cubicBezTo>
                <a:cubicBezTo>
                  <a:pt x="6460863" y="200757"/>
                  <a:pt x="6462661" y="200757"/>
                  <a:pt x="6464459" y="202555"/>
                </a:cubicBezTo>
                <a:cubicBezTo>
                  <a:pt x="6466257" y="204352"/>
                  <a:pt x="6463860" y="207349"/>
                  <a:pt x="6459066" y="204952"/>
                </a:cubicBezTo>
                <a:cubicBezTo>
                  <a:pt x="6454271" y="202555"/>
                  <a:pt x="6447080" y="202555"/>
                  <a:pt x="6443485" y="204352"/>
                </a:cubicBezTo>
                <a:cubicBezTo>
                  <a:pt x="6439290" y="206750"/>
                  <a:pt x="6430300" y="206750"/>
                  <a:pt x="6426705" y="206750"/>
                </a:cubicBezTo>
                <a:cubicBezTo>
                  <a:pt x="6423709" y="206750"/>
                  <a:pt x="6414719" y="204952"/>
                  <a:pt x="6421910" y="209746"/>
                </a:cubicBezTo>
                <a:cubicBezTo>
                  <a:pt x="6429102" y="214540"/>
                  <a:pt x="6433896" y="214540"/>
                  <a:pt x="6436293" y="218136"/>
                </a:cubicBezTo>
                <a:cubicBezTo>
                  <a:pt x="6438690" y="222331"/>
                  <a:pt x="6446481" y="219934"/>
                  <a:pt x="6450676" y="217536"/>
                </a:cubicBezTo>
                <a:cubicBezTo>
                  <a:pt x="6454870" y="215139"/>
                  <a:pt x="6462661" y="214540"/>
                  <a:pt x="6460863" y="217536"/>
                </a:cubicBezTo>
                <a:cubicBezTo>
                  <a:pt x="6459066" y="220533"/>
                  <a:pt x="6453073" y="218735"/>
                  <a:pt x="6450676" y="222331"/>
                </a:cubicBezTo>
                <a:cubicBezTo>
                  <a:pt x="6448279" y="225926"/>
                  <a:pt x="6453073" y="227125"/>
                  <a:pt x="6457867" y="224128"/>
                </a:cubicBezTo>
                <a:cubicBezTo>
                  <a:pt x="6462661" y="221132"/>
                  <a:pt x="6463860" y="220533"/>
                  <a:pt x="6469253" y="221731"/>
                </a:cubicBezTo>
                <a:cubicBezTo>
                  <a:pt x="6474647" y="222331"/>
                  <a:pt x="6480640" y="221731"/>
                  <a:pt x="6483636" y="216937"/>
                </a:cubicBezTo>
                <a:cubicBezTo>
                  <a:pt x="6486632" y="212143"/>
                  <a:pt x="6489629" y="211544"/>
                  <a:pt x="6490228" y="215139"/>
                </a:cubicBezTo>
                <a:cubicBezTo>
                  <a:pt x="6490827" y="218735"/>
                  <a:pt x="6502812" y="219334"/>
                  <a:pt x="6507607" y="218136"/>
                </a:cubicBezTo>
                <a:cubicBezTo>
                  <a:pt x="6512401" y="216937"/>
                  <a:pt x="6514798" y="217536"/>
                  <a:pt x="6512401" y="220533"/>
                </a:cubicBezTo>
                <a:cubicBezTo>
                  <a:pt x="6510004" y="223529"/>
                  <a:pt x="6499217" y="223529"/>
                  <a:pt x="6493224" y="223529"/>
                </a:cubicBezTo>
                <a:cubicBezTo>
                  <a:pt x="6487231" y="223529"/>
                  <a:pt x="6479441" y="226526"/>
                  <a:pt x="6472250" y="228323"/>
                </a:cubicBezTo>
                <a:cubicBezTo>
                  <a:pt x="6461463" y="231320"/>
                  <a:pt x="6469253" y="238511"/>
                  <a:pt x="6476445" y="238511"/>
                </a:cubicBezTo>
                <a:cubicBezTo>
                  <a:pt x="6483636" y="239110"/>
                  <a:pt x="6483636" y="239710"/>
                  <a:pt x="6480040" y="241507"/>
                </a:cubicBezTo>
                <a:cubicBezTo>
                  <a:pt x="6476445" y="243305"/>
                  <a:pt x="6475246" y="243904"/>
                  <a:pt x="6480040" y="246302"/>
                </a:cubicBezTo>
                <a:cubicBezTo>
                  <a:pt x="6484834" y="248699"/>
                  <a:pt x="6492026" y="243305"/>
                  <a:pt x="6494423" y="240908"/>
                </a:cubicBezTo>
                <a:cubicBezTo>
                  <a:pt x="6496820" y="238511"/>
                  <a:pt x="6504611" y="240908"/>
                  <a:pt x="6506409" y="242107"/>
                </a:cubicBezTo>
                <a:cubicBezTo>
                  <a:pt x="6508206" y="243305"/>
                  <a:pt x="6511202" y="246302"/>
                  <a:pt x="6499217" y="248099"/>
                </a:cubicBezTo>
                <a:cubicBezTo>
                  <a:pt x="6487231" y="249897"/>
                  <a:pt x="6498019" y="254092"/>
                  <a:pt x="6505210" y="252294"/>
                </a:cubicBezTo>
                <a:cubicBezTo>
                  <a:pt x="6512401" y="250497"/>
                  <a:pt x="6521990" y="249897"/>
                  <a:pt x="6527982" y="252294"/>
                </a:cubicBezTo>
                <a:cubicBezTo>
                  <a:pt x="6533376" y="254691"/>
                  <a:pt x="6535173" y="253493"/>
                  <a:pt x="6535173" y="251096"/>
                </a:cubicBezTo>
                <a:cubicBezTo>
                  <a:pt x="6535173" y="248699"/>
                  <a:pt x="6535772" y="246901"/>
                  <a:pt x="6542964" y="248699"/>
                </a:cubicBezTo>
                <a:cubicBezTo>
                  <a:pt x="6550155" y="251096"/>
                  <a:pt x="6548358" y="243305"/>
                  <a:pt x="6542964" y="243305"/>
                </a:cubicBezTo>
                <a:cubicBezTo>
                  <a:pt x="6537571" y="243904"/>
                  <a:pt x="6532776" y="241507"/>
                  <a:pt x="6535173" y="239110"/>
                </a:cubicBezTo>
                <a:cubicBezTo>
                  <a:pt x="6537571" y="236713"/>
                  <a:pt x="6543563" y="238511"/>
                  <a:pt x="6548358" y="243305"/>
                </a:cubicBezTo>
                <a:cubicBezTo>
                  <a:pt x="6553152" y="247500"/>
                  <a:pt x="6557347" y="248699"/>
                  <a:pt x="6558545" y="244504"/>
                </a:cubicBezTo>
                <a:cubicBezTo>
                  <a:pt x="6559743" y="240309"/>
                  <a:pt x="6560942" y="236114"/>
                  <a:pt x="6556148" y="236114"/>
                </a:cubicBezTo>
                <a:cubicBezTo>
                  <a:pt x="6551354" y="236114"/>
                  <a:pt x="6551953" y="234915"/>
                  <a:pt x="6552552" y="232518"/>
                </a:cubicBezTo>
                <a:cubicBezTo>
                  <a:pt x="6553152" y="230121"/>
                  <a:pt x="6560343" y="233118"/>
                  <a:pt x="6566336" y="235515"/>
                </a:cubicBezTo>
                <a:cubicBezTo>
                  <a:pt x="6572329" y="237912"/>
                  <a:pt x="6572928" y="232518"/>
                  <a:pt x="6568733" y="231320"/>
                </a:cubicBezTo>
                <a:cubicBezTo>
                  <a:pt x="6564538" y="230720"/>
                  <a:pt x="6563340" y="227125"/>
                  <a:pt x="6560343" y="218735"/>
                </a:cubicBezTo>
                <a:cubicBezTo>
                  <a:pt x="6557347" y="210345"/>
                  <a:pt x="6567534" y="216338"/>
                  <a:pt x="6568733" y="222930"/>
                </a:cubicBezTo>
                <a:cubicBezTo>
                  <a:pt x="6569332" y="229522"/>
                  <a:pt x="6574725" y="227125"/>
                  <a:pt x="6572928" y="218735"/>
                </a:cubicBezTo>
                <a:cubicBezTo>
                  <a:pt x="6571729" y="213941"/>
                  <a:pt x="6574126" y="211544"/>
                  <a:pt x="6576523" y="211544"/>
                </a:cubicBezTo>
                <a:cubicBezTo>
                  <a:pt x="6578921" y="211544"/>
                  <a:pt x="6580718" y="212143"/>
                  <a:pt x="6580718" y="209746"/>
                </a:cubicBezTo>
                <a:cubicBezTo>
                  <a:pt x="6580718" y="207349"/>
                  <a:pt x="6582516" y="207349"/>
                  <a:pt x="6588509" y="204952"/>
                </a:cubicBezTo>
                <a:cubicBezTo>
                  <a:pt x="6594502" y="202555"/>
                  <a:pt x="6592703" y="194165"/>
                  <a:pt x="6587910" y="193565"/>
                </a:cubicBezTo>
                <a:cubicBezTo>
                  <a:pt x="6583115" y="192966"/>
                  <a:pt x="6575924" y="194165"/>
                  <a:pt x="6565137" y="190569"/>
                </a:cubicBezTo>
                <a:cubicBezTo>
                  <a:pt x="6554351" y="186374"/>
                  <a:pt x="6560942" y="191168"/>
                  <a:pt x="6551953" y="194764"/>
                </a:cubicBezTo>
                <a:cubicBezTo>
                  <a:pt x="6541166" y="198959"/>
                  <a:pt x="6550155" y="190569"/>
                  <a:pt x="6548957" y="186374"/>
                </a:cubicBezTo>
                <a:cubicBezTo>
                  <a:pt x="6545961" y="176786"/>
                  <a:pt x="6541765" y="179183"/>
                  <a:pt x="6541166" y="181580"/>
                </a:cubicBezTo>
                <a:cubicBezTo>
                  <a:pt x="6540567" y="183977"/>
                  <a:pt x="6533376" y="185775"/>
                  <a:pt x="6529181" y="182179"/>
                </a:cubicBezTo>
                <a:cubicBezTo>
                  <a:pt x="6524986" y="177984"/>
                  <a:pt x="6518394" y="173190"/>
                  <a:pt x="6515398" y="176187"/>
                </a:cubicBezTo>
                <a:cubicBezTo>
                  <a:pt x="6512401" y="179183"/>
                  <a:pt x="6510004" y="176187"/>
                  <a:pt x="6487231" y="178584"/>
                </a:cubicBezTo>
                <a:cubicBezTo>
                  <a:pt x="6464459" y="180981"/>
                  <a:pt x="6454870" y="168396"/>
                  <a:pt x="6454870" y="168396"/>
                </a:cubicBezTo>
                <a:cubicBezTo>
                  <a:pt x="6454870" y="168396"/>
                  <a:pt x="6449478" y="163003"/>
                  <a:pt x="6441687" y="163003"/>
                </a:cubicBezTo>
                <a:cubicBezTo>
                  <a:pt x="6433896" y="162403"/>
                  <a:pt x="6427304" y="160605"/>
                  <a:pt x="6422510" y="157010"/>
                </a:cubicBezTo>
                <a:cubicBezTo>
                  <a:pt x="6417716" y="152815"/>
                  <a:pt x="6404532" y="156411"/>
                  <a:pt x="6399738" y="159407"/>
                </a:cubicBezTo>
                <a:cubicBezTo>
                  <a:pt x="6394943" y="161804"/>
                  <a:pt x="6378164" y="165999"/>
                  <a:pt x="6375167" y="165400"/>
                </a:cubicBezTo>
                <a:cubicBezTo>
                  <a:pt x="6369175" y="163602"/>
                  <a:pt x="6366178" y="171392"/>
                  <a:pt x="6375767" y="170194"/>
                </a:cubicBezTo>
                <a:close/>
                <a:moveTo>
                  <a:pt x="6260106" y="262482"/>
                </a:moveTo>
                <a:cubicBezTo>
                  <a:pt x="6270295" y="263081"/>
                  <a:pt x="6267298" y="266677"/>
                  <a:pt x="6268496" y="267875"/>
                </a:cubicBezTo>
                <a:cubicBezTo>
                  <a:pt x="6270295" y="269074"/>
                  <a:pt x="6274489" y="271471"/>
                  <a:pt x="6274489" y="265478"/>
                </a:cubicBezTo>
                <a:cubicBezTo>
                  <a:pt x="6274489" y="260085"/>
                  <a:pt x="6282879" y="261883"/>
                  <a:pt x="6287074" y="266078"/>
                </a:cubicBezTo>
                <a:cubicBezTo>
                  <a:pt x="6291269" y="270273"/>
                  <a:pt x="6294266" y="268475"/>
                  <a:pt x="6293666" y="264280"/>
                </a:cubicBezTo>
                <a:cubicBezTo>
                  <a:pt x="6293067" y="260085"/>
                  <a:pt x="6297262" y="260684"/>
                  <a:pt x="6298460" y="263681"/>
                </a:cubicBezTo>
                <a:cubicBezTo>
                  <a:pt x="6299659" y="266677"/>
                  <a:pt x="6308648" y="263081"/>
                  <a:pt x="6310446" y="267875"/>
                </a:cubicBezTo>
                <a:cubicBezTo>
                  <a:pt x="6312244" y="272670"/>
                  <a:pt x="6318836" y="267276"/>
                  <a:pt x="6315839" y="272070"/>
                </a:cubicBezTo>
                <a:cubicBezTo>
                  <a:pt x="6313442" y="276865"/>
                  <a:pt x="6305652" y="274467"/>
                  <a:pt x="6300857" y="275666"/>
                </a:cubicBezTo>
                <a:cubicBezTo>
                  <a:pt x="6296063" y="276265"/>
                  <a:pt x="6290670" y="282857"/>
                  <a:pt x="6303255" y="284056"/>
                </a:cubicBezTo>
                <a:cubicBezTo>
                  <a:pt x="6315839" y="285254"/>
                  <a:pt x="6319435" y="281059"/>
                  <a:pt x="6322431" y="276865"/>
                </a:cubicBezTo>
                <a:cubicBezTo>
                  <a:pt x="6325427" y="272670"/>
                  <a:pt x="6332019" y="272070"/>
                  <a:pt x="6333817" y="276265"/>
                </a:cubicBezTo>
                <a:cubicBezTo>
                  <a:pt x="6335616" y="280460"/>
                  <a:pt x="6338012" y="280460"/>
                  <a:pt x="6341008" y="276865"/>
                </a:cubicBezTo>
                <a:cubicBezTo>
                  <a:pt x="6343406" y="273868"/>
                  <a:pt x="6357788" y="274467"/>
                  <a:pt x="6359587" y="277464"/>
                </a:cubicBezTo>
                <a:cubicBezTo>
                  <a:pt x="6361384" y="280460"/>
                  <a:pt x="6366178" y="279861"/>
                  <a:pt x="6369175" y="279861"/>
                </a:cubicBezTo>
                <a:cubicBezTo>
                  <a:pt x="6372171" y="279861"/>
                  <a:pt x="6381759" y="282857"/>
                  <a:pt x="6387153" y="285854"/>
                </a:cubicBezTo>
                <a:cubicBezTo>
                  <a:pt x="6392547" y="288850"/>
                  <a:pt x="6399138" y="290049"/>
                  <a:pt x="6409925" y="288850"/>
                </a:cubicBezTo>
                <a:cubicBezTo>
                  <a:pt x="6420113" y="288251"/>
                  <a:pt x="6420712" y="288251"/>
                  <a:pt x="6417716" y="282857"/>
                </a:cubicBezTo>
                <a:cubicBezTo>
                  <a:pt x="6414719" y="277464"/>
                  <a:pt x="6415319" y="280460"/>
                  <a:pt x="6412322" y="276865"/>
                </a:cubicBezTo>
                <a:cubicBezTo>
                  <a:pt x="6409925" y="272670"/>
                  <a:pt x="6405131" y="270273"/>
                  <a:pt x="6397939" y="269673"/>
                </a:cubicBezTo>
                <a:cubicBezTo>
                  <a:pt x="6390748" y="269074"/>
                  <a:pt x="6379362" y="270273"/>
                  <a:pt x="6381160" y="265478"/>
                </a:cubicBezTo>
                <a:cubicBezTo>
                  <a:pt x="6383557" y="260684"/>
                  <a:pt x="6374568" y="257688"/>
                  <a:pt x="6367976" y="257688"/>
                </a:cubicBezTo>
                <a:cubicBezTo>
                  <a:pt x="6361384" y="257688"/>
                  <a:pt x="6354193" y="254691"/>
                  <a:pt x="6351197" y="257688"/>
                </a:cubicBezTo>
                <a:cubicBezTo>
                  <a:pt x="6348200" y="260684"/>
                  <a:pt x="6347001" y="259486"/>
                  <a:pt x="6348200" y="254691"/>
                </a:cubicBezTo>
                <a:cubicBezTo>
                  <a:pt x="6348799" y="249897"/>
                  <a:pt x="6344605" y="249897"/>
                  <a:pt x="6339211" y="250497"/>
                </a:cubicBezTo>
                <a:cubicBezTo>
                  <a:pt x="6333817" y="251096"/>
                  <a:pt x="6326626" y="251096"/>
                  <a:pt x="6323630" y="250497"/>
                </a:cubicBezTo>
                <a:cubicBezTo>
                  <a:pt x="6320634" y="249897"/>
                  <a:pt x="6318236" y="251096"/>
                  <a:pt x="6318236" y="254092"/>
                </a:cubicBezTo>
                <a:cubicBezTo>
                  <a:pt x="6318236" y="257089"/>
                  <a:pt x="6314041" y="257089"/>
                  <a:pt x="6311045" y="252294"/>
                </a:cubicBezTo>
                <a:cubicBezTo>
                  <a:pt x="6308048" y="247500"/>
                  <a:pt x="6294266" y="249897"/>
                  <a:pt x="6286475" y="249897"/>
                </a:cubicBezTo>
                <a:cubicBezTo>
                  <a:pt x="6279284" y="250497"/>
                  <a:pt x="6263703" y="255291"/>
                  <a:pt x="6258908" y="254092"/>
                </a:cubicBezTo>
                <a:cubicBezTo>
                  <a:pt x="6254114" y="253493"/>
                  <a:pt x="6249919" y="261883"/>
                  <a:pt x="6260106" y="262482"/>
                </a:cubicBezTo>
                <a:close/>
                <a:moveTo>
                  <a:pt x="6449478" y="343983"/>
                </a:moveTo>
                <a:cubicBezTo>
                  <a:pt x="6445881" y="346380"/>
                  <a:pt x="6437492" y="345781"/>
                  <a:pt x="6429701" y="341586"/>
                </a:cubicBezTo>
                <a:cubicBezTo>
                  <a:pt x="6424308" y="338590"/>
                  <a:pt x="6411124" y="336193"/>
                  <a:pt x="6405730" y="333796"/>
                </a:cubicBezTo>
                <a:cubicBezTo>
                  <a:pt x="6400337" y="331399"/>
                  <a:pt x="6394344" y="329601"/>
                  <a:pt x="6393745" y="334994"/>
                </a:cubicBezTo>
                <a:cubicBezTo>
                  <a:pt x="6393146" y="343384"/>
                  <a:pt x="6406329" y="332597"/>
                  <a:pt x="6403333" y="340388"/>
                </a:cubicBezTo>
                <a:cubicBezTo>
                  <a:pt x="6402135" y="344583"/>
                  <a:pt x="6415319" y="350575"/>
                  <a:pt x="6420113" y="348777"/>
                </a:cubicBezTo>
                <a:cubicBezTo>
                  <a:pt x="6423709" y="348178"/>
                  <a:pt x="6424308" y="352972"/>
                  <a:pt x="6418315" y="352972"/>
                </a:cubicBezTo>
                <a:cubicBezTo>
                  <a:pt x="6412921" y="352972"/>
                  <a:pt x="6408128" y="351175"/>
                  <a:pt x="6408128" y="356568"/>
                </a:cubicBezTo>
                <a:cubicBezTo>
                  <a:pt x="6408128" y="361961"/>
                  <a:pt x="6401536" y="366756"/>
                  <a:pt x="6410525" y="363759"/>
                </a:cubicBezTo>
                <a:cubicBezTo>
                  <a:pt x="6418914" y="360763"/>
                  <a:pt x="6422510" y="357167"/>
                  <a:pt x="6428503" y="358366"/>
                </a:cubicBezTo>
                <a:cubicBezTo>
                  <a:pt x="6435694" y="358965"/>
                  <a:pt x="6438091" y="354171"/>
                  <a:pt x="6442885" y="352373"/>
                </a:cubicBezTo>
                <a:cubicBezTo>
                  <a:pt x="6447080" y="351175"/>
                  <a:pt x="6459665" y="351175"/>
                  <a:pt x="6451874" y="355969"/>
                </a:cubicBezTo>
                <a:cubicBezTo>
                  <a:pt x="6442286" y="361961"/>
                  <a:pt x="6449478" y="381738"/>
                  <a:pt x="6469852" y="373947"/>
                </a:cubicBezTo>
                <a:cubicBezTo>
                  <a:pt x="6489629" y="366756"/>
                  <a:pt x="6501614" y="364359"/>
                  <a:pt x="6503412" y="361961"/>
                </a:cubicBezTo>
                <a:cubicBezTo>
                  <a:pt x="6505809" y="359564"/>
                  <a:pt x="6505210" y="354770"/>
                  <a:pt x="6499217" y="355369"/>
                </a:cubicBezTo>
                <a:cubicBezTo>
                  <a:pt x="6490827" y="356568"/>
                  <a:pt x="6490827" y="352373"/>
                  <a:pt x="6496221" y="351175"/>
                </a:cubicBezTo>
                <a:cubicBezTo>
                  <a:pt x="6504611" y="348777"/>
                  <a:pt x="6493224" y="340388"/>
                  <a:pt x="6490827" y="342785"/>
                </a:cubicBezTo>
                <a:cubicBezTo>
                  <a:pt x="6484235" y="350575"/>
                  <a:pt x="6482438" y="348178"/>
                  <a:pt x="6485434" y="340987"/>
                </a:cubicBezTo>
                <a:cubicBezTo>
                  <a:pt x="6489030" y="333796"/>
                  <a:pt x="6483636" y="332597"/>
                  <a:pt x="6480640" y="330200"/>
                </a:cubicBezTo>
                <a:cubicBezTo>
                  <a:pt x="6477643" y="327803"/>
                  <a:pt x="6478242" y="329001"/>
                  <a:pt x="6475845" y="325406"/>
                </a:cubicBezTo>
                <a:cubicBezTo>
                  <a:pt x="6473449" y="321810"/>
                  <a:pt x="6469852" y="320612"/>
                  <a:pt x="6468055" y="321810"/>
                </a:cubicBezTo>
                <a:cubicBezTo>
                  <a:pt x="6466257" y="323009"/>
                  <a:pt x="6465658" y="320012"/>
                  <a:pt x="6466856" y="317615"/>
                </a:cubicBezTo>
                <a:cubicBezTo>
                  <a:pt x="6468055" y="315218"/>
                  <a:pt x="6464459" y="312821"/>
                  <a:pt x="6459665" y="314619"/>
                </a:cubicBezTo>
                <a:cubicBezTo>
                  <a:pt x="6454870" y="316417"/>
                  <a:pt x="6447679" y="314619"/>
                  <a:pt x="6445881" y="312821"/>
                </a:cubicBezTo>
                <a:cubicBezTo>
                  <a:pt x="6444084" y="311023"/>
                  <a:pt x="6432698" y="311023"/>
                  <a:pt x="6442286" y="317615"/>
                </a:cubicBezTo>
                <a:cubicBezTo>
                  <a:pt x="6451874" y="324207"/>
                  <a:pt x="6440489" y="324207"/>
                  <a:pt x="6435694" y="320012"/>
                </a:cubicBezTo>
                <a:cubicBezTo>
                  <a:pt x="6431499" y="317016"/>
                  <a:pt x="6423109" y="318814"/>
                  <a:pt x="6419514" y="319413"/>
                </a:cubicBezTo>
                <a:cubicBezTo>
                  <a:pt x="6412322" y="320012"/>
                  <a:pt x="6408727" y="329001"/>
                  <a:pt x="6420712" y="325406"/>
                </a:cubicBezTo>
                <a:cubicBezTo>
                  <a:pt x="6428503" y="323009"/>
                  <a:pt x="6427903" y="326005"/>
                  <a:pt x="6422510" y="328402"/>
                </a:cubicBezTo>
                <a:cubicBezTo>
                  <a:pt x="6417117" y="330799"/>
                  <a:pt x="6417716" y="333196"/>
                  <a:pt x="6425507" y="335593"/>
                </a:cubicBezTo>
                <a:cubicBezTo>
                  <a:pt x="6434496" y="338590"/>
                  <a:pt x="6443485" y="342785"/>
                  <a:pt x="6445881" y="340987"/>
                </a:cubicBezTo>
                <a:cubicBezTo>
                  <a:pt x="6449478" y="339788"/>
                  <a:pt x="6452474" y="341586"/>
                  <a:pt x="6449478" y="343983"/>
                </a:cubicBezTo>
                <a:close/>
                <a:moveTo>
                  <a:pt x="6596899" y="460242"/>
                </a:moveTo>
                <a:cubicBezTo>
                  <a:pt x="6599895" y="456047"/>
                  <a:pt x="6605289" y="457246"/>
                  <a:pt x="6605888" y="451853"/>
                </a:cubicBezTo>
                <a:cubicBezTo>
                  <a:pt x="6606487" y="446459"/>
                  <a:pt x="6595700" y="446459"/>
                  <a:pt x="6592104" y="438669"/>
                </a:cubicBezTo>
                <a:cubicBezTo>
                  <a:pt x="6587910" y="430878"/>
                  <a:pt x="6586711" y="427882"/>
                  <a:pt x="6583714" y="425485"/>
                </a:cubicBezTo>
                <a:cubicBezTo>
                  <a:pt x="6581318" y="423087"/>
                  <a:pt x="6578322" y="424885"/>
                  <a:pt x="6575924" y="429679"/>
                </a:cubicBezTo>
                <a:cubicBezTo>
                  <a:pt x="6573527" y="434474"/>
                  <a:pt x="6569332" y="433874"/>
                  <a:pt x="6567534" y="429080"/>
                </a:cubicBezTo>
                <a:cubicBezTo>
                  <a:pt x="6565736" y="424286"/>
                  <a:pt x="6560343" y="424885"/>
                  <a:pt x="6560343" y="429080"/>
                </a:cubicBezTo>
                <a:cubicBezTo>
                  <a:pt x="6560942" y="433275"/>
                  <a:pt x="6553751" y="431477"/>
                  <a:pt x="6553152" y="424885"/>
                </a:cubicBezTo>
                <a:cubicBezTo>
                  <a:pt x="6552552" y="417694"/>
                  <a:pt x="6544162" y="413499"/>
                  <a:pt x="6539369" y="416495"/>
                </a:cubicBezTo>
                <a:cubicBezTo>
                  <a:pt x="6534574" y="418893"/>
                  <a:pt x="6532177" y="417095"/>
                  <a:pt x="6536971" y="414098"/>
                </a:cubicBezTo>
                <a:cubicBezTo>
                  <a:pt x="6542365" y="411102"/>
                  <a:pt x="6542365" y="411102"/>
                  <a:pt x="6542365" y="411102"/>
                </a:cubicBezTo>
                <a:cubicBezTo>
                  <a:pt x="6542365" y="411102"/>
                  <a:pt x="6548358" y="406308"/>
                  <a:pt x="6546560" y="404510"/>
                </a:cubicBezTo>
                <a:cubicBezTo>
                  <a:pt x="6544762" y="402712"/>
                  <a:pt x="6547159" y="402113"/>
                  <a:pt x="6548957" y="400315"/>
                </a:cubicBezTo>
                <a:cubicBezTo>
                  <a:pt x="6550754" y="398517"/>
                  <a:pt x="6550155" y="393124"/>
                  <a:pt x="6546560" y="391925"/>
                </a:cubicBezTo>
                <a:cubicBezTo>
                  <a:pt x="6542365" y="391326"/>
                  <a:pt x="6539369" y="391925"/>
                  <a:pt x="6533376" y="396719"/>
                </a:cubicBezTo>
                <a:cubicBezTo>
                  <a:pt x="6527383" y="401514"/>
                  <a:pt x="6513600" y="409903"/>
                  <a:pt x="6500416" y="405708"/>
                </a:cubicBezTo>
                <a:cubicBezTo>
                  <a:pt x="6492026" y="403311"/>
                  <a:pt x="6489030" y="400315"/>
                  <a:pt x="6483636" y="402712"/>
                </a:cubicBezTo>
                <a:cubicBezTo>
                  <a:pt x="6478242" y="405109"/>
                  <a:pt x="6471650" y="403911"/>
                  <a:pt x="6474048" y="409903"/>
                </a:cubicBezTo>
                <a:cubicBezTo>
                  <a:pt x="6476445" y="415896"/>
                  <a:pt x="6476445" y="424885"/>
                  <a:pt x="6486632" y="423087"/>
                </a:cubicBezTo>
                <a:cubicBezTo>
                  <a:pt x="6496820" y="421889"/>
                  <a:pt x="6514199" y="424286"/>
                  <a:pt x="6511802" y="428481"/>
                </a:cubicBezTo>
                <a:cubicBezTo>
                  <a:pt x="6510603" y="430878"/>
                  <a:pt x="6511202" y="433275"/>
                  <a:pt x="6513001" y="435073"/>
                </a:cubicBezTo>
                <a:cubicBezTo>
                  <a:pt x="6515398" y="436871"/>
                  <a:pt x="6513600" y="442264"/>
                  <a:pt x="6506409" y="437470"/>
                </a:cubicBezTo>
                <a:cubicBezTo>
                  <a:pt x="6499217" y="433275"/>
                  <a:pt x="6493224" y="436271"/>
                  <a:pt x="6489030" y="432077"/>
                </a:cubicBezTo>
                <a:cubicBezTo>
                  <a:pt x="6484834" y="427882"/>
                  <a:pt x="6480640" y="429679"/>
                  <a:pt x="6477643" y="431477"/>
                </a:cubicBezTo>
                <a:cubicBezTo>
                  <a:pt x="6474647" y="433275"/>
                  <a:pt x="6469253" y="428481"/>
                  <a:pt x="6469253" y="436271"/>
                </a:cubicBezTo>
                <a:cubicBezTo>
                  <a:pt x="6469253" y="444062"/>
                  <a:pt x="6479441" y="445261"/>
                  <a:pt x="6486033" y="447058"/>
                </a:cubicBezTo>
                <a:cubicBezTo>
                  <a:pt x="6492625" y="448856"/>
                  <a:pt x="6494423" y="449455"/>
                  <a:pt x="6497420" y="454250"/>
                </a:cubicBezTo>
                <a:cubicBezTo>
                  <a:pt x="6499816" y="459044"/>
                  <a:pt x="6504611" y="458445"/>
                  <a:pt x="6505210" y="455448"/>
                </a:cubicBezTo>
                <a:cubicBezTo>
                  <a:pt x="6505809" y="452452"/>
                  <a:pt x="6511802" y="454250"/>
                  <a:pt x="6513600" y="456047"/>
                </a:cubicBezTo>
                <a:cubicBezTo>
                  <a:pt x="6515997" y="458445"/>
                  <a:pt x="6520791" y="456647"/>
                  <a:pt x="6522589" y="454849"/>
                </a:cubicBezTo>
                <a:cubicBezTo>
                  <a:pt x="6524986" y="452452"/>
                  <a:pt x="6529780" y="454250"/>
                  <a:pt x="6530979" y="457246"/>
                </a:cubicBezTo>
                <a:cubicBezTo>
                  <a:pt x="6532776" y="460242"/>
                  <a:pt x="6537571" y="462639"/>
                  <a:pt x="6545361" y="462639"/>
                </a:cubicBezTo>
                <a:cubicBezTo>
                  <a:pt x="6553152" y="462639"/>
                  <a:pt x="6565137" y="470430"/>
                  <a:pt x="6569332" y="476423"/>
                </a:cubicBezTo>
                <a:cubicBezTo>
                  <a:pt x="6573527" y="482416"/>
                  <a:pt x="6577722" y="477621"/>
                  <a:pt x="6580119" y="474625"/>
                </a:cubicBezTo>
                <a:cubicBezTo>
                  <a:pt x="6582516" y="471629"/>
                  <a:pt x="6581917" y="468033"/>
                  <a:pt x="6579520" y="465636"/>
                </a:cubicBezTo>
                <a:cubicBezTo>
                  <a:pt x="6577123" y="463239"/>
                  <a:pt x="6581917" y="460842"/>
                  <a:pt x="6586711" y="461441"/>
                </a:cubicBezTo>
                <a:cubicBezTo>
                  <a:pt x="6592104" y="463838"/>
                  <a:pt x="6593902" y="463838"/>
                  <a:pt x="6596899" y="460242"/>
                </a:cubicBezTo>
                <a:close/>
                <a:moveTo>
                  <a:pt x="6043170" y="399116"/>
                </a:moveTo>
                <a:cubicBezTo>
                  <a:pt x="6050361" y="402712"/>
                  <a:pt x="6055155" y="397319"/>
                  <a:pt x="6059949" y="402113"/>
                </a:cubicBezTo>
                <a:cubicBezTo>
                  <a:pt x="6064743" y="406907"/>
                  <a:pt x="6074931" y="400914"/>
                  <a:pt x="6076729" y="399716"/>
                </a:cubicBezTo>
                <a:cubicBezTo>
                  <a:pt x="6078527" y="399116"/>
                  <a:pt x="6083321" y="396719"/>
                  <a:pt x="6088115" y="403311"/>
                </a:cubicBezTo>
                <a:cubicBezTo>
                  <a:pt x="6092909" y="409903"/>
                  <a:pt x="6095307" y="402113"/>
                  <a:pt x="6090512" y="398517"/>
                </a:cubicBezTo>
                <a:cubicBezTo>
                  <a:pt x="6082722" y="393124"/>
                  <a:pt x="6089314" y="391326"/>
                  <a:pt x="6094108" y="394922"/>
                </a:cubicBezTo>
                <a:cubicBezTo>
                  <a:pt x="6098902" y="398517"/>
                  <a:pt x="6104895" y="406907"/>
                  <a:pt x="6111487" y="402113"/>
                </a:cubicBezTo>
                <a:cubicBezTo>
                  <a:pt x="6118079" y="397319"/>
                  <a:pt x="6113285" y="394322"/>
                  <a:pt x="6110288" y="391326"/>
                </a:cubicBezTo>
                <a:cubicBezTo>
                  <a:pt x="6107292" y="388330"/>
                  <a:pt x="6106093" y="377543"/>
                  <a:pt x="6113285" y="386532"/>
                </a:cubicBezTo>
                <a:cubicBezTo>
                  <a:pt x="6120476" y="395521"/>
                  <a:pt x="6124671" y="389528"/>
                  <a:pt x="6121674" y="384135"/>
                </a:cubicBezTo>
                <a:cubicBezTo>
                  <a:pt x="6119277" y="378741"/>
                  <a:pt x="6121075" y="376943"/>
                  <a:pt x="6124072" y="378142"/>
                </a:cubicBezTo>
                <a:cubicBezTo>
                  <a:pt x="6127068" y="378741"/>
                  <a:pt x="6129465" y="376344"/>
                  <a:pt x="6128866" y="374546"/>
                </a:cubicBezTo>
                <a:cubicBezTo>
                  <a:pt x="6128267" y="372748"/>
                  <a:pt x="6131263" y="368554"/>
                  <a:pt x="6133660" y="375146"/>
                </a:cubicBezTo>
                <a:cubicBezTo>
                  <a:pt x="6136057" y="381738"/>
                  <a:pt x="6149241" y="385932"/>
                  <a:pt x="6149241" y="378142"/>
                </a:cubicBezTo>
                <a:cubicBezTo>
                  <a:pt x="6149241" y="370351"/>
                  <a:pt x="6156433" y="373947"/>
                  <a:pt x="6154035" y="366156"/>
                </a:cubicBezTo>
                <a:cubicBezTo>
                  <a:pt x="6151638" y="358965"/>
                  <a:pt x="6153436" y="354171"/>
                  <a:pt x="6157032" y="356568"/>
                </a:cubicBezTo>
                <a:cubicBezTo>
                  <a:pt x="6160627" y="358965"/>
                  <a:pt x="6163024" y="352373"/>
                  <a:pt x="6157631" y="351175"/>
                </a:cubicBezTo>
                <a:cubicBezTo>
                  <a:pt x="6152237" y="350575"/>
                  <a:pt x="6153436" y="346980"/>
                  <a:pt x="6153436" y="343983"/>
                </a:cubicBezTo>
                <a:cubicBezTo>
                  <a:pt x="6153436" y="340987"/>
                  <a:pt x="6151638" y="338590"/>
                  <a:pt x="6148642" y="339189"/>
                </a:cubicBezTo>
                <a:cubicBezTo>
                  <a:pt x="6145645" y="339788"/>
                  <a:pt x="6134259" y="337991"/>
                  <a:pt x="6131862" y="336792"/>
                </a:cubicBezTo>
                <a:cubicBezTo>
                  <a:pt x="6129465" y="336193"/>
                  <a:pt x="6125869" y="336792"/>
                  <a:pt x="6123472" y="336193"/>
                </a:cubicBezTo>
                <a:cubicBezTo>
                  <a:pt x="6118079" y="333796"/>
                  <a:pt x="6117480" y="339189"/>
                  <a:pt x="6122873" y="340388"/>
                </a:cubicBezTo>
                <a:cubicBezTo>
                  <a:pt x="6122873" y="340388"/>
                  <a:pt x="6127068" y="352373"/>
                  <a:pt x="6114483" y="344583"/>
                </a:cubicBezTo>
                <a:cubicBezTo>
                  <a:pt x="6109689" y="341586"/>
                  <a:pt x="6083321" y="352373"/>
                  <a:pt x="6083321" y="358366"/>
                </a:cubicBezTo>
                <a:cubicBezTo>
                  <a:pt x="6083321" y="362561"/>
                  <a:pt x="6072534" y="363759"/>
                  <a:pt x="6070137" y="371550"/>
                </a:cubicBezTo>
                <a:cubicBezTo>
                  <a:pt x="6067740" y="379340"/>
                  <a:pt x="6062946" y="379940"/>
                  <a:pt x="6062346" y="383535"/>
                </a:cubicBezTo>
                <a:cubicBezTo>
                  <a:pt x="6061747" y="387730"/>
                  <a:pt x="6058751" y="387730"/>
                  <a:pt x="6056354" y="387730"/>
                </a:cubicBezTo>
                <a:cubicBezTo>
                  <a:pt x="6053956" y="387730"/>
                  <a:pt x="6050361" y="388330"/>
                  <a:pt x="6047365" y="390727"/>
                </a:cubicBezTo>
                <a:cubicBezTo>
                  <a:pt x="6043769" y="393124"/>
                  <a:pt x="6035379" y="396120"/>
                  <a:pt x="6043170" y="399116"/>
                </a:cubicBezTo>
                <a:close/>
                <a:moveTo>
                  <a:pt x="6185797" y="413499"/>
                </a:moveTo>
                <a:cubicBezTo>
                  <a:pt x="6188793" y="411102"/>
                  <a:pt x="6192988" y="410503"/>
                  <a:pt x="6192988" y="412900"/>
                </a:cubicBezTo>
                <a:cubicBezTo>
                  <a:pt x="6192988" y="415297"/>
                  <a:pt x="6201378" y="412900"/>
                  <a:pt x="6201378" y="410503"/>
                </a:cubicBezTo>
                <a:cubicBezTo>
                  <a:pt x="6201378" y="408106"/>
                  <a:pt x="6208569" y="408106"/>
                  <a:pt x="6210966" y="411102"/>
                </a:cubicBezTo>
                <a:cubicBezTo>
                  <a:pt x="6213364" y="414098"/>
                  <a:pt x="6221754" y="411701"/>
                  <a:pt x="6221754" y="404510"/>
                </a:cubicBezTo>
                <a:cubicBezTo>
                  <a:pt x="6221754" y="397319"/>
                  <a:pt x="6227746" y="397319"/>
                  <a:pt x="6227746" y="401514"/>
                </a:cubicBezTo>
                <a:cubicBezTo>
                  <a:pt x="6227746" y="405708"/>
                  <a:pt x="6236136" y="410503"/>
                  <a:pt x="6241529" y="403311"/>
                </a:cubicBezTo>
                <a:cubicBezTo>
                  <a:pt x="6243926" y="400315"/>
                  <a:pt x="6245724" y="400315"/>
                  <a:pt x="6249919" y="401514"/>
                </a:cubicBezTo>
                <a:cubicBezTo>
                  <a:pt x="6254114" y="402712"/>
                  <a:pt x="6262504" y="400914"/>
                  <a:pt x="6265500" y="397319"/>
                </a:cubicBezTo>
                <a:cubicBezTo>
                  <a:pt x="6268496" y="393723"/>
                  <a:pt x="6276287" y="391925"/>
                  <a:pt x="6272692" y="399716"/>
                </a:cubicBezTo>
                <a:cubicBezTo>
                  <a:pt x="6269096" y="407506"/>
                  <a:pt x="6263703" y="408106"/>
                  <a:pt x="6260106" y="407506"/>
                </a:cubicBezTo>
                <a:cubicBezTo>
                  <a:pt x="6256511" y="406907"/>
                  <a:pt x="6252316" y="408705"/>
                  <a:pt x="6249919" y="412900"/>
                </a:cubicBezTo>
                <a:cubicBezTo>
                  <a:pt x="6247522" y="417095"/>
                  <a:pt x="6245125" y="418293"/>
                  <a:pt x="6240331" y="420091"/>
                </a:cubicBezTo>
                <a:cubicBezTo>
                  <a:pt x="6235536" y="421290"/>
                  <a:pt x="6232540" y="428481"/>
                  <a:pt x="6247522" y="429679"/>
                </a:cubicBezTo>
                <a:cubicBezTo>
                  <a:pt x="6262504" y="430279"/>
                  <a:pt x="6272092" y="425485"/>
                  <a:pt x="6278085" y="421889"/>
                </a:cubicBezTo>
                <a:cubicBezTo>
                  <a:pt x="6284077" y="418293"/>
                  <a:pt x="6294266" y="413499"/>
                  <a:pt x="6296063" y="409304"/>
                </a:cubicBezTo>
                <a:cubicBezTo>
                  <a:pt x="6297861" y="405109"/>
                  <a:pt x="6297262" y="405708"/>
                  <a:pt x="6301457" y="406308"/>
                </a:cubicBezTo>
                <a:cubicBezTo>
                  <a:pt x="6305652" y="406907"/>
                  <a:pt x="6311645" y="397918"/>
                  <a:pt x="6312244" y="394322"/>
                </a:cubicBezTo>
                <a:cubicBezTo>
                  <a:pt x="6312843" y="390127"/>
                  <a:pt x="6315240" y="388929"/>
                  <a:pt x="6320634" y="392524"/>
                </a:cubicBezTo>
                <a:cubicBezTo>
                  <a:pt x="6324229" y="394922"/>
                  <a:pt x="6326626" y="394322"/>
                  <a:pt x="6326626" y="397319"/>
                </a:cubicBezTo>
                <a:cubicBezTo>
                  <a:pt x="6326626" y="400315"/>
                  <a:pt x="6330821" y="399116"/>
                  <a:pt x="6333817" y="396120"/>
                </a:cubicBezTo>
                <a:cubicBezTo>
                  <a:pt x="6336814" y="393124"/>
                  <a:pt x="6338012" y="393723"/>
                  <a:pt x="6344605" y="394922"/>
                </a:cubicBezTo>
                <a:cubicBezTo>
                  <a:pt x="6351197" y="395521"/>
                  <a:pt x="6356590" y="390727"/>
                  <a:pt x="6358987" y="387730"/>
                </a:cubicBezTo>
                <a:cubicBezTo>
                  <a:pt x="6361384" y="384734"/>
                  <a:pt x="6360186" y="382337"/>
                  <a:pt x="6358388" y="381138"/>
                </a:cubicBezTo>
                <a:cubicBezTo>
                  <a:pt x="6355990" y="380539"/>
                  <a:pt x="6351197" y="375745"/>
                  <a:pt x="6351197" y="370951"/>
                </a:cubicBezTo>
                <a:cubicBezTo>
                  <a:pt x="6351197" y="366756"/>
                  <a:pt x="6333817" y="355969"/>
                  <a:pt x="6330222" y="354171"/>
                </a:cubicBezTo>
                <a:cubicBezTo>
                  <a:pt x="6326027" y="352373"/>
                  <a:pt x="6320634" y="356568"/>
                  <a:pt x="6327226" y="358965"/>
                </a:cubicBezTo>
                <a:cubicBezTo>
                  <a:pt x="6333817" y="361362"/>
                  <a:pt x="6334417" y="366156"/>
                  <a:pt x="6334417" y="370351"/>
                </a:cubicBezTo>
                <a:cubicBezTo>
                  <a:pt x="6334417" y="374546"/>
                  <a:pt x="6330821" y="376344"/>
                  <a:pt x="6329023" y="369752"/>
                </a:cubicBezTo>
                <a:cubicBezTo>
                  <a:pt x="6326626" y="361362"/>
                  <a:pt x="6320034" y="363160"/>
                  <a:pt x="6321233" y="369153"/>
                </a:cubicBezTo>
                <a:cubicBezTo>
                  <a:pt x="6322431" y="375745"/>
                  <a:pt x="6318236" y="374546"/>
                  <a:pt x="6317037" y="368554"/>
                </a:cubicBezTo>
                <a:cubicBezTo>
                  <a:pt x="6316438" y="363759"/>
                  <a:pt x="6310446" y="358366"/>
                  <a:pt x="6307449" y="360164"/>
                </a:cubicBezTo>
                <a:cubicBezTo>
                  <a:pt x="6304453" y="361362"/>
                  <a:pt x="6301457" y="353572"/>
                  <a:pt x="6295464" y="353572"/>
                </a:cubicBezTo>
                <a:cubicBezTo>
                  <a:pt x="6289471" y="353572"/>
                  <a:pt x="6285276" y="346980"/>
                  <a:pt x="6282280" y="345182"/>
                </a:cubicBezTo>
                <a:cubicBezTo>
                  <a:pt x="6279284" y="342785"/>
                  <a:pt x="6272092" y="343983"/>
                  <a:pt x="6269096" y="344583"/>
                </a:cubicBezTo>
                <a:cubicBezTo>
                  <a:pt x="6265500" y="345182"/>
                  <a:pt x="6257110" y="344583"/>
                  <a:pt x="6258908" y="351175"/>
                </a:cubicBezTo>
                <a:cubicBezTo>
                  <a:pt x="6260706" y="357767"/>
                  <a:pt x="6255912" y="364958"/>
                  <a:pt x="6263103" y="365557"/>
                </a:cubicBezTo>
                <a:cubicBezTo>
                  <a:pt x="6270295" y="366156"/>
                  <a:pt x="6270894" y="366756"/>
                  <a:pt x="6275088" y="366156"/>
                </a:cubicBezTo>
                <a:cubicBezTo>
                  <a:pt x="6279284" y="365557"/>
                  <a:pt x="6287074" y="369153"/>
                  <a:pt x="6280482" y="369153"/>
                </a:cubicBezTo>
                <a:cubicBezTo>
                  <a:pt x="6272092" y="369752"/>
                  <a:pt x="6268496" y="375146"/>
                  <a:pt x="6279883" y="375146"/>
                </a:cubicBezTo>
                <a:cubicBezTo>
                  <a:pt x="6291868" y="375146"/>
                  <a:pt x="6296663" y="375146"/>
                  <a:pt x="6297861" y="379940"/>
                </a:cubicBezTo>
                <a:cubicBezTo>
                  <a:pt x="6299059" y="384734"/>
                  <a:pt x="6290670" y="382337"/>
                  <a:pt x="6284677" y="381738"/>
                </a:cubicBezTo>
                <a:cubicBezTo>
                  <a:pt x="6278685" y="381138"/>
                  <a:pt x="6269695" y="379340"/>
                  <a:pt x="6266099" y="383535"/>
                </a:cubicBezTo>
                <a:cubicBezTo>
                  <a:pt x="6261905" y="387730"/>
                  <a:pt x="6257110" y="388929"/>
                  <a:pt x="6250518" y="382936"/>
                </a:cubicBezTo>
                <a:cubicBezTo>
                  <a:pt x="6246324" y="378741"/>
                  <a:pt x="6236735" y="375745"/>
                  <a:pt x="6232540" y="372748"/>
                </a:cubicBezTo>
                <a:cubicBezTo>
                  <a:pt x="6228345" y="369752"/>
                  <a:pt x="6220555" y="370351"/>
                  <a:pt x="6215761" y="372149"/>
                </a:cubicBezTo>
                <a:cubicBezTo>
                  <a:pt x="6210966" y="373348"/>
                  <a:pt x="6201378" y="373947"/>
                  <a:pt x="6195984" y="369752"/>
                </a:cubicBezTo>
                <a:cubicBezTo>
                  <a:pt x="6191190" y="365557"/>
                  <a:pt x="6185797" y="368554"/>
                  <a:pt x="6182201" y="369153"/>
                </a:cubicBezTo>
                <a:cubicBezTo>
                  <a:pt x="6178006" y="369752"/>
                  <a:pt x="6175010" y="373348"/>
                  <a:pt x="6181602" y="374546"/>
                </a:cubicBezTo>
                <a:cubicBezTo>
                  <a:pt x="6188793" y="376344"/>
                  <a:pt x="6184598" y="378142"/>
                  <a:pt x="6179804" y="378741"/>
                </a:cubicBezTo>
                <a:cubicBezTo>
                  <a:pt x="6175010" y="379340"/>
                  <a:pt x="6174411" y="387131"/>
                  <a:pt x="6179804" y="387730"/>
                </a:cubicBezTo>
                <a:cubicBezTo>
                  <a:pt x="6185197" y="388330"/>
                  <a:pt x="6186995" y="387730"/>
                  <a:pt x="6189393" y="387131"/>
                </a:cubicBezTo>
                <a:cubicBezTo>
                  <a:pt x="6191790" y="386532"/>
                  <a:pt x="6197783" y="387730"/>
                  <a:pt x="6190591" y="390727"/>
                </a:cubicBezTo>
                <a:cubicBezTo>
                  <a:pt x="6183400" y="393723"/>
                  <a:pt x="6179204" y="388929"/>
                  <a:pt x="6174411" y="393723"/>
                </a:cubicBezTo>
                <a:cubicBezTo>
                  <a:pt x="6169616" y="398517"/>
                  <a:pt x="6170215" y="400914"/>
                  <a:pt x="6176808" y="397918"/>
                </a:cubicBezTo>
                <a:cubicBezTo>
                  <a:pt x="6183999" y="394922"/>
                  <a:pt x="6183999" y="394322"/>
                  <a:pt x="6188793" y="394322"/>
                </a:cubicBezTo>
                <a:cubicBezTo>
                  <a:pt x="6193587" y="394322"/>
                  <a:pt x="6196584" y="397319"/>
                  <a:pt x="6189393" y="397918"/>
                </a:cubicBezTo>
                <a:cubicBezTo>
                  <a:pt x="6182201" y="398517"/>
                  <a:pt x="6179204" y="400315"/>
                  <a:pt x="6176808" y="402113"/>
                </a:cubicBezTo>
                <a:cubicBezTo>
                  <a:pt x="6174411" y="403911"/>
                  <a:pt x="6163624" y="402712"/>
                  <a:pt x="6169017" y="411102"/>
                </a:cubicBezTo>
                <a:cubicBezTo>
                  <a:pt x="6175010" y="416495"/>
                  <a:pt x="6182801" y="415896"/>
                  <a:pt x="6185797" y="413499"/>
                </a:cubicBezTo>
                <a:close/>
                <a:moveTo>
                  <a:pt x="6149841" y="447658"/>
                </a:moveTo>
                <a:cubicBezTo>
                  <a:pt x="6141451" y="444661"/>
                  <a:pt x="6130663" y="448856"/>
                  <a:pt x="6125869" y="446459"/>
                </a:cubicBezTo>
                <a:cubicBezTo>
                  <a:pt x="6121075" y="444062"/>
                  <a:pt x="6112685" y="447058"/>
                  <a:pt x="6109090" y="449455"/>
                </a:cubicBezTo>
                <a:cubicBezTo>
                  <a:pt x="6104895" y="451853"/>
                  <a:pt x="6094707" y="456647"/>
                  <a:pt x="6087516" y="457845"/>
                </a:cubicBezTo>
                <a:cubicBezTo>
                  <a:pt x="6080325" y="459044"/>
                  <a:pt x="6077927" y="468632"/>
                  <a:pt x="6083920" y="474026"/>
                </a:cubicBezTo>
                <a:cubicBezTo>
                  <a:pt x="6089913" y="479419"/>
                  <a:pt x="6092909" y="481217"/>
                  <a:pt x="6094108" y="486011"/>
                </a:cubicBezTo>
                <a:cubicBezTo>
                  <a:pt x="6094707" y="491405"/>
                  <a:pt x="6095906" y="491405"/>
                  <a:pt x="6098902" y="493202"/>
                </a:cubicBezTo>
                <a:cubicBezTo>
                  <a:pt x="6101898" y="494401"/>
                  <a:pt x="6104296" y="497397"/>
                  <a:pt x="6100101" y="497997"/>
                </a:cubicBezTo>
                <a:cubicBezTo>
                  <a:pt x="6095906" y="498596"/>
                  <a:pt x="6097104" y="502192"/>
                  <a:pt x="6100700" y="504589"/>
                </a:cubicBezTo>
                <a:cubicBezTo>
                  <a:pt x="6104895" y="506986"/>
                  <a:pt x="6103097" y="514177"/>
                  <a:pt x="6100101" y="519571"/>
                </a:cubicBezTo>
                <a:cubicBezTo>
                  <a:pt x="6097104" y="524964"/>
                  <a:pt x="6095307" y="534552"/>
                  <a:pt x="6103696" y="532755"/>
                </a:cubicBezTo>
                <a:cubicBezTo>
                  <a:pt x="6112086" y="530957"/>
                  <a:pt x="6136057" y="542942"/>
                  <a:pt x="6142649" y="549534"/>
                </a:cubicBezTo>
                <a:cubicBezTo>
                  <a:pt x="6149241" y="555527"/>
                  <a:pt x="6157032" y="555527"/>
                  <a:pt x="6164223" y="551931"/>
                </a:cubicBezTo>
                <a:cubicBezTo>
                  <a:pt x="6171414" y="548336"/>
                  <a:pt x="6172013" y="545939"/>
                  <a:pt x="6172613" y="544141"/>
                </a:cubicBezTo>
                <a:cubicBezTo>
                  <a:pt x="6173212" y="542343"/>
                  <a:pt x="6175010" y="541744"/>
                  <a:pt x="6178605" y="545339"/>
                </a:cubicBezTo>
                <a:cubicBezTo>
                  <a:pt x="6182201" y="548935"/>
                  <a:pt x="6191790" y="544141"/>
                  <a:pt x="6194786" y="538148"/>
                </a:cubicBezTo>
                <a:cubicBezTo>
                  <a:pt x="6197183" y="532755"/>
                  <a:pt x="6206772" y="524365"/>
                  <a:pt x="6201977" y="521368"/>
                </a:cubicBezTo>
                <a:cubicBezTo>
                  <a:pt x="6194786" y="517173"/>
                  <a:pt x="6197183" y="517173"/>
                  <a:pt x="6201378" y="515975"/>
                </a:cubicBezTo>
                <a:cubicBezTo>
                  <a:pt x="6205573" y="514776"/>
                  <a:pt x="6206772" y="508784"/>
                  <a:pt x="6206172" y="507585"/>
                </a:cubicBezTo>
                <a:cubicBezTo>
                  <a:pt x="6205573" y="505787"/>
                  <a:pt x="6208569" y="499195"/>
                  <a:pt x="6212165" y="497397"/>
                </a:cubicBezTo>
                <a:cubicBezTo>
                  <a:pt x="6216360" y="495000"/>
                  <a:pt x="6216959" y="487210"/>
                  <a:pt x="6217558" y="484813"/>
                </a:cubicBezTo>
                <a:cubicBezTo>
                  <a:pt x="6218157" y="482416"/>
                  <a:pt x="6233139" y="467434"/>
                  <a:pt x="6237334" y="466235"/>
                </a:cubicBezTo>
                <a:cubicBezTo>
                  <a:pt x="6241529" y="465636"/>
                  <a:pt x="6249919" y="457845"/>
                  <a:pt x="6242128" y="456647"/>
                </a:cubicBezTo>
                <a:cubicBezTo>
                  <a:pt x="6236136" y="456047"/>
                  <a:pt x="6233739" y="439867"/>
                  <a:pt x="6213364" y="441066"/>
                </a:cubicBezTo>
                <a:cubicBezTo>
                  <a:pt x="6193587" y="441665"/>
                  <a:pt x="6183400" y="441066"/>
                  <a:pt x="6180403" y="444661"/>
                </a:cubicBezTo>
                <a:cubicBezTo>
                  <a:pt x="6177407" y="448257"/>
                  <a:pt x="6172613" y="451253"/>
                  <a:pt x="6172013" y="446459"/>
                </a:cubicBezTo>
                <a:cubicBezTo>
                  <a:pt x="6171414" y="441665"/>
                  <a:pt x="6163624" y="444661"/>
                  <a:pt x="6163024" y="446459"/>
                </a:cubicBezTo>
                <a:cubicBezTo>
                  <a:pt x="6161826" y="447058"/>
                  <a:pt x="6158230" y="450654"/>
                  <a:pt x="6149841" y="447658"/>
                </a:cubicBezTo>
                <a:close/>
                <a:moveTo>
                  <a:pt x="6565736" y="535751"/>
                </a:moveTo>
                <a:cubicBezTo>
                  <a:pt x="6569332" y="527361"/>
                  <a:pt x="6565137" y="540545"/>
                  <a:pt x="6575325" y="538148"/>
                </a:cubicBezTo>
                <a:cubicBezTo>
                  <a:pt x="6580718" y="536949"/>
                  <a:pt x="6583115" y="543541"/>
                  <a:pt x="6586112" y="538747"/>
                </a:cubicBezTo>
                <a:cubicBezTo>
                  <a:pt x="6587910" y="536350"/>
                  <a:pt x="6578921" y="533354"/>
                  <a:pt x="6577722" y="523765"/>
                </a:cubicBezTo>
                <a:cubicBezTo>
                  <a:pt x="6576523" y="514177"/>
                  <a:pt x="6571729" y="512979"/>
                  <a:pt x="6568133" y="517173"/>
                </a:cubicBezTo>
                <a:cubicBezTo>
                  <a:pt x="6564538" y="521368"/>
                  <a:pt x="6530380" y="518372"/>
                  <a:pt x="6527982" y="512979"/>
                </a:cubicBezTo>
                <a:cubicBezTo>
                  <a:pt x="6525585" y="507585"/>
                  <a:pt x="6514199" y="506387"/>
                  <a:pt x="6523787" y="515376"/>
                </a:cubicBezTo>
                <a:cubicBezTo>
                  <a:pt x="6533975" y="524365"/>
                  <a:pt x="6521990" y="522567"/>
                  <a:pt x="6517195" y="517773"/>
                </a:cubicBezTo>
                <a:cubicBezTo>
                  <a:pt x="6512401" y="512979"/>
                  <a:pt x="6499217" y="509383"/>
                  <a:pt x="6493823" y="509383"/>
                </a:cubicBezTo>
                <a:cubicBezTo>
                  <a:pt x="6488430" y="509383"/>
                  <a:pt x="6484235" y="506986"/>
                  <a:pt x="6483636" y="500993"/>
                </a:cubicBezTo>
                <a:cubicBezTo>
                  <a:pt x="6483037" y="492603"/>
                  <a:pt x="6471051" y="486610"/>
                  <a:pt x="6467456" y="485412"/>
                </a:cubicBezTo>
                <a:cubicBezTo>
                  <a:pt x="6463860" y="484213"/>
                  <a:pt x="6460863" y="483614"/>
                  <a:pt x="6458467" y="483015"/>
                </a:cubicBezTo>
                <a:cubicBezTo>
                  <a:pt x="6456069" y="482416"/>
                  <a:pt x="6454271" y="480618"/>
                  <a:pt x="6457867" y="480018"/>
                </a:cubicBezTo>
                <a:cubicBezTo>
                  <a:pt x="6461463" y="479419"/>
                  <a:pt x="6459665" y="475824"/>
                  <a:pt x="6454870" y="473426"/>
                </a:cubicBezTo>
                <a:cubicBezTo>
                  <a:pt x="6450077" y="471029"/>
                  <a:pt x="6442885" y="458445"/>
                  <a:pt x="6432099" y="456047"/>
                </a:cubicBezTo>
                <a:cubicBezTo>
                  <a:pt x="6421311" y="453650"/>
                  <a:pt x="6411124" y="444661"/>
                  <a:pt x="6408128" y="442863"/>
                </a:cubicBezTo>
                <a:cubicBezTo>
                  <a:pt x="6405131" y="440466"/>
                  <a:pt x="6396142" y="438669"/>
                  <a:pt x="6393745" y="438669"/>
                </a:cubicBezTo>
                <a:cubicBezTo>
                  <a:pt x="6391348" y="438669"/>
                  <a:pt x="6387752" y="436871"/>
                  <a:pt x="6385355" y="439268"/>
                </a:cubicBezTo>
                <a:cubicBezTo>
                  <a:pt x="6382358" y="442264"/>
                  <a:pt x="6379362" y="441665"/>
                  <a:pt x="6374568" y="442863"/>
                </a:cubicBezTo>
                <a:cubicBezTo>
                  <a:pt x="6369774" y="443463"/>
                  <a:pt x="6369774" y="452452"/>
                  <a:pt x="6375167" y="450654"/>
                </a:cubicBezTo>
                <a:cubicBezTo>
                  <a:pt x="6380561" y="448856"/>
                  <a:pt x="6379961" y="453650"/>
                  <a:pt x="6379961" y="456047"/>
                </a:cubicBezTo>
                <a:cubicBezTo>
                  <a:pt x="6379961" y="458445"/>
                  <a:pt x="6388950" y="465037"/>
                  <a:pt x="6391947" y="465636"/>
                </a:cubicBezTo>
                <a:cubicBezTo>
                  <a:pt x="6394943" y="466235"/>
                  <a:pt x="6396741" y="468632"/>
                  <a:pt x="6400337" y="474625"/>
                </a:cubicBezTo>
                <a:cubicBezTo>
                  <a:pt x="6404532" y="480618"/>
                  <a:pt x="6411124" y="489008"/>
                  <a:pt x="6412921" y="492004"/>
                </a:cubicBezTo>
                <a:cubicBezTo>
                  <a:pt x="6414719" y="495000"/>
                  <a:pt x="6418914" y="500993"/>
                  <a:pt x="6411723" y="497997"/>
                </a:cubicBezTo>
                <a:cubicBezTo>
                  <a:pt x="6404532" y="495000"/>
                  <a:pt x="6393745" y="487210"/>
                  <a:pt x="6391947" y="481217"/>
                </a:cubicBezTo>
                <a:cubicBezTo>
                  <a:pt x="6390149" y="475224"/>
                  <a:pt x="6385954" y="472228"/>
                  <a:pt x="6381759" y="472827"/>
                </a:cubicBezTo>
                <a:cubicBezTo>
                  <a:pt x="6377565" y="473426"/>
                  <a:pt x="6371572" y="469831"/>
                  <a:pt x="6370373" y="468033"/>
                </a:cubicBezTo>
                <a:cubicBezTo>
                  <a:pt x="6369175" y="466235"/>
                  <a:pt x="6361983" y="463838"/>
                  <a:pt x="6355990" y="465037"/>
                </a:cubicBezTo>
                <a:cubicBezTo>
                  <a:pt x="6349998" y="466235"/>
                  <a:pt x="6347001" y="465636"/>
                  <a:pt x="6345803" y="469232"/>
                </a:cubicBezTo>
                <a:cubicBezTo>
                  <a:pt x="6345204" y="472228"/>
                  <a:pt x="6350597" y="472228"/>
                  <a:pt x="6355391" y="473426"/>
                </a:cubicBezTo>
                <a:cubicBezTo>
                  <a:pt x="6363781" y="474625"/>
                  <a:pt x="6353594" y="478820"/>
                  <a:pt x="6360785" y="481816"/>
                </a:cubicBezTo>
                <a:cubicBezTo>
                  <a:pt x="6366178" y="484213"/>
                  <a:pt x="6363182" y="489607"/>
                  <a:pt x="6356590" y="487210"/>
                </a:cubicBezTo>
                <a:cubicBezTo>
                  <a:pt x="6349398" y="484813"/>
                  <a:pt x="6341608" y="492603"/>
                  <a:pt x="6336215" y="493202"/>
                </a:cubicBezTo>
                <a:cubicBezTo>
                  <a:pt x="6330821" y="493802"/>
                  <a:pt x="6326027" y="495000"/>
                  <a:pt x="6330821" y="489008"/>
                </a:cubicBezTo>
                <a:cubicBezTo>
                  <a:pt x="6335616" y="483015"/>
                  <a:pt x="6325427" y="476423"/>
                  <a:pt x="6317637" y="474625"/>
                </a:cubicBezTo>
                <a:cubicBezTo>
                  <a:pt x="6309247" y="472827"/>
                  <a:pt x="6296063" y="470430"/>
                  <a:pt x="6291868" y="474625"/>
                </a:cubicBezTo>
                <a:cubicBezTo>
                  <a:pt x="6287674" y="478820"/>
                  <a:pt x="6286475" y="481217"/>
                  <a:pt x="6287074" y="484813"/>
                </a:cubicBezTo>
                <a:cubicBezTo>
                  <a:pt x="6287674" y="488408"/>
                  <a:pt x="6285276" y="490805"/>
                  <a:pt x="6279883" y="489008"/>
                </a:cubicBezTo>
                <a:cubicBezTo>
                  <a:pt x="6274489" y="487210"/>
                  <a:pt x="6270295" y="490206"/>
                  <a:pt x="6275688" y="483614"/>
                </a:cubicBezTo>
                <a:cubicBezTo>
                  <a:pt x="6281081" y="477022"/>
                  <a:pt x="6270894" y="472228"/>
                  <a:pt x="6267897" y="468632"/>
                </a:cubicBezTo>
                <a:cubicBezTo>
                  <a:pt x="6264901" y="464437"/>
                  <a:pt x="6256511" y="461441"/>
                  <a:pt x="6248721" y="469232"/>
                </a:cubicBezTo>
                <a:cubicBezTo>
                  <a:pt x="6240930" y="477022"/>
                  <a:pt x="6233139" y="482416"/>
                  <a:pt x="6230143" y="489008"/>
                </a:cubicBezTo>
                <a:cubicBezTo>
                  <a:pt x="6227146" y="496199"/>
                  <a:pt x="6221754" y="497997"/>
                  <a:pt x="6223551" y="503989"/>
                </a:cubicBezTo>
                <a:cubicBezTo>
                  <a:pt x="6225948" y="509383"/>
                  <a:pt x="6221754" y="512379"/>
                  <a:pt x="6217558" y="514177"/>
                </a:cubicBezTo>
                <a:cubicBezTo>
                  <a:pt x="6213364" y="515975"/>
                  <a:pt x="6208569" y="530957"/>
                  <a:pt x="6219955" y="527361"/>
                </a:cubicBezTo>
                <a:cubicBezTo>
                  <a:pt x="6231342" y="523765"/>
                  <a:pt x="6231941" y="522567"/>
                  <a:pt x="6236735" y="523166"/>
                </a:cubicBezTo>
                <a:cubicBezTo>
                  <a:pt x="6242128" y="523765"/>
                  <a:pt x="6233739" y="528560"/>
                  <a:pt x="6237334" y="530357"/>
                </a:cubicBezTo>
                <a:cubicBezTo>
                  <a:pt x="6241529" y="532155"/>
                  <a:pt x="6249919" y="524365"/>
                  <a:pt x="6257110" y="524365"/>
                </a:cubicBezTo>
                <a:cubicBezTo>
                  <a:pt x="6264302" y="524365"/>
                  <a:pt x="6265500" y="518971"/>
                  <a:pt x="6274489" y="520170"/>
                </a:cubicBezTo>
                <a:cubicBezTo>
                  <a:pt x="6281081" y="521368"/>
                  <a:pt x="6284077" y="519571"/>
                  <a:pt x="6286475" y="521368"/>
                </a:cubicBezTo>
                <a:cubicBezTo>
                  <a:pt x="6288872" y="523166"/>
                  <a:pt x="6284077" y="525563"/>
                  <a:pt x="6279284" y="525563"/>
                </a:cubicBezTo>
                <a:cubicBezTo>
                  <a:pt x="6273890" y="524964"/>
                  <a:pt x="6271493" y="526163"/>
                  <a:pt x="6276287" y="529758"/>
                </a:cubicBezTo>
                <a:cubicBezTo>
                  <a:pt x="6281081" y="533953"/>
                  <a:pt x="6279284" y="535152"/>
                  <a:pt x="6275088" y="533953"/>
                </a:cubicBezTo>
                <a:cubicBezTo>
                  <a:pt x="6270894" y="533354"/>
                  <a:pt x="6268496" y="526762"/>
                  <a:pt x="6260706" y="532755"/>
                </a:cubicBezTo>
                <a:cubicBezTo>
                  <a:pt x="6252915" y="538148"/>
                  <a:pt x="6250518" y="537549"/>
                  <a:pt x="6247522" y="538148"/>
                </a:cubicBezTo>
                <a:cubicBezTo>
                  <a:pt x="6245125" y="538747"/>
                  <a:pt x="6242128" y="543541"/>
                  <a:pt x="6248721" y="548935"/>
                </a:cubicBezTo>
                <a:cubicBezTo>
                  <a:pt x="6255912" y="554328"/>
                  <a:pt x="6263703" y="558523"/>
                  <a:pt x="6268496" y="553729"/>
                </a:cubicBezTo>
                <a:cubicBezTo>
                  <a:pt x="6273890" y="548935"/>
                  <a:pt x="6275088" y="548935"/>
                  <a:pt x="6276886" y="550733"/>
                </a:cubicBezTo>
                <a:cubicBezTo>
                  <a:pt x="6278685" y="552531"/>
                  <a:pt x="6289471" y="548336"/>
                  <a:pt x="6296063" y="550134"/>
                </a:cubicBezTo>
                <a:cubicBezTo>
                  <a:pt x="6302656" y="551332"/>
                  <a:pt x="6306251" y="548935"/>
                  <a:pt x="6308048" y="546538"/>
                </a:cubicBezTo>
                <a:cubicBezTo>
                  <a:pt x="6309846" y="544141"/>
                  <a:pt x="6312244" y="544740"/>
                  <a:pt x="6314041" y="545339"/>
                </a:cubicBezTo>
                <a:cubicBezTo>
                  <a:pt x="6316438" y="545939"/>
                  <a:pt x="6322431" y="542343"/>
                  <a:pt x="6324828" y="545339"/>
                </a:cubicBezTo>
                <a:cubicBezTo>
                  <a:pt x="6327226" y="548336"/>
                  <a:pt x="6342207" y="547736"/>
                  <a:pt x="6345204" y="545339"/>
                </a:cubicBezTo>
                <a:cubicBezTo>
                  <a:pt x="6348200" y="542942"/>
                  <a:pt x="6350597" y="539946"/>
                  <a:pt x="6354792" y="541744"/>
                </a:cubicBezTo>
                <a:cubicBezTo>
                  <a:pt x="6360186" y="544141"/>
                  <a:pt x="6363781" y="540545"/>
                  <a:pt x="6366778" y="544141"/>
                </a:cubicBezTo>
                <a:cubicBezTo>
                  <a:pt x="6369175" y="547736"/>
                  <a:pt x="6373969" y="546538"/>
                  <a:pt x="6378763" y="546538"/>
                </a:cubicBezTo>
                <a:cubicBezTo>
                  <a:pt x="6382958" y="546538"/>
                  <a:pt x="6386554" y="550134"/>
                  <a:pt x="6382958" y="550733"/>
                </a:cubicBezTo>
                <a:cubicBezTo>
                  <a:pt x="6378763" y="551332"/>
                  <a:pt x="6377565" y="554928"/>
                  <a:pt x="6375767" y="556726"/>
                </a:cubicBezTo>
                <a:cubicBezTo>
                  <a:pt x="6373969" y="559123"/>
                  <a:pt x="6370373" y="560920"/>
                  <a:pt x="6366778" y="560321"/>
                </a:cubicBezTo>
                <a:cubicBezTo>
                  <a:pt x="6361384" y="559123"/>
                  <a:pt x="6351197" y="563917"/>
                  <a:pt x="6344005" y="560920"/>
                </a:cubicBezTo>
                <a:cubicBezTo>
                  <a:pt x="6336814" y="558523"/>
                  <a:pt x="6330821" y="559123"/>
                  <a:pt x="6326626" y="565115"/>
                </a:cubicBezTo>
                <a:cubicBezTo>
                  <a:pt x="6323630" y="569910"/>
                  <a:pt x="6315839" y="568711"/>
                  <a:pt x="6313442" y="567512"/>
                </a:cubicBezTo>
                <a:cubicBezTo>
                  <a:pt x="6311045" y="566913"/>
                  <a:pt x="6308048" y="568112"/>
                  <a:pt x="6306850" y="568711"/>
                </a:cubicBezTo>
                <a:cubicBezTo>
                  <a:pt x="6305652" y="569310"/>
                  <a:pt x="6294865" y="564516"/>
                  <a:pt x="6294266" y="573505"/>
                </a:cubicBezTo>
                <a:cubicBezTo>
                  <a:pt x="6293666" y="581895"/>
                  <a:pt x="6299059" y="584891"/>
                  <a:pt x="6302056" y="585491"/>
                </a:cubicBezTo>
                <a:cubicBezTo>
                  <a:pt x="6305052" y="586090"/>
                  <a:pt x="6307449" y="586090"/>
                  <a:pt x="6309247" y="589686"/>
                </a:cubicBezTo>
                <a:cubicBezTo>
                  <a:pt x="6311645" y="592682"/>
                  <a:pt x="6323630" y="593281"/>
                  <a:pt x="6326626" y="592083"/>
                </a:cubicBezTo>
                <a:cubicBezTo>
                  <a:pt x="6329623" y="591483"/>
                  <a:pt x="6332619" y="591483"/>
                  <a:pt x="6336215" y="592682"/>
                </a:cubicBezTo>
                <a:cubicBezTo>
                  <a:pt x="6338612" y="593281"/>
                  <a:pt x="6348200" y="592083"/>
                  <a:pt x="6352994" y="590285"/>
                </a:cubicBezTo>
                <a:cubicBezTo>
                  <a:pt x="6357189" y="588487"/>
                  <a:pt x="6378164" y="588487"/>
                  <a:pt x="6376965" y="598075"/>
                </a:cubicBezTo>
                <a:cubicBezTo>
                  <a:pt x="6376366" y="605267"/>
                  <a:pt x="6377565" y="610061"/>
                  <a:pt x="6384157" y="608263"/>
                </a:cubicBezTo>
                <a:cubicBezTo>
                  <a:pt x="6390149" y="607065"/>
                  <a:pt x="6391348" y="609462"/>
                  <a:pt x="6390149" y="612458"/>
                </a:cubicBezTo>
                <a:cubicBezTo>
                  <a:pt x="6389550" y="614855"/>
                  <a:pt x="6391348" y="616653"/>
                  <a:pt x="6397939" y="613657"/>
                </a:cubicBezTo>
                <a:cubicBezTo>
                  <a:pt x="6404532" y="610660"/>
                  <a:pt x="6412921" y="612458"/>
                  <a:pt x="6415918" y="607664"/>
                </a:cubicBezTo>
                <a:cubicBezTo>
                  <a:pt x="6418914" y="602870"/>
                  <a:pt x="6421311" y="603469"/>
                  <a:pt x="6421311" y="605866"/>
                </a:cubicBezTo>
                <a:cubicBezTo>
                  <a:pt x="6421910" y="608263"/>
                  <a:pt x="6433297" y="601072"/>
                  <a:pt x="6438091" y="597476"/>
                </a:cubicBezTo>
                <a:cubicBezTo>
                  <a:pt x="6442885" y="593281"/>
                  <a:pt x="6456069" y="590285"/>
                  <a:pt x="6459066" y="587888"/>
                </a:cubicBezTo>
                <a:cubicBezTo>
                  <a:pt x="6462062" y="585491"/>
                  <a:pt x="6465059" y="587289"/>
                  <a:pt x="6471051" y="583693"/>
                </a:cubicBezTo>
                <a:cubicBezTo>
                  <a:pt x="6476445" y="580097"/>
                  <a:pt x="6492026" y="574704"/>
                  <a:pt x="6492026" y="570509"/>
                </a:cubicBezTo>
                <a:cubicBezTo>
                  <a:pt x="6492625" y="562718"/>
                  <a:pt x="6497420" y="563318"/>
                  <a:pt x="6497420" y="563318"/>
                </a:cubicBezTo>
                <a:cubicBezTo>
                  <a:pt x="6500416" y="561520"/>
                  <a:pt x="6502812" y="563917"/>
                  <a:pt x="6504611" y="566913"/>
                </a:cubicBezTo>
                <a:cubicBezTo>
                  <a:pt x="6506409" y="569910"/>
                  <a:pt x="6514798" y="571707"/>
                  <a:pt x="6521390" y="569910"/>
                </a:cubicBezTo>
                <a:cubicBezTo>
                  <a:pt x="6527982" y="568112"/>
                  <a:pt x="6533376" y="566314"/>
                  <a:pt x="6530979" y="572307"/>
                </a:cubicBezTo>
                <a:cubicBezTo>
                  <a:pt x="6528581" y="578299"/>
                  <a:pt x="6542365" y="575902"/>
                  <a:pt x="6545361" y="572906"/>
                </a:cubicBezTo>
                <a:cubicBezTo>
                  <a:pt x="6548358" y="570509"/>
                  <a:pt x="6550155" y="571108"/>
                  <a:pt x="6551953" y="572906"/>
                </a:cubicBezTo>
                <a:cubicBezTo>
                  <a:pt x="6553751" y="574704"/>
                  <a:pt x="6575325" y="575303"/>
                  <a:pt x="6580718" y="564516"/>
                </a:cubicBezTo>
                <a:cubicBezTo>
                  <a:pt x="6586112" y="553130"/>
                  <a:pt x="6578921" y="544740"/>
                  <a:pt x="6567534" y="547137"/>
                </a:cubicBezTo>
                <a:cubicBezTo>
                  <a:pt x="6559743" y="548935"/>
                  <a:pt x="6563340" y="553130"/>
                  <a:pt x="6559144" y="549534"/>
                </a:cubicBezTo>
                <a:cubicBezTo>
                  <a:pt x="6554950" y="545339"/>
                  <a:pt x="6548358" y="550134"/>
                  <a:pt x="6551953" y="544141"/>
                </a:cubicBezTo>
                <a:cubicBezTo>
                  <a:pt x="6556148" y="536350"/>
                  <a:pt x="6562740" y="544740"/>
                  <a:pt x="6565736" y="535751"/>
                </a:cubicBezTo>
                <a:close/>
                <a:moveTo>
                  <a:pt x="7018188" y="678977"/>
                </a:moveTo>
                <a:cubicBezTo>
                  <a:pt x="7028376" y="676580"/>
                  <a:pt x="7027177" y="680176"/>
                  <a:pt x="7034968" y="686768"/>
                </a:cubicBezTo>
                <a:cubicBezTo>
                  <a:pt x="7042759" y="693360"/>
                  <a:pt x="7043957" y="687367"/>
                  <a:pt x="7047553" y="685569"/>
                </a:cubicBezTo>
                <a:cubicBezTo>
                  <a:pt x="7051148" y="683172"/>
                  <a:pt x="7049950" y="677180"/>
                  <a:pt x="7051748" y="674783"/>
                </a:cubicBezTo>
                <a:cubicBezTo>
                  <a:pt x="7052946" y="672385"/>
                  <a:pt x="7054144" y="661598"/>
                  <a:pt x="7057141" y="652609"/>
                </a:cubicBezTo>
                <a:cubicBezTo>
                  <a:pt x="7059538" y="644220"/>
                  <a:pt x="7062534" y="648414"/>
                  <a:pt x="7063733" y="652010"/>
                </a:cubicBezTo>
                <a:cubicBezTo>
                  <a:pt x="7064333" y="655606"/>
                  <a:pt x="7069126" y="656804"/>
                  <a:pt x="7074520" y="654407"/>
                </a:cubicBezTo>
                <a:cubicBezTo>
                  <a:pt x="7079913" y="652010"/>
                  <a:pt x="7081712" y="653209"/>
                  <a:pt x="7082910" y="655606"/>
                </a:cubicBezTo>
                <a:cubicBezTo>
                  <a:pt x="7084108" y="658003"/>
                  <a:pt x="7105083" y="660999"/>
                  <a:pt x="7109877" y="660999"/>
                </a:cubicBezTo>
                <a:cubicBezTo>
                  <a:pt x="7114672" y="660999"/>
                  <a:pt x="7117068" y="662797"/>
                  <a:pt x="7121863" y="662797"/>
                </a:cubicBezTo>
                <a:cubicBezTo>
                  <a:pt x="7126057" y="662797"/>
                  <a:pt x="7123661" y="655606"/>
                  <a:pt x="7123061" y="652010"/>
                </a:cubicBezTo>
                <a:cubicBezTo>
                  <a:pt x="7122462" y="648414"/>
                  <a:pt x="7119465" y="643620"/>
                  <a:pt x="7114672" y="640025"/>
                </a:cubicBezTo>
                <a:cubicBezTo>
                  <a:pt x="7109278" y="636429"/>
                  <a:pt x="7106282" y="636429"/>
                  <a:pt x="7107480" y="640624"/>
                </a:cubicBezTo>
                <a:cubicBezTo>
                  <a:pt x="7108679" y="644819"/>
                  <a:pt x="7106881" y="644819"/>
                  <a:pt x="7103285" y="643021"/>
                </a:cubicBezTo>
                <a:cubicBezTo>
                  <a:pt x="7099090" y="641822"/>
                  <a:pt x="7097892" y="641822"/>
                  <a:pt x="7093097" y="643620"/>
                </a:cubicBezTo>
                <a:cubicBezTo>
                  <a:pt x="7087704" y="646017"/>
                  <a:pt x="7088303" y="643021"/>
                  <a:pt x="7089502" y="641223"/>
                </a:cubicBezTo>
                <a:cubicBezTo>
                  <a:pt x="7090701" y="638826"/>
                  <a:pt x="7087104" y="634631"/>
                  <a:pt x="7082311" y="632234"/>
                </a:cubicBezTo>
                <a:cubicBezTo>
                  <a:pt x="7078115" y="629837"/>
                  <a:pt x="7063134" y="622046"/>
                  <a:pt x="7057141" y="625043"/>
                </a:cubicBezTo>
                <a:cubicBezTo>
                  <a:pt x="7051148" y="628039"/>
                  <a:pt x="7042159" y="629238"/>
                  <a:pt x="7035567" y="622646"/>
                </a:cubicBezTo>
                <a:cubicBezTo>
                  <a:pt x="7028376" y="616054"/>
                  <a:pt x="7021184" y="613057"/>
                  <a:pt x="7016990" y="613657"/>
                </a:cubicBezTo>
                <a:cubicBezTo>
                  <a:pt x="7012795" y="614256"/>
                  <a:pt x="7008600" y="614855"/>
                  <a:pt x="7003806" y="614256"/>
                </a:cubicBezTo>
                <a:cubicBezTo>
                  <a:pt x="6999611" y="613657"/>
                  <a:pt x="6996614" y="612458"/>
                  <a:pt x="6996015" y="616653"/>
                </a:cubicBezTo>
                <a:cubicBezTo>
                  <a:pt x="6995416" y="620848"/>
                  <a:pt x="6993618" y="621447"/>
                  <a:pt x="6991821" y="619050"/>
                </a:cubicBezTo>
                <a:cubicBezTo>
                  <a:pt x="6990622" y="616653"/>
                  <a:pt x="6988824" y="616653"/>
                  <a:pt x="6986427" y="616653"/>
                </a:cubicBezTo>
                <a:cubicBezTo>
                  <a:pt x="6984030" y="616653"/>
                  <a:pt x="6982831" y="614855"/>
                  <a:pt x="6981033" y="611859"/>
                </a:cubicBezTo>
                <a:cubicBezTo>
                  <a:pt x="6979235" y="608862"/>
                  <a:pt x="6972643" y="601671"/>
                  <a:pt x="6966051" y="599873"/>
                </a:cubicBezTo>
                <a:cubicBezTo>
                  <a:pt x="6959460" y="598075"/>
                  <a:pt x="6963055" y="604068"/>
                  <a:pt x="6963055" y="604068"/>
                </a:cubicBezTo>
                <a:cubicBezTo>
                  <a:pt x="6963055" y="604068"/>
                  <a:pt x="6966051" y="612458"/>
                  <a:pt x="6968449" y="615454"/>
                </a:cubicBezTo>
                <a:cubicBezTo>
                  <a:pt x="6970846" y="618451"/>
                  <a:pt x="6975041" y="630436"/>
                  <a:pt x="6978636" y="633433"/>
                </a:cubicBezTo>
                <a:cubicBezTo>
                  <a:pt x="6982232" y="637028"/>
                  <a:pt x="6983431" y="638826"/>
                  <a:pt x="6987625" y="642422"/>
                </a:cubicBezTo>
                <a:cubicBezTo>
                  <a:pt x="6991821" y="646617"/>
                  <a:pt x="6996614" y="656205"/>
                  <a:pt x="7003806" y="657404"/>
                </a:cubicBezTo>
                <a:cubicBezTo>
                  <a:pt x="7010997" y="658602"/>
                  <a:pt x="7010398" y="659801"/>
                  <a:pt x="7008001" y="666992"/>
                </a:cubicBezTo>
                <a:cubicBezTo>
                  <a:pt x="7003806" y="675382"/>
                  <a:pt x="7008600" y="681375"/>
                  <a:pt x="7018188" y="678977"/>
                </a:cubicBezTo>
                <a:close/>
                <a:moveTo>
                  <a:pt x="6665216" y="335593"/>
                </a:moveTo>
                <a:cubicBezTo>
                  <a:pt x="6669411" y="340987"/>
                  <a:pt x="6673605" y="347579"/>
                  <a:pt x="6681396" y="343983"/>
                </a:cubicBezTo>
                <a:cubicBezTo>
                  <a:pt x="6689187" y="339788"/>
                  <a:pt x="6690385" y="339788"/>
                  <a:pt x="6694580" y="340388"/>
                </a:cubicBezTo>
                <a:cubicBezTo>
                  <a:pt x="6706566" y="335593"/>
                  <a:pt x="6741923" y="335593"/>
                  <a:pt x="6746717" y="335593"/>
                </a:cubicBezTo>
                <a:cubicBezTo>
                  <a:pt x="6746717" y="335593"/>
                  <a:pt x="6751511" y="330799"/>
                  <a:pt x="6743122" y="326604"/>
                </a:cubicBezTo>
                <a:cubicBezTo>
                  <a:pt x="6738327" y="324207"/>
                  <a:pt x="6739526" y="320012"/>
                  <a:pt x="6746717" y="323608"/>
                </a:cubicBezTo>
                <a:cubicBezTo>
                  <a:pt x="6746717" y="323608"/>
                  <a:pt x="6747916" y="323608"/>
                  <a:pt x="6752710" y="327204"/>
                </a:cubicBezTo>
                <a:cubicBezTo>
                  <a:pt x="6757504" y="330799"/>
                  <a:pt x="6761100" y="329601"/>
                  <a:pt x="6764096" y="327803"/>
                </a:cubicBezTo>
                <a:cubicBezTo>
                  <a:pt x="6766493" y="326005"/>
                  <a:pt x="6768291" y="325406"/>
                  <a:pt x="6774284" y="326005"/>
                </a:cubicBezTo>
                <a:cubicBezTo>
                  <a:pt x="6779677" y="326604"/>
                  <a:pt x="6786269" y="325406"/>
                  <a:pt x="6789266" y="323608"/>
                </a:cubicBezTo>
                <a:cubicBezTo>
                  <a:pt x="6792262" y="321211"/>
                  <a:pt x="6794659" y="321810"/>
                  <a:pt x="6801251" y="321211"/>
                </a:cubicBezTo>
                <a:cubicBezTo>
                  <a:pt x="6807843" y="320612"/>
                  <a:pt x="6804247" y="315817"/>
                  <a:pt x="6799453" y="311622"/>
                </a:cubicBezTo>
                <a:cubicBezTo>
                  <a:pt x="6794659" y="307428"/>
                  <a:pt x="6797056" y="306828"/>
                  <a:pt x="6801251" y="306828"/>
                </a:cubicBezTo>
                <a:cubicBezTo>
                  <a:pt x="6805446" y="306828"/>
                  <a:pt x="6803648" y="305030"/>
                  <a:pt x="6801850" y="302034"/>
                </a:cubicBezTo>
                <a:cubicBezTo>
                  <a:pt x="6800053" y="299038"/>
                  <a:pt x="6797056" y="296641"/>
                  <a:pt x="6794060" y="299637"/>
                </a:cubicBezTo>
                <a:cubicBezTo>
                  <a:pt x="6791064" y="303233"/>
                  <a:pt x="6790464" y="299637"/>
                  <a:pt x="6789865" y="292446"/>
                </a:cubicBezTo>
                <a:cubicBezTo>
                  <a:pt x="6789266" y="285254"/>
                  <a:pt x="6780876" y="285254"/>
                  <a:pt x="6777280" y="287052"/>
                </a:cubicBezTo>
                <a:cubicBezTo>
                  <a:pt x="6768291" y="289449"/>
                  <a:pt x="6755706" y="287052"/>
                  <a:pt x="6747316" y="287652"/>
                </a:cubicBezTo>
                <a:cubicBezTo>
                  <a:pt x="6735930" y="285854"/>
                  <a:pt x="6727540" y="291846"/>
                  <a:pt x="6723346" y="292446"/>
                </a:cubicBezTo>
                <a:cubicBezTo>
                  <a:pt x="6719750" y="296641"/>
                  <a:pt x="6713158" y="293644"/>
                  <a:pt x="6711360" y="293644"/>
                </a:cubicBezTo>
                <a:cubicBezTo>
                  <a:pt x="6708963" y="293644"/>
                  <a:pt x="6704169" y="294244"/>
                  <a:pt x="6704169" y="296641"/>
                </a:cubicBezTo>
                <a:cubicBezTo>
                  <a:pt x="6704169" y="299038"/>
                  <a:pt x="6699974" y="302633"/>
                  <a:pt x="6696378" y="302034"/>
                </a:cubicBezTo>
                <a:cubicBezTo>
                  <a:pt x="6691584" y="300836"/>
                  <a:pt x="6681995" y="310424"/>
                  <a:pt x="6671808" y="309225"/>
                </a:cubicBezTo>
                <a:cubicBezTo>
                  <a:pt x="6667613" y="305030"/>
                  <a:pt x="6656826" y="307428"/>
                  <a:pt x="6655028" y="310424"/>
                </a:cubicBezTo>
                <a:cubicBezTo>
                  <a:pt x="6653231" y="313420"/>
                  <a:pt x="6649035" y="311023"/>
                  <a:pt x="6641245" y="310424"/>
                </a:cubicBezTo>
                <a:cubicBezTo>
                  <a:pt x="6632256" y="309825"/>
                  <a:pt x="6635852" y="313420"/>
                  <a:pt x="6639447" y="315218"/>
                </a:cubicBezTo>
                <a:cubicBezTo>
                  <a:pt x="6643642" y="317016"/>
                  <a:pt x="6637050" y="321211"/>
                  <a:pt x="6632256" y="315218"/>
                </a:cubicBezTo>
                <a:cubicBezTo>
                  <a:pt x="6628660" y="311023"/>
                  <a:pt x="6625664" y="314020"/>
                  <a:pt x="6619671" y="314020"/>
                </a:cubicBezTo>
                <a:cubicBezTo>
                  <a:pt x="6613678" y="314020"/>
                  <a:pt x="6606487" y="314020"/>
                  <a:pt x="6604689" y="318214"/>
                </a:cubicBezTo>
                <a:cubicBezTo>
                  <a:pt x="6602892" y="322409"/>
                  <a:pt x="6593303" y="324806"/>
                  <a:pt x="6600494" y="316417"/>
                </a:cubicBezTo>
                <a:cubicBezTo>
                  <a:pt x="6607685" y="308027"/>
                  <a:pt x="6598097" y="306229"/>
                  <a:pt x="6593303" y="309225"/>
                </a:cubicBezTo>
                <a:cubicBezTo>
                  <a:pt x="6588509" y="311622"/>
                  <a:pt x="6578322" y="303832"/>
                  <a:pt x="6587910" y="303832"/>
                </a:cubicBezTo>
                <a:cubicBezTo>
                  <a:pt x="6598097" y="303832"/>
                  <a:pt x="6602892" y="302633"/>
                  <a:pt x="6605289" y="300836"/>
                </a:cubicBezTo>
                <a:cubicBezTo>
                  <a:pt x="6607685" y="299038"/>
                  <a:pt x="6602292" y="296641"/>
                  <a:pt x="6597498" y="296641"/>
                </a:cubicBezTo>
                <a:cubicBezTo>
                  <a:pt x="6592703" y="296641"/>
                  <a:pt x="6590307" y="297240"/>
                  <a:pt x="6587910" y="298438"/>
                </a:cubicBezTo>
                <a:cubicBezTo>
                  <a:pt x="6585512" y="299038"/>
                  <a:pt x="6582516" y="297240"/>
                  <a:pt x="6582516" y="294843"/>
                </a:cubicBezTo>
                <a:cubicBezTo>
                  <a:pt x="6582516" y="292446"/>
                  <a:pt x="6575325" y="288850"/>
                  <a:pt x="6569332" y="293644"/>
                </a:cubicBezTo>
                <a:cubicBezTo>
                  <a:pt x="6563340" y="298438"/>
                  <a:pt x="6560343" y="298438"/>
                  <a:pt x="6555549" y="297240"/>
                </a:cubicBezTo>
                <a:cubicBezTo>
                  <a:pt x="6550754" y="296041"/>
                  <a:pt x="6545361" y="297240"/>
                  <a:pt x="6544762" y="301435"/>
                </a:cubicBezTo>
                <a:cubicBezTo>
                  <a:pt x="6544162" y="305630"/>
                  <a:pt x="6542365" y="308626"/>
                  <a:pt x="6536372" y="303832"/>
                </a:cubicBezTo>
                <a:cubicBezTo>
                  <a:pt x="6530979" y="299038"/>
                  <a:pt x="6528581" y="303233"/>
                  <a:pt x="6524387" y="302034"/>
                </a:cubicBezTo>
                <a:cubicBezTo>
                  <a:pt x="6520191" y="301435"/>
                  <a:pt x="6504611" y="298438"/>
                  <a:pt x="6492026" y="293644"/>
                </a:cubicBezTo>
                <a:cubicBezTo>
                  <a:pt x="6481838" y="289449"/>
                  <a:pt x="6477044" y="296041"/>
                  <a:pt x="6481239" y="297839"/>
                </a:cubicBezTo>
                <a:cubicBezTo>
                  <a:pt x="6485434" y="299637"/>
                  <a:pt x="6484834" y="307428"/>
                  <a:pt x="6477643" y="302034"/>
                </a:cubicBezTo>
                <a:cubicBezTo>
                  <a:pt x="6472250" y="297839"/>
                  <a:pt x="6473449" y="310424"/>
                  <a:pt x="6481838" y="309225"/>
                </a:cubicBezTo>
                <a:cubicBezTo>
                  <a:pt x="6490228" y="307428"/>
                  <a:pt x="6493224" y="309825"/>
                  <a:pt x="6492026" y="312222"/>
                </a:cubicBezTo>
                <a:cubicBezTo>
                  <a:pt x="6491427" y="314619"/>
                  <a:pt x="6519592" y="317016"/>
                  <a:pt x="6520791" y="317016"/>
                </a:cubicBezTo>
                <a:cubicBezTo>
                  <a:pt x="6526184" y="315218"/>
                  <a:pt x="6534574" y="317615"/>
                  <a:pt x="6538170" y="312821"/>
                </a:cubicBezTo>
                <a:cubicBezTo>
                  <a:pt x="6541765" y="308027"/>
                  <a:pt x="6542365" y="315218"/>
                  <a:pt x="6548358" y="314619"/>
                </a:cubicBezTo>
                <a:cubicBezTo>
                  <a:pt x="6553751" y="314020"/>
                  <a:pt x="6557946" y="314020"/>
                  <a:pt x="6561542" y="312222"/>
                </a:cubicBezTo>
                <a:cubicBezTo>
                  <a:pt x="6565736" y="310424"/>
                  <a:pt x="6573527" y="311622"/>
                  <a:pt x="6574725" y="315218"/>
                </a:cubicBezTo>
                <a:cubicBezTo>
                  <a:pt x="6575924" y="319413"/>
                  <a:pt x="6580718" y="320012"/>
                  <a:pt x="6581318" y="320012"/>
                </a:cubicBezTo>
                <a:cubicBezTo>
                  <a:pt x="6581917" y="320012"/>
                  <a:pt x="6585512" y="319413"/>
                  <a:pt x="6585512" y="324806"/>
                </a:cubicBezTo>
                <a:cubicBezTo>
                  <a:pt x="6585512" y="330200"/>
                  <a:pt x="6593303" y="334395"/>
                  <a:pt x="6596300" y="334994"/>
                </a:cubicBezTo>
                <a:cubicBezTo>
                  <a:pt x="6599296" y="335593"/>
                  <a:pt x="6598696" y="337991"/>
                  <a:pt x="6595700" y="339788"/>
                </a:cubicBezTo>
                <a:cubicBezTo>
                  <a:pt x="6592703" y="341586"/>
                  <a:pt x="6593303" y="348178"/>
                  <a:pt x="6602892" y="349976"/>
                </a:cubicBezTo>
                <a:cubicBezTo>
                  <a:pt x="6613079" y="351774"/>
                  <a:pt x="6626863" y="352972"/>
                  <a:pt x="6629859" y="352373"/>
                </a:cubicBezTo>
                <a:cubicBezTo>
                  <a:pt x="6632855" y="351774"/>
                  <a:pt x="6642444" y="351175"/>
                  <a:pt x="6646638" y="350575"/>
                </a:cubicBezTo>
                <a:cubicBezTo>
                  <a:pt x="6650834" y="349976"/>
                  <a:pt x="6654429" y="346980"/>
                  <a:pt x="6653830" y="343983"/>
                </a:cubicBezTo>
                <a:cubicBezTo>
                  <a:pt x="6653231" y="340987"/>
                  <a:pt x="6656227" y="340388"/>
                  <a:pt x="6657425" y="340987"/>
                </a:cubicBezTo>
                <a:cubicBezTo>
                  <a:pt x="6659223" y="341586"/>
                  <a:pt x="6662220" y="340388"/>
                  <a:pt x="6661620" y="337391"/>
                </a:cubicBezTo>
                <a:cubicBezTo>
                  <a:pt x="6659823" y="333796"/>
                  <a:pt x="6661620" y="330200"/>
                  <a:pt x="6665216" y="335593"/>
                </a:cubicBezTo>
                <a:close/>
                <a:moveTo>
                  <a:pt x="7365767" y="601671"/>
                </a:moveTo>
                <a:cubicBezTo>
                  <a:pt x="7368164" y="604667"/>
                  <a:pt x="7373558" y="608263"/>
                  <a:pt x="7375955" y="607065"/>
                </a:cubicBezTo>
                <a:cubicBezTo>
                  <a:pt x="7378352" y="606465"/>
                  <a:pt x="7381349" y="605866"/>
                  <a:pt x="7384345" y="607664"/>
                </a:cubicBezTo>
                <a:cubicBezTo>
                  <a:pt x="7387940" y="610061"/>
                  <a:pt x="7389738" y="611859"/>
                  <a:pt x="7391536" y="610061"/>
                </a:cubicBezTo>
                <a:cubicBezTo>
                  <a:pt x="7393334" y="608862"/>
                  <a:pt x="7395131" y="607664"/>
                  <a:pt x="7396930" y="608862"/>
                </a:cubicBezTo>
                <a:cubicBezTo>
                  <a:pt x="7399327" y="610061"/>
                  <a:pt x="7401124" y="611859"/>
                  <a:pt x="7402323" y="609462"/>
                </a:cubicBezTo>
                <a:cubicBezTo>
                  <a:pt x="7404121" y="607065"/>
                  <a:pt x="7406518" y="608862"/>
                  <a:pt x="7408316" y="609462"/>
                </a:cubicBezTo>
                <a:cubicBezTo>
                  <a:pt x="7410712" y="610061"/>
                  <a:pt x="7415507" y="611859"/>
                  <a:pt x="7417904" y="608862"/>
                </a:cubicBezTo>
                <a:cubicBezTo>
                  <a:pt x="7420301" y="605866"/>
                  <a:pt x="7422099" y="607065"/>
                  <a:pt x="7422099" y="608862"/>
                </a:cubicBezTo>
                <a:cubicBezTo>
                  <a:pt x="7422099" y="610660"/>
                  <a:pt x="7424496" y="613057"/>
                  <a:pt x="7429290" y="616653"/>
                </a:cubicBezTo>
                <a:cubicBezTo>
                  <a:pt x="7433485" y="620848"/>
                  <a:pt x="7437680" y="619050"/>
                  <a:pt x="7438879" y="616054"/>
                </a:cubicBezTo>
                <a:cubicBezTo>
                  <a:pt x="7439478" y="613657"/>
                  <a:pt x="7436481" y="611259"/>
                  <a:pt x="7428091" y="606465"/>
                </a:cubicBezTo>
                <a:cubicBezTo>
                  <a:pt x="7419702" y="601671"/>
                  <a:pt x="7422099" y="599873"/>
                  <a:pt x="7428091" y="602270"/>
                </a:cubicBezTo>
                <a:cubicBezTo>
                  <a:pt x="7434084" y="604667"/>
                  <a:pt x="7434683" y="603469"/>
                  <a:pt x="7433485" y="601671"/>
                </a:cubicBezTo>
                <a:cubicBezTo>
                  <a:pt x="7432886" y="599274"/>
                  <a:pt x="7429890" y="598075"/>
                  <a:pt x="7425694" y="596278"/>
                </a:cubicBezTo>
                <a:cubicBezTo>
                  <a:pt x="7421500" y="594480"/>
                  <a:pt x="7412511" y="591483"/>
                  <a:pt x="7410712" y="587289"/>
                </a:cubicBezTo>
                <a:cubicBezTo>
                  <a:pt x="7409514" y="583094"/>
                  <a:pt x="7411911" y="585491"/>
                  <a:pt x="7414908" y="588487"/>
                </a:cubicBezTo>
                <a:cubicBezTo>
                  <a:pt x="7417904" y="591483"/>
                  <a:pt x="7421500" y="592083"/>
                  <a:pt x="7422099" y="589686"/>
                </a:cubicBezTo>
                <a:cubicBezTo>
                  <a:pt x="7422698" y="587289"/>
                  <a:pt x="7421500" y="585491"/>
                  <a:pt x="7414908" y="581895"/>
                </a:cubicBezTo>
                <a:cubicBezTo>
                  <a:pt x="7408316" y="577700"/>
                  <a:pt x="7404720" y="576502"/>
                  <a:pt x="7404720" y="573505"/>
                </a:cubicBezTo>
                <a:cubicBezTo>
                  <a:pt x="7404121" y="569910"/>
                  <a:pt x="7401124" y="569310"/>
                  <a:pt x="7398727" y="569310"/>
                </a:cubicBezTo>
                <a:cubicBezTo>
                  <a:pt x="7396330" y="569310"/>
                  <a:pt x="7386142" y="569910"/>
                  <a:pt x="7377153" y="568711"/>
                </a:cubicBezTo>
                <a:cubicBezTo>
                  <a:pt x="7371760" y="565715"/>
                  <a:pt x="7377153" y="562718"/>
                  <a:pt x="7372959" y="559722"/>
                </a:cubicBezTo>
                <a:cubicBezTo>
                  <a:pt x="7366966" y="556726"/>
                  <a:pt x="7359774" y="557924"/>
                  <a:pt x="7360374" y="555527"/>
                </a:cubicBezTo>
                <a:cubicBezTo>
                  <a:pt x="7360973" y="551332"/>
                  <a:pt x="7351385" y="545939"/>
                  <a:pt x="7348988" y="550134"/>
                </a:cubicBezTo>
                <a:cubicBezTo>
                  <a:pt x="7346590" y="554328"/>
                  <a:pt x="7345991" y="554328"/>
                  <a:pt x="7345392" y="550733"/>
                </a:cubicBezTo>
                <a:cubicBezTo>
                  <a:pt x="7344792" y="547137"/>
                  <a:pt x="7342995" y="546538"/>
                  <a:pt x="7337601" y="545339"/>
                </a:cubicBezTo>
                <a:cubicBezTo>
                  <a:pt x="7332208" y="544740"/>
                  <a:pt x="7332208" y="542942"/>
                  <a:pt x="7332208" y="548935"/>
                </a:cubicBezTo>
                <a:cubicBezTo>
                  <a:pt x="7332208" y="554928"/>
                  <a:pt x="7328612" y="554328"/>
                  <a:pt x="7326215" y="549534"/>
                </a:cubicBezTo>
                <a:cubicBezTo>
                  <a:pt x="7323818" y="544141"/>
                  <a:pt x="7320821" y="544141"/>
                  <a:pt x="7315428" y="543541"/>
                </a:cubicBezTo>
                <a:cubicBezTo>
                  <a:pt x="7310035" y="542942"/>
                  <a:pt x="7305839" y="535751"/>
                  <a:pt x="7302244" y="538148"/>
                </a:cubicBezTo>
                <a:cubicBezTo>
                  <a:pt x="7298648" y="540545"/>
                  <a:pt x="7290258" y="538747"/>
                  <a:pt x="7287262" y="536350"/>
                </a:cubicBezTo>
                <a:cubicBezTo>
                  <a:pt x="7284865" y="533953"/>
                  <a:pt x="7283067" y="533953"/>
                  <a:pt x="7276476" y="530957"/>
                </a:cubicBezTo>
                <a:cubicBezTo>
                  <a:pt x="7269883" y="528560"/>
                  <a:pt x="7267487" y="518971"/>
                  <a:pt x="7259097" y="523166"/>
                </a:cubicBezTo>
                <a:cubicBezTo>
                  <a:pt x="7250707" y="527361"/>
                  <a:pt x="7250107" y="523765"/>
                  <a:pt x="7256699" y="520769"/>
                </a:cubicBezTo>
                <a:cubicBezTo>
                  <a:pt x="7266288" y="516574"/>
                  <a:pt x="7271082" y="521368"/>
                  <a:pt x="7275876" y="524365"/>
                </a:cubicBezTo>
                <a:cubicBezTo>
                  <a:pt x="7280670" y="526762"/>
                  <a:pt x="7280670" y="523765"/>
                  <a:pt x="7278273" y="521968"/>
                </a:cubicBezTo>
                <a:cubicBezTo>
                  <a:pt x="7275876" y="519571"/>
                  <a:pt x="7274678" y="519571"/>
                  <a:pt x="7272280" y="516574"/>
                </a:cubicBezTo>
                <a:cubicBezTo>
                  <a:pt x="7269883" y="512979"/>
                  <a:pt x="7271681" y="513578"/>
                  <a:pt x="7266288" y="513578"/>
                </a:cubicBezTo>
                <a:cubicBezTo>
                  <a:pt x="7260894" y="513578"/>
                  <a:pt x="7260295" y="511780"/>
                  <a:pt x="7259097" y="509383"/>
                </a:cubicBezTo>
                <a:cubicBezTo>
                  <a:pt x="7258497" y="506986"/>
                  <a:pt x="7265089" y="509982"/>
                  <a:pt x="7272280" y="506986"/>
                </a:cubicBezTo>
                <a:cubicBezTo>
                  <a:pt x="7279472" y="504589"/>
                  <a:pt x="7285465" y="509383"/>
                  <a:pt x="7290258" y="511181"/>
                </a:cubicBezTo>
                <a:cubicBezTo>
                  <a:pt x="7295053" y="512379"/>
                  <a:pt x="7301046" y="512379"/>
                  <a:pt x="7303443" y="506387"/>
                </a:cubicBezTo>
                <a:cubicBezTo>
                  <a:pt x="7305839" y="500394"/>
                  <a:pt x="7307638" y="502192"/>
                  <a:pt x="7307638" y="509383"/>
                </a:cubicBezTo>
                <a:cubicBezTo>
                  <a:pt x="7307638" y="516574"/>
                  <a:pt x="7316028" y="517773"/>
                  <a:pt x="7320222" y="514776"/>
                </a:cubicBezTo>
                <a:cubicBezTo>
                  <a:pt x="7324418" y="511780"/>
                  <a:pt x="7322020" y="506387"/>
                  <a:pt x="7320821" y="501592"/>
                </a:cubicBezTo>
                <a:cubicBezTo>
                  <a:pt x="7320222" y="496199"/>
                  <a:pt x="7322020" y="496199"/>
                  <a:pt x="7325017" y="499195"/>
                </a:cubicBezTo>
                <a:cubicBezTo>
                  <a:pt x="7328013" y="502192"/>
                  <a:pt x="7327414" y="509383"/>
                  <a:pt x="7328013" y="514177"/>
                </a:cubicBezTo>
                <a:cubicBezTo>
                  <a:pt x="7328612" y="518372"/>
                  <a:pt x="7332807" y="520769"/>
                  <a:pt x="7336403" y="521968"/>
                </a:cubicBezTo>
                <a:cubicBezTo>
                  <a:pt x="7340598" y="523166"/>
                  <a:pt x="7342396" y="527361"/>
                  <a:pt x="7344792" y="527361"/>
                </a:cubicBezTo>
                <a:cubicBezTo>
                  <a:pt x="7347190" y="527361"/>
                  <a:pt x="7350785" y="526762"/>
                  <a:pt x="7351984" y="529758"/>
                </a:cubicBezTo>
                <a:cubicBezTo>
                  <a:pt x="7352583" y="532755"/>
                  <a:pt x="7368763" y="536949"/>
                  <a:pt x="7369962" y="535751"/>
                </a:cubicBezTo>
                <a:cubicBezTo>
                  <a:pt x="7371760" y="534552"/>
                  <a:pt x="7372359" y="533354"/>
                  <a:pt x="7374756" y="535152"/>
                </a:cubicBezTo>
                <a:cubicBezTo>
                  <a:pt x="7377153" y="537549"/>
                  <a:pt x="7378352" y="537549"/>
                  <a:pt x="7380150" y="536350"/>
                </a:cubicBezTo>
                <a:cubicBezTo>
                  <a:pt x="7381948" y="535152"/>
                  <a:pt x="7381948" y="533354"/>
                  <a:pt x="7378352" y="530957"/>
                </a:cubicBezTo>
                <a:cubicBezTo>
                  <a:pt x="7374756" y="528560"/>
                  <a:pt x="7372959" y="527361"/>
                  <a:pt x="7371760" y="523765"/>
                </a:cubicBezTo>
                <a:cubicBezTo>
                  <a:pt x="7370561" y="519571"/>
                  <a:pt x="7366966" y="519571"/>
                  <a:pt x="7361572" y="513578"/>
                </a:cubicBezTo>
                <a:cubicBezTo>
                  <a:pt x="7356179" y="507585"/>
                  <a:pt x="7360973" y="508784"/>
                  <a:pt x="7362171" y="509383"/>
                </a:cubicBezTo>
                <a:cubicBezTo>
                  <a:pt x="7363969" y="509982"/>
                  <a:pt x="7368763" y="511780"/>
                  <a:pt x="7374157" y="513578"/>
                </a:cubicBezTo>
                <a:cubicBezTo>
                  <a:pt x="7379550" y="515975"/>
                  <a:pt x="7377153" y="512379"/>
                  <a:pt x="7375356" y="509982"/>
                </a:cubicBezTo>
                <a:cubicBezTo>
                  <a:pt x="7373558" y="507585"/>
                  <a:pt x="7374756" y="505787"/>
                  <a:pt x="7372359" y="502192"/>
                </a:cubicBezTo>
                <a:cubicBezTo>
                  <a:pt x="7369962" y="498596"/>
                  <a:pt x="7372959" y="502192"/>
                  <a:pt x="7371160" y="497997"/>
                </a:cubicBezTo>
                <a:cubicBezTo>
                  <a:pt x="7368763" y="493802"/>
                  <a:pt x="7368763" y="492603"/>
                  <a:pt x="7366966" y="489607"/>
                </a:cubicBezTo>
                <a:cubicBezTo>
                  <a:pt x="7364569" y="486610"/>
                  <a:pt x="7371760" y="490206"/>
                  <a:pt x="7374157" y="489607"/>
                </a:cubicBezTo>
                <a:cubicBezTo>
                  <a:pt x="7376554" y="489008"/>
                  <a:pt x="7369962" y="481217"/>
                  <a:pt x="7370561" y="478221"/>
                </a:cubicBezTo>
                <a:cubicBezTo>
                  <a:pt x="7371160" y="475824"/>
                  <a:pt x="7368763" y="475824"/>
                  <a:pt x="7363969" y="474625"/>
                </a:cubicBezTo>
                <a:cubicBezTo>
                  <a:pt x="7359175" y="473426"/>
                  <a:pt x="7355579" y="476423"/>
                  <a:pt x="7350785" y="472228"/>
                </a:cubicBezTo>
                <a:cubicBezTo>
                  <a:pt x="7347190" y="468033"/>
                  <a:pt x="7338800" y="488408"/>
                  <a:pt x="7329810" y="486011"/>
                </a:cubicBezTo>
                <a:cubicBezTo>
                  <a:pt x="7327414" y="483015"/>
                  <a:pt x="7327414" y="474625"/>
                  <a:pt x="7324418" y="471629"/>
                </a:cubicBezTo>
                <a:cubicBezTo>
                  <a:pt x="7318425" y="465636"/>
                  <a:pt x="7319024" y="469232"/>
                  <a:pt x="7318425" y="474026"/>
                </a:cubicBezTo>
                <a:cubicBezTo>
                  <a:pt x="7317825" y="478820"/>
                  <a:pt x="7318425" y="478221"/>
                  <a:pt x="7314829" y="477022"/>
                </a:cubicBezTo>
                <a:cubicBezTo>
                  <a:pt x="7311233" y="475824"/>
                  <a:pt x="7309436" y="475224"/>
                  <a:pt x="7305839" y="478221"/>
                </a:cubicBezTo>
                <a:cubicBezTo>
                  <a:pt x="7302244" y="481217"/>
                  <a:pt x="7302244" y="482416"/>
                  <a:pt x="7300447" y="478820"/>
                </a:cubicBezTo>
                <a:cubicBezTo>
                  <a:pt x="7295652" y="471029"/>
                  <a:pt x="7299847" y="469831"/>
                  <a:pt x="7292057" y="460842"/>
                </a:cubicBezTo>
                <a:cubicBezTo>
                  <a:pt x="7288461" y="456647"/>
                  <a:pt x="7277075" y="456047"/>
                  <a:pt x="7274678" y="459044"/>
                </a:cubicBezTo>
                <a:cubicBezTo>
                  <a:pt x="7272280" y="462040"/>
                  <a:pt x="7270483" y="459643"/>
                  <a:pt x="7268685" y="456047"/>
                </a:cubicBezTo>
                <a:cubicBezTo>
                  <a:pt x="7266288" y="451853"/>
                  <a:pt x="7266288" y="448856"/>
                  <a:pt x="7264490" y="451253"/>
                </a:cubicBezTo>
                <a:cubicBezTo>
                  <a:pt x="7262692" y="453650"/>
                  <a:pt x="7266288" y="457246"/>
                  <a:pt x="7267487" y="461441"/>
                </a:cubicBezTo>
                <a:cubicBezTo>
                  <a:pt x="7263890" y="469232"/>
                  <a:pt x="7257898" y="469232"/>
                  <a:pt x="7254302" y="461441"/>
                </a:cubicBezTo>
                <a:cubicBezTo>
                  <a:pt x="7251905" y="456047"/>
                  <a:pt x="7251905" y="457246"/>
                  <a:pt x="7249508" y="463838"/>
                </a:cubicBezTo>
                <a:cubicBezTo>
                  <a:pt x="7247111" y="469831"/>
                  <a:pt x="7243516" y="466235"/>
                  <a:pt x="7242916" y="462040"/>
                </a:cubicBezTo>
                <a:cubicBezTo>
                  <a:pt x="7242317" y="457845"/>
                  <a:pt x="7239320" y="454849"/>
                  <a:pt x="7234526" y="454849"/>
                </a:cubicBezTo>
                <a:cubicBezTo>
                  <a:pt x="7225537" y="454849"/>
                  <a:pt x="7212353" y="441665"/>
                  <a:pt x="7206959" y="444661"/>
                </a:cubicBezTo>
                <a:cubicBezTo>
                  <a:pt x="7193776" y="445261"/>
                  <a:pt x="7181191" y="445261"/>
                  <a:pt x="7179992" y="445860"/>
                </a:cubicBezTo>
                <a:cubicBezTo>
                  <a:pt x="7176996" y="448257"/>
                  <a:pt x="7169805" y="448257"/>
                  <a:pt x="7163812" y="448257"/>
                </a:cubicBezTo>
                <a:cubicBezTo>
                  <a:pt x="7158418" y="448257"/>
                  <a:pt x="7163812" y="444661"/>
                  <a:pt x="7167407" y="444062"/>
                </a:cubicBezTo>
                <a:cubicBezTo>
                  <a:pt x="7171003" y="443463"/>
                  <a:pt x="7170404" y="443463"/>
                  <a:pt x="7177595" y="439268"/>
                </a:cubicBezTo>
                <a:cubicBezTo>
                  <a:pt x="7184786" y="435073"/>
                  <a:pt x="7180592" y="433275"/>
                  <a:pt x="7177595" y="433874"/>
                </a:cubicBezTo>
                <a:cubicBezTo>
                  <a:pt x="7174599" y="434474"/>
                  <a:pt x="7172202" y="436871"/>
                  <a:pt x="7170404" y="434474"/>
                </a:cubicBezTo>
                <a:cubicBezTo>
                  <a:pt x="7168606" y="432077"/>
                  <a:pt x="7167407" y="433874"/>
                  <a:pt x="7163213" y="429679"/>
                </a:cubicBezTo>
                <a:cubicBezTo>
                  <a:pt x="7159017" y="425485"/>
                  <a:pt x="7163213" y="426683"/>
                  <a:pt x="7165010" y="427282"/>
                </a:cubicBezTo>
                <a:cubicBezTo>
                  <a:pt x="7166808" y="427882"/>
                  <a:pt x="7171603" y="429679"/>
                  <a:pt x="7175198" y="429679"/>
                </a:cubicBezTo>
                <a:cubicBezTo>
                  <a:pt x="7179393" y="429679"/>
                  <a:pt x="7182389" y="430878"/>
                  <a:pt x="7184187" y="427882"/>
                </a:cubicBezTo>
                <a:cubicBezTo>
                  <a:pt x="7186585" y="424885"/>
                  <a:pt x="7186585" y="425485"/>
                  <a:pt x="7191378" y="423687"/>
                </a:cubicBezTo>
                <a:cubicBezTo>
                  <a:pt x="7196173" y="421889"/>
                  <a:pt x="7196772" y="422488"/>
                  <a:pt x="7194375" y="419492"/>
                </a:cubicBezTo>
                <a:cubicBezTo>
                  <a:pt x="7191977" y="417095"/>
                  <a:pt x="7189581" y="417095"/>
                  <a:pt x="7182389" y="417095"/>
                </a:cubicBezTo>
                <a:cubicBezTo>
                  <a:pt x="7175198" y="417095"/>
                  <a:pt x="7162014" y="416495"/>
                  <a:pt x="7156021" y="422488"/>
                </a:cubicBezTo>
                <a:cubicBezTo>
                  <a:pt x="7150028" y="428481"/>
                  <a:pt x="7150028" y="427882"/>
                  <a:pt x="7148830" y="422488"/>
                </a:cubicBezTo>
                <a:cubicBezTo>
                  <a:pt x="7147632" y="417095"/>
                  <a:pt x="7142238" y="418293"/>
                  <a:pt x="7133848" y="418293"/>
                </a:cubicBezTo>
                <a:cubicBezTo>
                  <a:pt x="7125458" y="418893"/>
                  <a:pt x="7119465" y="418893"/>
                  <a:pt x="7116469" y="415297"/>
                </a:cubicBezTo>
                <a:cubicBezTo>
                  <a:pt x="7113473" y="411701"/>
                  <a:pt x="7118866" y="412900"/>
                  <a:pt x="7118866" y="412900"/>
                </a:cubicBezTo>
                <a:cubicBezTo>
                  <a:pt x="7118866" y="412900"/>
                  <a:pt x="7127256" y="412900"/>
                  <a:pt x="7132050" y="412900"/>
                </a:cubicBezTo>
                <a:cubicBezTo>
                  <a:pt x="7136845" y="412900"/>
                  <a:pt x="7145834" y="413499"/>
                  <a:pt x="7150028" y="411102"/>
                </a:cubicBezTo>
                <a:cubicBezTo>
                  <a:pt x="7154224" y="408705"/>
                  <a:pt x="7155422" y="408705"/>
                  <a:pt x="7160216" y="407506"/>
                </a:cubicBezTo>
                <a:cubicBezTo>
                  <a:pt x="7164411" y="406308"/>
                  <a:pt x="7161415" y="403911"/>
                  <a:pt x="7158418" y="400914"/>
                </a:cubicBezTo>
                <a:cubicBezTo>
                  <a:pt x="7155422" y="397918"/>
                  <a:pt x="7153025" y="394322"/>
                  <a:pt x="7150028" y="393723"/>
                </a:cubicBezTo>
                <a:cubicBezTo>
                  <a:pt x="7147632" y="393124"/>
                  <a:pt x="7145834" y="393124"/>
                  <a:pt x="7138043" y="389528"/>
                </a:cubicBezTo>
                <a:cubicBezTo>
                  <a:pt x="7129654" y="386532"/>
                  <a:pt x="7129654" y="396719"/>
                  <a:pt x="7127855" y="401514"/>
                </a:cubicBezTo>
                <a:cubicBezTo>
                  <a:pt x="7126057" y="406308"/>
                  <a:pt x="7123661" y="405708"/>
                  <a:pt x="7123061" y="402113"/>
                </a:cubicBezTo>
                <a:cubicBezTo>
                  <a:pt x="7122462" y="399116"/>
                  <a:pt x="7124260" y="397918"/>
                  <a:pt x="7119465" y="397918"/>
                </a:cubicBezTo>
                <a:cubicBezTo>
                  <a:pt x="7112874" y="398517"/>
                  <a:pt x="7115271" y="402712"/>
                  <a:pt x="7108079" y="408106"/>
                </a:cubicBezTo>
                <a:cubicBezTo>
                  <a:pt x="7100888" y="413499"/>
                  <a:pt x="7102686" y="406907"/>
                  <a:pt x="7105083" y="403911"/>
                </a:cubicBezTo>
                <a:cubicBezTo>
                  <a:pt x="7107480" y="401514"/>
                  <a:pt x="7112274" y="393723"/>
                  <a:pt x="7118866" y="390727"/>
                </a:cubicBezTo>
                <a:cubicBezTo>
                  <a:pt x="7126057" y="388330"/>
                  <a:pt x="7127256" y="386532"/>
                  <a:pt x="7124260" y="384734"/>
                </a:cubicBezTo>
                <a:cubicBezTo>
                  <a:pt x="7121264" y="382936"/>
                  <a:pt x="7121863" y="383535"/>
                  <a:pt x="7109278" y="382337"/>
                </a:cubicBezTo>
                <a:cubicBezTo>
                  <a:pt x="7096693" y="381138"/>
                  <a:pt x="7097293" y="385932"/>
                  <a:pt x="7096094" y="388330"/>
                </a:cubicBezTo>
                <a:cubicBezTo>
                  <a:pt x="7094296" y="390727"/>
                  <a:pt x="7087704" y="400914"/>
                  <a:pt x="7085906" y="398517"/>
                </a:cubicBezTo>
                <a:cubicBezTo>
                  <a:pt x="7084108" y="396120"/>
                  <a:pt x="7082910" y="396120"/>
                  <a:pt x="7083509" y="388330"/>
                </a:cubicBezTo>
                <a:cubicBezTo>
                  <a:pt x="7084108" y="381138"/>
                  <a:pt x="7078115" y="381138"/>
                  <a:pt x="7076917" y="384734"/>
                </a:cubicBezTo>
                <a:cubicBezTo>
                  <a:pt x="7076318" y="388330"/>
                  <a:pt x="7076318" y="390127"/>
                  <a:pt x="7072123" y="391326"/>
                </a:cubicBezTo>
                <a:cubicBezTo>
                  <a:pt x="7067928" y="391925"/>
                  <a:pt x="7067928" y="396719"/>
                  <a:pt x="7063733" y="399116"/>
                </a:cubicBezTo>
                <a:cubicBezTo>
                  <a:pt x="7059538" y="401514"/>
                  <a:pt x="7060137" y="394922"/>
                  <a:pt x="7060737" y="390127"/>
                </a:cubicBezTo>
                <a:cubicBezTo>
                  <a:pt x="7061336" y="384734"/>
                  <a:pt x="7063733" y="382337"/>
                  <a:pt x="7067928" y="381738"/>
                </a:cubicBezTo>
                <a:cubicBezTo>
                  <a:pt x="7072123" y="381138"/>
                  <a:pt x="7068527" y="378741"/>
                  <a:pt x="7065531" y="376344"/>
                </a:cubicBezTo>
                <a:cubicBezTo>
                  <a:pt x="7062534" y="373947"/>
                  <a:pt x="7062534" y="373947"/>
                  <a:pt x="7057141" y="375146"/>
                </a:cubicBezTo>
                <a:cubicBezTo>
                  <a:pt x="7051748" y="375745"/>
                  <a:pt x="7040362" y="374546"/>
                  <a:pt x="7032571" y="372748"/>
                </a:cubicBezTo>
                <a:cubicBezTo>
                  <a:pt x="7024781" y="370951"/>
                  <a:pt x="7027177" y="375146"/>
                  <a:pt x="7027777" y="378142"/>
                </a:cubicBezTo>
                <a:cubicBezTo>
                  <a:pt x="7028376" y="380539"/>
                  <a:pt x="7031972" y="382337"/>
                  <a:pt x="7033170" y="387131"/>
                </a:cubicBezTo>
                <a:cubicBezTo>
                  <a:pt x="7034369" y="392524"/>
                  <a:pt x="7021184" y="394322"/>
                  <a:pt x="7021784" y="390727"/>
                </a:cubicBezTo>
                <a:cubicBezTo>
                  <a:pt x="7022383" y="386532"/>
                  <a:pt x="7019986" y="385333"/>
                  <a:pt x="7017589" y="382337"/>
                </a:cubicBezTo>
                <a:cubicBezTo>
                  <a:pt x="7011596" y="372149"/>
                  <a:pt x="7002008" y="369153"/>
                  <a:pt x="6997213" y="376943"/>
                </a:cubicBezTo>
                <a:cubicBezTo>
                  <a:pt x="6992420" y="384734"/>
                  <a:pt x="7000210" y="385932"/>
                  <a:pt x="7000210" y="390727"/>
                </a:cubicBezTo>
                <a:cubicBezTo>
                  <a:pt x="7000210" y="395521"/>
                  <a:pt x="6996614" y="391326"/>
                  <a:pt x="6994217" y="388330"/>
                </a:cubicBezTo>
                <a:cubicBezTo>
                  <a:pt x="6991821" y="384734"/>
                  <a:pt x="6990022" y="381738"/>
                  <a:pt x="6987026" y="385932"/>
                </a:cubicBezTo>
                <a:cubicBezTo>
                  <a:pt x="6984030" y="390127"/>
                  <a:pt x="6983431" y="382936"/>
                  <a:pt x="6985228" y="380539"/>
                </a:cubicBezTo>
                <a:cubicBezTo>
                  <a:pt x="6987026" y="378142"/>
                  <a:pt x="6987026" y="378142"/>
                  <a:pt x="6987625" y="370351"/>
                </a:cubicBezTo>
                <a:cubicBezTo>
                  <a:pt x="6988224" y="362561"/>
                  <a:pt x="6979235" y="359564"/>
                  <a:pt x="6976839" y="361961"/>
                </a:cubicBezTo>
                <a:cubicBezTo>
                  <a:pt x="6974441" y="364359"/>
                  <a:pt x="6972643" y="365557"/>
                  <a:pt x="6969647" y="366156"/>
                </a:cubicBezTo>
                <a:cubicBezTo>
                  <a:pt x="6966051" y="366756"/>
                  <a:pt x="6964853" y="368554"/>
                  <a:pt x="6961857" y="371550"/>
                </a:cubicBezTo>
                <a:cubicBezTo>
                  <a:pt x="6958860" y="374546"/>
                  <a:pt x="6958261" y="373348"/>
                  <a:pt x="6959460" y="369153"/>
                </a:cubicBezTo>
                <a:cubicBezTo>
                  <a:pt x="6960059" y="364958"/>
                  <a:pt x="6964853" y="364958"/>
                  <a:pt x="6971445" y="361362"/>
                </a:cubicBezTo>
                <a:cubicBezTo>
                  <a:pt x="6978037" y="357167"/>
                  <a:pt x="6972643" y="355369"/>
                  <a:pt x="6963654" y="351774"/>
                </a:cubicBezTo>
                <a:cubicBezTo>
                  <a:pt x="6954665" y="348178"/>
                  <a:pt x="6951669" y="352373"/>
                  <a:pt x="6943879" y="354171"/>
                </a:cubicBezTo>
                <a:cubicBezTo>
                  <a:pt x="6936088" y="356568"/>
                  <a:pt x="6931293" y="357167"/>
                  <a:pt x="6920507" y="357767"/>
                </a:cubicBezTo>
                <a:cubicBezTo>
                  <a:pt x="6908521" y="358366"/>
                  <a:pt x="6910319" y="358965"/>
                  <a:pt x="6902529" y="361961"/>
                </a:cubicBezTo>
                <a:cubicBezTo>
                  <a:pt x="6894738" y="364958"/>
                  <a:pt x="6900131" y="375146"/>
                  <a:pt x="6901929" y="378142"/>
                </a:cubicBezTo>
                <a:cubicBezTo>
                  <a:pt x="6903727" y="381138"/>
                  <a:pt x="6906723" y="382337"/>
                  <a:pt x="6910319" y="385333"/>
                </a:cubicBezTo>
                <a:cubicBezTo>
                  <a:pt x="6912716" y="387131"/>
                  <a:pt x="6903727" y="391326"/>
                  <a:pt x="6900131" y="388929"/>
                </a:cubicBezTo>
                <a:cubicBezTo>
                  <a:pt x="6899532" y="386532"/>
                  <a:pt x="6897734" y="383535"/>
                  <a:pt x="6892940" y="378142"/>
                </a:cubicBezTo>
                <a:cubicBezTo>
                  <a:pt x="6888745" y="372748"/>
                  <a:pt x="6881554" y="380539"/>
                  <a:pt x="6877958" y="379940"/>
                </a:cubicBezTo>
                <a:cubicBezTo>
                  <a:pt x="6873763" y="379340"/>
                  <a:pt x="6875561" y="381738"/>
                  <a:pt x="6871366" y="384734"/>
                </a:cubicBezTo>
                <a:cubicBezTo>
                  <a:pt x="6867171" y="387730"/>
                  <a:pt x="6867770" y="387131"/>
                  <a:pt x="6869568" y="390127"/>
                </a:cubicBezTo>
                <a:cubicBezTo>
                  <a:pt x="6871366" y="393124"/>
                  <a:pt x="6870767" y="394322"/>
                  <a:pt x="6868369" y="397918"/>
                </a:cubicBezTo>
                <a:cubicBezTo>
                  <a:pt x="6865973" y="402113"/>
                  <a:pt x="6864175" y="399116"/>
                  <a:pt x="6860579" y="397918"/>
                </a:cubicBezTo>
                <a:cubicBezTo>
                  <a:pt x="6856984" y="396719"/>
                  <a:pt x="6856384" y="393723"/>
                  <a:pt x="6859980" y="393124"/>
                </a:cubicBezTo>
                <a:cubicBezTo>
                  <a:pt x="6863576" y="392524"/>
                  <a:pt x="6859380" y="393124"/>
                  <a:pt x="6862377" y="390727"/>
                </a:cubicBezTo>
                <a:cubicBezTo>
                  <a:pt x="6864774" y="388929"/>
                  <a:pt x="6862377" y="389528"/>
                  <a:pt x="6860579" y="385932"/>
                </a:cubicBezTo>
                <a:cubicBezTo>
                  <a:pt x="6858182" y="382337"/>
                  <a:pt x="6853388" y="375745"/>
                  <a:pt x="6848594" y="371550"/>
                </a:cubicBezTo>
                <a:cubicBezTo>
                  <a:pt x="6843799" y="367355"/>
                  <a:pt x="6837807" y="363160"/>
                  <a:pt x="6831814" y="358366"/>
                </a:cubicBezTo>
                <a:cubicBezTo>
                  <a:pt x="6828818" y="354770"/>
                  <a:pt x="6824024" y="352373"/>
                  <a:pt x="6814435" y="345182"/>
                </a:cubicBezTo>
                <a:cubicBezTo>
                  <a:pt x="6804847" y="337991"/>
                  <a:pt x="6793460" y="345781"/>
                  <a:pt x="6791663" y="348777"/>
                </a:cubicBezTo>
                <a:cubicBezTo>
                  <a:pt x="6789865" y="351774"/>
                  <a:pt x="6788067" y="354171"/>
                  <a:pt x="6783872" y="354770"/>
                </a:cubicBezTo>
                <a:cubicBezTo>
                  <a:pt x="6783872" y="354770"/>
                  <a:pt x="6767692" y="365557"/>
                  <a:pt x="6766493" y="366156"/>
                </a:cubicBezTo>
                <a:cubicBezTo>
                  <a:pt x="6762298" y="369752"/>
                  <a:pt x="6765295" y="370351"/>
                  <a:pt x="6768291" y="370351"/>
                </a:cubicBezTo>
                <a:cubicBezTo>
                  <a:pt x="6771287" y="370351"/>
                  <a:pt x="6778478" y="367954"/>
                  <a:pt x="6780876" y="369752"/>
                </a:cubicBezTo>
                <a:cubicBezTo>
                  <a:pt x="6783273" y="372149"/>
                  <a:pt x="6785071" y="376344"/>
                  <a:pt x="6783273" y="378741"/>
                </a:cubicBezTo>
                <a:cubicBezTo>
                  <a:pt x="6781475" y="381138"/>
                  <a:pt x="6779677" y="382936"/>
                  <a:pt x="6773685" y="382936"/>
                </a:cubicBezTo>
                <a:cubicBezTo>
                  <a:pt x="6767692" y="382936"/>
                  <a:pt x="6766493" y="383535"/>
                  <a:pt x="6765894" y="386532"/>
                </a:cubicBezTo>
                <a:cubicBezTo>
                  <a:pt x="6765295" y="389528"/>
                  <a:pt x="6770688" y="391925"/>
                  <a:pt x="6774284" y="394922"/>
                </a:cubicBezTo>
                <a:cubicBezTo>
                  <a:pt x="6778478" y="397918"/>
                  <a:pt x="6780876" y="398517"/>
                  <a:pt x="6784471" y="396120"/>
                </a:cubicBezTo>
                <a:cubicBezTo>
                  <a:pt x="6788667" y="393723"/>
                  <a:pt x="6794659" y="396120"/>
                  <a:pt x="6801251" y="399716"/>
                </a:cubicBezTo>
                <a:cubicBezTo>
                  <a:pt x="6808442" y="403311"/>
                  <a:pt x="6800652" y="403311"/>
                  <a:pt x="6795857" y="401514"/>
                </a:cubicBezTo>
                <a:cubicBezTo>
                  <a:pt x="6791064" y="399716"/>
                  <a:pt x="6786269" y="399716"/>
                  <a:pt x="6785071" y="403911"/>
                </a:cubicBezTo>
                <a:cubicBezTo>
                  <a:pt x="6783872" y="408106"/>
                  <a:pt x="6785071" y="411701"/>
                  <a:pt x="6794060" y="417095"/>
                </a:cubicBezTo>
                <a:cubicBezTo>
                  <a:pt x="6803049" y="422488"/>
                  <a:pt x="6804247" y="421889"/>
                  <a:pt x="6809042" y="418893"/>
                </a:cubicBezTo>
                <a:cubicBezTo>
                  <a:pt x="6813836" y="415896"/>
                  <a:pt x="6815035" y="420690"/>
                  <a:pt x="6819229" y="423087"/>
                </a:cubicBezTo>
                <a:cubicBezTo>
                  <a:pt x="6823424" y="425485"/>
                  <a:pt x="6824024" y="426683"/>
                  <a:pt x="6823424" y="429679"/>
                </a:cubicBezTo>
                <a:cubicBezTo>
                  <a:pt x="6822825" y="432676"/>
                  <a:pt x="6828218" y="436871"/>
                  <a:pt x="6830616" y="441665"/>
                </a:cubicBezTo>
                <a:cubicBezTo>
                  <a:pt x="6833013" y="447058"/>
                  <a:pt x="6827619" y="447058"/>
                  <a:pt x="6823424" y="440466"/>
                </a:cubicBezTo>
                <a:cubicBezTo>
                  <a:pt x="6819229" y="433275"/>
                  <a:pt x="6808442" y="442863"/>
                  <a:pt x="6803648" y="442863"/>
                </a:cubicBezTo>
                <a:cubicBezTo>
                  <a:pt x="6798854" y="442863"/>
                  <a:pt x="6804247" y="437470"/>
                  <a:pt x="6809641" y="436871"/>
                </a:cubicBezTo>
                <a:cubicBezTo>
                  <a:pt x="6815035" y="436271"/>
                  <a:pt x="6815035" y="434474"/>
                  <a:pt x="6815035" y="431477"/>
                </a:cubicBezTo>
                <a:cubicBezTo>
                  <a:pt x="6815035" y="428481"/>
                  <a:pt x="6811438" y="426084"/>
                  <a:pt x="6804247" y="426084"/>
                </a:cubicBezTo>
                <a:cubicBezTo>
                  <a:pt x="6797056" y="426084"/>
                  <a:pt x="6792262" y="422488"/>
                  <a:pt x="6787468" y="420091"/>
                </a:cubicBezTo>
                <a:cubicBezTo>
                  <a:pt x="6782674" y="417694"/>
                  <a:pt x="6766493" y="397319"/>
                  <a:pt x="6761100" y="394922"/>
                </a:cubicBezTo>
                <a:cubicBezTo>
                  <a:pt x="6755706" y="392524"/>
                  <a:pt x="6753309" y="390727"/>
                  <a:pt x="6750313" y="378142"/>
                </a:cubicBezTo>
                <a:cubicBezTo>
                  <a:pt x="6747316" y="365557"/>
                  <a:pt x="6751511" y="361362"/>
                  <a:pt x="6757504" y="357167"/>
                </a:cubicBezTo>
                <a:cubicBezTo>
                  <a:pt x="6762897" y="352373"/>
                  <a:pt x="6758104" y="351774"/>
                  <a:pt x="6753908" y="352972"/>
                </a:cubicBezTo>
                <a:cubicBezTo>
                  <a:pt x="6749714" y="354770"/>
                  <a:pt x="6745518" y="354770"/>
                  <a:pt x="6745518" y="354770"/>
                </a:cubicBezTo>
                <a:cubicBezTo>
                  <a:pt x="6745518" y="354770"/>
                  <a:pt x="6695779" y="358965"/>
                  <a:pt x="6702371" y="385932"/>
                </a:cubicBezTo>
                <a:cubicBezTo>
                  <a:pt x="6704768" y="396120"/>
                  <a:pt x="6701772" y="402113"/>
                  <a:pt x="6699974" y="404510"/>
                </a:cubicBezTo>
                <a:cubicBezTo>
                  <a:pt x="6698176" y="406907"/>
                  <a:pt x="6695779" y="412900"/>
                  <a:pt x="6704169" y="414698"/>
                </a:cubicBezTo>
                <a:cubicBezTo>
                  <a:pt x="6711959" y="415896"/>
                  <a:pt x="6708364" y="421889"/>
                  <a:pt x="6709562" y="424885"/>
                </a:cubicBezTo>
                <a:cubicBezTo>
                  <a:pt x="6710162" y="428481"/>
                  <a:pt x="6713757" y="431477"/>
                  <a:pt x="6719151" y="433275"/>
                </a:cubicBezTo>
                <a:cubicBezTo>
                  <a:pt x="6724544" y="435672"/>
                  <a:pt x="6726342" y="439268"/>
                  <a:pt x="6726941" y="442264"/>
                </a:cubicBezTo>
                <a:cubicBezTo>
                  <a:pt x="6728140" y="448257"/>
                  <a:pt x="6737728" y="446459"/>
                  <a:pt x="6740125" y="446459"/>
                </a:cubicBezTo>
                <a:cubicBezTo>
                  <a:pt x="6742522" y="445860"/>
                  <a:pt x="6743122" y="445860"/>
                  <a:pt x="6746717" y="445860"/>
                </a:cubicBezTo>
                <a:cubicBezTo>
                  <a:pt x="6750313" y="445860"/>
                  <a:pt x="6758104" y="444661"/>
                  <a:pt x="6763497" y="442863"/>
                </a:cubicBezTo>
                <a:cubicBezTo>
                  <a:pt x="6768890" y="441066"/>
                  <a:pt x="6769489" y="441665"/>
                  <a:pt x="6774284" y="442863"/>
                </a:cubicBezTo>
                <a:cubicBezTo>
                  <a:pt x="6779078" y="444062"/>
                  <a:pt x="6778478" y="444661"/>
                  <a:pt x="6786269" y="445261"/>
                </a:cubicBezTo>
                <a:cubicBezTo>
                  <a:pt x="6794060" y="445860"/>
                  <a:pt x="6792861" y="447658"/>
                  <a:pt x="6789266" y="451253"/>
                </a:cubicBezTo>
                <a:cubicBezTo>
                  <a:pt x="6785670" y="454849"/>
                  <a:pt x="6782075" y="453650"/>
                  <a:pt x="6777280" y="453650"/>
                </a:cubicBezTo>
                <a:cubicBezTo>
                  <a:pt x="6772486" y="453051"/>
                  <a:pt x="6762897" y="453051"/>
                  <a:pt x="6752710" y="453051"/>
                </a:cubicBezTo>
                <a:cubicBezTo>
                  <a:pt x="6742522" y="452452"/>
                  <a:pt x="6750912" y="456647"/>
                  <a:pt x="6752111" y="459044"/>
                </a:cubicBezTo>
                <a:cubicBezTo>
                  <a:pt x="6752710" y="461441"/>
                  <a:pt x="6755107" y="462040"/>
                  <a:pt x="6762897" y="469831"/>
                </a:cubicBezTo>
                <a:cubicBezTo>
                  <a:pt x="6770688" y="477621"/>
                  <a:pt x="6782674" y="478221"/>
                  <a:pt x="6789266" y="478221"/>
                </a:cubicBezTo>
                <a:cubicBezTo>
                  <a:pt x="6791663" y="478221"/>
                  <a:pt x="6792262" y="479419"/>
                  <a:pt x="6795258" y="477621"/>
                </a:cubicBezTo>
                <a:cubicBezTo>
                  <a:pt x="6798255" y="475824"/>
                  <a:pt x="6798854" y="473426"/>
                  <a:pt x="6802449" y="473426"/>
                </a:cubicBezTo>
                <a:cubicBezTo>
                  <a:pt x="6806046" y="472827"/>
                  <a:pt x="6807843" y="471629"/>
                  <a:pt x="6804247" y="466834"/>
                </a:cubicBezTo>
                <a:cubicBezTo>
                  <a:pt x="6797656" y="459044"/>
                  <a:pt x="6818630" y="466834"/>
                  <a:pt x="6819229" y="467434"/>
                </a:cubicBezTo>
                <a:cubicBezTo>
                  <a:pt x="6826420" y="469232"/>
                  <a:pt x="6840204" y="472827"/>
                  <a:pt x="6844998" y="471629"/>
                </a:cubicBezTo>
                <a:cubicBezTo>
                  <a:pt x="6856384" y="468632"/>
                  <a:pt x="6865373" y="470430"/>
                  <a:pt x="6877359" y="466834"/>
                </a:cubicBezTo>
                <a:cubicBezTo>
                  <a:pt x="6882153" y="465636"/>
                  <a:pt x="6882752" y="464437"/>
                  <a:pt x="6888745" y="464437"/>
                </a:cubicBezTo>
                <a:cubicBezTo>
                  <a:pt x="6894139" y="465037"/>
                  <a:pt x="6892340" y="465636"/>
                  <a:pt x="6900730" y="464437"/>
                </a:cubicBezTo>
                <a:cubicBezTo>
                  <a:pt x="6909120" y="463239"/>
                  <a:pt x="6906124" y="460842"/>
                  <a:pt x="6902529" y="459044"/>
                </a:cubicBezTo>
                <a:cubicBezTo>
                  <a:pt x="6898333" y="456647"/>
                  <a:pt x="6890543" y="454250"/>
                  <a:pt x="6885149" y="453650"/>
                </a:cubicBezTo>
                <a:cubicBezTo>
                  <a:pt x="6879756" y="453051"/>
                  <a:pt x="6877958" y="451253"/>
                  <a:pt x="6885749" y="450654"/>
                </a:cubicBezTo>
                <a:cubicBezTo>
                  <a:pt x="6893539" y="450055"/>
                  <a:pt x="6904326" y="457845"/>
                  <a:pt x="6913315" y="460842"/>
                </a:cubicBezTo>
                <a:cubicBezTo>
                  <a:pt x="6921705" y="463838"/>
                  <a:pt x="6929496" y="462639"/>
                  <a:pt x="6931893" y="460242"/>
                </a:cubicBezTo>
                <a:cubicBezTo>
                  <a:pt x="6934290" y="457845"/>
                  <a:pt x="6928297" y="458445"/>
                  <a:pt x="6923503" y="457845"/>
                </a:cubicBezTo>
                <a:cubicBezTo>
                  <a:pt x="6918110" y="457246"/>
                  <a:pt x="6915113" y="453650"/>
                  <a:pt x="6906723" y="452452"/>
                </a:cubicBezTo>
                <a:cubicBezTo>
                  <a:pt x="6898933" y="451253"/>
                  <a:pt x="6901929" y="448856"/>
                  <a:pt x="6903727" y="448257"/>
                </a:cubicBezTo>
                <a:cubicBezTo>
                  <a:pt x="6905525" y="447658"/>
                  <a:pt x="6907322" y="446459"/>
                  <a:pt x="6913315" y="450654"/>
                </a:cubicBezTo>
                <a:cubicBezTo>
                  <a:pt x="6919308" y="454849"/>
                  <a:pt x="6926500" y="453051"/>
                  <a:pt x="6933091" y="451853"/>
                </a:cubicBezTo>
                <a:cubicBezTo>
                  <a:pt x="6939084" y="450654"/>
                  <a:pt x="6940282" y="447658"/>
                  <a:pt x="6943279" y="450055"/>
                </a:cubicBezTo>
                <a:cubicBezTo>
                  <a:pt x="6946275" y="452452"/>
                  <a:pt x="6946875" y="453051"/>
                  <a:pt x="6954066" y="451853"/>
                </a:cubicBezTo>
                <a:cubicBezTo>
                  <a:pt x="6961257" y="450654"/>
                  <a:pt x="6960658" y="446459"/>
                  <a:pt x="6956463" y="441665"/>
                </a:cubicBezTo>
                <a:cubicBezTo>
                  <a:pt x="6943879" y="431477"/>
                  <a:pt x="6940282" y="442863"/>
                  <a:pt x="6939683" y="428481"/>
                </a:cubicBezTo>
                <a:cubicBezTo>
                  <a:pt x="6938485" y="423687"/>
                  <a:pt x="6940282" y="424286"/>
                  <a:pt x="6942680" y="426683"/>
                </a:cubicBezTo>
                <a:cubicBezTo>
                  <a:pt x="6945077" y="429080"/>
                  <a:pt x="6946875" y="430878"/>
                  <a:pt x="6951669" y="433275"/>
                </a:cubicBezTo>
                <a:cubicBezTo>
                  <a:pt x="6956463" y="435672"/>
                  <a:pt x="6961257" y="435672"/>
                  <a:pt x="6964853" y="433275"/>
                </a:cubicBezTo>
                <a:cubicBezTo>
                  <a:pt x="6969048" y="430878"/>
                  <a:pt x="6972643" y="435073"/>
                  <a:pt x="6972643" y="435073"/>
                </a:cubicBezTo>
                <a:cubicBezTo>
                  <a:pt x="6972643" y="435073"/>
                  <a:pt x="6979835" y="442264"/>
                  <a:pt x="6988824" y="448257"/>
                </a:cubicBezTo>
                <a:cubicBezTo>
                  <a:pt x="6997813" y="454250"/>
                  <a:pt x="6996015" y="449455"/>
                  <a:pt x="7000810" y="447658"/>
                </a:cubicBezTo>
                <a:cubicBezTo>
                  <a:pt x="7005603" y="445261"/>
                  <a:pt x="7015192" y="446459"/>
                  <a:pt x="7019387" y="444661"/>
                </a:cubicBezTo>
                <a:cubicBezTo>
                  <a:pt x="7020585" y="444062"/>
                  <a:pt x="7028376" y="445860"/>
                  <a:pt x="7043358" y="456047"/>
                </a:cubicBezTo>
                <a:cubicBezTo>
                  <a:pt x="7048752" y="458445"/>
                  <a:pt x="7043957" y="464437"/>
                  <a:pt x="7039762" y="466235"/>
                </a:cubicBezTo>
                <a:cubicBezTo>
                  <a:pt x="7035567" y="468033"/>
                  <a:pt x="7035567" y="468033"/>
                  <a:pt x="7040362" y="475824"/>
                </a:cubicBezTo>
                <a:cubicBezTo>
                  <a:pt x="7045155" y="483614"/>
                  <a:pt x="7045755" y="480618"/>
                  <a:pt x="7049351" y="478820"/>
                </a:cubicBezTo>
                <a:cubicBezTo>
                  <a:pt x="7053545" y="477022"/>
                  <a:pt x="7057141" y="471029"/>
                  <a:pt x="7057141" y="467434"/>
                </a:cubicBezTo>
                <a:cubicBezTo>
                  <a:pt x="7057141" y="463838"/>
                  <a:pt x="7060737" y="463838"/>
                  <a:pt x="7066130" y="459044"/>
                </a:cubicBezTo>
                <a:cubicBezTo>
                  <a:pt x="7071524" y="454250"/>
                  <a:pt x="7072123" y="459643"/>
                  <a:pt x="7072123" y="461441"/>
                </a:cubicBezTo>
                <a:cubicBezTo>
                  <a:pt x="7072123" y="463838"/>
                  <a:pt x="7071524" y="466235"/>
                  <a:pt x="7074520" y="466235"/>
                </a:cubicBezTo>
                <a:cubicBezTo>
                  <a:pt x="7077516" y="466235"/>
                  <a:pt x="7082910" y="463838"/>
                  <a:pt x="7086505" y="463838"/>
                </a:cubicBezTo>
                <a:cubicBezTo>
                  <a:pt x="7089502" y="464437"/>
                  <a:pt x="7093097" y="466235"/>
                  <a:pt x="7093697" y="470430"/>
                </a:cubicBezTo>
                <a:cubicBezTo>
                  <a:pt x="7094296" y="474625"/>
                  <a:pt x="7097293" y="477621"/>
                  <a:pt x="7103285" y="475824"/>
                </a:cubicBezTo>
                <a:cubicBezTo>
                  <a:pt x="7109278" y="474026"/>
                  <a:pt x="7131451" y="493802"/>
                  <a:pt x="7138643" y="500394"/>
                </a:cubicBezTo>
                <a:cubicBezTo>
                  <a:pt x="7145834" y="506986"/>
                  <a:pt x="7150028" y="499795"/>
                  <a:pt x="7151227" y="496798"/>
                </a:cubicBezTo>
                <a:cubicBezTo>
                  <a:pt x="7152425" y="494401"/>
                  <a:pt x="7153624" y="491405"/>
                  <a:pt x="7156021" y="491405"/>
                </a:cubicBezTo>
                <a:cubicBezTo>
                  <a:pt x="7158418" y="491405"/>
                  <a:pt x="7160216" y="489008"/>
                  <a:pt x="7166808" y="495600"/>
                </a:cubicBezTo>
                <a:cubicBezTo>
                  <a:pt x="7173400" y="502192"/>
                  <a:pt x="7166209" y="497397"/>
                  <a:pt x="7161415" y="497397"/>
                </a:cubicBezTo>
                <a:cubicBezTo>
                  <a:pt x="7156621" y="497397"/>
                  <a:pt x="7150628" y="505188"/>
                  <a:pt x="7155422" y="509383"/>
                </a:cubicBezTo>
                <a:cubicBezTo>
                  <a:pt x="7160216" y="513578"/>
                  <a:pt x="7158418" y="514776"/>
                  <a:pt x="7159017" y="520769"/>
                </a:cubicBezTo>
                <a:cubicBezTo>
                  <a:pt x="7159617" y="526163"/>
                  <a:pt x="7167407" y="526762"/>
                  <a:pt x="7171603" y="526163"/>
                </a:cubicBezTo>
                <a:cubicBezTo>
                  <a:pt x="7175797" y="525563"/>
                  <a:pt x="7179393" y="523765"/>
                  <a:pt x="7189581" y="524365"/>
                </a:cubicBezTo>
                <a:cubicBezTo>
                  <a:pt x="7199768" y="524964"/>
                  <a:pt x="7191977" y="518971"/>
                  <a:pt x="7191977" y="514776"/>
                </a:cubicBezTo>
                <a:cubicBezTo>
                  <a:pt x="7191977" y="510581"/>
                  <a:pt x="7197371" y="513578"/>
                  <a:pt x="7201566" y="517173"/>
                </a:cubicBezTo>
                <a:cubicBezTo>
                  <a:pt x="7205761" y="520769"/>
                  <a:pt x="7206959" y="518971"/>
                  <a:pt x="7209956" y="518372"/>
                </a:cubicBezTo>
                <a:cubicBezTo>
                  <a:pt x="7213552" y="517773"/>
                  <a:pt x="7214151" y="517773"/>
                  <a:pt x="7220743" y="517773"/>
                </a:cubicBezTo>
                <a:cubicBezTo>
                  <a:pt x="7227335" y="518372"/>
                  <a:pt x="7226736" y="518372"/>
                  <a:pt x="7233927" y="516574"/>
                </a:cubicBezTo>
                <a:cubicBezTo>
                  <a:pt x="7241118" y="514776"/>
                  <a:pt x="7239919" y="517773"/>
                  <a:pt x="7236923" y="520769"/>
                </a:cubicBezTo>
                <a:cubicBezTo>
                  <a:pt x="7233927" y="523765"/>
                  <a:pt x="7233927" y="523166"/>
                  <a:pt x="7238721" y="523765"/>
                </a:cubicBezTo>
                <a:cubicBezTo>
                  <a:pt x="7243516" y="524365"/>
                  <a:pt x="7244115" y="523765"/>
                  <a:pt x="7244115" y="526163"/>
                </a:cubicBezTo>
                <a:cubicBezTo>
                  <a:pt x="7244714" y="528560"/>
                  <a:pt x="7245912" y="529758"/>
                  <a:pt x="7241717" y="530357"/>
                </a:cubicBezTo>
                <a:cubicBezTo>
                  <a:pt x="7237523" y="530957"/>
                  <a:pt x="7233327" y="534552"/>
                  <a:pt x="7228534" y="534552"/>
                </a:cubicBezTo>
                <a:cubicBezTo>
                  <a:pt x="7223739" y="534552"/>
                  <a:pt x="7223140" y="535751"/>
                  <a:pt x="7220144" y="540545"/>
                </a:cubicBezTo>
                <a:cubicBezTo>
                  <a:pt x="7217746" y="545339"/>
                  <a:pt x="7216548" y="546538"/>
                  <a:pt x="7212353" y="539946"/>
                </a:cubicBezTo>
                <a:cubicBezTo>
                  <a:pt x="7208158" y="532755"/>
                  <a:pt x="7194375" y="530357"/>
                  <a:pt x="7181790" y="530357"/>
                </a:cubicBezTo>
                <a:cubicBezTo>
                  <a:pt x="7169205" y="530357"/>
                  <a:pt x="7163213" y="534552"/>
                  <a:pt x="7163812" y="538148"/>
                </a:cubicBezTo>
                <a:cubicBezTo>
                  <a:pt x="7164411" y="541744"/>
                  <a:pt x="7162614" y="541744"/>
                  <a:pt x="7160815" y="549534"/>
                </a:cubicBezTo>
                <a:cubicBezTo>
                  <a:pt x="7159017" y="557325"/>
                  <a:pt x="7171003" y="562119"/>
                  <a:pt x="7178794" y="564516"/>
                </a:cubicBezTo>
                <a:cubicBezTo>
                  <a:pt x="7186585" y="566913"/>
                  <a:pt x="7181191" y="568711"/>
                  <a:pt x="7178794" y="568711"/>
                </a:cubicBezTo>
                <a:cubicBezTo>
                  <a:pt x="7176396" y="568711"/>
                  <a:pt x="7174599" y="568112"/>
                  <a:pt x="7173999" y="571707"/>
                </a:cubicBezTo>
                <a:cubicBezTo>
                  <a:pt x="7173400" y="575303"/>
                  <a:pt x="7172202" y="575902"/>
                  <a:pt x="7168606" y="575902"/>
                </a:cubicBezTo>
                <a:cubicBezTo>
                  <a:pt x="7165010" y="575902"/>
                  <a:pt x="7164411" y="575303"/>
                  <a:pt x="7163812" y="578299"/>
                </a:cubicBezTo>
                <a:cubicBezTo>
                  <a:pt x="7163213" y="581895"/>
                  <a:pt x="7159617" y="583693"/>
                  <a:pt x="7156621" y="582494"/>
                </a:cubicBezTo>
                <a:cubicBezTo>
                  <a:pt x="7153025" y="580697"/>
                  <a:pt x="7151826" y="580097"/>
                  <a:pt x="7149429" y="582494"/>
                </a:cubicBezTo>
                <a:cubicBezTo>
                  <a:pt x="7147032" y="584891"/>
                  <a:pt x="7136245" y="586689"/>
                  <a:pt x="7129054" y="586689"/>
                </a:cubicBezTo>
                <a:cubicBezTo>
                  <a:pt x="7121863" y="586689"/>
                  <a:pt x="7121863" y="590884"/>
                  <a:pt x="7126657" y="595079"/>
                </a:cubicBezTo>
                <a:cubicBezTo>
                  <a:pt x="7131451" y="599274"/>
                  <a:pt x="7129054" y="596877"/>
                  <a:pt x="7126657" y="600473"/>
                </a:cubicBezTo>
                <a:cubicBezTo>
                  <a:pt x="7124260" y="604068"/>
                  <a:pt x="7129054" y="609462"/>
                  <a:pt x="7132050" y="613057"/>
                </a:cubicBezTo>
                <a:cubicBezTo>
                  <a:pt x="7135646" y="616653"/>
                  <a:pt x="7137444" y="618451"/>
                  <a:pt x="7143436" y="623245"/>
                </a:cubicBezTo>
                <a:cubicBezTo>
                  <a:pt x="7149429" y="628039"/>
                  <a:pt x="7150028" y="628638"/>
                  <a:pt x="7152425" y="626241"/>
                </a:cubicBezTo>
                <a:cubicBezTo>
                  <a:pt x="7154823" y="623844"/>
                  <a:pt x="7156621" y="623844"/>
                  <a:pt x="7157819" y="625043"/>
                </a:cubicBezTo>
                <a:cubicBezTo>
                  <a:pt x="7159617" y="626241"/>
                  <a:pt x="7162014" y="625642"/>
                  <a:pt x="7168606" y="626241"/>
                </a:cubicBezTo>
                <a:cubicBezTo>
                  <a:pt x="7175198" y="626841"/>
                  <a:pt x="7174599" y="626841"/>
                  <a:pt x="7175198" y="625043"/>
                </a:cubicBezTo>
                <a:cubicBezTo>
                  <a:pt x="7175797" y="622646"/>
                  <a:pt x="7175797" y="622646"/>
                  <a:pt x="7180592" y="620249"/>
                </a:cubicBezTo>
                <a:cubicBezTo>
                  <a:pt x="7185985" y="617851"/>
                  <a:pt x="7186585" y="617851"/>
                  <a:pt x="7186585" y="615454"/>
                </a:cubicBezTo>
                <a:cubicBezTo>
                  <a:pt x="7186585" y="613057"/>
                  <a:pt x="7185985" y="611859"/>
                  <a:pt x="7188382" y="612458"/>
                </a:cubicBezTo>
                <a:cubicBezTo>
                  <a:pt x="7190779" y="613057"/>
                  <a:pt x="7192577" y="613657"/>
                  <a:pt x="7198570" y="613057"/>
                </a:cubicBezTo>
                <a:cubicBezTo>
                  <a:pt x="7204563" y="612458"/>
                  <a:pt x="7207559" y="608862"/>
                  <a:pt x="7203364" y="605866"/>
                </a:cubicBezTo>
                <a:cubicBezTo>
                  <a:pt x="7199169" y="602870"/>
                  <a:pt x="7200967" y="604068"/>
                  <a:pt x="7196772" y="605866"/>
                </a:cubicBezTo>
                <a:cubicBezTo>
                  <a:pt x="7192577" y="607664"/>
                  <a:pt x="7191378" y="601671"/>
                  <a:pt x="7192577" y="598675"/>
                </a:cubicBezTo>
                <a:cubicBezTo>
                  <a:pt x="7193176" y="595678"/>
                  <a:pt x="7197970" y="596278"/>
                  <a:pt x="7202166" y="599274"/>
                </a:cubicBezTo>
                <a:cubicBezTo>
                  <a:pt x="7206360" y="601671"/>
                  <a:pt x="7208158" y="601072"/>
                  <a:pt x="7209357" y="598675"/>
                </a:cubicBezTo>
                <a:cubicBezTo>
                  <a:pt x="7210555" y="596278"/>
                  <a:pt x="7212353" y="598075"/>
                  <a:pt x="7213552" y="599873"/>
                </a:cubicBezTo>
                <a:cubicBezTo>
                  <a:pt x="7214750" y="601671"/>
                  <a:pt x="7215948" y="602270"/>
                  <a:pt x="7218945" y="608263"/>
                </a:cubicBezTo>
                <a:cubicBezTo>
                  <a:pt x="7221941" y="614855"/>
                  <a:pt x="7223140" y="611859"/>
                  <a:pt x="7223140" y="609462"/>
                </a:cubicBezTo>
                <a:cubicBezTo>
                  <a:pt x="7223140" y="607065"/>
                  <a:pt x="7224338" y="605267"/>
                  <a:pt x="7226736" y="605267"/>
                </a:cubicBezTo>
                <a:cubicBezTo>
                  <a:pt x="7229133" y="605267"/>
                  <a:pt x="7230930" y="608862"/>
                  <a:pt x="7235725" y="607065"/>
                </a:cubicBezTo>
                <a:cubicBezTo>
                  <a:pt x="7240519" y="605267"/>
                  <a:pt x="7242916" y="607664"/>
                  <a:pt x="7242916" y="607664"/>
                </a:cubicBezTo>
                <a:cubicBezTo>
                  <a:pt x="7242916" y="607664"/>
                  <a:pt x="7249508" y="614256"/>
                  <a:pt x="7256100" y="618451"/>
                </a:cubicBezTo>
                <a:cubicBezTo>
                  <a:pt x="7262692" y="622646"/>
                  <a:pt x="7261494" y="622646"/>
                  <a:pt x="7262093" y="620848"/>
                </a:cubicBezTo>
                <a:cubicBezTo>
                  <a:pt x="7262692" y="618451"/>
                  <a:pt x="7260295" y="616653"/>
                  <a:pt x="7260295" y="613057"/>
                </a:cubicBezTo>
                <a:cubicBezTo>
                  <a:pt x="7260295" y="609462"/>
                  <a:pt x="7264490" y="613657"/>
                  <a:pt x="7267487" y="617851"/>
                </a:cubicBezTo>
                <a:cubicBezTo>
                  <a:pt x="7269883" y="622046"/>
                  <a:pt x="7270483" y="624443"/>
                  <a:pt x="7273479" y="619050"/>
                </a:cubicBezTo>
                <a:cubicBezTo>
                  <a:pt x="7276476" y="613657"/>
                  <a:pt x="7277075" y="614855"/>
                  <a:pt x="7278872" y="615454"/>
                </a:cubicBezTo>
                <a:cubicBezTo>
                  <a:pt x="7280670" y="616054"/>
                  <a:pt x="7280071" y="617252"/>
                  <a:pt x="7285465" y="616054"/>
                </a:cubicBezTo>
                <a:cubicBezTo>
                  <a:pt x="7290858" y="615454"/>
                  <a:pt x="7289659" y="617851"/>
                  <a:pt x="7289659" y="624443"/>
                </a:cubicBezTo>
                <a:cubicBezTo>
                  <a:pt x="7290258" y="631035"/>
                  <a:pt x="7290858" y="631635"/>
                  <a:pt x="7294454" y="633433"/>
                </a:cubicBezTo>
                <a:cubicBezTo>
                  <a:pt x="7298049" y="635830"/>
                  <a:pt x="7304641" y="638826"/>
                  <a:pt x="7310035" y="636429"/>
                </a:cubicBezTo>
                <a:cubicBezTo>
                  <a:pt x="7315428" y="634032"/>
                  <a:pt x="7316627" y="635830"/>
                  <a:pt x="7317226" y="639425"/>
                </a:cubicBezTo>
                <a:cubicBezTo>
                  <a:pt x="7317825" y="643021"/>
                  <a:pt x="7322619" y="644819"/>
                  <a:pt x="7325616" y="643620"/>
                </a:cubicBezTo>
                <a:cubicBezTo>
                  <a:pt x="7329211" y="643021"/>
                  <a:pt x="7334006" y="644220"/>
                  <a:pt x="7338800" y="645418"/>
                </a:cubicBezTo>
                <a:cubicBezTo>
                  <a:pt x="7344193" y="646617"/>
                  <a:pt x="7342995" y="643021"/>
                  <a:pt x="7347190" y="640025"/>
                </a:cubicBezTo>
                <a:cubicBezTo>
                  <a:pt x="7351385" y="637028"/>
                  <a:pt x="7353781" y="639425"/>
                  <a:pt x="7355579" y="644220"/>
                </a:cubicBezTo>
                <a:cubicBezTo>
                  <a:pt x="7357977" y="648414"/>
                  <a:pt x="7363969" y="650812"/>
                  <a:pt x="7366966" y="650212"/>
                </a:cubicBezTo>
                <a:cubicBezTo>
                  <a:pt x="7369962" y="649613"/>
                  <a:pt x="7376554" y="650812"/>
                  <a:pt x="7380749" y="649014"/>
                </a:cubicBezTo>
                <a:cubicBezTo>
                  <a:pt x="7384944" y="646617"/>
                  <a:pt x="7399926" y="644819"/>
                  <a:pt x="7405919" y="646617"/>
                </a:cubicBezTo>
                <a:cubicBezTo>
                  <a:pt x="7411911" y="648414"/>
                  <a:pt x="7417904" y="647216"/>
                  <a:pt x="7420900" y="647216"/>
                </a:cubicBezTo>
                <a:cubicBezTo>
                  <a:pt x="7423897" y="647216"/>
                  <a:pt x="7431088" y="649014"/>
                  <a:pt x="7435283" y="649014"/>
                </a:cubicBezTo>
                <a:cubicBezTo>
                  <a:pt x="7439478" y="649014"/>
                  <a:pt x="7435283" y="644819"/>
                  <a:pt x="7432287" y="643620"/>
                </a:cubicBezTo>
                <a:cubicBezTo>
                  <a:pt x="7429290" y="642422"/>
                  <a:pt x="7426294" y="638227"/>
                  <a:pt x="7429890" y="638826"/>
                </a:cubicBezTo>
                <a:cubicBezTo>
                  <a:pt x="7433485" y="639425"/>
                  <a:pt x="7432886" y="637628"/>
                  <a:pt x="7429290" y="634631"/>
                </a:cubicBezTo>
                <a:cubicBezTo>
                  <a:pt x="7425095" y="632234"/>
                  <a:pt x="7411911" y="626241"/>
                  <a:pt x="7406518" y="626241"/>
                </a:cubicBezTo>
                <a:cubicBezTo>
                  <a:pt x="7401124" y="626241"/>
                  <a:pt x="7384944" y="623245"/>
                  <a:pt x="7380150" y="620848"/>
                </a:cubicBezTo>
                <a:cubicBezTo>
                  <a:pt x="7375356" y="618451"/>
                  <a:pt x="7368164" y="615454"/>
                  <a:pt x="7365168" y="616653"/>
                </a:cubicBezTo>
                <a:cubicBezTo>
                  <a:pt x="7362171" y="617851"/>
                  <a:pt x="7360973" y="618451"/>
                  <a:pt x="7356778" y="614855"/>
                </a:cubicBezTo>
                <a:cubicBezTo>
                  <a:pt x="7352583" y="611259"/>
                  <a:pt x="7344792" y="609462"/>
                  <a:pt x="7339999" y="609462"/>
                </a:cubicBezTo>
                <a:cubicBezTo>
                  <a:pt x="7335204" y="609462"/>
                  <a:pt x="7331009" y="611859"/>
                  <a:pt x="7328013" y="607664"/>
                </a:cubicBezTo>
                <a:cubicBezTo>
                  <a:pt x="7325017" y="603469"/>
                  <a:pt x="7329810" y="603469"/>
                  <a:pt x="7329810" y="603469"/>
                </a:cubicBezTo>
                <a:cubicBezTo>
                  <a:pt x="7329810" y="603469"/>
                  <a:pt x="7339999" y="603469"/>
                  <a:pt x="7344193" y="604068"/>
                </a:cubicBezTo>
                <a:cubicBezTo>
                  <a:pt x="7348388" y="604667"/>
                  <a:pt x="7352583" y="606465"/>
                  <a:pt x="7357378" y="607664"/>
                </a:cubicBezTo>
                <a:cubicBezTo>
                  <a:pt x="7361572" y="608862"/>
                  <a:pt x="7357977" y="604068"/>
                  <a:pt x="7356778" y="600473"/>
                </a:cubicBezTo>
                <a:cubicBezTo>
                  <a:pt x="7357378" y="593881"/>
                  <a:pt x="7363370" y="598675"/>
                  <a:pt x="7365767" y="601671"/>
                </a:cubicBezTo>
                <a:close/>
                <a:moveTo>
                  <a:pt x="4474271" y="4490360"/>
                </a:moveTo>
                <a:cubicBezTo>
                  <a:pt x="4472473" y="4489761"/>
                  <a:pt x="4473072" y="4482570"/>
                  <a:pt x="4474870" y="4480172"/>
                </a:cubicBezTo>
                <a:cubicBezTo>
                  <a:pt x="4476667" y="4477775"/>
                  <a:pt x="4474271" y="4469385"/>
                  <a:pt x="4472473" y="4468187"/>
                </a:cubicBezTo>
                <a:cubicBezTo>
                  <a:pt x="4470675" y="4466988"/>
                  <a:pt x="4470076" y="4463393"/>
                  <a:pt x="4471873" y="4460396"/>
                </a:cubicBezTo>
                <a:cubicBezTo>
                  <a:pt x="4474271" y="4457400"/>
                  <a:pt x="4472473" y="4451407"/>
                  <a:pt x="4470675" y="4449010"/>
                </a:cubicBezTo>
                <a:cubicBezTo>
                  <a:pt x="4468278" y="4446613"/>
                  <a:pt x="4465281" y="4443017"/>
                  <a:pt x="4463484" y="4446014"/>
                </a:cubicBezTo>
                <a:cubicBezTo>
                  <a:pt x="4461686" y="4449010"/>
                  <a:pt x="4456292" y="4445415"/>
                  <a:pt x="4455094" y="4449609"/>
                </a:cubicBezTo>
                <a:cubicBezTo>
                  <a:pt x="4453895" y="4453804"/>
                  <a:pt x="4449101" y="4450808"/>
                  <a:pt x="4447902" y="4450209"/>
                </a:cubicBezTo>
                <a:cubicBezTo>
                  <a:pt x="4447303" y="4449609"/>
                  <a:pt x="4445505" y="4449609"/>
                  <a:pt x="4444307" y="4452006"/>
                </a:cubicBezTo>
                <a:cubicBezTo>
                  <a:pt x="4443108" y="4454404"/>
                  <a:pt x="4441910" y="4452606"/>
                  <a:pt x="4440112" y="4452006"/>
                </a:cubicBezTo>
                <a:cubicBezTo>
                  <a:pt x="4438314" y="4451407"/>
                  <a:pt x="4435318" y="4451407"/>
                  <a:pt x="4434718" y="4456201"/>
                </a:cubicBezTo>
                <a:cubicBezTo>
                  <a:pt x="4434119" y="4463393"/>
                  <a:pt x="4425729" y="4456201"/>
                  <a:pt x="4423332" y="4458599"/>
                </a:cubicBezTo>
                <a:cubicBezTo>
                  <a:pt x="4420935" y="4460995"/>
                  <a:pt x="4409549" y="4453804"/>
                  <a:pt x="4407152" y="4450209"/>
                </a:cubicBezTo>
                <a:cubicBezTo>
                  <a:pt x="4404755" y="4446613"/>
                  <a:pt x="4396365" y="4443017"/>
                  <a:pt x="4392170" y="4443017"/>
                </a:cubicBezTo>
                <a:cubicBezTo>
                  <a:pt x="4387975" y="4443617"/>
                  <a:pt x="4379585" y="4441819"/>
                  <a:pt x="4377787" y="4438822"/>
                </a:cubicBezTo>
                <a:cubicBezTo>
                  <a:pt x="4375989" y="4435826"/>
                  <a:pt x="4369398" y="4435826"/>
                  <a:pt x="4372394" y="4442418"/>
                </a:cubicBezTo>
                <a:cubicBezTo>
                  <a:pt x="4375390" y="4449010"/>
                  <a:pt x="4374791" y="4450209"/>
                  <a:pt x="4372394" y="4449609"/>
                </a:cubicBezTo>
                <a:cubicBezTo>
                  <a:pt x="4369997" y="4449010"/>
                  <a:pt x="4368798" y="4453804"/>
                  <a:pt x="4374791" y="4459198"/>
                </a:cubicBezTo>
                <a:cubicBezTo>
                  <a:pt x="4380184" y="4464591"/>
                  <a:pt x="4383181" y="4470584"/>
                  <a:pt x="4383181" y="4472981"/>
                </a:cubicBezTo>
                <a:cubicBezTo>
                  <a:pt x="4382582" y="4475378"/>
                  <a:pt x="4384979" y="4478375"/>
                  <a:pt x="4387975" y="4481371"/>
                </a:cubicBezTo>
                <a:cubicBezTo>
                  <a:pt x="4390971" y="4484966"/>
                  <a:pt x="4390971" y="4486764"/>
                  <a:pt x="4390372" y="4488562"/>
                </a:cubicBezTo>
                <a:cubicBezTo>
                  <a:pt x="4389773" y="4490360"/>
                  <a:pt x="4391571" y="4493356"/>
                  <a:pt x="4395765" y="4492757"/>
                </a:cubicBezTo>
                <a:cubicBezTo>
                  <a:pt x="4399960" y="4492158"/>
                  <a:pt x="4399960" y="4495154"/>
                  <a:pt x="4399960" y="4497551"/>
                </a:cubicBezTo>
                <a:cubicBezTo>
                  <a:pt x="4400560" y="4499948"/>
                  <a:pt x="4399361" y="4504143"/>
                  <a:pt x="4395765" y="4498750"/>
                </a:cubicBezTo>
                <a:cubicBezTo>
                  <a:pt x="4392769" y="4493356"/>
                  <a:pt x="4389773" y="4496353"/>
                  <a:pt x="4391571" y="4500548"/>
                </a:cubicBezTo>
                <a:cubicBezTo>
                  <a:pt x="4393968" y="4504742"/>
                  <a:pt x="4393968" y="4505342"/>
                  <a:pt x="4393369" y="4507739"/>
                </a:cubicBezTo>
                <a:cubicBezTo>
                  <a:pt x="4392769" y="4510136"/>
                  <a:pt x="4395765" y="4518526"/>
                  <a:pt x="4399361" y="4517927"/>
                </a:cubicBezTo>
                <a:cubicBezTo>
                  <a:pt x="4402957" y="4517327"/>
                  <a:pt x="4402957" y="4517327"/>
                  <a:pt x="4404155" y="4521522"/>
                </a:cubicBezTo>
                <a:cubicBezTo>
                  <a:pt x="4405354" y="4525717"/>
                  <a:pt x="4411347" y="4529313"/>
                  <a:pt x="4414343" y="4528114"/>
                </a:cubicBezTo>
                <a:cubicBezTo>
                  <a:pt x="4420935" y="4525717"/>
                  <a:pt x="4418538" y="4530511"/>
                  <a:pt x="4413744" y="4530511"/>
                </a:cubicBezTo>
                <a:cubicBezTo>
                  <a:pt x="4408950" y="4531111"/>
                  <a:pt x="4408350" y="4531710"/>
                  <a:pt x="4411946" y="4534107"/>
                </a:cubicBezTo>
                <a:cubicBezTo>
                  <a:pt x="4416141" y="4536504"/>
                  <a:pt x="4420935" y="4536504"/>
                  <a:pt x="4423332" y="4535306"/>
                </a:cubicBezTo>
                <a:cubicBezTo>
                  <a:pt x="4425729" y="4534706"/>
                  <a:pt x="4425729" y="4532908"/>
                  <a:pt x="4427527" y="4535905"/>
                </a:cubicBezTo>
                <a:cubicBezTo>
                  <a:pt x="4428726" y="4538901"/>
                  <a:pt x="4436516" y="4540699"/>
                  <a:pt x="4437115" y="4535306"/>
                </a:cubicBezTo>
                <a:cubicBezTo>
                  <a:pt x="4437715" y="4529912"/>
                  <a:pt x="4434718" y="4526916"/>
                  <a:pt x="4440112" y="4529313"/>
                </a:cubicBezTo>
                <a:cubicBezTo>
                  <a:pt x="4445505" y="4531710"/>
                  <a:pt x="4437715" y="4534706"/>
                  <a:pt x="4440112" y="4537702"/>
                </a:cubicBezTo>
                <a:cubicBezTo>
                  <a:pt x="4442509" y="4540100"/>
                  <a:pt x="4446704" y="4537103"/>
                  <a:pt x="4447902" y="4535306"/>
                </a:cubicBezTo>
                <a:cubicBezTo>
                  <a:pt x="4449101" y="4532908"/>
                  <a:pt x="4447902" y="4526916"/>
                  <a:pt x="4447303" y="4523919"/>
                </a:cubicBezTo>
                <a:cubicBezTo>
                  <a:pt x="4444906" y="4516129"/>
                  <a:pt x="4445505" y="4508338"/>
                  <a:pt x="4447902" y="4514331"/>
                </a:cubicBezTo>
                <a:cubicBezTo>
                  <a:pt x="4451498" y="4522721"/>
                  <a:pt x="4453296" y="4519724"/>
                  <a:pt x="4453895" y="4516728"/>
                </a:cubicBezTo>
                <a:cubicBezTo>
                  <a:pt x="4454495" y="4513732"/>
                  <a:pt x="4448502" y="4508338"/>
                  <a:pt x="4453296" y="4507739"/>
                </a:cubicBezTo>
                <a:cubicBezTo>
                  <a:pt x="4458090" y="4507140"/>
                  <a:pt x="4463484" y="4519724"/>
                  <a:pt x="4458689" y="4517927"/>
                </a:cubicBezTo>
                <a:cubicBezTo>
                  <a:pt x="4453895" y="4516728"/>
                  <a:pt x="4457491" y="4520923"/>
                  <a:pt x="4459289" y="4523320"/>
                </a:cubicBezTo>
                <a:cubicBezTo>
                  <a:pt x="4461686" y="4525717"/>
                  <a:pt x="4462285" y="4535306"/>
                  <a:pt x="4463484" y="4525717"/>
                </a:cubicBezTo>
                <a:cubicBezTo>
                  <a:pt x="4464682" y="4516728"/>
                  <a:pt x="4461686" y="4515530"/>
                  <a:pt x="4464083" y="4514930"/>
                </a:cubicBezTo>
                <a:cubicBezTo>
                  <a:pt x="4465281" y="4514331"/>
                  <a:pt x="4463484" y="4512533"/>
                  <a:pt x="4462285" y="4509537"/>
                </a:cubicBezTo>
                <a:cubicBezTo>
                  <a:pt x="4461086" y="4506541"/>
                  <a:pt x="4460487" y="4502346"/>
                  <a:pt x="4464083" y="4501746"/>
                </a:cubicBezTo>
                <a:cubicBezTo>
                  <a:pt x="4467678" y="4501147"/>
                  <a:pt x="4465881" y="4496353"/>
                  <a:pt x="4465881" y="4492757"/>
                </a:cubicBezTo>
                <a:cubicBezTo>
                  <a:pt x="4465281" y="4489761"/>
                  <a:pt x="4466480" y="4487963"/>
                  <a:pt x="4470076" y="4490959"/>
                </a:cubicBezTo>
                <a:cubicBezTo>
                  <a:pt x="4476667" y="4497551"/>
                  <a:pt x="4476068" y="4491559"/>
                  <a:pt x="4474271" y="4490360"/>
                </a:cubicBezTo>
                <a:close/>
                <a:moveTo>
                  <a:pt x="4610306" y="4037908"/>
                </a:moveTo>
                <a:cubicBezTo>
                  <a:pt x="4604912" y="4038507"/>
                  <a:pt x="4604912" y="4037309"/>
                  <a:pt x="4608508" y="4033713"/>
                </a:cubicBezTo>
                <a:cubicBezTo>
                  <a:pt x="4612104" y="4030717"/>
                  <a:pt x="4606710" y="4023525"/>
                  <a:pt x="4607909" y="4015136"/>
                </a:cubicBezTo>
                <a:cubicBezTo>
                  <a:pt x="4608508" y="4011540"/>
                  <a:pt x="4608508" y="4006746"/>
                  <a:pt x="4603714" y="4002551"/>
                </a:cubicBezTo>
                <a:cubicBezTo>
                  <a:pt x="4598320" y="3998356"/>
                  <a:pt x="4599519" y="3987569"/>
                  <a:pt x="4601317" y="3985771"/>
                </a:cubicBezTo>
                <a:cubicBezTo>
                  <a:pt x="4602515" y="3983973"/>
                  <a:pt x="4602515" y="3978580"/>
                  <a:pt x="4600118" y="3973786"/>
                </a:cubicBezTo>
                <a:cubicBezTo>
                  <a:pt x="4597721" y="3968992"/>
                  <a:pt x="4603114" y="3955807"/>
                  <a:pt x="4602515" y="3949815"/>
                </a:cubicBezTo>
                <a:cubicBezTo>
                  <a:pt x="4601916" y="3944421"/>
                  <a:pt x="4601916" y="3941425"/>
                  <a:pt x="4598320" y="3949216"/>
                </a:cubicBezTo>
                <a:cubicBezTo>
                  <a:pt x="4595324" y="3956407"/>
                  <a:pt x="4593526" y="3950414"/>
                  <a:pt x="4594125" y="3945021"/>
                </a:cubicBezTo>
                <a:cubicBezTo>
                  <a:pt x="4594724" y="3939627"/>
                  <a:pt x="4591728" y="3933035"/>
                  <a:pt x="4589331" y="3930039"/>
                </a:cubicBezTo>
                <a:cubicBezTo>
                  <a:pt x="4586934" y="3927642"/>
                  <a:pt x="4583338" y="3919851"/>
                  <a:pt x="4583338" y="3916855"/>
                </a:cubicBezTo>
                <a:cubicBezTo>
                  <a:pt x="4583338" y="3913259"/>
                  <a:pt x="4580941" y="3908465"/>
                  <a:pt x="4577945" y="3907266"/>
                </a:cubicBezTo>
                <a:cubicBezTo>
                  <a:pt x="4574948" y="3906068"/>
                  <a:pt x="4571353" y="3901873"/>
                  <a:pt x="4571353" y="3898277"/>
                </a:cubicBezTo>
                <a:cubicBezTo>
                  <a:pt x="4571353" y="3894082"/>
                  <a:pt x="4568956" y="3891086"/>
                  <a:pt x="4566559" y="3888689"/>
                </a:cubicBezTo>
                <a:cubicBezTo>
                  <a:pt x="4564162" y="3886292"/>
                  <a:pt x="4561764" y="3879100"/>
                  <a:pt x="4558169" y="3884494"/>
                </a:cubicBezTo>
                <a:cubicBezTo>
                  <a:pt x="4554573" y="3889887"/>
                  <a:pt x="4547981" y="3885692"/>
                  <a:pt x="4549779" y="3881497"/>
                </a:cubicBezTo>
                <a:cubicBezTo>
                  <a:pt x="4550978" y="3877303"/>
                  <a:pt x="4542588" y="3873108"/>
                  <a:pt x="4537793" y="3871909"/>
                </a:cubicBezTo>
                <a:cubicBezTo>
                  <a:pt x="4532400" y="3870711"/>
                  <a:pt x="4532400" y="3867714"/>
                  <a:pt x="4534797" y="3862321"/>
                </a:cubicBezTo>
                <a:cubicBezTo>
                  <a:pt x="4537194" y="3856927"/>
                  <a:pt x="4536595" y="3848537"/>
                  <a:pt x="4535996" y="3839548"/>
                </a:cubicBezTo>
                <a:cubicBezTo>
                  <a:pt x="4535397" y="3831159"/>
                  <a:pt x="4531202" y="3829361"/>
                  <a:pt x="4527606" y="3833555"/>
                </a:cubicBezTo>
                <a:cubicBezTo>
                  <a:pt x="4524010" y="3837750"/>
                  <a:pt x="4522212" y="3831758"/>
                  <a:pt x="4516819" y="3820971"/>
                </a:cubicBezTo>
                <a:cubicBezTo>
                  <a:pt x="4511426" y="3810184"/>
                  <a:pt x="4511426" y="3820971"/>
                  <a:pt x="4512025" y="3825765"/>
                </a:cubicBezTo>
                <a:cubicBezTo>
                  <a:pt x="4512624" y="3830559"/>
                  <a:pt x="4518617" y="3836552"/>
                  <a:pt x="4512624" y="3837151"/>
                </a:cubicBezTo>
                <a:cubicBezTo>
                  <a:pt x="4507231" y="3837750"/>
                  <a:pt x="4503036" y="3826364"/>
                  <a:pt x="4502436" y="3820971"/>
                </a:cubicBezTo>
                <a:cubicBezTo>
                  <a:pt x="4501837" y="3815577"/>
                  <a:pt x="4498841" y="3812581"/>
                  <a:pt x="4497043" y="3807787"/>
                </a:cubicBezTo>
                <a:cubicBezTo>
                  <a:pt x="4495844" y="3802993"/>
                  <a:pt x="4496444" y="3802993"/>
                  <a:pt x="4498242" y="3802993"/>
                </a:cubicBezTo>
                <a:cubicBezTo>
                  <a:pt x="4500039" y="3802993"/>
                  <a:pt x="4500638" y="3799996"/>
                  <a:pt x="4499440" y="3797599"/>
                </a:cubicBezTo>
                <a:cubicBezTo>
                  <a:pt x="4498841" y="3795202"/>
                  <a:pt x="4497043" y="3792805"/>
                  <a:pt x="4494047" y="3791007"/>
                </a:cubicBezTo>
                <a:cubicBezTo>
                  <a:pt x="4490451" y="3789209"/>
                  <a:pt x="4489252" y="3789209"/>
                  <a:pt x="4488653" y="3782617"/>
                </a:cubicBezTo>
                <a:cubicBezTo>
                  <a:pt x="4488054" y="3775426"/>
                  <a:pt x="4484458" y="3775426"/>
                  <a:pt x="4481462" y="3775426"/>
                </a:cubicBezTo>
                <a:cubicBezTo>
                  <a:pt x="4478466" y="3775426"/>
                  <a:pt x="4476068" y="3774827"/>
                  <a:pt x="4474271" y="3770033"/>
                </a:cubicBezTo>
                <a:cubicBezTo>
                  <a:pt x="4473072" y="3765838"/>
                  <a:pt x="4473671" y="3764639"/>
                  <a:pt x="4478466" y="3767635"/>
                </a:cubicBezTo>
                <a:cubicBezTo>
                  <a:pt x="4483260" y="3771231"/>
                  <a:pt x="4480862" y="3765238"/>
                  <a:pt x="4479065" y="3763441"/>
                </a:cubicBezTo>
                <a:cubicBezTo>
                  <a:pt x="4477267" y="3762242"/>
                  <a:pt x="4474870" y="3760444"/>
                  <a:pt x="4474870" y="3758047"/>
                </a:cubicBezTo>
                <a:cubicBezTo>
                  <a:pt x="4474271" y="3755650"/>
                  <a:pt x="4473072" y="3753852"/>
                  <a:pt x="4469476" y="3753852"/>
                </a:cubicBezTo>
                <a:cubicBezTo>
                  <a:pt x="4465881" y="3754452"/>
                  <a:pt x="4458689" y="3746062"/>
                  <a:pt x="4455094" y="3740668"/>
                </a:cubicBezTo>
                <a:cubicBezTo>
                  <a:pt x="4451498" y="3735275"/>
                  <a:pt x="4449700" y="3735275"/>
                  <a:pt x="4447902" y="3737672"/>
                </a:cubicBezTo>
                <a:cubicBezTo>
                  <a:pt x="4446105" y="3740069"/>
                  <a:pt x="4443707" y="3736473"/>
                  <a:pt x="4440711" y="3734675"/>
                </a:cubicBezTo>
                <a:cubicBezTo>
                  <a:pt x="4437715" y="3732878"/>
                  <a:pt x="4438314" y="3731080"/>
                  <a:pt x="4438314" y="3728683"/>
                </a:cubicBezTo>
                <a:cubicBezTo>
                  <a:pt x="4438314" y="3726286"/>
                  <a:pt x="4437715" y="3723888"/>
                  <a:pt x="4434119" y="3725087"/>
                </a:cubicBezTo>
                <a:cubicBezTo>
                  <a:pt x="4430524" y="3726286"/>
                  <a:pt x="4426928" y="3725686"/>
                  <a:pt x="4426329" y="3723888"/>
                </a:cubicBezTo>
                <a:cubicBezTo>
                  <a:pt x="4425729" y="3721492"/>
                  <a:pt x="4423931" y="3717297"/>
                  <a:pt x="4420935" y="3721492"/>
                </a:cubicBezTo>
                <a:cubicBezTo>
                  <a:pt x="4417939" y="3725686"/>
                  <a:pt x="4412545" y="3714300"/>
                  <a:pt x="4410148" y="3712502"/>
                </a:cubicBezTo>
                <a:cubicBezTo>
                  <a:pt x="4407751" y="3710105"/>
                  <a:pt x="4405354" y="3704112"/>
                  <a:pt x="4405953" y="3702315"/>
                </a:cubicBezTo>
                <a:cubicBezTo>
                  <a:pt x="4406553" y="3701116"/>
                  <a:pt x="4408950" y="3695123"/>
                  <a:pt x="4404755" y="3696921"/>
                </a:cubicBezTo>
                <a:cubicBezTo>
                  <a:pt x="4400560" y="3698120"/>
                  <a:pt x="4399361" y="3690329"/>
                  <a:pt x="4397564" y="3689730"/>
                </a:cubicBezTo>
                <a:cubicBezTo>
                  <a:pt x="4396365" y="3689131"/>
                  <a:pt x="4392170" y="3676546"/>
                  <a:pt x="4396964" y="3677744"/>
                </a:cubicBezTo>
                <a:cubicBezTo>
                  <a:pt x="4401159" y="3678943"/>
                  <a:pt x="4399960" y="3673550"/>
                  <a:pt x="4400560" y="3669355"/>
                </a:cubicBezTo>
                <a:cubicBezTo>
                  <a:pt x="4401159" y="3662762"/>
                  <a:pt x="4397564" y="3665759"/>
                  <a:pt x="4395166" y="3659167"/>
                </a:cubicBezTo>
                <a:cubicBezTo>
                  <a:pt x="4393369" y="3654373"/>
                  <a:pt x="4390971" y="3648380"/>
                  <a:pt x="4392170" y="3645983"/>
                </a:cubicBezTo>
                <a:cubicBezTo>
                  <a:pt x="4392769" y="3643586"/>
                  <a:pt x="4392769" y="3640590"/>
                  <a:pt x="4387975" y="3640590"/>
                </a:cubicBezTo>
                <a:cubicBezTo>
                  <a:pt x="4383780" y="3640590"/>
                  <a:pt x="4383181" y="3636395"/>
                  <a:pt x="4380784" y="3632799"/>
                </a:cubicBezTo>
                <a:cubicBezTo>
                  <a:pt x="4378387" y="3629203"/>
                  <a:pt x="4376589" y="3624409"/>
                  <a:pt x="4379585" y="3625608"/>
                </a:cubicBezTo>
                <a:cubicBezTo>
                  <a:pt x="4382582" y="3627405"/>
                  <a:pt x="4381383" y="3620813"/>
                  <a:pt x="4381982" y="3618416"/>
                </a:cubicBezTo>
                <a:cubicBezTo>
                  <a:pt x="4382582" y="3616019"/>
                  <a:pt x="4384379" y="3613023"/>
                  <a:pt x="4379585" y="3610026"/>
                </a:cubicBezTo>
                <a:cubicBezTo>
                  <a:pt x="4372394" y="3605232"/>
                  <a:pt x="4377787" y="3599239"/>
                  <a:pt x="4374791" y="3594445"/>
                </a:cubicBezTo>
                <a:cubicBezTo>
                  <a:pt x="4371794" y="3589651"/>
                  <a:pt x="4373593" y="3590250"/>
                  <a:pt x="4375989" y="3589651"/>
                </a:cubicBezTo>
                <a:cubicBezTo>
                  <a:pt x="4378387" y="3589052"/>
                  <a:pt x="4379585" y="3586055"/>
                  <a:pt x="4376589" y="3584258"/>
                </a:cubicBezTo>
                <a:cubicBezTo>
                  <a:pt x="4374192" y="3582460"/>
                  <a:pt x="4371195" y="3580063"/>
                  <a:pt x="4372394" y="3577066"/>
                </a:cubicBezTo>
                <a:cubicBezTo>
                  <a:pt x="4374791" y="3571673"/>
                  <a:pt x="4371794" y="3572272"/>
                  <a:pt x="4369997" y="3571673"/>
                </a:cubicBezTo>
                <a:cubicBezTo>
                  <a:pt x="4367600" y="3571074"/>
                  <a:pt x="4364603" y="3569875"/>
                  <a:pt x="4361607" y="3566279"/>
                </a:cubicBezTo>
                <a:cubicBezTo>
                  <a:pt x="4358611" y="3562684"/>
                  <a:pt x="4349622" y="3561485"/>
                  <a:pt x="4350820" y="3557889"/>
                </a:cubicBezTo>
                <a:cubicBezTo>
                  <a:pt x="4351419" y="3553695"/>
                  <a:pt x="4349022" y="3553695"/>
                  <a:pt x="4346625" y="3555493"/>
                </a:cubicBezTo>
                <a:cubicBezTo>
                  <a:pt x="4344228" y="3556691"/>
                  <a:pt x="4343029" y="3557290"/>
                  <a:pt x="4338235" y="3557889"/>
                </a:cubicBezTo>
                <a:cubicBezTo>
                  <a:pt x="4333441" y="3558489"/>
                  <a:pt x="4332842" y="3560886"/>
                  <a:pt x="4335838" y="3560886"/>
                </a:cubicBezTo>
                <a:cubicBezTo>
                  <a:pt x="4339434" y="3560886"/>
                  <a:pt x="4336438" y="3566279"/>
                  <a:pt x="4331643" y="3565081"/>
                </a:cubicBezTo>
                <a:cubicBezTo>
                  <a:pt x="4326849" y="3564482"/>
                  <a:pt x="4325651" y="3559088"/>
                  <a:pt x="4325651" y="3554893"/>
                </a:cubicBezTo>
                <a:cubicBezTo>
                  <a:pt x="4325651" y="3550698"/>
                  <a:pt x="4325051" y="3547702"/>
                  <a:pt x="4323253" y="3545305"/>
                </a:cubicBezTo>
                <a:cubicBezTo>
                  <a:pt x="4322055" y="3542908"/>
                  <a:pt x="4320856" y="3537514"/>
                  <a:pt x="4323853" y="3535117"/>
                </a:cubicBezTo>
                <a:cubicBezTo>
                  <a:pt x="4326250" y="3532720"/>
                  <a:pt x="4327448" y="3530922"/>
                  <a:pt x="4325051" y="3529124"/>
                </a:cubicBezTo>
                <a:cubicBezTo>
                  <a:pt x="4322654" y="3527327"/>
                  <a:pt x="4320856" y="3523132"/>
                  <a:pt x="4322055" y="3517738"/>
                </a:cubicBezTo>
                <a:cubicBezTo>
                  <a:pt x="4323253" y="3512345"/>
                  <a:pt x="4324452" y="3508150"/>
                  <a:pt x="4320856" y="3511746"/>
                </a:cubicBezTo>
                <a:cubicBezTo>
                  <a:pt x="4319058" y="3513543"/>
                  <a:pt x="4316662" y="3510547"/>
                  <a:pt x="4317261" y="3508150"/>
                </a:cubicBezTo>
                <a:cubicBezTo>
                  <a:pt x="4317860" y="3505753"/>
                  <a:pt x="4317261" y="3504554"/>
                  <a:pt x="4314863" y="3502757"/>
                </a:cubicBezTo>
                <a:cubicBezTo>
                  <a:pt x="4312467" y="3500958"/>
                  <a:pt x="4310669" y="3500359"/>
                  <a:pt x="4311268" y="3498562"/>
                </a:cubicBezTo>
                <a:cubicBezTo>
                  <a:pt x="4311867" y="3496764"/>
                  <a:pt x="4311867" y="3493168"/>
                  <a:pt x="4308871" y="3493767"/>
                </a:cubicBezTo>
                <a:cubicBezTo>
                  <a:pt x="4305275" y="3494367"/>
                  <a:pt x="4304077" y="3487175"/>
                  <a:pt x="4305874" y="3485377"/>
                </a:cubicBezTo>
                <a:cubicBezTo>
                  <a:pt x="4308871" y="3481782"/>
                  <a:pt x="4306474" y="3476987"/>
                  <a:pt x="4302878" y="3479984"/>
                </a:cubicBezTo>
                <a:cubicBezTo>
                  <a:pt x="4299282" y="3482381"/>
                  <a:pt x="4297485" y="3476987"/>
                  <a:pt x="4297485" y="3474591"/>
                </a:cubicBezTo>
                <a:cubicBezTo>
                  <a:pt x="4298084" y="3472193"/>
                  <a:pt x="4298084" y="3467998"/>
                  <a:pt x="4296885" y="3466201"/>
                </a:cubicBezTo>
                <a:cubicBezTo>
                  <a:pt x="4295687" y="3463804"/>
                  <a:pt x="4294488" y="3460807"/>
                  <a:pt x="4295687" y="3458410"/>
                </a:cubicBezTo>
                <a:cubicBezTo>
                  <a:pt x="4296286" y="3456013"/>
                  <a:pt x="4297485" y="3454215"/>
                  <a:pt x="4293290" y="3451219"/>
                </a:cubicBezTo>
                <a:cubicBezTo>
                  <a:pt x="4289095" y="3448222"/>
                  <a:pt x="4287896" y="3450020"/>
                  <a:pt x="4287896" y="3450020"/>
                </a:cubicBezTo>
                <a:cubicBezTo>
                  <a:pt x="4287896" y="3450020"/>
                  <a:pt x="4285499" y="3451818"/>
                  <a:pt x="4280705" y="3450020"/>
                </a:cubicBezTo>
                <a:cubicBezTo>
                  <a:pt x="4275312" y="3448222"/>
                  <a:pt x="4275911" y="3455414"/>
                  <a:pt x="4277709" y="3460208"/>
                </a:cubicBezTo>
                <a:cubicBezTo>
                  <a:pt x="4279507" y="3465002"/>
                  <a:pt x="4277109" y="3468598"/>
                  <a:pt x="4274712" y="3471594"/>
                </a:cubicBezTo>
                <a:cubicBezTo>
                  <a:pt x="4272315" y="3473991"/>
                  <a:pt x="4270517" y="3478186"/>
                  <a:pt x="4271716" y="3480583"/>
                </a:cubicBezTo>
                <a:cubicBezTo>
                  <a:pt x="4272315" y="3482980"/>
                  <a:pt x="4274113" y="3488973"/>
                  <a:pt x="4269918" y="3486576"/>
                </a:cubicBezTo>
                <a:cubicBezTo>
                  <a:pt x="4265723" y="3484179"/>
                  <a:pt x="4268120" y="3492569"/>
                  <a:pt x="4263925" y="3497363"/>
                </a:cubicBezTo>
                <a:cubicBezTo>
                  <a:pt x="4260330" y="3501558"/>
                  <a:pt x="4268120" y="3503356"/>
                  <a:pt x="4271117" y="3506352"/>
                </a:cubicBezTo>
                <a:cubicBezTo>
                  <a:pt x="4274113" y="3509348"/>
                  <a:pt x="4271716" y="3514742"/>
                  <a:pt x="4269319" y="3510547"/>
                </a:cubicBezTo>
                <a:cubicBezTo>
                  <a:pt x="4266922" y="3506352"/>
                  <a:pt x="4263925" y="3511146"/>
                  <a:pt x="4262127" y="3517139"/>
                </a:cubicBezTo>
                <a:cubicBezTo>
                  <a:pt x="4260330" y="3522532"/>
                  <a:pt x="4266322" y="3527327"/>
                  <a:pt x="4267521" y="3530323"/>
                </a:cubicBezTo>
                <a:cubicBezTo>
                  <a:pt x="4268720" y="3532720"/>
                  <a:pt x="4268120" y="3537514"/>
                  <a:pt x="4266322" y="3535717"/>
                </a:cubicBezTo>
                <a:cubicBezTo>
                  <a:pt x="4264525" y="3533319"/>
                  <a:pt x="4262127" y="3534518"/>
                  <a:pt x="4261528" y="3536915"/>
                </a:cubicBezTo>
                <a:cubicBezTo>
                  <a:pt x="4260929" y="3539312"/>
                  <a:pt x="4259131" y="3548301"/>
                  <a:pt x="4260929" y="3550698"/>
                </a:cubicBezTo>
                <a:cubicBezTo>
                  <a:pt x="4262727" y="3553095"/>
                  <a:pt x="4263326" y="3560287"/>
                  <a:pt x="4262727" y="3563882"/>
                </a:cubicBezTo>
                <a:cubicBezTo>
                  <a:pt x="4261528" y="3568677"/>
                  <a:pt x="4265124" y="3575868"/>
                  <a:pt x="4263326" y="3581860"/>
                </a:cubicBezTo>
                <a:cubicBezTo>
                  <a:pt x="4263326" y="3581860"/>
                  <a:pt x="4267521" y="3593846"/>
                  <a:pt x="4262127" y="3595044"/>
                </a:cubicBezTo>
                <a:cubicBezTo>
                  <a:pt x="4259131" y="3595644"/>
                  <a:pt x="4259131" y="3606431"/>
                  <a:pt x="4260330" y="3609427"/>
                </a:cubicBezTo>
                <a:cubicBezTo>
                  <a:pt x="4261528" y="3612424"/>
                  <a:pt x="4263326" y="3617817"/>
                  <a:pt x="4262727" y="3620214"/>
                </a:cubicBezTo>
                <a:cubicBezTo>
                  <a:pt x="4262127" y="3622611"/>
                  <a:pt x="4257333" y="3627405"/>
                  <a:pt x="4257333" y="3632200"/>
                </a:cubicBezTo>
                <a:cubicBezTo>
                  <a:pt x="4257333" y="3636994"/>
                  <a:pt x="4253138" y="3637593"/>
                  <a:pt x="4253138" y="3640590"/>
                </a:cubicBezTo>
                <a:cubicBezTo>
                  <a:pt x="4253138" y="3642986"/>
                  <a:pt x="4247146" y="3650777"/>
                  <a:pt x="4248943" y="3655571"/>
                </a:cubicBezTo>
                <a:cubicBezTo>
                  <a:pt x="4250741" y="3660365"/>
                  <a:pt x="4247146" y="3667557"/>
                  <a:pt x="4241752" y="3671152"/>
                </a:cubicBezTo>
                <a:cubicBezTo>
                  <a:pt x="4236359" y="3674748"/>
                  <a:pt x="4227370" y="3674748"/>
                  <a:pt x="4224972" y="3672950"/>
                </a:cubicBezTo>
                <a:cubicBezTo>
                  <a:pt x="4222576" y="3671152"/>
                  <a:pt x="4220178" y="3670553"/>
                  <a:pt x="4214785" y="3669355"/>
                </a:cubicBezTo>
                <a:cubicBezTo>
                  <a:pt x="4209391" y="3668755"/>
                  <a:pt x="4199803" y="3656171"/>
                  <a:pt x="4199803" y="3652575"/>
                </a:cubicBezTo>
                <a:cubicBezTo>
                  <a:pt x="4199204" y="3649579"/>
                  <a:pt x="4195009" y="3645384"/>
                  <a:pt x="4193211" y="3644784"/>
                </a:cubicBezTo>
                <a:cubicBezTo>
                  <a:pt x="4191413" y="3644185"/>
                  <a:pt x="4187818" y="3644185"/>
                  <a:pt x="4184821" y="3641788"/>
                </a:cubicBezTo>
                <a:cubicBezTo>
                  <a:pt x="4181825" y="3639391"/>
                  <a:pt x="4181225" y="3637593"/>
                  <a:pt x="4174633" y="3637593"/>
                </a:cubicBezTo>
                <a:cubicBezTo>
                  <a:pt x="4167442" y="3638192"/>
                  <a:pt x="4160850" y="3633398"/>
                  <a:pt x="4159052" y="3630402"/>
                </a:cubicBezTo>
                <a:cubicBezTo>
                  <a:pt x="4157254" y="3627405"/>
                  <a:pt x="4152460" y="3622611"/>
                  <a:pt x="4150663" y="3623210"/>
                </a:cubicBezTo>
                <a:cubicBezTo>
                  <a:pt x="4148265" y="3623810"/>
                  <a:pt x="4144670" y="3622012"/>
                  <a:pt x="4144070" y="3620813"/>
                </a:cubicBezTo>
                <a:cubicBezTo>
                  <a:pt x="4143471" y="3619615"/>
                  <a:pt x="4141673" y="3617817"/>
                  <a:pt x="4139276" y="3618416"/>
                </a:cubicBezTo>
                <a:cubicBezTo>
                  <a:pt x="4136879" y="3619015"/>
                  <a:pt x="4134482" y="3619015"/>
                  <a:pt x="4133283" y="3617218"/>
                </a:cubicBezTo>
                <a:cubicBezTo>
                  <a:pt x="4132085" y="3614820"/>
                  <a:pt x="4129088" y="3614820"/>
                  <a:pt x="4127291" y="3617218"/>
                </a:cubicBezTo>
                <a:cubicBezTo>
                  <a:pt x="4124894" y="3619615"/>
                  <a:pt x="4121897" y="3618416"/>
                  <a:pt x="4121897" y="3615420"/>
                </a:cubicBezTo>
                <a:cubicBezTo>
                  <a:pt x="4121298" y="3612424"/>
                  <a:pt x="4118901" y="3611225"/>
                  <a:pt x="4114706" y="3609427"/>
                </a:cubicBezTo>
                <a:cubicBezTo>
                  <a:pt x="4110511" y="3607629"/>
                  <a:pt x="4106316" y="3604034"/>
                  <a:pt x="4105117" y="3600438"/>
                </a:cubicBezTo>
                <a:cubicBezTo>
                  <a:pt x="4104518" y="3596842"/>
                  <a:pt x="4101522" y="3596243"/>
                  <a:pt x="4096128" y="3596842"/>
                </a:cubicBezTo>
                <a:cubicBezTo>
                  <a:pt x="4090735" y="3597442"/>
                  <a:pt x="4087739" y="3593247"/>
                  <a:pt x="4093731" y="3592648"/>
                </a:cubicBezTo>
                <a:cubicBezTo>
                  <a:pt x="4099125" y="3592048"/>
                  <a:pt x="4096128" y="3586655"/>
                  <a:pt x="4094331" y="3584258"/>
                </a:cubicBezTo>
                <a:cubicBezTo>
                  <a:pt x="4093132" y="3581860"/>
                  <a:pt x="4091934" y="3579464"/>
                  <a:pt x="4089536" y="3578864"/>
                </a:cubicBezTo>
                <a:cubicBezTo>
                  <a:pt x="4087139" y="3578265"/>
                  <a:pt x="4087739" y="3569875"/>
                  <a:pt x="4091934" y="3568077"/>
                </a:cubicBezTo>
                <a:cubicBezTo>
                  <a:pt x="4096128" y="3566279"/>
                  <a:pt x="4097926" y="3559688"/>
                  <a:pt x="4098526" y="3556092"/>
                </a:cubicBezTo>
                <a:cubicBezTo>
                  <a:pt x="4099125" y="3553095"/>
                  <a:pt x="4100923" y="3547702"/>
                  <a:pt x="4103320" y="3545904"/>
                </a:cubicBezTo>
                <a:cubicBezTo>
                  <a:pt x="4105717" y="3544106"/>
                  <a:pt x="4103919" y="3541110"/>
                  <a:pt x="4099724" y="3543507"/>
                </a:cubicBezTo>
                <a:cubicBezTo>
                  <a:pt x="4095529" y="3545904"/>
                  <a:pt x="4093132" y="3544706"/>
                  <a:pt x="4094331" y="3538713"/>
                </a:cubicBezTo>
                <a:cubicBezTo>
                  <a:pt x="4095529" y="3532720"/>
                  <a:pt x="4098526" y="3528525"/>
                  <a:pt x="4101522" y="3528525"/>
                </a:cubicBezTo>
                <a:cubicBezTo>
                  <a:pt x="4104518" y="3528525"/>
                  <a:pt x="4108713" y="3525529"/>
                  <a:pt x="4108713" y="3525529"/>
                </a:cubicBezTo>
                <a:cubicBezTo>
                  <a:pt x="4108713" y="3525529"/>
                  <a:pt x="4112908" y="3523731"/>
                  <a:pt x="4112309" y="3526727"/>
                </a:cubicBezTo>
                <a:cubicBezTo>
                  <a:pt x="4111710" y="3529724"/>
                  <a:pt x="4114706" y="3527327"/>
                  <a:pt x="4116504" y="3525529"/>
                </a:cubicBezTo>
                <a:cubicBezTo>
                  <a:pt x="4117702" y="3523132"/>
                  <a:pt x="4124294" y="3524929"/>
                  <a:pt x="4120699" y="3519536"/>
                </a:cubicBezTo>
                <a:cubicBezTo>
                  <a:pt x="4116504" y="3514143"/>
                  <a:pt x="4112908" y="3511146"/>
                  <a:pt x="4117103" y="3509348"/>
                </a:cubicBezTo>
                <a:cubicBezTo>
                  <a:pt x="4121298" y="3507551"/>
                  <a:pt x="4121298" y="3503955"/>
                  <a:pt x="4117702" y="3502757"/>
                </a:cubicBezTo>
                <a:cubicBezTo>
                  <a:pt x="4114706" y="3501558"/>
                  <a:pt x="4118302" y="3498562"/>
                  <a:pt x="4123695" y="3497363"/>
                </a:cubicBezTo>
                <a:cubicBezTo>
                  <a:pt x="4129088" y="3496164"/>
                  <a:pt x="4127291" y="3493168"/>
                  <a:pt x="4123695" y="3493168"/>
                </a:cubicBezTo>
                <a:cubicBezTo>
                  <a:pt x="4120099" y="3493767"/>
                  <a:pt x="4118302" y="3491370"/>
                  <a:pt x="4117702" y="3488374"/>
                </a:cubicBezTo>
                <a:cubicBezTo>
                  <a:pt x="4117103" y="3485377"/>
                  <a:pt x="4113507" y="3484778"/>
                  <a:pt x="4110511" y="3487775"/>
                </a:cubicBezTo>
                <a:cubicBezTo>
                  <a:pt x="4108114" y="3490771"/>
                  <a:pt x="4105117" y="3493168"/>
                  <a:pt x="4108114" y="3494367"/>
                </a:cubicBezTo>
                <a:cubicBezTo>
                  <a:pt x="4111110" y="3495565"/>
                  <a:pt x="4109312" y="3499161"/>
                  <a:pt x="4108713" y="3501558"/>
                </a:cubicBezTo>
                <a:cubicBezTo>
                  <a:pt x="4108114" y="3503955"/>
                  <a:pt x="4105117" y="3505753"/>
                  <a:pt x="4104518" y="3503955"/>
                </a:cubicBezTo>
                <a:cubicBezTo>
                  <a:pt x="4103919" y="3501558"/>
                  <a:pt x="4100323" y="3500958"/>
                  <a:pt x="4097926" y="3501558"/>
                </a:cubicBezTo>
                <a:cubicBezTo>
                  <a:pt x="4095529" y="3502157"/>
                  <a:pt x="4091334" y="3498562"/>
                  <a:pt x="4097327" y="3496764"/>
                </a:cubicBezTo>
                <a:cubicBezTo>
                  <a:pt x="4105717" y="3494367"/>
                  <a:pt x="4098526" y="3487175"/>
                  <a:pt x="4096728" y="3491370"/>
                </a:cubicBezTo>
                <a:cubicBezTo>
                  <a:pt x="4094930" y="3495565"/>
                  <a:pt x="4091934" y="3497962"/>
                  <a:pt x="4089536" y="3497962"/>
                </a:cubicBezTo>
                <a:cubicBezTo>
                  <a:pt x="4087139" y="3497962"/>
                  <a:pt x="4088937" y="3494966"/>
                  <a:pt x="4091934" y="3493168"/>
                </a:cubicBezTo>
                <a:cubicBezTo>
                  <a:pt x="4094331" y="3491370"/>
                  <a:pt x="4092533" y="3488973"/>
                  <a:pt x="4087139" y="3492569"/>
                </a:cubicBezTo>
                <a:cubicBezTo>
                  <a:pt x="4081746" y="3495565"/>
                  <a:pt x="4070959" y="3496764"/>
                  <a:pt x="4067963" y="3491969"/>
                </a:cubicBezTo>
                <a:cubicBezTo>
                  <a:pt x="4064966" y="3486576"/>
                  <a:pt x="4059573" y="3488374"/>
                  <a:pt x="4059573" y="3491969"/>
                </a:cubicBezTo>
                <a:cubicBezTo>
                  <a:pt x="4059573" y="3495565"/>
                  <a:pt x="4052381" y="3492569"/>
                  <a:pt x="4048786" y="3490172"/>
                </a:cubicBezTo>
                <a:cubicBezTo>
                  <a:pt x="4045190" y="3487775"/>
                  <a:pt x="4043392" y="3483580"/>
                  <a:pt x="4039197" y="3484778"/>
                </a:cubicBezTo>
                <a:cubicBezTo>
                  <a:pt x="4035003" y="3485977"/>
                  <a:pt x="4020620" y="3477587"/>
                  <a:pt x="4019421" y="3473392"/>
                </a:cubicBezTo>
                <a:cubicBezTo>
                  <a:pt x="4018223" y="3469197"/>
                  <a:pt x="4012830" y="3463804"/>
                  <a:pt x="4009833" y="3467399"/>
                </a:cubicBezTo>
                <a:cubicBezTo>
                  <a:pt x="4006837" y="3470995"/>
                  <a:pt x="4001443" y="3465002"/>
                  <a:pt x="3999645" y="3462006"/>
                </a:cubicBezTo>
                <a:cubicBezTo>
                  <a:pt x="3997848" y="3459609"/>
                  <a:pt x="3992454" y="3458410"/>
                  <a:pt x="3991255" y="3462605"/>
                </a:cubicBezTo>
                <a:cubicBezTo>
                  <a:pt x="3990656" y="3466800"/>
                  <a:pt x="3987061" y="3467399"/>
                  <a:pt x="3987660" y="3463204"/>
                </a:cubicBezTo>
                <a:cubicBezTo>
                  <a:pt x="3988259" y="3459009"/>
                  <a:pt x="3975674" y="3460807"/>
                  <a:pt x="3982266" y="3466201"/>
                </a:cubicBezTo>
                <a:cubicBezTo>
                  <a:pt x="3988859" y="3471594"/>
                  <a:pt x="3993054" y="3470396"/>
                  <a:pt x="3996649" y="3469796"/>
                </a:cubicBezTo>
                <a:cubicBezTo>
                  <a:pt x="4000245" y="3469197"/>
                  <a:pt x="4003840" y="3472193"/>
                  <a:pt x="4003241" y="3478186"/>
                </a:cubicBezTo>
                <a:cubicBezTo>
                  <a:pt x="4002642" y="3484179"/>
                  <a:pt x="4005039" y="3490771"/>
                  <a:pt x="4007436" y="3491969"/>
                </a:cubicBezTo>
                <a:cubicBezTo>
                  <a:pt x="4009833" y="3493168"/>
                  <a:pt x="4009833" y="3496164"/>
                  <a:pt x="4006237" y="3496764"/>
                </a:cubicBezTo>
                <a:cubicBezTo>
                  <a:pt x="4002043" y="3497363"/>
                  <a:pt x="4003241" y="3499161"/>
                  <a:pt x="4002642" y="3500958"/>
                </a:cubicBezTo>
                <a:cubicBezTo>
                  <a:pt x="4002043" y="3503356"/>
                  <a:pt x="3998447" y="3506352"/>
                  <a:pt x="3997848" y="3500359"/>
                </a:cubicBezTo>
                <a:cubicBezTo>
                  <a:pt x="3997248" y="3494966"/>
                  <a:pt x="3989458" y="3493767"/>
                  <a:pt x="3982866" y="3494966"/>
                </a:cubicBezTo>
                <a:cubicBezTo>
                  <a:pt x="3976274" y="3496164"/>
                  <a:pt x="3967884" y="3494966"/>
                  <a:pt x="3965487" y="3492569"/>
                </a:cubicBezTo>
                <a:cubicBezTo>
                  <a:pt x="3963090" y="3490172"/>
                  <a:pt x="3961292" y="3491370"/>
                  <a:pt x="3961292" y="3493767"/>
                </a:cubicBezTo>
                <a:cubicBezTo>
                  <a:pt x="3961891" y="3496164"/>
                  <a:pt x="3960693" y="3496764"/>
                  <a:pt x="3958295" y="3494966"/>
                </a:cubicBezTo>
                <a:cubicBezTo>
                  <a:pt x="3955898" y="3493168"/>
                  <a:pt x="3945711" y="3499161"/>
                  <a:pt x="3949906" y="3502757"/>
                </a:cubicBezTo>
                <a:cubicBezTo>
                  <a:pt x="3954101" y="3506352"/>
                  <a:pt x="3948707" y="3514742"/>
                  <a:pt x="3945711" y="3504554"/>
                </a:cubicBezTo>
                <a:cubicBezTo>
                  <a:pt x="3944512" y="3500359"/>
                  <a:pt x="3946909" y="3501558"/>
                  <a:pt x="3945112" y="3499161"/>
                </a:cubicBezTo>
                <a:cubicBezTo>
                  <a:pt x="3942714" y="3496764"/>
                  <a:pt x="3939718" y="3504554"/>
                  <a:pt x="3942714" y="3508150"/>
                </a:cubicBezTo>
                <a:cubicBezTo>
                  <a:pt x="3945112" y="3511746"/>
                  <a:pt x="3946909" y="3518337"/>
                  <a:pt x="3939718" y="3511146"/>
                </a:cubicBezTo>
                <a:cubicBezTo>
                  <a:pt x="3932527" y="3503955"/>
                  <a:pt x="3933725" y="3515341"/>
                  <a:pt x="3932527" y="3518337"/>
                </a:cubicBezTo>
                <a:cubicBezTo>
                  <a:pt x="3931328" y="3520735"/>
                  <a:pt x="3931928" y="3527327"/>
                  <a:pt x="3934924" y="3529724"/>
                </a:cubicBezTo>
                <a:cubicBezTo>
                  <a:pt x="3937920" y="3532121"/>
                  <a:pt x="3937321" y="3535117"/>
                  <a:pt x="3934924" y="3534518"/>
                </a:cubicBezTo>
                <a:cubicBezTo>
                  <a:pt x="3932527" y="3533918"/>
                  <a:pt x="3930729" y="3539911"/>
                  <a:pt x="3927133" y="3538113"/>
                </a:cubicBezTo>
                <a:cubicBezTo>
                  <a:pt x="3922938" y="3536316"/>
                  <a:pt x="3922938" y="3544706"/>
                  <a:pt x="3922938" y="3548301"/>
                </a:cubicBezTo>
                <a:cubicBezTo>
                  <a:pt x="3922938" y="3551897"/>
                  <a:pt x="3921740" y="3556092"/>
                  <a:pt x="3918743" y="3557290"/>
                </a:cubicBezTo>
                <a:cubicBezTo>
                  <a:pt x="3915747" y="3558489"/>
                  <a:pt x="3911552" y="3570474"/>
                  <a:pt x="3916946" y="3572272"/>
                </a:cubicBezTo>
                <a:cubicBezTo>
                  <a:pt x="3922339" y="3574070"/>
                  <a:pt x="3922339" y="3575269"/>
                  <a:pt x="3922339" y="3577066"/>
                </a:cubicBezTo>
                <a:cubicBezTo>
                  <a:pt x="3921740" y="3578864"/>
                  <a:pt x="3923538" y="3581261"/>
                  <a:pt x="3927733" y="3581261"/>
                </a:cubicBezTo>
                <a:cubicBezTo>
                  <a:pt x="3931928" y="3581261"/>
                  <a:pt x="3930729" y="3584857"/>
                  <a:pt x="3927133" y="3585456"/>
                </a:cubicBezTo>
                <a:cubicBezTo>
                  <a:pt x="3923538" y="3586055"/>
                  <a:pt x="3919942" y="3589052"/>
                  <a:pt x="3922938" y="3591449"/>
                </a:cubicBezTo>
                <a:cubicBezTo>
                  <a:pt x="3929530" y="3596842"/>
                  <a:pt x="3917545" y="3595644"/>
                  <a:pt x="3918743" y="3590850"/>
                </a:cubicBezTo>
                <a:cubicBezTo>
                  <a:pt x="3919942" y="3586655"/>
                  <a:pt x="3907357" y="3583659"/>
                  <a:pt x="3910353" y="3590850"/>
                </a:cubicBezTo>
                <a:cubicBezTo>
                  <a:pt x="3913350" y="3598041"/>
                  <a:pt x="3904361" y="3599839"/>
                  <a:pt x="3905559" y="3592048"/>
                </a:cubicBezTo>
                <a:cubicBezTo>
                  <a:pt x="3906159" y="3586655"/>
                  <a:pt x="3886382" y="3576467"/>
                  <a:pt x="3886982" y="3587853"/>
                </a:cubicBezTo>
                <a:cubicBezTo>
                  <a:pt x="3887581" y="3593247"/>
                  <a:pt x="3880390" y="3590850"/>
                  <a:pt x="3881588" y="3595644"/>
                </a:cubicBezTo>
                <a:cubicBezTo>
                  <a:pt x="3882787" y="3600438"/>
                  <a:pt x="3874997" y="3610026"/>
                  <a:pt x="3874997" y="3602835"/>
                </a:cubicBezTo>
                <a:cubicBezTo>
                  <a:pt x="3874997" y="3595644"/>
                  <a:pt x="3872000" y="3594445"/>
                  <a:pt x="3873199" y="3589651"/>
                </a:cubicBezTo>
                <a:cubicBezTo>
                  <a:pt x="3874397" y="3584258"/>
                  <a:pt x="3871401" y="3578265"/>
                  <a:pt x="3866007" y="3574070"/>
                </a:cubicBezTo>
                <a:cubicBezTo>
                  <a:pt x="3860614" y="3569875"/>
                  <a:pt x="3854022" y="3559088"/>
                  <a:pt x="3848029" y="3557290"/>
                </a:cubicBezTo>
                <a:cubicBezTo>
                  <a:pt x="3842036" y="3555493"/>
                  <a:pt x="3839639" y="3552496"/>
                  <a:pt x="3837841" y="3553095"/>
                </a:cubicBezTo>
                <a:cubicBezTo>
                  <a:pt x="3835444" y="3553695"/>
                  <a:pt x="3833646" y="3556092"/>
                  <a:pt x="3837242" y="3557290"/>
                </a:cubicBezTo>
                <a:cubicBezTo>
                  <a:pt x="3840239" y="3558489"/>
                  <a:pt x="3836044" y="3561485"/>
                  <a:pt x="3833646" y="3561485"/>
                </a:cubicBezTo>
                <a:cubicBezTo>
                  <a:pt x="3831250" y="3561485"/>
                  <a:pt x="3825257" y="3568677"/>
                  <a:pt x="3828253" y="3560886"/>
                </a:cubicBezTo>
                <a:cubicBezTo>
                  <a:pt x="3831250" y="3553695"/>
                  <a:pt x="3824058" y="3554294"/>
                  <a:pt x="3822260" y="3559688"/>
                </a:cubicBezTo>
                <a:cubicBezTo>
                  <a:pt x="3821661" y="3562084"/>
                  <a:pt x="3822260" y="3565081"/>
                  <a:pt x="3819863" y="3566279"/>
                </a:cubicBezTo>
                <a:cubicBezTo>
                  <a:pt x="3817466" y="3567478"/>
                  <a:pt x="3816867" y="3565081"/>
                  <a:pt x="3816867" y="3562084"/>
                </a:cubicBezTo>
                <a:cubicBezTo>
                  <a:pt x="3816867" y="3559088"/>
                  <a:pt x="3816268" y="3558489"/>
                  <a:pt x="3818065" y="3557290"/>
                </a:cubicBezTo>
                <a:cubicBezTo>
                  <a:pt x="3819863" y="3556092"/>
                  <a:pt x="3819863" y="3551897"/>
                  <a:pt x="3815069" y="3554893"/>
                </a:cubicBezTo>
                <a:cubicBezTo>
                  <a:pt x="3810275" y="3557889"/>
                  <a:pt x="3810874" y="3560287"/>
                  <a:pt x="3810874" y="3562684"/>
                </a:cubicBezTo>
                <a:cubicBezTo>
                  <a:pt x="3810874" y="3565081"/>
                  <a:pt x="3809076" y="3568077"/>
                  <a:pt x="3806679" y="3569276"/>
                </a:cubicBezTo>
                <a:cubicBezTo>
                  <a:pt x="3804282" y="3570474"/>
                  <a:pt x="3803084" y="3574669"/>
                  <a:pt x="3803084" y="3574669"/>
                </a:cubicBezTo>
                <a:cubicBezTo>
                  <a:pt x="3803084" y="3574669"/>
                  <a:pt x="3798889" y="3577666"/>
                  <a:pt x="3800686" y="3572272"/>
                </a:cubicBezTo>
                <a:cubicBezTo>
                  <a:pt x="3801885" y="3566879"/>
                  <a:pt x="3798290" y="3569276"/>
                  <a:pt x="3797091" y="3572871"/>
                </a:cubicBezTo>
                <a:cubicBezTo>
                  <a:pt x="3796491" y="3577066"/>
                  <a:pt x="3794095" y="3576467"/>
                  <a:pt x="3791697" y="3578265"/>
                </a:cubicBezTo>
                <a:cubicBezTo>
                  <a:pt x="3789300" y="3580063"/>
                  <a:pt x="3787502" y="3583659"/>
                  <a:pt x="3789300" y="3589052"/>
                </a:cubicBezTo>
                <a:cubicBezTo>
                  <a:pt x="3791697" y="3594445"/>
                  <a:pt x="3794694" y="3593247"/>
                  <a:pt x="3798290" y="3593247"/>
                </a:cubicBezTo>
                <a:cubicBezTo>
                  <a:pt x="3801885" y="3593247"/>
                  <a:pt x="3803683" y="3594445"/>
                  <a:pt x="3799488" y="3597442"/>
                </a:cubicBezTo>
                <a:cubicBezTo>
                  <a:pt x="3795293" y="3599839"/>
                  <a:pt x="3792297" y="3601637"/>
                  <a:pt x="3791098" y="3598640"/>
                </a:cubicBezTo>
                <a:cubicBezTo>
                  <a:pt x="3789300" y="3596243"/>
                  <a:pt x="3782708" y="3596842"/>
                  <a:pt x="3782708" y="3601637"/>
                </a:cubicBezTo>
                <a:cubicBezTo>
                  <a:pt x="3782708" y="3606431"/>
                  <a:pt x="3786304" y="3605831"/>
                  <a:pt x="3788701" y="3605232"/>
                </a:cubicBezTo>
                <a:cubicBezTo>
                  <a:pt x="3791098" y="3604633"/>
                  <a:pt x="3791697" y="3606431"/>
                  <a:pt x="3791098" y="3609427"/>
                </a:cubicBezTo>
                <a:cubicBezTo>
                  <a:pt x="3790499" y="3611824"/>
                  <a:pt x="3789900" y="3614820"/>
                  <a:pt x="3786903" y="3611824"/>
                </a:cubicBezTo>
                <a:cubicBezTo>
                  <a:pt x="3784506" y="3609427"/>
                  <a:pt x="3780910" y="3610026"/>
                  <a:pt x="3778513" y="3612424"/>
                </a:cubicBezTo>
                <a:cubicBezTo>
                  <a:pt x="3776116" y="3614820"/>
                  <a:pt x="3768326" y="3620813"/>
                  <a:pt x="3776715" y="3623810"/>
                </a:cubicBezTo>
                <a:cubicBezTo>
                  <a:pt x="3779113" y="3624409"/>
                  <a:pt x="3780910" y="3623810"/>
                  <a:pt x="3777315" y="3628005"/>
                </a:cubicBezTo>
                <a:cubicBezTo>
                  <a:pt x="3774319" y="3632200"/>
                  <a:pt x="3770124" y="3628005"/>
                  <a:pt x="3771921" y="3633997"/>
                </a:cubicBezTo>
                <a:cubicBezTo>
                  <a:pt x="3773120" y="3640590"/>
                  <a:pt x="3774918" y="3638791"/>
                  <a:pt x="3777914" y="3638192"/>
                </a:cubicBezTo>
                <a:cubicBezTo>
                  <a:pt x="3780910" y="3637593"/>
                  <a:pt x="3785105" y="3637593"/>
                  <a:pt x="3786304" y="3639990"/>
                </a:cubicBezTo>
                <a:cubicBezTo>
                  <a:pt x="3786903" y="3642387"/>
                  <a:pt x="3783907" y="3642387"/>
                  <a:pt x="3780910" y="3642387"/>
                </a:cubicBezTo>
                <a:cubicBezTo>
                  <a:pt x="3778513" y="3641788"/>
                  <a:pt x="3774319" y="3640590"/>
                  <a:pt x="3775517" y="3644784"/>
                </a:cubicBezTo>
                <a:cubicBezTo>
                  <a:pt x="3776715" y="3648979"/>
                  <a:pt x="3770723" y="3647781"/>
                  <a:pt x="3767726" y="3644185"/>
                </a:cubicBezTo>
                <a:cubicBezTo>
                  <a:pt x="3764730" y="3640590"/>
                  <a:pt x="3759337" y="3638791"/>
                  <a:pt x="3759337" y="3641788"/>
                </a:cubicBezTo>
                <a:cubicBezTo>
                  <a:pt x="3759337" y="3645384"/>
                  <a:pt x="3753344" y="3642986"/>
                  <a:pt x="3754542" y="3637593"/>
                </a:cubicBezTo>
                <a:cubicBezTo>
                  <a:pt x="3755741" y="3632200"/>
                  <a:pt x="3752145" y="3631600"/>
                  <a:pt x="3749149" y="3632200"/>
                </a:cubicBezTo>
                <a:cubicBezTo>
                  <a:pt x="3746153" y="3632799"/>
                  <a:pt x="3744954" y="3636994"/>
                  <a:pt x="3748549" y="3638791"/>
                </a:cubicBezTo>
                <a:cubicBezTo>
                  <a:pt x="3752744" y="3640590"/>
                  <a:pt x="3750947" y="3641189"/>
                  <a:pt x="3747950" y="3641788"/>
                </a:cubicBezTo>
                <a:cubicBezTo>
                  <a:pt x="3745553" y="3642387"/>
                  <a:pt x="3746153" y="3647181"/>
                  <a:pt x="3750947" y="3649579"/>
                </a:cubicBezTo>
                <a:cubicBezTo>
                  <a:pt x="3755142" y="3651376"/>
                  <a:pt x="3758138" y="3656770"/>
                  <a:pt x="3758737" y="3659766"/>
                </a:cubicBezTo>
                <a:cubicBezTo>
                  <a:pt x="3759337" y="3662762"/>
                  <a:pt x="3759337" y="3668156"/>
                  <a:pt x="3754542" y="3662163"/>
                </a:cubicBezTo>
                <a:cubicBezTo>
                  <a:pt x="3750348" y="3656171"/>
                  <a:pt x="3749748" y="3660965"/>
                  <a:pt x="3750348" y="3664560"/>
                </a:cubicBezTo>
                <a:cubicBezTo>
                  <a:pt x="3750947" y="3668755"/>
                  <a:pt x="3752744" y="3672950"/>
                  <a:pt x="3747351" y="3666957"/>
                </a:cubicBezTo>
                <a:cubicBezTo>
                  <a:pt x="3741958" y="3660365"/>
                  <a:pt x="3730571" y="3651376"/>
                  <a:pt x="3732369" y="3647181"/>
                </a:cubicBezTo>
                <a:cubicBezTo>
                  <a:pt x="3733568" y="3643586"/>
                  <a:pt x="3728774" y="3636994"/>
                  <a:pt x="3725777" y="3643586"/>
                </a:cubicBezTo>
                <a:cubicBezTo>
                  <a:pt x="3722781" y="3650777"/>
                  <a:pt x="3718586" y="3648380"/>
                  <a:pt x="3719784" y="3653174"/>
                </a:cubicBezTo>
                <a:cubicBezTo>
                  <a:pt x="3720384" y="3657968"/>
                  <a:pt x="3708998" y="3653773"/>
                  <a:pt x="3710196" y="3663362"/>
                </a:cubicBezTo>
                <a:cubicBezTo>
                  <a:pt x="3711395" y="3672351"/>
                  <a:pt x="3705402" y="3670553"/>
                  <a:pt x="3708998" y="3676546"/>
                </a:cubicBezTo>
                <a:cubicBezTo>
                  <a:pt x="3710795" y="3678943"/>
                  <a:pt x="3710196" y="3683737"/>
                  <a:pt x="3709597" y="3685535"/>
                </a:cubicBezTo>
                <a:cubicBezTo>
                  <a:pt x="3708998" y="3687932"/>
                  <a:pt x="3708398" y="3692127"/>
                  <a:pt x="3711994" y="3689730"/>
                </a:cubicBezTo>
                <a:cubicBezTo>
                  <a:pt x="3716189" y="3687333"/>
                  <a:pt x="3715589" y="3693925"/>
                  <a:pt x="3711994" y="3696322"/>
                </a:cubicBezTo>
                <a:cubicBezTo>
                  <a:pt x="3708398" y="3698719"/>
                  <a:pt x="3707799" y="3704112"/>
                  <a:pt x="3704203" y="3702914"/>
                </a:cubicBezTo>
                <a:cubicBezTo>
                  <a:pt x="3700608" y="3701715"/>
                  <a:pt x="3696413" y="3712502"/>
                  <a:pt x="3696413" y="3715499"/>
                </a:cubicBezTo>
                <a:cubicBezTo>
                  <a:pt x="3696413" y="3718495"/>
                  <a:pt x="3688023" y="3740069"/>
                  <a:pt x="3681431" y="3744264"/>
                </a:cubicBezTo>
                <a:cubicBezTo>
                  <a:pt x="3674839" y="3748459"/>
                  <a:pt x="3665850" y="3757448"/>
                  <a:pt x="3655662" y="3758646"/>
                </a:cubicBezTo>
                <a:cubicBezTo>
                  <a:pt x="3650269" y="3759246"/>
                  <a:pt x="3648471" y="3765238"/>
                  <a:pt x="3637684" y="3761643"/>
                </a:cubicBezTo>
                <a:cubicBezTo>
                  <a:pt x="3626897" y="3758047"/>
                  <a:pt x="3627496" y="3764040"/>
                  <a:pt x="3625099" y="3768235"/>
                </a:cubicBezTo>
                <a:cubicBezTo>
                  <a:pt x="3622702" y="3772430"/>
                  <a:pt x="3619106" y="3778423"/>
                  <a:pt x="3610716" y="3776624"/>
                </a:cubicBezTo>
                <a:cubicBezTo>
                  <a:pt x="3602327" y="3775426"/>
                  <a:pt x="3600529" y="3779022"/>
                  <a:pt x="3598731" y="3782018"/>
                </a:cubicBezTo>
                <a:cubicBezTo>
                  <a:pt x="3596933" y="3785614"/>
                  <a:pt x="3592738" y="3786812"/>
                  <a:pt x="3589143" y="3787412"/>
                </a:cubicBezTo>
                <a:cubicBezTo>
                  <a:pt x="3585547" y="3788011"/>
                  <a:pt x="3577157" y="3794603"/>
                  <a:pt x="3580753" y="3787412"/>
                </a:cubicBezTo>
                <a:cubicBezTo>
                  <a:pt x="3584948" y="3780220"/>
                  <a:pt x="3578356" y="3783816"/>
                  <a:pt x="3575360" y="3785614"/>
                </a:cubicBezTo>
                <a:cubicBezTo>
                  <a:pt x="3572962" y="3787412"/>
                  <a:pt x="3562775" y="3788011"/>
                  <a:pt x="3567569" y="3782617"/>
                </a:cubicBezTo>
                <a:cubicBezTo>
                  <a:pt x="3572363" y="3777224"/>
                  <a:pt x="3562775" y="3778423"/>
                  <a:pt x="3559778" y="3784415"/>
                </a:cubicBezTo>
                <a:cubicBezTo>
                  <a:pt x="3556782" y="3789809"/>
                  <a:pt x="3548991" y="3792805"/>
                  <a:pt x="3545396" y="3794004"/>
                </a:cubicBezTo>
                <a:cubicBezTo>
                  <a:pt x="3541800" y="3795202"/>
                  <a:pt x="3537605" y="3798199"/>
                  <a:pt x="3537006" y="3801195"/>
                </a:cubicBezTo>
                <a:cubicBezTo>
                  <a:pt x="3536407" y="3804790"/>
                  <a:pt x="3536407" y="3806588"/>
                  <a:pt x="3534009" y="3808386"/>
                </a:cubicBezTo>
                <a:cubicBezTo>
                  <a:pt x="3531613" y="3810184"/>
                  <a:pt x="3532811" y="3813779"/>
                  <a:pt x="3527418" y="3815577"/>
                </a:cubicBezTo>
                <a:cubicBezTo>
                  <a:pt x="3522024" y="3817375"/>
                  <a:pt x="3521425" y="3822169"/>
                  <a:pt x="3514234" y="3822169"/>
                </a:cubicBezTo>
                <a:cubicBezTo>
                  <a:pt x="3507042" y="3822169"/>
                  <a:pt x="3499851" y="3827563"/>
                  <a:pt x="3499851" y="3835354"/>
                </a:cubicBezTo>
                <a:cubicBezTo>
                  <a:pt x="3499851" y="3842545"/>
                  <a:pt x="3502248" y="3852732"/>
                  <a:pt x="3496854" y="3852133"/>
                </a:cubicBezTo>
                <a:cubicBezTo>
                  <a:pt x="3491461" y="3851534"/>
                  <a:pt x="3491461" y="3849137"/>
                  <a:pt x="3491461" y="3844942"/>
                </a:cubicBezTo>
                <a:cubicBezTo>
                  <a:pt x="3492060" y="3840747"/>
                  <a:pt x="3488465" y="3836552"/>
                  <a:pt x="3489064" y="3831758"/>
                </a:cubicBezTo>
                <a:cubicBezTo>
                  <a:pt x="3489663" y="3826964"/>
                  <a:pt x="3488465" y="3817974"/>
                  <a:pt x="3484869" y="3825765"/>
                </a:cubicBezTo>
                <a:cubicBezTo>
                  <a:pt x="3483671" y="3828162"/>
                  <a:pt x="3483671" y="3840148"/>
                  <a:pt x="3484270" y="3843743"/>
                </a:cubicBezTo>
                <a:cubicBezTo>
                  <a:pt x="3484869" y="3847938"/>
                  <a:pt x="3483671" y="3853931"/>
                  <a:pt x="3486068" y="3856927"/>
                </a:cubicBezTo>
                <a:cubicBezTo>
                  <a:pt x="3488465" y="3860523"/>
                  <a:pt x="3485468" y="3868913"/>
                  <a:pt x="3489064" y="3873707"/>
                </a:cubicBezTo>
                <a:cubicBezTo>
                  <a:pt x="3492660" y="3878501"/>
                  <a:pt x="3486667" y="3891685"/>
                  <a:pt x="3484869" y="3895281"/>
                </a:cubicBezTo>
                <a:cubicBezTo>
                  <a:pt x="3483071" y="3899476"/>
                  <a:pt x="3479476" y="3909064"/>
                  <a:pt x="3484270" y="3919851"/>
                </a:cubicBezTo>
                <a:cubicBezTo>
                  <a:pt x="3486068" y="3924046"/>
                  <a:pt x="3489064" y="3930039"/>
                  <a:pt x="3488465" y="3933035"/>
                </a:cubicBezTo>
                <a:cubicBezTo>
                  <a:pt x="3487865" y="3936032"/>
                  <a:pt x="3489064" y="3940227"/>
                  <a:pt x="3492660" y="3940227"/>
                </a:cubicBezTo>
                <a:cubicBezTo>
                  <a:pt x="3495656" y="3940826"/>
                  <a:pt x="3497454" y="3943822"/>
                  <a:pt x="3496255" y="3946219"/>
                </a:cubicBezTo>
                <a:cubicBezTo>
                  <a:pt x="3495057" y="3948616"/>
                  <a:pt x="3495656" y="3949815"/>
                  <a:pt x="3499252" y="3951612"/>
                </a:cubicBezTo>
                <a:cubicBezTo>
                  <a:pt x="3501649" y="3952811"/>
                  <a:pt x="3504645" y="3960002"/>
                  <a:pt x="3510039" y="3963598"/>
                </a:cubicBezTo>
                <a:cubicBezTo>
                  <a:pt x="3515432" y="3967194"/>
                  <a:pt x="3514833" y="3976782"/>
                  <a:pt x="3512436" y="3976782"/>
                </a:cubicBezTo>
                <a:cubicBezTo>
                  <a:pt x="3510039" y="3977381"/>
                  <a:pt x="3507642" y="3974984"/>
                  <a:pt x="3508241" y="3971388"/>
                </a:cubicBezTo>
                <a:cubicBezTo>
                  <a:pt x="3508840" y="3967793"/>
                  <a:pt x="3503447" y="3965396"/>
                  <a:pt x="3502847" y="3968992"/>
                </a:cubicBezTo>
                <a:cubicBezTo>
                  <a:pt x="3502248" y="3972587"/>
                  <a:pt x="3498653" y="3969591"/>
                  <a:pt x="3498653" y="3965396"/>
                </a:cubicBezTo>
                <a:cubicBezTo>
                  <a:pt x="3499252" y="3961201"/>
                  <a:pt x="3493259" y="3953410"/>
                  <a:pt x="3490263" y="3952212"/>
                </a:cubicBezTo>
                <a:cubicBezTo>
                  <a:pt x="3486667" y="3950414"/>
                  <a:pt x="3489663" y="3957006"/>
                  <a:pt x="3492660" y="3960602"/>
                </a:cubicBezTo>
                <a:cubicBezTo>
                  <a:pt x="3496255" y="3964797"/>
                  <a:pt x="3496255" y="3971988"/>
                  <a:pt x="3501049" y="3976183"/>
                </a:cubicBezTo>
                <a:cubicBezTo>
                  <a:pt x="3506443" y="3980378"/>
                  <a:pt x="3505244" y="3984573"/>
                  <a:pt x="3503447" y="3986370"/>
                </a:cubicBezTo>
                <a:cubicBezTo>
                  <a:pt x="3501649" y="3987569"/>
                  <a:pt x="3495057" y="3982775"/>
                  <a:pt x="3495057" y="3977981"/>
                </a:cubicBezTo>
                <a:cubicBezTo>
                  <a:pt x="3495057" y="3972587"/>
                  <a:pt x="3492660" y="3970789"/>
                  <a:pt x="3489663" y="3974385"/>
                </a:cubicBezTo>
                <a:cubicBezTo>
                  <a:pt x="3486667" y="3977981"/>
                  <a:pt x="3484270" y="3979179"/>
                  <a:pt x="3489663" y="3979778"/>
                </a:cubicBezTo>
                <a:cubicBezTo>
                  <a:pt x="3495057" y="3980378"/>
                  <a:pt x="3496854" y="3989966"/>
                  <a:pt x="3499252" y="3993562"/>
                </a:cubicBezTo>
                <a:cubicBezTo>
                  <a:pt x="3501649" y="3997158"/>
                  <a:pt x="3511836" y="4010341"/>
                  <a:pt x="3514833" y="4013937"/>
                </a:cubicBezTo>
                <a:cubicBezTo>
                  <a:pt x="3517829" y="4017533"/>
                  <a:pt x="3520825" y="4025923"/>
                  <a:pt x="3520226" y="4033114"/>
                </a:cubicBezTo>
                <a:cubicBezTo>
                  <a:pt x="3519627" y="4040305"/>
                  <a:pt x="3524421" y="4046298"/>
                  <a:pt x="3526219" y="4049894"/>
                </a:cubicBezTo>
                <a:cubicBezTo>
                  <a:pt x="3528616" y="4052890"/>
                  <a:pt x="3530414" y="4060081"/>
                  <a:pt x="3529215" y="4063078"/>
                </a:cubicBezTo>
                <a:cubicBezTo>
                  <a:pt x="3528017" y="4066673"/>
                  <a:pt x="3534009" y="4073865"/>
                  <a:pt x="3540002" y="4077460"/>
                </a:cubicBezTo>
                <a:cubicBezTo>
                  <a:pt x="3545995" y="4081056"/>
                  <a:pt x="3553186" y="4093041"/>
                  <a:pt x="3551988" y="4104427"/>
                </a:cubicBezTo>
                <a:cubicBezTo>
                  <a:pt x="3551389" y="4115814"/>
                  <a:pt x="3559179" y="4134391"/>
                  <a:pt x="3566370" y="4141582"/>
                </a:cubicBezTo>
                <a:cubicBezTo>
                  <a:pt x="3573562" y="4148774"/>
                  <a:pt x="3577157" y="4157163"/>
                  <a:pt x="3578356" y="4163756"/>
                </a:cubicBezTo>
                <a:cubicBezTo>
                  <a:pt x="3578955" y="4167951"/>
                  <a:pt x="3582551" y="4178138"/>
                  <a:pt x="3582551" y="4182333"/>
                </a:cubicBezTo>
                <a:cubicBezTo>
                  <a:pt x="3582551" y="4186528"/>
                  <a:pt x="3582551" y="4187727"/>
                  <a:pt x="3584948" y="4190123"/>
                </a:cubicBezTo>
                <a:cubicBezTo>
                  <a:pt x="3587345" y="4192521"/>
                  <a:pt x="3586746" y="4195517"/>
                  <a:pt x="3584349" y="4192521"/>
                </a:cubicBezTo>
                <a:cubicBezTo>
                  <a:pt x="3581951" y="4190123"/>
                  <a:pt x="3580154" y="4192521"/>
                  <a:pt x="3583749" y="4199113"/>
                </a:cubicBezTo>
                <a:cubicBezTo>
                  <a:pt x="3587345" y="4205705"/>
                  <a:pt x="3584948" y="4217091"/>
                  <a:pt x="3584349" y="4220087"/>
                </a:cubicBezTo>
                <a:cubicBezTo>
                  <a:pt x="3583749" y="4223683"/>
                  <a:pt x="3581951" y="4231474"/>
                  <a:pt x="3575959" y="4225481"/>
                </a:cubicBezTo>
                <a:cubicBezTo>
                  <a:pt x="3569367" y="4220087"/>
                  <a:pt x="3569966" y="4223084"/>
                  <a:pt x="3571764" y="4226680"/>
                </a:cubicBezTo>
                <a:cubicBezTo>
                  <a:pt x="3573562" y="4230275"/>
                  <a:pt x="3572363" y="4238665"/>
                  <a:pt x="3572363" y="4241661"/>
                </a:cubicBezTo>
                <a:cubicBezTo>
                  <a:pt x="3571764" y="4244658"/>
                  <a:pt x="3571165" y="4253047"/>
                  <a:pt x="3578356" y="4251250"/>
                </a:cubicBezTo>
                <a:cubicBezTo>
                  <a:pt x="3585547" y="4250051"/>
                  <a:pt x="3583150" y="4250051"/>
                  <a:pt x="3586746" y="4253647"/>
                </a:cubicBezTo>
                <a:cubicBezTo>
                  <a:pt x="3590941" y="4257242"/>
                  <a:pt x="3601727" y="4265033"/>
                  <a:pt x="3605323" y="4264434"/>
                </a:cubicBezTo>
                <a:cubicBezTo>
                  <a:pt x="3608919" y="4263835"/>
                  <a:pt x="3611915" y="4266231"/>
                  <a:pt x="3612515" y="4268629"/>
                </a:cubicBezTo>
                <a:cubicBezTo>
                  <a:pt x="3613114" y="4271026"/>
                  <a:pt x="3620904" y="4274621"/>
                  <a:pt x="3621504" y="4271026"/>
                </a:cubicBezTo>
                <a:cubicBezTo>
                  <a:pt x="3622103" y="4266831"/>
                  <a:pt x="3626298" y="4266831"/>
                  <a:pt x="3627496" y="4270426"/>
                </a:cubicBezTo>
                <a:cubicBezTo>
                  <a:pt x="3628695" y="4274022"/>
                  <a:pt x="3634687" y="4273423"/>
                  <a:pt x="3637684" y="4272824"/>
                </a:cubicBezTo>
                <a:cubicBezTo>
                  <a:pt x="3640680" y="4272224"/>
                  <a:pt x="3649070" y="4274621"/>
                  <a:pt x="3652666" y="4273423"/>
                </a:cubicBezTo>
                <a:cubicBezTo>
                  <a:pt x="3656861" y="4272824"/>
                  <a:pt x="3661655" y="4269827"/>
                  <a:pt x="3664651" y="4269827"/>
                </a:cubicBezTo>
                <a:cubicBezTo>
                  <a:pt x="3667048" y="4269827"/>
                  <a:pt x="3668846" y="4269228"/>
                  <a:pt x="3667048" y="4266231"/>
                </a:cubicBezTo>
                <a:cubicBezTo>
                  <a:pt x="3665850" y="4263835"/>
                  <a:pt x="3668846" y="4260838"/>
                  <a:pt x="3671243" y="4259640"/>
                </a:cubicBezTo>
                <a:cubicBezTo>
                  <a:pt x="3673640" y="4259040"/>
                  <a:pt x="3676637" y="4254246"/>
                  <a:pt x="3678435" y="4251849"/>
                </a:cubicBezTo>
                <a:cubicBezTo>
                  <a:pt x="3680832" y="4249452"/>
                  <a:pt x="3686824" y="4246455"/>
                  <a:pt x="3689222" y="4249452"/>
                </a:cubicBezTo>
                <a:cubicBezTo>
                  <a:pt x="3691618" y="4252448"/>
                  <a:pt x="3698810" y="4248253"/>
                  <a:pt x="3697012" y="4242860"/>
                </a:cubicBezTo>
                <a:cubicBezTo>
                  <a:pt x="3695214" y="4237466"/>
                  <a:pt x="3706600" y="4231474"/>
                  <a:pt x="3710795" y="4232073"/>
                </a:cubicBezTo>
                <a:cubicBezTo>
                  <a:pt x="3714990" y="4232672"/>
                  <a:pt x="3717388" y="4231474"/>
                  <a:pt x="3718586" y="4229676"/>
                </a:cubicBezTo>
                <a:cubicBezTo>
                  <a:pt x="3719784" y="4228477"/>
                  <a:pt x="3735366" y="4226680"/>
                  <a:pt x="3736564" y="4229076"/>
                </a:cubicBezTo>
                <a:cubicBezTo>
                  <a:pt x="3737163" y="4231474"/>
                  <a:pt x="3744954" y="4230275"/>
                  <a:pt x="3749748" y="4228477"/>
                </a:cubicBezTo>
                <a:cubicBezTo>
                  <a:pt x="3753943" y="4226080"/>
                  <a:pt x="3761734" y="4224282"/>
                  <a:pt x="3762932" y="4227878"/>
                </a:cubicBezTo>
                <a:cubicBezTo>
                  <a:pt x="3764730" y="4231474"/>
                  <a:pt x="3767726" y="4235069"/>
                  <a:pt x="3770124" y="4230275"/>
                </a:cubicBezTo>
                <a:cubicBezTo>
                  <a:pt x="3772520" y="4226080"/>
                  <a:pt x="3779712" y="4223084"/>
                  <a:pt x="3783907" y="4223683"/>
                </a:cubicBezTo>
                <a:cubicBezTo>
                  <a:pt x="3788102" y="4224282"/>
                  <a:pt x="3789300" y="4226080"/>
                  <a:pt x="3790499" y="4229076"/>
                </a:cubicBezTo>
                <a:cubicBezTo>
                  <a:pt x="3791098" y="4231474"/>
                  <a:pt x="3795293" y="4232073"/>
                  <a:pt x="3795892" y="4229676"/>
                </a:cubicBezTo>
                <a:cubicBezTo>
                  <a:pt x="3796491" y="4227279"/>
                  <a:pt x="3807878" y="4227279"/>
                  <a:pt x="3809675" y="4216492"/>
                </a:cubicBezTo>
                <a:cubicBezTo>
                  <a:pt x="3812073" y="4205705"/>
                  <a:pt x="3816268" y="4193719"/>
                  <a:pt x="3822260" y="4191922"/>
                </a:cubicBezTo>
                <a:cubicBezTo>
                  <a:pt x="3828253" y="4190123"/>
                  <a:pt x="3836044" y="4188326"/>
                  <a:pt x="3840838" y="4181134"/>
                </a:cubicBezTo>
                <a:cubicBezTo>
                  <a:pt x="3845632" y="4173943"/>
                  <a:pt x="3866607" y="4167351"/>
                  <a:pt x="3870202" y="4169748"/>
                </a:cubicBezTo>
                <a:cubicBezTo>
                  <a:pt x="3874397" y="4172145"/>
                  <a:pt x="3894173" y="4166752"/>
                  <a:pt x="3900166" y="4167351"/>
                </a:cubicBezTo>
                <a:cubicBezTo>
                  <a:pt x="3906159" y="4167951"/>
                  <a:pt x="3915747" y="4164355"/>
                  <a:pt x="3917545" y="4161958"/>
                </a:cubicBezTo>
                <a:cubicBezTo>
                  <a:pt x="3919343" y="4159561"/>
                  <a:pt x="3924137" y="4157163"/>
                  <a:pt x="3927733" y="4156564"/>
                </a:cubicBezTo>
                <a:cubicBezTo>
                  <a:pt x="3931328" y="4155965"/>
                  <a:pt x="3939119" y="4149373"/>
                  <a:pt x="3945711" y="4144579"/>
                </a:cubicBezTo>
                <a:cubicBezTo>
                  <a:pt x="3948707" y="4142781"/>
                  <a:pt x="3970281" y="4137987"/>
                  <a:pt x="3978072" y="4139785"/>
                </a:cubicBezTo>
                <a:cubicBezTo>
                  <a:pt x="3985862" y="4141582"/>
                  <a:pt x="3991855" y="4139185"/>
                  <a:pt x="3992454" y="4137387"/>
                </a:cubicBezTo>
                <a:cubicBezTo>
                  <a:pt x="3993054" y="4135590"/>
                  <a:pt x="3996050" y="4133192"/>
                  <a:pt x="4002642" y="4137387"/>
                </a:cubicBezTo>
                <a:cubicBezTo>
                  <a:pt x="4009234" y="4141582"/>
                  <a:pt x="4018822" y="4150572"/>
                  <a:pt x="4021219" y="4154767"/>
                </a:cubicBezTo>
                <a:cubicBezTo>
                  <a:pt x="4023616" y="4158962"/>
                  <a:pt x="4029609" y="4161958"/>
                  <a:pt x="4032605" y="4159561"/>
                </a:cubicBezTo>
                <a:cubicBezTo>
                  <a:pt x="4035602" y="4157163"/>
                  <a:pt x="4040396" y="4157163"/>
                  <a:pt x="4044591" y="4159561"/>
                </a:cubicBezTo>
                <a:cubicBezTo>
                  <a:pt x="4048786" y="4161958"/>
                  <a:pt x="4053580" y="4161958"/>
                  <a:pt x="4058974" y="4160759"/>
                </a:cubicBezTo>
                <a:cubicBezTo>
                  <a:pt x="4064367" y="4160160"/>
                  <a:pt x="4066165" y="4161358"/>
                  <a:pt x="4069161" y="4164355"/>
                </a:cubicBezTo>
                <a:cubicBezTo>
                  <a:pt x="4072157" y="4167351"/>
                  <a:pt x="4072757" y="4169149"/>
                  <a:pt x="4071558" y="4171546"/>
                </a:cubicBezTo>
                <a:cubicBezTo>
                  <a:pt x="4070959" y="4173943"/>
                  <a:pt x="4073356" y="4174542"/>
                  <a:pt x="4078150" y="4174542"/>
                </a:cubicBezTo>
                <a:cubicBezTo>
                  <a:pt x="4082945" y="4174542"/>
                  <a:pt x="4088338" y="4180535"/>
                  <a:pt x="4083544" y="4181734"/>
                </a:cubicBezTo>
                <a:cubicBezTo>
                  <a:pt x="4078750" y="4182932"/>
                  <a:pt x="4081746" y="4185329"/>
                  <a:pt x="4082945" y="4188326"/>
                </a:cubicBezTo>
                <a:cubicBezTo>
                  <a:pt x="4083544" y="4191322"/>
                  <a:pt x="4085342" y="4198514"/>
                  <a:pt x="4087739" y="4194319"/>
                </a:cubicBezTo>
                <a:cubicBezTo>
                  <a:pt x="4090136" y="4190123"/>
                  <a:pt x="4091934" y="4193719"/>
                  <a:pt x="4094331" y="4196716"/>
                </a:cubicBezTo>
                <a:cubicBezTo>
                  <a:pt x="4096728" y="4199113"/>
                  <a:pt x="4100323" y="4203308"/>
                  <a:pt x="4101522" y="4206304"/>
                </a:cubicBezTo>
                <a:cubicBezTo>
                  <a:pt x="4102121" y="4209300"/>
                  <a:pt x="4105117" y="4211698"/>
                  <a:pt x="4107515" y="4213495"/>
                </a:cubicBezTo>
                <a:cubicBezTo>
                  <a:pt x="4109912" y="4215293"/>
                  <a:pt x="4114107" y="4224282"/>
                  <a:pt x="4114706" y="4228477"/>
                </a:cubicBezTo>
                <a:cubicBezTo>
                  <a:pt x="4115305" y="4232672"/>
                  <a:pt x="4115905" y="4238665"/>
                  <a:pt x="4117103" y="4240463"/>
                </a:cubicBezTo>
                <a:cubicBezTo>
                  <a:pt x="4118302" y="4242860"/>
                  <a:pt x="4117103" y="4244658"/>
                  <a:pt x="4115305" y="4243459"/>
                </a:cubicBezTo>
                <a:cubicBezTo>
                  <a:pt x="4113507" y="4242260"/>
                  <a:pt x="4110511" y="4244658"/>
                  <a:pt x="4116504" y="4247654"/>
                </a:cubicBezTo>
                <a:cubicBezTo>
                  <a:pt x="4122497" y="4250051"/>
                  <a:pt x="4121897" y="4255445"/>
                  <a:pt x="4126092" y="4256044"/>
                </a:cubicBezTo>
                <a:cubicBezTo>
                  <a:pt x="4130287" y="4256643"/>
                  <a:pt x="4135681" y="4251250"/>
                  <a:pt x="4131486" y="4248853"/>
                </a:cubicBezTo>
                <a:cubicBezTo>
                  <a:pt x="4127291" y="4246455"/>
                  <a:pt x="4128489" y="4236867"/>
                  <a:pt x="4132085" y="4237466"/>
                </a:cubicBezTo>
                <a:cubicBezTo>
                  <a:pt x="4136280" y="4238065"/>
                  <a:pt x="4136280" y="4236867"/>
                  <a:pt x="4136280" y="4234470"/>
                </a:cubicBezTo>
                <a:cubicBezTo>
                  <a:pt x="4136879" y="4232073"/>
                  <a:pt x="4138078" y="4230275"/>
                  <a:pt x="4140475" y="4230275"/>
                </a:cubicBezTo>
                <a:cubicBezTo>
                  <a:pt x="4145868" y="4229676"/>
                  <a:pt x="4144070" y="4218290"/>
                  <a:pt x="4153059" y="4217091"/>
                </a:cubicBezTo>
                <a:cubicBezTo>
                  <a:pt x="4159652" y="4215893"/>
                  <a:pt x="4171038" y="4206904"/>
                  <a:pt x="4171637" y="4196116"/>
                </a:cubicBezTo>
                <a:cubicBezTo>
                  <a:pt x="4172236" y="4185329"/>
                  <a:pt x="4175233" y="4186528"/>
                  <a:pt x="4177030" y="4185929"/>
                </a:cubicBezTo>
                <a:cubicBezTo>
                  <a:pt x="4178828" y="4185329"/>
                  <a:pt x="4179428" y="4181734"/>
                  <a:pt x="4178229" y="4176340"/>
                </a:cubicBezTo>
                <a:cubicBezTo>
                  <a:pt x="4177030" y="4170947"/>
                  <a:pt x="4176431" y="4166752"/>
                  <a:pt x="4177030" y="4163156"/>
                </a:cubicBezTo>
                <a:cubicBezTo>
                  <a:pt x="4177630" y="4158962"/>
                  <a:pt x="4179428" y="4152969"/>
                  <a:pt x="4179428" y="4165553"/>
                </a:cubicBezTo>
                <a:cubicBezTo>
                  <a:pt x="4180027" y="4178737"/>
                  <a:pt x="4183023" y="4182333"/>
                  <a:pt x="4186019" y="4184730"/>
                </a:cubicBezTo>
                <a:cubicBezTo>
                  <a:pt x="4189016" y="4187127"/>
                  <a:pt x="4190214" y="4190723"/>
                  <a:pt x="4185420" y="4192521"/>
                </a:cubicBezTo>
                <a:cubicBezTo>
                  <a:pt x="4181225" y="4194319"/>
                  <a:pt x="4183023" y="4197914"/>
                  <a:pt x="4183623" y="4200911"/>
                </a:cubicBezTo>
                <a:cubicBezTo>
                  <a:pt x="4184222" y="4204506"/>
                  <a:pt x="4183023" y="4208102"/>
                  <a:pt x="4180027" y="4209900"/>
                </a:cubicBezTo>
                <a:cubicBezTo>
                  <a:pt x="4177030" y="4212297"/>
                  <a:pt x="4175233" y="4215893"/>
                  <a:pt x="4175832" y="4222485"/>
                </a:cubicBezTo>
                <a:cubicBezTo>
                  <a:pt x="4176431" y="4229076"/>
                  <a:pt x="4175233" y="4234470"/>
                  <a:pt x="4175233" y="4240463"/>
                </a:cubicBezTo>
                <a:cubicBezTo>
                  <a:pt x="4175832" y="4245856"/>
                  <a:pt x="4174034" y="4254246"/>
                  <a:pt x="4167442" y="4251849"/>
                </a:cubicBezTo>
                <a:cubicBezTo>
                  <a:pt x="4160850" y="4249452"/>
                  <a:pt x="4159652" y="4249452"/>
                  <a:pt x="4160251" y="4252448"/>
                </a:cubicBezTo>
                <a:cubicBezTo>
                  <a:pt x="4160850" y="4255445"/>
                  <a:pt x="4160850" y="4257842"/>
                  <a:pt x="4159052" y="4259640"/>
                </a:cubicBezTo>
                <a:cubicBezTo>
                  <a:pt x="4157254" y="4261437"/>
                  <a:pt x="4156655" y="4267430"/>
                  <a:pt x="4162648" y="4262036"/>
                </a:cubicBezTo>
                <a:cubicBezTo>
                  <a:pt x="4168641" y="4256643"/>
                  <a:pt x="4174633" y="4256044"/>
                  <a:pt x="4177630" y="4257842"/>
                </a:cubicBezTo>
                <a:cubicBezTo>
                  <a:pt x="4180626" y="4259640"/>
                  <a:pt x="4186619" y="4256044"/>
                  <a:pt x="4187218" y="4245856"/>
                </a:cubicBezTo>
                <a:cubicBezTo>
                  <a:pt x="4187818" y="4235669"/>
                  <a:pt x="4186619" y="4230875"/>
                  <a:pt x="4189615" y="4228477"/>
                </a:cubicBezTo>
                <a:cubicBezTo>
                  <a:pt x="4192612" y="4226080"/>
                  <a:pt x="4193810" y="4227878"/>
                  <a:pt x="4193810" y="4232073"/>
                </a:cubicBezTo>
                <a:cubicBezTo>
                  <a:pt x="4193810" y="4236268"/>
                  <a:pt x="4198005" y="4237466"/>
                  <a:pt x="4200402" y="4238665"/>
                </a:cubicBezTo>
                <a:cubicBezTo>
                  <a:pt x="4202800" y="4239264"/>
                  <a:pt x="4204597" y="4242260"/>
                  <a:pt x="4202800" y="4244058"/>
                </a:cubicBezTo>
                <a:cubicBezTo>
                  <a:pt x="4201001" y="4246455"/>
                  <a:pt x="4201601" y="4250650"/>
                  <a:pt x="4202200" y="4253047"/>
                </a:cubicBezTo>
                <a:cubicBezTo>
                  <a:pt x="4202800" y="4255445"/>
                  <a:pt x="4202200" y="4259640"/>
                  <a:pt x="4199204" y="4263235"/>
                </a:cubicBezTo>
                <a:cubicBezTo>
                  <a:pt x="4196207" y="4267430"/>
                  <a:pt x="4193810" y="4275820"/>
                  <a:pt x="4204597" y="4272824"/>
                </a:cubicBezTo>
                <a:cubicBezTo>
                  <a:pt x="4214785" y="4269827"/>
                  <a:pt x="4217781" y="4265632"/>
                  <a:pt x="4220778" y="4263235"/>
                </a:cubicBezTo>
                <a:cubicBezTo>
                  <a:pt x="4223175" y="4260838"/>
                  <a:pt x="4227969" y="4254246"/>
                  <a:pt x="4226770" y="4262636"/>
                </a:cubicBezTo>
                <a:cubicBezTo>
                  <a:pt x="4225572" y="4271026"/>
                  <a:pt x="4218381" y="4266831"/>
                  <a:pt x="4220178" y="4273423"/>
                </a:cubicBezTo>
                <a:cubicBezTo>
                  <a:pt x="4222576" y="4280015"/>
                  <a:pt x="4227969" y="4280015"/>
                  <a:pt x="4231565" y="4283611"/>
                </a:cubicBezTo>
                <a:cubicBezTo>
                  <a:pt x="4235160" y="4287206"/>
                  <a:pt x="4239954" y="4291401"/>
                  <a:pt x="4238756" y="4302787"/>
                </a:cubicBezTo>
                <a:cubicBezTo>
                  <a:pt x="4238156" y="4314173"/>
                  <a:pt x="4236359" y="4319567"/>
                  <a:pt x="4239355" y="4324960"/>
                </a:cubicBezTo>
                <a:cubicBezTo>
                  <a:pt x="4242351" y="4330354"/>
                  <a:pt x="4262127" y="4362115"/>
                  <a:pt x="4272315" y="4360917"/>
                </a:cubicBezTo>
                <a:cubicBezTo>
                  <a:pt x="4282503" y="4360318"/>
                  <a:pt x="4281304" y="4360318"/>
                  <a:pt x="4283102" y="4362715"/>
                </a:cubicBezTo>
                <a:cubicBezTo>
                  <a:pt x="4284900" y="4365112"/>
                  <a:pt x="4288496" y="4363314"/>
                  <a:pt x="4290293" y="4362115"/>
                </a:cubicBezTo>
                <a:cubicBezTo>
                  <a:pt x="4292091" y="4361516"/>
                  <a:pt x="4294488" y="4361516"/>
                  <a:pt x="4295687" y="4363314"/>
                </a:cubicBezTo>
                <a:cubicBezTo>
                  <a:pt x="4296885" y="4365112"/>
                  <a:pt x="4301080" y="4365711"/>
                  <a:pt x="4304077" y="4365112"/>
                </a:cubicBezTo>
                <a:cubicBezTo>
                  <a:pt x="4307073" y="4364513"/>
                  <a:pt x="4316662" y="4367509"/>
                  <a:pt x="4319058" y="4369906"/>
                </a:cubicBezTo>
                <a:cubicBezTo>
                  <a:pt x="4321456" y="4372303"/>
                  <a:pt x="4323253" y="4372902"/>
                  <a:pt x="4324452" y="4372303"/>
                </a:cubicBezTo>
                <a:cubicBezTo>
                  <a:pt x="4326250" y="4371704"/>
                  <a:pt x="4330445" y="4372902"/>
                  <a:pt x="4332842" y="4375299"/>
                </a:cubicBezTo>
                <a:cubicBezTo>
                  <a:pt x="4335239" y="4377697"/>
                  <a:pt x="4346026" y="4378296"/>
                  <a:pt x="4349622" y="4370505"/>
                </a:cubicBezTo>
                <a:cubicBezTo>
                  <a:pt x="4353816" y="4362715"/>
                  <a:pt x="4358611" y="4360318"/>
                  <a:pt x="4365802" y="4360318"/>
                </a:cubicBezTo>
                <a:cubicBezTo>
                  <a:pt x="4372993" y="4360318"/>
                  <a:pt x="4372394" y="4356123"/>
                  <a:pt x="4369997" y="4354325"/>
                </a:cubicBezTo>
                <a:cubicBezTo>
                  <a:pt x="4367600" y="4351928"/>
                  <a:pt x="4369997" y="4347133"/>
                  <a:pt x="4374791" y="4345935"/>
                </a:cubicBezTo>
                <a:cubicBezTo>
                  <a:pt x="4379585" y="4344737"/>
                  <a:pt x="4386177" y="4348332"/>
                  <a:pt x="4381383" y="4353126"/>
                </a:cubicBezTo>
                <a:cubicBezTo>
                  <a:pt x="4376589" y="4357920"/>
                  <a:pt x="4373593" y="4363314"/>
                  <a:pt x="4378986" y="4363314"/>
                </a:cubicBezTo>
                <a:cubicBezTo>
                  <a:pt x="4384379" y="4363314"/>
                  <a:pt x="4381982" y="4356722"/>
                  <a:pt x="4389174" y="4357321"/>
                </a:cubicBezTo>
                <a:cubicBezTo>
                  <a:pt x="4395166" y="4357920"/>
                  <a:pt x="4392769" y="4362715"/>
                  <a:pt x="4391571" y="4364513"/>
                </a:cubicBezTo>
                <a:cubicBezTo>
                  <a:pt x="4390372" y="4366310"/>
                  <a:pt x="4390971" y="4371704"/>
                  <a:pt x="4398163" y="4372902"/>
                </a:cubicBezTo>
                <a:cubicBezTo>
                  <a:pt x="4405354" y="4374700"/>
                  <a:pt x="4402358" y="4384288"/>
                  <a:pt x="4407152" y="4380093"/>
                </a:cubicBezTo>
                <a:cubicBezTo>
                  <a:pt x="4411946" y="4375899"/>
                  <a:pt x="4411946" y="4382491"/>
                  <a:pt x="4412545" y="4385487"/>
                </a:cubicBezTo>
                <a:cubicBezTo>
                  <a:pt x="4413145" y="4389083"/>
                  <a:pt x="4414942" y="4395075"/>
                  <a:pt x="4417340" y="4389083"/>
                </a:cubicBezTo>
                <a:cubicBezTo>
                  <a:pt x="4419736" y="4383090"/>
                  <a:pt x="4422733" y="4375899"/>
                  <a:pt x="4417939" y="4377697"/>
                </a:cubicBezTo>
                <a:cubicBezTo>
                  <a:pt x="4413145" y="4379494"/>
                  <a:pt x="4410747" y="4372303"/>
                  <a:pt x="4417939" y="4368708"/>
                </a:cubicBezTo>
                <a:cubicBezTo>
                  <a:pt x="4425130" y="4365112"/>
                  <a:pt x="4426329" y="4366909"/>
                  <a:pt x="4428126" y="4369307"/>
                </a:cubicBezTo>
                <a:cubicBezTo>
                  <a:pt x="4429325" y="4371704"/>
                  <a:pt x="4430524" y="4368708"/>
                  <a:pt x="4432921" y="4367509"/>
                </a:cubicBezTo>
                <a:cubicBezTo>
                  <a:pt x="4435318" y="4366310"/>
                  <a:pt x="4441910" y="4365112"/>
                  <a:pt x="4446105" y="4360318"/>
                </a:cubicBezTo>
                <a:cubicBezTo>
                  <a:pt x="4450300" y="4354924"/>
                  <a:pt x="4450300" y="4354924"/>
                  <a:pt x="4452097" y="4351928"/>
                </a:cubicBezTo>
                <a:cubicBezTo>
                  <a:pt x="4453895" y="4348931"/>
                  <a:pt x="4452097" y="4349531"/>
                  <a:pt x="4449101" y="4351928"/>
                </a:cubicBezTo>
                <a:cubicBezTo>
                  <a:pt x="4446105" y="4354325"/>
                  <a:pt x="4441910" y="4356123"/>
                  <a:pt x="4447303" y="4348332"/>
                </a:cubicBezTo>
                <a:cubicBezTo>
                  <a:pt x="4452696" y="4341141"/>
                  <a:pt x="4456292" y="4344137"/>
                  <a:pt x="4459888" y="4344737"/>
                </a:cubicBezTo>
                <a:cubicBezTo>
                  <a:pt x="4463484" y="4345336"/>
                  <a:pt x="4468877" y="4343538"/>
                  <a:pt x="4474271" y="4342938"/>
                </a:cubicBezTo>
                <a:cubicBezTo>
                  <a:pt x="4480862" y="4342339"/>
                  <a:pt x="4489252" y="4342938"/>
                  <a:pt x="4495245" y="4344737"/>
                </a:cubicBezTo>
                <a:cubicBezTo>
                  <a:pt x="4501238" y="4346534"/>
                  <a:pt x="4506032" y="4342339"/>
                  <a:pt x="4507830" y="4339343"/>
                </a:cubicBezTo>
                <a:cubicBezTo>
                  <a:pt x="4509627" y="4336347"/>
                  <a:pt x="4510826" y="4333949"/>
                  <a:pt x="4510227" y="4330953"/>
                </a:cubicBezTo>
                <a:cubicBezTo>
                  <a:pt x="4509627" y="4327357"/>
                  <a:pt x="4510826" y="4327357"/>
                  <a:pt x="4513822" y="4326758"/>
                </a:cubicBezTo>
                <a:cubicBezTo>
                  <a:pt x="4516819" y="4326159"/>
                  <a:pt x="4514422" y="4323762"/>
                  <a:pt x="4511426" y="4321365"/>
                </a:cubicBezTo>
                <a:cubicBezTo>
                  <a:pt x="4508429" y="4318967"/>
                  <a:pt x="4510227" y="4305784"/>
                  <a:pt x="4513822" y="4300390"/>
                </a:cubicBezTo>
                <a:cubicBezTo>
                  <a:pt x="4517418" y="4294997"/>
                  <a:pt x="4517418" y="4269827"/>
                  <a:pt x="4525209" y="4262036"/>
                </a:cubicBezTo>
                <a:cubicBezTo>
                  <a:pt x="4532999" y="4253647"/>
                  <a:pt x="4530602" y="4251849"/>
                  <a:pt x="4528205" y="4250650"/>
                </a:cubicBezTo>
                <a:cubicBezTo>
                  <a:pt x="4525808" y="4250051"/>
                  <a:pt x="4527606" y="4247654"/>
                  <a:pt x="4530602" y="4245856"/>
                </a:cubicBezTo>
                <a:cubicBezTo>
                  <a:pt x="4533598" y="4244058"/>
                  <a:pt x="4531202" y="4231474"/>
                  <a:pt x="4536595" y="4225481"/>
                </a:cubicBezTo>
                <a:cubicBezTo>
                  <a:pt x="4541988" y="4219488"/>
                  <a:pt x="4541988" y="4211698"/>
                  <a:pt x="4541988" y="4208701"/>
                </a:cubicBezTo>
                <a:cubicBezTo>
                  <a:pt x="4541988" y="4206304"/>
                  <a:pt x="4541389" y="4202709"/>
                  <a:pt x="4546183" y="4203308"/>
                </a:cubicBezTo>
                <a:cubicBezTo>
                  <a:pt x="4550978" y="4203907"/>
                  <a:pt x="4553375" y="4194918"/>
                  <a:pt x="4553974" y="4192521"/>
                </a:cubicBezTo>
                <a:cubicBezTo>
                  <a:pt x="4554573" y="4190123"/>
                  <a:pt x="4559368" y="4182333"/>
                  <a:pt x="4564761" y="4181134"/>
                </a:cubicBezTo>
                <a:cubicBezTo>
                  <a:pt x="4570154" y="4179936"/>
                  <a:pt x="4573750" y="4175142"/>
                  <a:pt x="4565360" y="4175142"/>
                </a:cubicBezTo>
                <a:cubicBezTo>
                  <a:pt x="4556970" y="4175741"/>
                  <a:pt x="4561764" y="4171546"/>
                  <a:pt x="4568357" y="4170947"/>
                </a:cubicBezTo>
                <a:cubicBezTo>
                  <a:pt x="4573750" y="4170347"/>
                  <a:pt x="4581540" y="4162557"/>
                  <a:pt x="4582140" y="4154167"/>
                </a:cubicBezTo>
                <a:cubicBezTo>
                  <a:pt x="4582739" y="4146377"/>
                  <a:pt x="4589331" y="4128398"/>
                  <a:pt x="4592328" y="4122406"/>
                </a:cubicBezTo>
                <a:cubicBezTo>
                  <a:pt x="4595324" y="4116413"/>
                  <a:pt x="4595324" y="4107424"/>
                  <a:pt x="4591728" y="4108023"/>
                </a:cubicBezTo>
                <a:cubicBezTo>
                  <a:pt x="4587533" y="4108622"/>
                  <a:pt x="4589331" y="4101431"/>
                  <a:pt x="4591728" y="4097835"/>
                </a:cubicBezTo>
                <a:cubicBezTo>
                  <a:pt x="4594125" y="4093640"/>
                  <a:pt x="4595923" y="4085850"/>
                  <a:pt x="4595923" y="4081655"/>
                </a:cubicBezTo>
                <a:cubicBezTo>
                  <a:pt x="4595324" y="4077460"/>
                  <a:pt x="4597721" y="4071467"/>
                  <a:pt x="4600717" y="4067272"/>
                </a:cubicBezTo>
                <a:cubicBezTo>
                  <a:pt x="4603714" y="4063078"/>
                  <a:pt x="4602515" y="4058883"/>
                  <a:pt x="4598919" y="4061879"/>
                </a:cubicBezTo>
                <a:cubicBezTo>
                  <a:pt x="4595324" y="4064276"/>
                  <a:pt x="4594125" y="4058283"/>
                  <a:pt x="4601317" y="4051691"/>
                </a:cubicBezTo>
                <a:cubicBezTo>
                  <a:pt x="4604313" y="4049294"/>
                  <a:pt x="4604912" y="4045699"/>
                  <a:pt x="4607909" y="4042103"/>
                </a:cubicBezTo>
                <a:cubicBezTo>
                  <a:pt x="4616299" y="4039107"/>
                  <a:pt x="4613901" y="4037309"/>
                  <a:pt x="4610306" y="4037908"/>
                </a:cubicBezTo>
                <a:close/>
                <a:moveTo>
                  <a:pt x="4175233" y="3336158"/>
                </a:moveTo>
                <a:cubicBezTo>
                  <a:pt x="4166843" y="3336158"/>
                  <a:pt x="4160251" y="3334960"/>
                  <a:pt x="4156056" y="3342750"/>
                </a:cubicBezTo>
                <a:cubicBezTo>
                  <a:pt x="4151861" y="3350541"/>
                  <a:pt x="4150063" y="3353537"/>
                  <a:pt x="4149464" y="3355934"/>
                </a:cubicBezTo>
                <a:cubicBezTo>
                  <a:pt x="4148865" y="3358331"/>
                  <a:pt x="4147666" y="3362526"/>
                  <a:pt x="4145269" y="3363725"/>
                </a:cubicBezTo>
                <a:cubicBezTo>
                  <a:pt x="4142872" y="3364924"/>
                  <a:pt x="4141074" y="3369118"/>
                  <a:pt x="4148865" y="3367920"/>
                </a:cubicBezTo>
                <a:cubicBezTo>
                  <a:pt x="4156056" y="3366122"/>
                  <a:pt x="4159652" y="3365523"/>
                  <a:pt x="4162648" y="3366721"/>
                </a:cubicBezTo>
                <a:cubicBezTo>
                  <a:pt x="4165644" y="3367320"/>
                  <a:pt x="4168641" y="3364924"/>
                  <a:pt x="4169839" y="3363125"/>
                </a:cubicBezTo>
                <a:cubicBezTo>
                  <a:pt x="4170438" y="3361328"/>
                  <a:pt x="4175832" y="3358331"/>
                  <a:pt x="4178229" y="3358331"/>
                </a:cubicBezTo>
                <a:cubicBezTo>
                  <a:pt x="4180626" y="3358331"/>
                  <a:pt x="4181825" y="3348144"/>
                  <a:pt x="4183023" y="3344548"/>
                </a:cubicBezTo>
                <a:cubicBezTo>
                  <a:pt x="4183623" y="3340353"/>
                  <a:pt x="4183623" y="3336158"/>
                  <a:pt x="4175233" y="3336158"/>
                </a:cubicBezTo>
                <a:close/>
                <a:moveTo>
                  <a:pt x="4172236" y="3367320"/>
                </a:moveTo>
                <a:cubicBezTo>
                  <a:pt x="4170438" y="3369718"/>
                  <a:pt x="4172836" y="3370317"/>
                  <a:pt x="4176431" y="3370317"/>
                </a:cubicBezTo>
                <a:cubicBezTo>
                  <a:pt x="4180027" y="3370317"/>
                  <a:pt x="4181225" y="3367320"/>
                  <a:pt x="4178828" y="3365523"/>
                </a:cubicBezTo>
                <a:cubicBezTo>
                  <a:pt x="4176431" y="3363725"/>
                  <a:pt x="4174034" y="3364924"/>
                  <a:pt x="4172236" y="3367320"/>
                </a:cubicBezTo>
                <a:close/>
                <a:moveTo>
                  <a:pt x="3211001" y="3283422"/>
                </a:moveTo>
                <a:cubicBezTo>
                  <a:pt x="3213398" y="3285819"/>
                  <a:pt x="3219391" y="3293011"/>
                  <a:pt x="3221788" y="3285819"/>
                </a:cubicBezTo>
                <a:cubicBezTo>
                  <a:pt x="3224185" y="3278628"/>
                  <a:pt x="3225383" y="3266642"/>
                  <a:pt x="3224784" y="3260051"/>
                </a:cubicBezTo>
                <a:cubicBezTo>
                  <a:pt x="3224185" y="3253458"/>
                  <a:pt x="3224784" y="3246866"/>
                  <a:pt x="3222987" y="3242072"/>
                </a:cubicBezTo>
                <a:cubicBezTo>
                  <a:pt x="3221188" y="3237278"/>
                  <a:pt x="3220589" y="3234881"/>
                  <a:pt x="3222387" y="3231285"/>
                </a:cubicBezTo>
                <a:cubicBezTo>
                  <a:pt x="3223586" y="3227091"/>
                  <a:pt x="3222987" y="3222896"/>
                  <a:pt x="3222387" y="3216303"/>
                </a:cubicBezTo>
                <a:cubicBezTo>
                  <a:pt x="3221788" y="3209711"/>
                  <a:pt x="3222987" y="3207914"/>
                  <a:pt x="3225383" y="3205516"/>
                </a:cubicBezTo>
                <a:cubicBezTo>
                  <a:pt x="3227781" y="3203120"/>
                  <a:pt x="3228979" y="3203120"/>
                  <a:pt x="3229578" y="3200123"/>
                </a:cubicBezTo>
                <a:cubicBezTo>
                  <a:pt x="3230178" y="3197127"/>
                  <a:pt x="3224185" y="3195329"/>
                  <a:pt x="3224185" y="3195329"/>
                </a:cubicBezTo>
                <a:cubicBezTo>
                  <a:pt x="3224185" y="3195329"/>
                  <a:pt x="3218792" y="3192932"/>
                  <a:pt x="3218792" y="3188737"/>
                </a:cubicBezTo>
                <a:cubicBezTo>
                  <a:pt x="3218792" y="3184542"/>
                  <a:pt x="3214597" y="3183343"/>
                  <a:pt x="3214597" y="3180946"/>
                </a:cubicBezTo>
                <a:cubicBezTo>
                  <a:pt x="3213997" y="3178549"/>
                  <a:pt x="3212199" y="3177350"/>
                  <a:pt x="3209802" y="3174954"/>
                </a:cubicBezTo>
                <a:cubicBezTo>
                  <a:pt x="3207405" y="3172556"/>
                  <a:pt x="3197817" y="3172556"/>
                  <a:pt x="3191225" y="3171957"/>
                </a:cubicBezTo>
                <a:cubicBezTo>
                  <a:pt x="3184633" y="3171358"/>
                  <a:pt x="3186431" y="3172556"/>
                  <a:pt x="3185831" y="3174954"/>
                </a:cubicBezTo>
                <a:cubicBezTo>
                  <a:pt x="3185232" y="3177350"/>
                  <a:pt x="3184633" y="3179149"/>
                  <a:pt x="3181637" y="3178549"/>
                </a:cubicBezTo>
                <a:cubicBezTo>
                  <a:pt x="3179239" y="3177950"/>
                  <a:pt x="3181037" y="3172556"/>
                  <a:pt x="3183434" y="3167762"/>
                </a:cubicBezTo>
                <a:cubicBezTo>
                  <a:pt x="3185831" y="3162968"/>
                  <a:pt x="3179839" y="3162369"/>
                  <a:pt x="3178041" y="3160571"/>
                </a:cubicBezTo>
                <a:cubicBezTo>
                  <a:pt x="3175644" y="3158174"/>
                  <a:pt x="3173247" y="3154578"/>
                  <a:pt x="3175644" y="3153380"/>
                </a:cubicBezTo>
                <a:cubicBezTo>
                  <a:pt x="3178041" y="3152181"/>
                  <a:pt x="3178041" y="3149784"/>
                  <a:pt x="3176243" y="3147986"/>
                </a:cubicBezTo>
                <a:cubicBezTo>
                  <a:pt x="3174445" y="3146189"/>
                  <a:pt x="3175045" y="3143791"/>
                  <a:pt x="3174445" y="3137799"/>
                </a:cubicBezTo>
                <a:cubicBezTo>
                  <a:pt x="3173846" y="3132405"/>
                  <a:pt x="3172048" y="3131207"/>
                  <a:pt x="3168452" y="3131207"/>
                </a:cubicBezTo>
                <a:cubicBezTo>
                  <a:pt x="3164857" y="3131207"/>
                  <a:pt x="3163059" y="3127012"/>
                  <a:pt x="3160662" y="3127611"/>
                </a:cubicBezTo>
                <a:cubicBezTo>
                  <a:pt x="3158265" y="3128210"/>
                  <a:pt x="3157666" y="3128210"/>
                  <a:pt x="3155268" y="3125214"/>
                </a:cubicBezTo>
                <a:cubicBezTo>
                  <a:pt x="3152871" y="3122817"/>
                  <a:pt x="3147478" y="3120419"/>
                  <a:pt x="3144481" y="3119221"/>
                </a:cubicBezTo>
                <a:cubicBezTo>
                  <a:pt x="3141485" y="3118023"/>
                  <a:pt x="3140286" y="3117423"/>
                  <a:pt x="3142085" y="3115026"/>
                </a:cubicBezTo>
                <a:cubicBezTo>
                  <a:pt x="3143283" y="3112629"/>
                  <a:pt x="3142684" y="3110831"/>
                  <a:pt x="3142085" y="3107835"/>
                </a:cubicBezTo>
                <a:cubicBezTo>
                  <a:pt x="3141485" y="3104838"/>
                  <a:pt x="3142684" y="3103640"/>
                  <a:pt x="3145081" y="3103041"/>
                </a:cubicBezTo>
                <a:cubicBezTo>
                  <a:pt x="3147478" y="3102441"/>
                  <a:pt x="3150474" y="3102441"/>
                  <a:pt x="3155268" y="3097048"/>
                </a:cubicBezTo>
                <a:cubicBezTo>
                  <a:pt x="3159463" y="3091654"/>
                  <a:pt x="3159463" y="3087459"/>
                  <a:pt x="3154669" y="3080868"/>
                </a:cubicBezTo>
                <a:cubicBezTo>
                  <a:pt x="3150474" y="3073676"/>
                  <a:pt x="3145680" y="3075474"/>
                  <a:pt x="3138489" y="3081467"/>
                </a:cubicBezTo>
                <a:cubicBezTo>
                  <a:pt x="3131297" y="3086860"/>
                  <a:pt x="3121709" y="3088658"/>
                  <a:pt x="3121110" y="3086860"/>
                </a:cubicBezTo>
                <a:cubicBezTo>
                  <a:pt x="3120510" y="3085063"/>
                  <a:pt x="3123507" y="3085063"/>
                  <a:pt x="3129500" y="3080868"/>
                </a:cubicBezTo>
                <a:cubicBezTo>
                  <a:pt x="3135492" y="3076673"/>
                  <a:pt x="3127702" y="3073077"/>
                  <a:pt x="3121709" y="3070680"/>
                </a:cubicBezTo>
                <a:cubicBezTo>
                  <a:pt x="3115716" y="3068283"/>
                  <a:pt x="3110922" y="3058095"/>
                  <a:pt x="3109724" y="3053900"/>
                </a:cubicBezTo>
                <a:cubicBezTo>
                  <a:pt x="3109125" y="3049705"/>
                  <a:pt x="3099536" y="3040117"/>
                  <a:pt x="3092944" y="3038319"/>
                </a:cubicBezTo>
                <a:cubicBezTo>
                  <a:pt x="3086951" y="3036521"/>
                  <a:pt x="3084554" y="3032926"/>
                  <a:pt x="3084554" y="3029929"/>
                </a:cubicBezTo>
                <a:cubicBezTo>
                  <a:pt x="3083955" y="3026933"/>
                  <a:pt x="3083955" y="3022139"/>
                  <a:pt x="3080359" y="3016745"/>
                </a:cubicBezTo>
                <a:cubicBezTo>
                  <a:pt x="3076764" y="3011352"/>
                  <a:pt x="3073767" y="3016146"/>
                  <a:pt x="3074366" y="3022139"/>
                </a:cubicBezTo>
                <a:cubicBezTo>
                  <a:pt x="3074966" y="3028731"/>
                  <a:pt x="3072569" y="3026933"/>
                  <a:pt x="3068973" y="3023936"/>
                </a:cubicBezTo>
                <a:cubicBezTo>
                  <a:pt x="3064778" y="3020940"/>
                  <a:pt x="3060583" y="3010752"/>
                  <a:pt x="3059385" y="3007157"/>
                </a:cubicBezTo>
                <a:cubicBezTo>
                  <a:pt x="3058186" y="3003561"/>
                  <a:pt x="3056988" y="2999966"/>
                  <a:pt x="3053991" y="3001164"/>
                </a:cubicBezTo>
                <a:cubicBezTo>
                  <a:pt x="3051594" y="3001763"/>
                  <a:pt x="3049197" y="2999966"/>
                  <a:pt x="3049197" y="2998168"/>
                </a:cubicBezTo>
                <a:cubicBezTo>
                  <a:pt x="3049197" y="2996370"/>
                  <a:pt x="3049796" y="2993973"/>
                  <a:pt x="3045002" y="2991576"/>
                </a:cubicBezTo>
                <a:cubicBezTo>
                  <a:pt x="3039609" y="2989179"/>
                  <a:pt x="3034215" y="2983186"/>
                  <a:pt x="3033017" y="2979590"/>
                </a:cubicBezTo>
                <a:cubicBezTo>
                  <a:pt x="3031818" y="2976594"/>
                  <a:pt x="3024028" y="2968803"/>
                  <a:pt x="3019233" y="2962810"/>
                </a:cubicBezTo>
                <a:cubicBezTo>
                  <a:pt x="3014439" y="2957417"/>
                  <a:pt x="3012641" y="2955619"/>
                  <a:pt x="3006049" y="2953821"/>
                </a:cubicBezTo>
                <a:cubicBezTo>
                  <a:pt x="2998858" y="2951424"/>
                  <a:pt x="3002454" y="2946630"/>
                  <a:pt x="3004251" y="2943634"/>
                </a:cubicBezTo>
                <a:cubicBezTo>
                  <a:pt x="3006049" y="2940637"/>
                  <a:pt x="3003652" y="2938840"/>
                  <a:pt x="3000057" y="2939439"/>
                </a:cubicBezTo>
                <a:cubicBezTo>
                  <a:pt x="2997060" y="2940038"/>
                  <a:pt x="2995862" y="2936442"/>
                  <a:pt x="2996461" y="2932248"/>
                </a:cubicBezTo>
                <a:cubicBezTo>
                  <a:pt x="2997060" y="2928053"/>
                  <a:pt x="2992865" y="2925056"/>
                  <a:pt x="2990468" y="2921461"/>
                </a:cubicBezTo>
                <a:cubicBezTo>
                  <a:pt x="2988071" y="2917266"/>
                  <a:pt x="2985075" y="2914869"/>
                  <a:pt x="2978483" y="2915468"/>
                </a:cubicBezTo>
                <a:cubicBezTo>
                  <a:pt x="2971891" y="2916067"/>
                  <a:pt x="2971291" y="2913071"/>
                  <a:pt x="2965299" y="2913071"/>
                </a:cubicBezTo>
                <a:cubicBezTo>
                  <a:pt x="2938331" y="2911273"/>
                  <a:pt x="2940728" y="2906479"/>
                  <a:pt x="2934736" y="2902284"/>
                </a:cubicBezTo>
                <a:cubicBezTo>
                  <a:pt x="2928743" y="2898089"/>
                  <a:pt x="2923949" y="2896890"/>
                  <a:pt x="2919754" y="2901685"/>
                </a:cubicBezTo>
                <a:cubicBezTo>
                  <a:pt x="2915559" y="2906479"/>
                  <a:pt x="2920353" y="2913670"/>
                  <a:pt x="2920353" y="2913670"/>
                </a:cubicBezTo>
                <a:cubicBezTo>
                  <a:pt x="2920353" y="2913670"/>
                  <a:pt x="2923349" y="2919064"/>
                  <a:pt x="2924548" y="2925056"/>
                </a:cubicBezTo>
                <a:cubicBezTo>
                  <a:pt x="2925746" y="2930450"/>
                  <a:pt x="2932938" y="2942435"/>
                  <a:pt x="2938931" y="2945432"/>
                </a:cubicBezTo>
                <a:cubicBezTo>
                  <a:pt x="2944324" y="2948428"/>
                  <a:pt x="2947920" y="2953821"/>
                  <a:pt x="2949717" y="2959215"/>
                </a:cubicBezTo>
                <a:cubicBezTo>
                  <a:pt x="2951515" y="2964608"/>
                  <a:pt x="2954512" y="2965807"/>
                  <a:pt x="2958107" y="2966406"/>
                </a:cubicBezTo>
                <a:cubicBezTo>
                  <a:pt x="2962302" y="2967005"/>
                  <a:pt x="2965299" y="2969403"/>
                  <a:pt x="2967696" y="2973598"/>
                </a:cubicBezTo>
                <a:cubicBezTo>
                  <a:pt x="2970093" y="2977792"/>
                  <a:pt x="2976685" y="2983785"/>
                  <a:pt x="2976086" y="2986781"/>
                </a:cubicBezTo>
                <a:cubicBezTo>
                  <a:pt x="2975486" y="2989778"/>
                  <a:pt x="2984475" y="3008955"/>
                  <a:pt x="2984475" y="3012550"/>
                </a:cubicBezTo>
                <a:cubicBezTo>
                  <a:pt x="2985075" y="3016745"/>
                  <a:pt x="2985075" y="3017344"/>
                  <a:pt x="2989869" y="3016745"/>
                </a:cubicBezTo>
                <a:cubicBezTo>
                  <a:pt x="2994064" y="3016146"/>
                  <a:pt x="2994064" y="3019142"/>
                  <a:pt x="2998259" y="3020940"/>
                </a:cubicBezTo>
                <a:cubicBezTo>
                  <a:pt x="3002454" y="3023337"/>
                  <a:pt x="3016836" y="3030529"/>
                  <a:pt x="3016237" y="3040117"/>
                </a:cubicBezTo>
                <a:cubicBezTo>
                  <a:pt x="3015638" y="3049705"/>
                  <a:pt x="3018035" y="3052702"/>
                  <a:pt x="3019233" y="3058095"/>
                </a:cubicBezTo>
                <a:cubicBezTo>
                  <a:pt x="3020432" y="3063489"/>
                  <a:pt x="3024627" y="3072478"/>
                  <a:pt x="3024028" y="3076073"/>
                </a:cubicBezTo>
                <a:cubicBezTo>
                  <a:pt x="3023428" y="3080268"/>
                  <a:pt x="3026425" y="3084463"/>
                  <a:pt x="3030619" y="3084463"/>
                </a:cubicBezTo>
                <a:cubicBezTo>
                  <a:pt x="3034814" y="3083864"/>
                  <a:pt x="3035414" y="3085063"/>
                  <a:pt x="3039009" y="3088658"/>
                </a:cubicBezTo>
                <a:cubicBezTo>
                  <a:pt x="3043204" y="3092254"/>
                  <a:pt x="3045601" y="3094052"/>
                  <a:pt x="3045601" y="3097048"/>
                </a:cubicBezTo>
                <a:cubicBezTo>
                  <a:pt x="3045601" y="3100044"/>
                  <a:pt x="3049197" y="3103640"/>
                  <a:pt x="3051594" y="3107236"/>
                </a:cubicBezTo>
                <a:cubicBezTo>
                  <a:pt x="3053991" y="3111430"/>
                  <a:pt x="3058785" y="3120419"/>
                  <a:pt x="3059385" y="3124614"/>
                </a:cubicBezTo>
                <a:cubicBezTo>
                  <a:pt x="3059984" y="3128809"/>
                  <a:pt x="3059984" y="3139596"/>
                  <a:pt x="3061782" y="3141394"/>
                </a:cubicBezTo>
                <a:cubicBezTo>
                  <a:pt x="3063579" y="3143192"/>
                  <a:pt x="3066576" y="3148585"/>
                  <a:pt x="3068374" y="3151582"/>
                </a:cubicBezTo>
                <a:cubicBezTo>
                  <a:pt x="3070172" y="3154578"/>
                  <a:pt x="3073767" y="3158773"/>
                  <a:pt x="3073168" y="3164766"/>
                </a:cubicBezTo>
                <a:cubicBezTo>
                  <a:pt x="3072569" y="3171358"/>
                  <a:pt x="3075565" y="3176751"/>
                  <a:pt x="3077363" y="3179149"/>
                </a:cubicBezTo>
                <a:cubicBezTo>
                  <a:pt x="3079760" y="3181545"/>
                  <a:pt x="3086951" y="3184542"/>
                  <a:pt x="3088749" y="3192332"/>
                </a:cubicBezTo>
                <a:cubicBezTo>
                  <a:pt x="3090547" y="3199524"/>
                  <a:pt x="3094143" y="3206116"/>
                  <a:pt x="3097738" y="3207914"/>
                </a:cubicBezTo>
                <a:cubicBezTo>
                  <a:pt x="3101933" y="3209711"/>
                  <a:pt x="3104330" y="3209112"/>
                  <a:pt x="3103731" y="3212109"/>
                </a:cubicBezTo>
                <a:cubicBezTo>
                  <a:pt x="3103132" y="3215105"/>
                  <a:pt x="3105529" y="3215105"/>
                  <a:pt x="3107926" y="3216303"/>
                </a:cubicBezTo>
                <a:cubicBezTo>
                  <a:pt x="3110323" y="3216903"/>
                  <a:pt x="3115117" y="3222296"/>
                  <a:pt x="3113919" y="3228289"/>
                </a:cubicBezTo>
                <a:cubicBezTo>
                  <a:pt x="3113319" y="3233682"/>
                  <a:pt x="3113319" y="3235480"/>
                  <a:pt x="3118114" y="3237877"/>
                </a:cubicBezTo>
                <a:cubicBezTo>
                  <a:pt x="3122908" y="3240274"/>
                  <a:pt x="3126503" y="3242671"/>
                  <a:pt x="3128900" y="3246267"/>
                </a:cubicBezTo>
                <a:cubicBezTo>
                  <a:pt x="3131297" y="3249863"/>
                  <a:pt x="3136092" y="3253458"/>
                  <a:pt x="3140886" y="3255256"/>
                </a:cubicBezTo>
                <a:cubicBezTo>
                  <a:pt x="3145081" y="3257054"/>
                  <a:pt x="3154070" y="3266043"/>
                  <a:pt x="3157666" y="3267242"/>
                </a:cubicBezTo>
                <a:cubicBezTo>
                  <a:pt x="3161261" y="3267841"/>
                  <a:pt x="3166655" y="3275632"/>
                  <a:pt x="3170850" y="3280426"/>
                </a:cubicBezTo>
                <a:cubicBezTo>
                  <a:pt x="3175045" y="3285819"/>
                  <a:pt x="3185232" y="3298404"/>
                  <a:pt x="3185232" y="3292411"/>
                </a:cubicBezTo>
                <a:cubicBezTo>
                  <a:pt x="3185232" y="3285819"/>
                  <a:pt x="3185232" y="3284022"/>
                  <a:pt x="3190626" y="3285819"/>
                </a:cubicBezTo>
                <a:cubicBezTo>
                  <a:pt x="3196019" y="3287617"/>
                  <a:pt x="3202611" y="3288216"/>
                  <a:pt x="3203810" y="3284621"/>
                </a:cubicBezTo>
                <a:cubicBezTo>
                  <a:pt x="3205008" y="3279827"/>
                  <a:pt x="3208604" y="3280426"/>
                  <a:pt x="3211001" y="3283422"/>
                </a:cubicBezTo>
                <a:close/>
                <a:moveTo>
                  <a:pt x="3861213" y="3020940"/>
                </a:moveTo>
                <a:cubicBezTo>
                  <a:pt x="3857018" y="3028131"/>
                  <a:pt x="3848029" y="3047308"/>
                  <a:pt x="3852823" y="3057496"/>
                </a:cubicBezTo>
                <a:cubicBezTo>
                  <a:pt x="3858217" y="3067683"/>
                  <a:pt x="3851026" y="3068882"/>
                  <a:pt x="3855221" y="3075474"/>
                </a:cubicBezTo>
                <a:cubicBezTo>
                  <a:pt x="3860015" y="3083265"/>
                  <a:pt x="3851026" y="3091055"/>
                  <a:pt x="3858816" y="3100044"/>
                </a:cubicBezTo>
                <a:cubicBezTo>
                  <a:pt x="3864809" y="3107236"/>
                  <a:pt x="3870202" y="3116225"/>
                  <a:pt x="3872599" y="3118622"/>
                </a:cubicBezTo>
                <a:cubicBezTo>
                  <a:pt x="3874997" y="3121019"/>
                  <a:pt x="3882787" y="3125813"/>
                  <a:pt x="3876794" y="3115625"/>
                </a:cubicBezTo>
                <a:cubicBezTo>
                  <a:pt x="3870802" y="3105438"/>
                  <a:pt x="3869603" y="3103640"/>
                  <a:pt x="3867805" y="3101243"/>
                </a:cubicBezTo>
                <a:cubicBezTo>
                  <a:pt x="3866007" y="3098846"/>
                  <a:pt x="3863610" y="3094651"/>
                  <a:pt x="3864809" y="3090456"/>
                </a:cubicBezTo>
                <a:cubicBezTo>
                  <a:pt x="3866007" y="3086261"/>
                  <a:pt x="3860614" y="3074276"/>
                  <a:pt x="3866607" y="3073676"/>
                </a:cubicBezTo>
                <a:cubicBezTo>
                  <a:pt x="3872000" y="3073077"/>
                  <a:pt x="3881588" y="3078470"/>
                  <a:pt x="3885783" y="3081467"/>
                </a:cubicBezTo>
                <a:cubicBezTo>
                  <a:pt x="3889978" y="3084463"/>
                  <a:pt x="3895372" y="3080868"/>
                  <a:pt x="3888181" y="3076673"/>
                </a:cubicBezTo>
                <a:cubicBezTo>
                  <a:pt x="3880989" y="3072478"/>
                  <a:pt x="3874997" y="3071279"/>
                  <a:pt x="3874397" y="3066485"/>
                </a:cubicBezTo>
                <a:cubicBezTo>
                  <a:pt x="3873798" y="3061691"/>
                  <a:pt x="3878592" y="3058694"/>
                  <a:pt x="3881588" y="3057496"/>
                </a:cubicBezTo>
                <a:cubicBezTo>
                  <a:pt x="3884585" y="3056297"/>
                  <a:pt x="3886382" y="3051503"/>
                  <a:pt x="3886982" y="3047308"/>
                </a:cubicBezTo>
                <a:cubicBezTo>
                  <a:pt x="3888181" y="3043113"/>
                  <a:pt x="3886382" y="3043712"/>
                  <a:pt x="3882188" y="3044911"/>
                </a:cubicBezTo>
                <a:cubicBezTo>
                  <a:pt x="3877993" y="3046110"/>
                  <a:pt x="3872599" y="3042514"/>
                  <a:pt x="3872000" y="3046110"/>
                </a:cubicBezTo>
                <a:cubicBezTo>
                  <a:pt x="3871401" y="3050305"/>
                  <a:pt x="3867206" y="3051503"/>
                  <a:pt x="3866607" y="3053900"/>
                </a:cubicBezTo>
                <a:cubicBezTo>
                  <a:pt x="3866007" y="3056297"/>
                  <a:pt x="3861213" y="3062290"/>
                  <a:pt x="3860015" y="3056897"/>
                </a:cubicBezTo>
                <a:cubicBezTo>
                  <a:pt x="3859415" y="3051503"/>
                  <a:pt x="3864210" y="3046110"/>
                  <a:pt x="3867206" y="3044312"/>
                </a:cubicBezTo>
                <a:cubicBezTo>
                  <a:pt x="3869603" y="3042514"/>
                  <a:pt x="3871401" y="3035323"/>
                  <a:pt x="3868404" y="3032926"/>
                </a:cubicBezTo>
                <a:cubicBezTo>
                  <a:pt x="3865408" y="3030529"/>
                  <a:pt x="3863011" y="3026933"/>
                  <a:pt x="3864809" y="3022738"/>
                </a:cubicBezTo>
                <a:cubicBezTo>
                  <a:pt x="3866007" y="3019741"/>
                  <a:pt x="3864809" y="3014348"/>
                  <a:pt x="3861213" y="3020940"/>
                </a:cubicBezTo>
                <a:close/>
                <a:moveTo>
                  <a:pt x="3634088" y="3056297"/>
                </a:moveTo>
                <a:cubicBezTo>
                  <a:pt x="3634088" y="3059294"/>
                  <a:pt x="3626298" y="3066485"/>
                  <a:pt x="3625099" y="3071279"/>
                </a:cubicBezTo>
                <a:cubicBezTo>
                  <a:pt x="3623901" y="3076073"/>
                  <a:pt x="3624500" y="3078470"/>
                  <a:pt x="3622702" y="3079669"/>
                </a:cubicBezTo>
                <a:cubicBezTo>
                  <a:pt x="3620305" y="3080868"/>
                  <a:pt x="3621504" y="3082066"/>
                  <a:pt x="3622702" y="3083864"/>
                </a:cubicBezTo>
                <a:cubicBezTo>
                  <a:pt x="3623901" y="3086261"/>
                  <a:pt x="3623301" y="3092254"/>
                  <a:pt x="3618507" y="3091055"/>
                </a:cubicBezTo>
                <a:cubicBezTo>
                  <a:pt x="3613114" y="3089857"/>
                  <a:pt x="3610117" y="3094651"/>
                  <a:pt x="3614911" y="3096448"/>
                </a:cubicBezTo>
                <a:cubicBezTo>
                  <a:pt x="3619706" y="3098247"/>
                  <a:pt x="3620305" y="3101842"/>
                  <a:pt x="3619106" y="3104838"/>
                </a:cubicBezTo>
                <a:cubicBezTo>
                  <a:pt x="3618507" y="3107835"/>
                  <a:pt x="3619706" y="3110831"/>
                  <a:pt x="3621504" y="3113228"/>
                </a:cubicBezTo>
                <a:cubicBezTo>
                  <a:pt x="3623301" y="3115625"/>
                  <a:pt x="3625698" y="3120419"/>
                  <a:pt x="3619706" y="3118622"/>
                </a:cubicBezTo>
                <a:cubicBezTo>
                  <a:pt x="3614312" y="3116824"/>
                  <a:pt x="3614312" y="3119820"/>
                  <a:pt x="3613713" y="3122817"/>
                </a:cubicBezTo>
                <a:cubicBezTo>
                  <a:pt x="3613114" y="3125813"/>
                  <a:pt x="3605323" y="3134802"/>
                  <a:pt x="3606522" y="3139596"/>
                </a:cubicBezTo>
                <a:cubicBezTo>
                  <a:pt x="3608320" y="3146788"/>
                  <a:pt x="3604125" y="3151582"/>
                  <a:pt x="3605922" y="3155178"/>
                </a:cubicBezTo>
                <a:cubicBezTo>
                  <a:pt x="3607720" y="3158773"/>
                  <a:pt x="3606522" y="3161170"/>
                  <a:pt x="3604724" y="3162369"/>
                </a:cubicBezTo>
                <a:cubicBezTo>
                  <a:pt x="3602327" y="3163567"/>
                  <a:pt x="3600529" y="3164766"/>
                  <a:pt x="3601128" y="3168961"/>
                </a:cubicBezTo>
                <a:cubicBezTo>
                  <a:pt x="3601727" y="3173156"/>
                  <a:pt x="3600529" y="3177350"/>
                  <a:pt x="3596933" y="3180347"/>
                </a:cubicBezTo>
                <a:cubicBezTo>
                  <a:pt x="3593338" y="3182744"/>
                  <a:pt x="3592738" y="3186340"/>
                  <a:pt x="3594536" y="3189336"/>
                </a:cubicBezTo>
                <a:cubicBezTo>
                  <a:pt x="3596933" y="3192332"/>
                  <a:pt x="3595735" y="3196527"/>
                  <a:pt x="3593937" y="3197726"/>
                </a:cubicBezTo>
                <a:cubicBezTo>
                  <a:pt x="3592139" y="3199524"/>
                  <a:pt x="3594536" y="3203120"/>
                  <a:pt x="3594536" y="3206116"/>
                </a:cubicBezTo>
                <a:cubicBezTo>
                  <a:pt x="3594536" y="3209112"/>
                  <a:pt x="3597533" y="3211509"/>
                  <a:pt x="3600529" y="3207314"/>
                </a:cubicBezTo>
                <a:cubicBezTo>
                  <a:pt x="3603525" y="3203120"/>
                  <a:pt x="3609518" y="3197726"/>
                  <a:pt x="3608320" y="3207914"/>
                </a:cubicBezTo>
                <a:cubicBezTo>
                  <a:pt x="3607121" y="3216303"/>
                  <a:pt x="3609518" y="3226491"/>
                  <a:pt x="3611915" y="3227690"/>
                </a:cubicBezTo>
                <a:cubicBezTo>
                  <a:pt x="3614312" y="3228888"/>
                  <a:pt x="3614312" y="3234282"/>
                  <a:pt x="3613114" y="3237877"/>
                </a:cubicBezTo>
                <a:cubicBezTo>
                  <a:pt x="3612515" y="3241473"/>
                  <a:pt x="3611316" y="3251061"/>
                  <a:pt x="3611915" y="3254657"/>
                </a:cubicBezTo>
                <a:cubicBezTo>
                  <a:pt x="3612515" y="3257653"/>
                  <a:pt x="3611316" y="3264845"/>
                  <a:pt x="3609518" y="3268440"/>
                </a:cubicBezTo>
                <a:cubicBezTo>
                  <a:pt x="3607720" y="3272036"/>
                  <a:pt x="3605922" y="3278628"/>
                  <a:pt x="3613713" y="3282223"/>
                </a:cubicBezTo>
                <a:cubicBezTo>
                  <a:pt x="3620904" y="3285819"/>
                  <a:pt x="3624500" y="3281624"/>
                  <a:pt x="3625698" y="3281025"/>
                </a:cubicBezTo>
                <a:cubicBezTo>
                  <a:pt x="3626298" y="3280426"/>
                  <a:pt x="3634687" y="3276830"/>
                  <a:pt x="3637684" y="3278628"/>
                </a:cubicBezTo>
                <a:cubicBezTo>
                  <a:pt x="3640680" y="3280426"/>
                  <a:pt x="3643677" y="3276231"/>
                  <a:pt x="3639482" y="3271437"/>
                </a:cubicBezTo>
                <a:cubicBezTo>
                  <a:pt x="3635287" y="3266642"/>
                  <a:pt x="3635886" y="3257653"/>
                  <a:pt x="3638882" y="3253458"/>
                </a:cubicBezTo>
                <a:cubicBezTo>
                  <a:pt x="3641280" y="3249263"/>
                  <a:pt x="3638283" y="3238476"/>
                  <a:pt x="3637085" y="3236080"/>
                </a:cubicBezTo>
                <a:cubicBezTo>
                  <a:pt x="3635886" y="3233682"/>
                  <a:pt x="3636486" y="3227091"/>
                  <a:pt x="3638283" y="3219300"/>
                </a:cubicBezTo>
                <a:cubicBezTo>
                  <a:pt x="3640680" y="3211509"/>
                  <a:pt x="3633489" y="3210311"/>
                  <a:pt x="3637684" y="3205516"/>
                </a:cubicBezTo>
                <a:cubicBezTo>
                  <a:pt x="3641879" y="3200722"/>
                  <a:pt x="3625099" y="3192332"/>
                  <a:pt x="3635886" y="3186340"/>
                </a:cubicBezTo>
                <a:cubicBezTo>
                  <a:pt x="3646673" y="3180946"/>
                  <a:pt x="3660457" y="3175553"/>
                  <a:pt x="3660457" y="3183943"/>
                </a:cubicBezTo>
                <a:cubicBezTo>
                  <a:pt x="3660457" y="3192332"/>
                  <a:pt x="3653864" y="3198325"/>
                  <a:pt x="3657460" y="3206715"/>
                </a:cubicBezTo>
                <a:cubicBezTo>
                  <a:pt x="3661655" y="3216903"/>
                  <a:pt x="3667048" y="3224693"/>
                  <a:pt x="3671842" y="3228289"/>
                </a:cubicBezTo>
                <a:cubicBezTo>
                  <a:pt x="3676637" y="3231885"/>
                  <a:pt x="3676037" y="3233682"/>
                  <a:pt x="3674240" y="3236080"/>
                </a:cubicBezTo>
                <a:cubicBezTo>
                  <a:pt x="3671842" y="3238476"/>
                  <a:pt x="3671842" y="3241473"/>
                  <a:pt x="3673041" y="3243870"/>
                </a:cubicBezTo>
                <a:cubicBezTo>
                  <a:pt x="3673640" y="3246267"/>
                  <a:pt x="3674240" y="3250462"/>
                  <a:pt x="3677835" y="3252859"/>
                </a:cubicBezTo>
                <a:cubicBezTo>
                  <a:pt x="3681431" y="3255256"/>
                  <a:pt x="3688023" y="3258252"/>
                  <a:pt x="3691019" y="3257054"/>
                </a:cubicBezTo>
                <a:cubicBezTo>
                  <a:pt x="3694615" y="3255856"/>
                  <a:pt x="3691618" y="3252260"/>
                  <a:pt x="3691019" y="3249863"/>
                </a:cubicBezTo>
                <a:cubicBezTo>
                  <a:pt x="3690420" y="3247466"/>
                  <a:pt x="3696413" y="3234282"/>
                  <a:pt x="3701806" y="3234881"/>
                </a:cubicBezTo>
                <a:cubicBezTo>
                  <a:pt x="3707200" y="3235480"/>
                  <a:pt x="3716189" y="3233682"/>
                  <a:pt x="3707200" y="3228888"/>
                </a:cubicBezTo>
                <a:cubicBezTo>
                  <a:pt x="3698810" y="3224094"/>
                  <a:pt x="3689821" y="3216903"/>
                  <a:pt x="3690420" y="3209711"/>
                </a:cubicBezTo>
                <a:cubicBezTo>
                  <a:pt x="3691019" y="3202520"/>
                  <a:pt x="3691618" y="3197726"/>
                  <a:pt x="3695813" y="3195928"/>
                </a:cubicBezTo>
                <a:cubicBezTo>
                  <a:pt x="3700008" y="3193531"/>
                  <a:pt x="3697611" y="3190535"/>
                  <a:pt x="3695214" y="3190535"/>
                </a:cubicBezTo>
                <a:cubicBezTo>
                  <a:pt x="3692817" y="3190535"/>
                  <a:pt x="3691019" y="3185740"/>
                  <a:pt x="3692218" y="3183343"/>
                </a:cubicBezTo>
                <a:cubicBezTo>
                  <a:pt x="3692817" y="3180946"/>
                  <a:pt x="3689222" y="3179149"/>
                  <a:pt x="3686824" y="3179149"/>
                </a:cubicBezTo>
                <a:cubicBezTo>
                  <a:pt x="3684427" y="3179149"/>
                  <a:pt x="3679633" y="3176152"/>
                  <a:pt x="3679034" y="3173755"/>
                </a:cubicBezTo>
                <a:cubicBezTo>
                  <a:pt x="3678435" y="3171358"/>
                  <a:pt x="3669446" y="3168361"/>
                  <a:pt x="3667648" y="3165365"/>
                </a:cubicBezTo>
                <a:cubicBezTo>
                  <a:pt x="3665850" y="3162369"/>
                  <a:pt x="3661056" y="3158174"/>
                  <a:pt x="3662254" y="3155178"/>
                </a:cubicBezTo>
                <a:cubicBezTo>
                  <a:pt x="3663453" y="3152181"/>
                  <a:pt x="3666449" y="3153979"/>
                  <a:pt x="3668846" y="3157575"/>
                </a:cubicBezTo>
                <a:cubicBezTo>
                  <a:pt x="3671243" y="3161170"/>
                  <a:pt x="3677236" y="3156376"/>
                  <a:pt x="3679034" y="3153979"/>
                </a:cubicBezTo>
                <a:cubicBezTo>
                  <a:pt x="3683828" y="3148585"/>
                  <a:pt x="3690420" y="3149784"/>
                  <a:pt x="3695813" y="3143192"/>
                </a:cubicBezTo>
                <a:cubicBezTo>
                  <a:pt x="3700008" y="3137199"/>
                  <a:pt x="3706001" y="3131207"/>
                  <a:pt x="3706600" y="3127012"/>
                </a:cubicBezTo>
                <a:cubicBezTo>
                  <a:pt x="3707200" y="3122817"/>
                  <a:pt x="3717388" y="3116225"/>
                  <a:pt x="3716788" y="3121618"/>
                </a:cubicBezTo>
                <a:cubicBezTo>
                  <a:pt x="3716189" y="3127012"/>
                  <a:pt x="3723380" y="3131207"/>
                  <a:pt x="3724579" y="3122218"/>
                </a:cubicBezTo>
                <a:cubicBezTo>
                  <a:pt x="3725777" y="3113828"/>
                  <a:pt x="3720384" y="3110232"/>
                  <a:pt x="3717388" y="3111430"/>
                </a:cubicBezTo>
                <a:cubicBezTo>
                  <a:pt x="3714391" y="3112030"/>
                  <a:pt x="3705402" y="3109033"/>
                  <a:pt x="3706600" y="3113828"/>
                </a:cubicBezTo>
                <a:cubicBezTo>
                  <a:pt x="3707799" y="3119221"/>
                  <a:pt x="3701806" y="3116824"/>
                  <a:pt x="3698810" y="3116824"/>
                </a:cubicBezTo>
                <a:cubicBezTo>
                  <a:pt x="3695813" y="3116824"/>
                  <a:pt x="3690420" y="3116225"/>
                  <a:pt x="3691618" y="3120419"/>
                </a:cubicBezTo>
                <a:cubicBezTo>
                  <a:pt x="3692218" y="3124614"/>
                  <a:pt x="3685626" y="3124614"/>
                  <a:pt x="3683229" y="3124015"/>
                </a:cubicBezTo>
                <a:cubicBezTo>
                  <a:pt x="3680832" y="3123416"/>
                  <a:pt x="3677835" y="3126412"/>
                  <a:pt x="3676037" y="3124015"/>
                </a:cubicBezTo>
                <a:cubicBezTo>
                  <a:pt x="3674240" y="3121618"/>
                  <a:pt x="3671842" y="3124015"/>
                  <a:pt x="3671842" y="3128210"/>
                </a:cubicBezTo>
                <a:cubicBezTo>
                  <a:pt x="3671842" y="3132405"/>
                  <a:pt x="3664651" y="3140196"/>
                  <a:pt x="3658658" y="3141394"/>
                </a:cubicBezTo>
                <a:cubicBezTo>
                  <a:pt x="3652666" y="3142593"/>
                  <a:pt x="3643677" y="3140795"/>
                  <a:pt x="3643677" y="3136001"/>
                </a:cubicBezTo>
                <a:cubicBezTo>
                  <a:pt x="3643677" y="3131207"/>
                  <a:pt x="3638283" y="3125813"/>
                  <a:pt x="3634687" y="3122817"/>
                </a:cubicBezTo>
                <a:cubicBezTo>
                  <a:pt x="3629294" y="3117423"/>
                  <a:pt x="3629893" y="3104239"/>
                  <a:pt x="3628096" y="3101842"/>
                </a:cubicBezTo>
                <a:cubicBezTo>
                  <a:pt x="3626298" y="3099445"/>
                  <a:pt x="3625698" y="3097647"/>
                  <a:pt x="3628695" y="3094651"/>
                </a:cubicBezTo>
                <a:cubicBezTo>
                  <a:pt x="3631691" y="3092254"/>
                  <a:pt x="3632890" y="3081467"/>
                  <a:pt x="3633489" y="3078470"/>
                </a:cubicBezTo>
                <a:cubicBezTo>
                  <a:pt x="3634088" y="3076073"/>
                  <a:pt x="3642478" y="3065886"/>
                  <a:pt x="3651467" y="3070081"/>
                </a:cubicBezTo>
                <a:cubicBezTo>
                  <a:pt x="3659857" y="3074276"/>
                  <a:pt x="3669446" y="3063489"/>
                  <a:pt x="3676637" y="3067683"/>
                </a:cubicBezTo>
                <a:cubicBezTo>
                  <a:pt x="3683828" y="3071878"/>
                  <a:pt x="3704203" y="3070081"/>
                  <a:pt x="3707200" y="3069481"/>
                </a:cubicBezTo>
                <a:cubicBezTo>
                  <a:pt x="3710795" y="3068882"/>
                  <a:pt x="3714990" y="3068882"/>
                  <a:pt x="3716788" y="3073676"/>
                </a:cubicBezTo>
                <a:cubicBezTo>
                  <a:pt x="3718586" y="3078470"/>
                  <a:pt x="3727575" y="3080268"/>
                  <a:pt x="3735366" y="3077871"/>
                </a:cubicBezTo>
                <a:cubicBezTo>
                  <a:pt x="3743156" y="3075474"/>
                  <a:pt x="3753344" y="3074276"/>
                  <a:pt x="3759337" y="3065286"/>
                </a:cubicBezTo>
                <a:cubicBezTo>
                  <a:pt x="3765329" y="3056297"/>
                  <a:pt x="3771921" y="3052102"/>
                  <a:pt x="3776116" y="3050305"/>
                </a:cubicBezTo>
                <a:cubicBezTo>
                  <a:pt x="3780311" y="3047907"/>
                  <a:pt x="3780910" y="3044911"/>
                  <a:pt x="3780311" y="3042514"/>
                </a:cubicBezTo>
                <a:cubicBezTo>
                  <a:pt x="3779712" y="3040117"/>
                  <a:pt x="3779712" y="3037720"/>
                  <a:pt x="3780910" y="3035323"/>
                </a:cubicBezTo>
                <a:cubicBezTo>
                  <a:pt x="3781510" y="3032926"/>
                  <a:pt x="3779712" y="3029929"/>
                  <a:pt x="3774918" y="3031727"/>
                </a:cubicBezTo>
                <a:cubicBezTo>
                  <a:pt x="3770124" y="3033525"/>
                  <a:pt x="3767127" y="3041915"/>
                  <a:pt x="3762932" y="3044312"/>
                </a:cubicBezTo>
                <a:cubicBezTo>
                  <a:pt x="3758737" y="3046709"/>
                  <a:pt x="3753344" y="3052702"/>
                  <a:pt x="3750348" y="3055099"/>
                </a:cubicBezTo>
                <a:cubicBezTo>
                  <a:pt x="3747351" y="3057496"/>
                  <a:pt x="3741958" y="3061092"/>
                  <a:pt x="3737163" y="3059294"/>
                </a:cubicBezTo>
                <a:cubicBezTo>
                  <a:pt x="3732369" y="3057496"/>
                  <a:pt x="3714990" y="3058095"/>
                  <a:pt x="3713792" y="3060492"/>
                </a:cubicBezTo>
                <a:cubicBezTo>
                  <a:pt x="3712593" y="3062889"/>
                  <a:pt x="3708398" y="3061691"/>
                  <a:pt x="3707200" y="3058694"/>
                </a:cubicBezTo>
                <a:cubicBezTo>
                  <a:pt x="3706001" y="3055698"/>
                  <a:pt x="3700008" y="3054499"/>
                  <a:pt x="3694615" y="3054499"/>
                </a:cubicBezTo>
                <a:cubicBezTo>
                  <a:pt x="3689222" y="3054499"/>
                  <a:pt x="3674839" y="3052102"/>
                  <a:pt x="3673041" y="3048507"/>
                </a:cubicBezTo>
                <a:cubicBezTo>
                  <a:pt x="3671243" y="3044911"/>
                  <a:pt x="3669446" y="3046110"/>
                  <a:pt x="3665850" y="3047308"/>
                </a:cubicBezTo>
                <a:cubicBezTo>
                  <a:pt x="3662254" y="3048507"/>
                  <a:pt x="3650868" y="3044911"/>
                  <a:pt x="3650269" y="3052702"/>
                </a:cubicBezTo>
                <a:cubicBezTo>
                  <a:pt x="3649669" y="3060492"/>
                  <a:pt x="3643677" y="3063489"/>
                  <a:pt x="3640680" y="3058095"/>
                </a:cubicBezTo>
                <a:cubicBezTo>
                  <a:pt x="3637085" y="3052102"/>
                  <a:pt x="3634088" y="3053301"/>
                  <a:pt x="3634088" y="3056297"/>
                </a:cubicBezTo>
                <a:close/>
                <a:moveTo>
                  <a:pt x="3867805" y="3205516"/>
                </a:moveTo>
                <a:cubicBezTo>
                  <a:pt x="3868404" y="3200722"/>
                  <a:pt x="3872000" y="3193531"/>
                  <a:pt x="3873199" y="3200123"/>
                </a:cubicBezTo>
                <a:cubicBezTo>
                  <a:pt x="3874997" y="3207314"/>
                  <a:pt x="3884585" y="3206715"/>
                  <a:pt x="3885184" y="3202520"/>
                </a:cubicBezTo>
                <a:cubicBezTo>
                  <a:pt x="3885783" y="3198325"/>
                  <a:pt x="3886982" y="3194730"/>
                  <a:pt x="3892375" y="3200123"/>
                </a:cubicBezTo>
                <a:cubicBezTo>
                  <a:pt x="3894772" y="3202520"/>
                  <a:pt x="3898368" y="3200722"/>
                  <a:pt x="3901364" y="3200722"/>
                </a:cubicBezTo>
                <a:cubicBezTo>
                  <a:pt x="3904361" y="3200722"/>
                  <a:pt x="3909754" y="3203120"/>
                  <a:pt x="3909754" y="3198925"/>
                </a:cubicBezTo>
                <a:cubicBezTo>
                  <a:pt x="3909155" y="3194730"/>
                  <a:pt x="3914548" y="3195928"/>
                  <a:pt x="3921141" y="3201921"/>
                </a:cubicBezTo>
                <a:cubicBezTo>
                  <a:pt x="3927733" y="3207914"/>
                  <a:pt x="3931328" y="3209112"/>
                  <a:pt x="3936123" y="3210910"/>
                </a:cubicBezTo>
                <a:cubicBezTo>
                  <a:pt x="3940917" y="3213307"/>
                  <a:pt x="3944512" y="3207914"/>
                  <a:pt x="3940917" y="3203719"/>
                </a:cubicBezTo>
                <a:cubicBezTo>
                  <a:pt x="3937321" y="3199524"/>
                  <a:pt x="3938519" y="3192332"/>
                  <a:pt x="3931328" y="3189935"/>
                </a:cubicBezTo>
                <a:cubicBezTo>
                  <a:pt x="3924137" y="3187538"/>
                  <a:pt x="3913949" y="3183943"/>
                  <a:pt x="3909155" y="3185141"/>
                </a:cubicBezTo>
                <a:cubicBezTo>
                  <a:pt x="3901964" y="3186939"/>
                  <a:pt x="3897170" y="3186939"/>
                  <a:pt x="3897170" y="3184542"/>
                </a:cubicBezTo>
                <a:cubicBezTo>
                  <a:pt x="3897170" y="3182145"/>
                  <a:pt x="3894772" y="3182145"/>
                  <a:pt x="3891776" y="3183343"/>
                </a:cubicBezTo>
                <a:cubicBezTo>
                  <a:pt x="3888780" y="3183943"/>
                  <a:pt x="3884585" y="3186939"/>
                  <a:pt x="3877393" y="3184542"/>
                </a:cubicBezTo>
                <a:cubicBezTo>
                  <a:pt x="3870202" y="3182145"/>
                  <a:pt x="3869004" y="3188138"/>
                  <a:pt x="3869004" y="3190535"/>
                </a:cubicBezTo>
                <a:cubicBezTo>
                  <a:pt x="3868404" y="3192932"/>
                  <a:pt x="3869004" y="3198325"/>
                  <a:pt x="3866607" y="3198925"/>
                </a:cubicBezTo>
                <a:cubicBezTo>
                  <a:pt x="3864210" y="3199524"/>
                  <a:pt x="3865408" y="3201921"/>
                  <a:pt x="3865408" y="3204318"/>
                </a:cubicBezTo>
                <a:cubicBezTo>
                  <a:pt x="3864210" y="3210910"/>
                  <a:pt x="3867206" y="3210311"/>
                  <a:pt x="3867805" y="3205516"/>
                </a:cubicBezTo>
                <a:close/>
                <a:moveTo>
                  <a:pt x="3655063" y="3415862"/>
                </a:moveTo>
                <a:cubicBezTo>
                  <a:pt x="3653265" y="3413465"/>
                  <a:pt x="3650868" y="3410468"/>
                  <a:pt x="3647272" y="3411667"/>
                </a:cubicBezTo>
                <a:cubicBezTo>
                  <a:pt x="3641879" y="3413465"/>
                  <a:pt x="3645475" y="3406273"/>
                  <a:pt x="3636486" y="3406273"/>
                </a:cubicBezTo>
                <a:cubicBezTo>
                  <a:pt x="3627496" y="3406873"/>
                  <a:pt x="3626298" y="3406873"/>
                  <a:pt x="3623301" y="3406873"/>
                </a:cubicBezTo>
                <a:cubicBezTo>
                  <a:pt x="3620904" y="3406873"/>
                  <a:pt x="3614312" y="3410468"/>
                  <a:pt x="3611316" y="3411067"/>
                </a:cubicBezTo>
                <a:cubicBezTo>
                  <a:pt x="3608320" y="3411667"/>
                  <a:pt x="3603525" y="3418259"/>
                  <a:pt x="3611316" y="3417660"/>
                </a:cubicBezTo>
                <a:cubicBezTo>
                  <a:pt x="3619106" y="3417060"/>
                  <a:pt x="3620305" y="3420056"/>
                  <a:pt x="3623301" y="3418858"/>
                </a:cubicBezTo>
                <a:cubicBezTo>
                  <a:pt x="3626298" y="3417660"/>
                  <a:pt x="3628695" y="3419457"/>
                  <a:pt x="3632890" y="3423652"/>
                </a:cubicBezTo>
                <a:cubicBezTo>
                  <a:pt x="3637085" y="3427847"/>
                  <a:pt x="3642478" y="3430244"/>
                  <a:pt x="3644875" y="3432042"/>
                </a:cubicBezTo>
                <a:cubicBezTo>
                  <a:pt x="3647272" y="3434439"/>
                  <a:pt x="3652666" y="3435638"/>
                  <a:pt x="3656861" y="3431443"/>
                </a:cubicBezTo>
                <a:cubicBezTo>
                  <a:pt x="3661056" y="3427248"/>
                  <a:pt x="3662853" y="3424851"/>
                  <a:pt x="3659258" y="3421855"/>
                </a:cubicBezTo>
                <a:cubicBezTo>
                  <a:pt x="3655063" y="3418858"/>
                  <a:pt x="3656861" y="3418259"/>
                  <a:pt x="3655063" y="3415862"/>
                </a:cubicBezTo>
                <a:close/>
                <a:moveTo>
                  <a:pt x="3743156" y="3436836"/>
                </a:moveTo>
                <a:cubicBezTo>
                  <a:pt x="3749748" y="3437436"/>
                  <a:pt x="3754542" y="3432641"/>
                  <a:pt x="3759936" y="3432042"/>
                </a:cubicBezTo>
                <a:cubicBezTo>
                  <a:pt x="3765329" y="3431443"/>
                  <a:pt x="3778513" y="3424851"/>
                  <a:pt x="3784506" y="3413465"/>
                </a:cubicBezTo>
                <a:cubicBezTo>
                  <a:pt x="3790499" y="3401479"/>
                  <a:pt x="3797690" y="3397884"/>
                  <a:pt x="3804282" y="3397284"/>
                </a:cubicBezTo>
                <a:cubicBezTo>
                  <a:pt x="3810275" y="3396685"/>
                  <a:pt x="3825257" y="3388894"/>
                  <a:pt x="3828253" y="3384100"/>
                </a:cubicBezTo>
                <a:cubicBezTo>
                  <a:pt x="3831250" y="3379306"/>
                  <a:pt x="3834246" y="3377508"/>
                  <a:pt x="3837841" y="3376310"/>
                </a:cubicBezTo>
                <a:cubicBezTo>
                  <a:pt x="3843235" y="3373913"/>
                  <a:pt x="3846231" y="3370916"/>
                  <a:pt x="3840239" y="3370916"/>
                </a:cubicBezTo>
                <a:cubicBezTo>
                  <a:pt x="3834246" y="3370916"/>
                  <a:pt x="3822260" y="3373313"/>
                  <a:pt x="3819863" y="3375111"/>
                </a:cubicBezTo>
                <a:cubicBezTo>
                  <a:pt x="3817466" y="3376310"/>
                  <a:pt x="3811473" y="3374512"/>
                  <a:pt x="3809675" y="3374512"/>
                </a:cubicBezTo>
                <a:cubicBezTo>
                  <a:pt x="3807878" y="3374512"/>
                  <a:pt x="3802484" y="3373913"/>
                  <a:pt x="3801286" y="3376909"/>
                </a:cubicBezTo>
                <a:cubicBezTo>
                  <a:pt x="3800686" y="3379905"/>
                  <a:pt x="3797091" y="3377508"/>
                  <a:pt x="3794095" y="3379306"/>
                </a:cubicBezTo>
                <a:cubicBezTo>
                  <a:pt x="3791697" y="3381104"/>
                  <a:pt x="3783308" y="3384699"/>
                  <a:pt x="3778513" y="3390692"/>
                </a:cubicBezTo>
                <a:cubicBezTo>
                  <a:pt x="3773719" y="3396685"/>
                  <a:pt x="3765329" y="3400280"/>
                  <a:pt x="3761734" y="3400880"/>
                </a:cubicBezTo>
                <a:cubicBezTo>
                  <a:pt x="3758737" y="3401479"/>
                  <a:pt x="3753344" y="3406273"/>
                  <a:pt x="3747950" y="3413465"/>
                </a:cubicBezTo>
                <a:cubicBezTo>
                  <a:pt x="3742557" y="3420656"/>
                  <a:pt x="3737163" y="3423053"/>
                  <a:pt x="3737763" y="3425450"/>
                </a:cubicBezTo>
                <a:cubicBezTo>
                  <a:pt x="3738362" y="3427847"/>
                  <a:pt x="3740160" y="3427248"/>
                  <a:pt x="3741958" y="3427847"/>
                </a:cubicBezTo>
                <a:cubicBezTo>
                  <a:pt x="3744355" y="3428446"/>
                  <a:pt x="3744355" y="3430844"/>
                  <a:pt x="3741358" y="3433241"/>
                </a:cubicBezTo>
                <a:cubicBezTo>
                  <a:pt x="3738362" y="3433840"/>
                  <a:pt x="3736564" y="3436836"/>
                  <a:pt x="3743156" y="3436836"/>
                </a:cubicBezTo>
                <a:close/>
                <a:moveTo>
                  <a:pt x="3305087" y="3076073"/>
                </a:moveTo>
                <a:cubicBezTo>
                  <a:pt x="3306285" y="3079070"/>
                  <a:pt x="3305087" y="3085063"/>
                  <a:pt x="3310480" y="3086860"/>
                </a:cubicBezTo>
                <a:cubicBezTo>
                  <a:pt x="3315874" y="3088658"/>
                  <a:pt x="3317672" y="3094052"/>
                  <a:pt x="3313477" y="3098846"/>
                </a:cubicBezTo>
                <a:cubicBezTo>
                  <a:pt x="3309282" y="3103041"/>
                  <a:pt x="3311080" y="3103041"/>
                  <a:pt x="3312278" y="3106037"/>
                </a:cubicBezTo>
                <a:cubicBezTo>
                  <a:pt x="3312878" y="3108434"/>
                  <a:pt x="3310480" y="3111430"/>
                  <a:pt x="3315275" y="3113228"/>
                </a:cubicBezTo>
                <a:cubicBezTo>
                  <a:pt x="3320069" y="3115026"/>
                  <a:pt x="3328459" y="3120419"/>
                  <a:pt x="3330856" y="3125214"/>
                </a:cubicBezTo>
                <a:cubicBezTo>
                  <a:pt x="3333253" y="3130008"/>
                  <a:pt x="3341043" y="3137799"/>
                  <a:pt x="3340444" y="3141394"/>
                </a:cubicBezTo>
                <a:cubicBezTo>
                  <a:pt x="3339845" y="3144990"/>
                  <a:pt x="3341043" y="3147986"/>
                  <a:pt x="3338047" y="3149784"/>
                </a:cubicBezTo>
                <a:cubicBezTo>
                  <a:pt x="3335050" y="3151582"/>
                  <a:pt x="3335650" y="3155178"/>
                  <a:pt x="3338646" y="3155777"/>
                </a:cubicBezTo>
                <a:cubicBezTo>
                  <a:pt x="3341043" y="3156376"/>
                  <a:pt x="3341643" y="3159972"/>
                  <a:pt x="3340444" y="3161769"/>
                </a:cubicBezTo>
                <a:cubicBezTo>
                  <a:pt x="3339245" y="3164167"/>
                  <a:pt x="3340444" y="3165365"/>
                  <a:pt x="3342841" y="3165964"/>
                </a:cubicBezTo>
                <a:cubicBezTo>
                  <a:pt x="3345238" y="3166564"/>
                  <a:pt x="3345238" y="3169560"/>
                  <a:pt x="3343440" y="3173156"/>
                </a:cubicBezTo>
                <a:cubicBezTo>
                  <a:pt x="3341643" y="3176751"/>
                  <a:pt x="3342841" y="3193531"/>
                  <a:pt x="3348834" y="3193531"/>
                </a:cubicBezTo>
                <a:cubicBezTo>
                  <a:pt x="3355426" y="3193531"/>
                  <a:pt x="3357224" y="3192332"/>
                  <a:pt x="3358422" y="3196527"/>
                </a:cubicBezTo>
                <a:cubicBezTo>
                  <a:pt x="3359621" y="3200722"/>
                  <a:pt x="3362617" y="3199524"/>
                  <a:pt x="3368610" y="3197726"/>
                </a:cubicBezTo>
                <a:cubicBezTo>
                  <a:pt x="3374603" y="3195928"/>
                  <a:pt x="3382393" y="3195928"/>
                  <a:pt x="3385390" y="3196527"/>
                </a:cubicBezTo>
                <a:cubicBezTo>
                  <a:pt x="3387787" y="3197127"/>
                  <a:pt x="3388386" y="3192932"/>
                  <a:pt x="3387787" y="3190535"/>
                </a:cubicBezTo>
                <a:cubicBezTo>
                  <a:pt x="3387187" y="3188138"/>
                  <a:pt x="3388985" y="3182145"/>
                  <a:pt x="3390783" y="3182744"/>
                </a:cubicBezTo>
                <a:cubicBezTo>
                  <a:pt x="3392581" y="3183343"/>
                  <a:pt x="3393180" y="3194730"/>
                  <a:pt x="3391982" y="3202520"/>
                </a:cubicBezTo>
                <a:cubicBezTo>
                  <a:pt x="3391382" y="3210311"/>
                  <a:pt x="3387787" y="3222296"/>
                  <a:pt x="3392581" y="3219300"/>
                </a:cubicBezTo>
                <a:cubicBezTo>
                  <a:pt x="3397974" y="3216303"/>
                  <a:pt x="3402769" y="3210311"/>
                  <a:pt x="3409960" y="3210910"/>
                </a:cubicBezTo>
                <a:cubicBezTo>
                  <a:pt x="3417151" y="3211509"/>
                  <a:pt x="3419548" y="3208513"/>
                  <a:pt x="3423144" y="3206715"/>
                </a:cubicBezTo>
                <a:lnTo>
                  <a:pt x="3423743" y="3204318"/>
                </a:lnTo>
                <a:cubicBezTo>
                  <a:pt x="3423743" y="3204318"/>
                  <a:pt x="3426740" y="3202520"/>
                  <a:pt x="3427339" y="3199524"/>
                </a:cubicBezTo>
                <a:cubicBezTo>
                  <a:pt x="3427938" y="3196527"/>
                  <a:pt x="3430335" y="3195928"/>
                  <a:pt x="3431534" y="3198925"/>
                </a:cubicBezTo>
                <a:cubicBezTo>
                  <a:pt x="3432732" y="3201321"/>
                  <a:pt x="3436328" y="3201321"/>
                  <a:pt x="3439923" y="3198325"/>
                </a:cubicBezTo>
                <a:cubicBezTo>
                  <a:pt x="3443519" y="3195329"/>
                  <a:pt x="3446516" y="3197726"/>
                  <a:pt x="3444718" y="3201321"/>
                </a:cubicBezTo>
                <a:cubicBezTo>
                  <a:pt x="3442920" y="3204917"/>
                  <a:pt x="3446516" y="3208513"/>
                  <a:pt x="3456104" y="3205516"/>
                </a:cubicBezTo>
                <a:cubicBezTo>
                  <a:pt x="3465692" y="3202520"/>
                  <a:pt x="3469288" y="3203719"/>
                  <a:pt x="3471086" y="3204917"/>
                </a:cubicBezTo>
                <a:cubicBezTo>
                  <a:pt x="3473483" y="3205516"/>
                  <a:pt x="3478277" y="3200722"/>
                  <a:pt x="3475880" y="3207314"/>
                </a:cubicBezTo>
                <a:cubicBezTo>
                  <a:pt x="3474082" y="3212708"/>
                  <a:pt x="3475880" y="3220498"/>
                  <a:pt x="3473483" y="3223495"/>
                </a:cubicBezTo>
                <a:cubicBezTo>
                  <a:pt x="3471086" y="3225892"/>
                  <a:pt x="3471685" y="3233682"/>
                  <a:pt x="3479476" y="3228289"/>
                </a:cubicBezTo>
                <a:cubicBezTo>
                  <a:pt x="3487266" y="3222896"/>
                  <a:pt x="3497454" y="3218701"/>
                  <a:pt x="3503447" y="3216303"/>
                </a:cubicBezTo>
                <a:cubicBezTo>
                  <a:pt x="3508840" y="3213906"/>
                  <a:pt x="3511237" y="3209112"/>
                  <a:pt x="3511836" y="3206715"/>
                </a:cubicBezTo>
                <a:cubicBezTo>
                  <a:pt x="3512436" y="3204318"/>
                  <a:pt x="3517829" y="3199524"/>
                  <a:pt x="3516631" y="3194130"/>
                </a:cubicBezTo>
                <a:cubicBezTo>
                  <a:pt x="3515432" y="3188737"/>
                  <a:pt x="3517230" y="3187538"/>
                  <a:pt x="3519028" y="3190535"/>
                </a:cubicBezTo>
                <a:cubicBezTo>
                  <a:pt x="3520825" y="3193531"/>
                  <a:pt x="3524421" y="3185141"/>
                  <a:pt x="3521425" y="3181545"/>
                </a:cubicBezTo>
                <a:cubicBezTo>
                  <a:pt x="3518429" y="3177950"/>
                  <a:pt x="3521425" y="3176152"/>
                  <a:pt x="3523822" y="3177350"/>
                </a:cubicBezTo>
                <a:cubicBezTo>
                  <a:pt x="3526219" y="3178549"/>
                  <a:pt x="3529215" y="3169560"/>
                  <a:pt x="3529215" y="3167163"/>
                </a:cubicBezTo>
                <a:cubicBezTo>
                  <a:pt x="3529215" y="3164766"/>
                  <a:pt x="3526219" y="3163567"/>
                  <a:pt x="3522624" y="3165365"/>
                </a:cubicBezTo>
                <a:cubicBezTo>
                  <a:pt x="3519028" y="3167163"/>
                  <a:pt x="3515432" y="3162968"/>
                  <a:pt x="3520226" y="3161769"/>
                </a:cubicBezTo>
                <a:cubicBezTo>
                  <a:pt x="3525020" y="3160571"/>
                  <a:pt x="3522624" y="3153380"/>
                  <a:pt x="3520825" y="3153380"/>
                </a:cubicBezTo>
                <a:cubicBezTo>
                  <a:pt x="3518429" y="3153979"/>
                  <a:pt x="3518429" y="3149185"/>
                  <a:pt x="3520825" y="3147387"/>
                </a:cubicBezTo>
                <a:cubicBezTo>
                  <a:pt x="3523223" y="3144990"/>
                  <a:pt x="3520226" y="3139596"/>
                  <a:pt x="3526219" y="3135401"/>
                </a:cubicBezTo>
                <a:cubicBezTo>
                  <a:pt x="3531613" y="3131207"/>
                  <a:pt x="3544796" y="3121019"/>
                  <a:pt x="3544197" y="3116225"/>
                </a:cubicBezTo>
                <a:cubicBezTo>
                  <a:pt x="3543598" y="3111430"/>
                  <a:pt x="3541800" y="3107236"/>
                  <a:pt x="3546594" y="3107236"/>
                </a:cubicBezTo>
                <a:cubicBezTo>
                  <a:pt x="3551389" y="3107236"/>
                  <a:pt x="3548991" y="3101243"/>
                  <a:pt x="3548392" y="3096448"/>
                </a:cubicBezTo>
                <a:cubicBezTo>
                  <a:pt x="3547793" y="3091654"/>
                  <a:pt x="3547793" y="3073077"/>
                  <a:pt x="3551988" y="3069481"/>
                </a:cubicBezTo>
                <a:cubicBezTo>
                  <a:pt x="3556183" y="3065886"/>
                  <a:pt x="3559179" y="3061092"/>
                  <a:pt x="3562175" y="3061092"/>
                </a:cubicBezTo>
                <a:cubicBezTo>
                  <a:pt x="3565172" y="3061092"/>
                  <a:pt x="3565172" y="3058095"/>
                  <a:pt x="3562775" y="3055698"/>
                </a:cubicBezTo>
                <a:cubicBezTo>
                  <a:pt x="3560378" y="3053301"/>
                  <a:pt x="3562175" y="3050305"/>
                  <a:pt x="3566970" y="3055099"/>
                </a:cubicBezTo>
                <a:cubicBezTo>
                  <a:pt x="3571764" y="3060492"/>
                  <a:pt x="3571764" y="3061691"/>
                  <a:pt x="3574760" y="3062290"/>
                </a:cubicBezTo>
                <a:cubicBezTo>
                  <a:pt x="3577756" y="3062889"/>
                  <a:pt x="3580154" y="3064687"/>
                  <a:pt x="3583749" y="3063489"/>
                </a:cubicBezTo>
                <a:cubicBezTo>
                  <a:pt x="3587345" y="3062290"/>
                  <a:pt x="3587944" y="3062889"/>
                  <a:pt x="3590341" y="3063489"/>
                </a:cubicBezTo>
                <a:cubicBezTo>
                  <a:pt x="3592738" y="3064088"/>
                  <a:pt x="3593338" y="3060492"/>
                  <a:pt x="3594536" y="3059294"/>
                </a:cubicBezTo>
                <a:cubicBezTo>
                  <a:pt x="3595735" y="3058095"/>
                  <a:pt x="3598132" y="3055099"/>
                  <a:pt x="3595136" y="3054499"/>
                </a:cubicBezTo>
                <a:cubicBezTo>
                  <a:pt x="3592139" y="3053900"/>
                  <a:pt x="3589143" y="3046709"/>
                  <a:pt x="3585547" y="3046709"/>
                </a:cubicBezTo>
                <a:cubicBezTo>
                  <a:pt x="3581951" y="3046709"/>
                  <a:pt x="3581352" y="3041915"/>
                  <a:pt x="3581352" y="3040117"/>
                </a:cubicBezTo>
                <a:cubicBezTo>
                  <a:pt x="3581951" y="3038319"/>
                  <a:pt x="3579555" y="3035922"/>
                  <a:pt x="3574760" y="3036521"/>
                </a:cubicBezTo>
                <a:cubicBezTo>
                  <a:pt x="3569966" y="3037121"/>
                  <a:pt x="3563374" y="3031128"/>
                  <a:pt x="3562775" y="3026334"/>
                </a:cubicBezTo>
                <a:cubicBezTo>
                  <a:pt x="3562175" y="3022139"/>
                  <a:pt x="3556782" y="3018543"/>
                  <a:pt x="3551389" y="3017944"/>
                </a:cubicBezTo>
                <a:cubicBezTo>
                  <a:pt x="3545995" y="3017344"/>
                  <a:pt x="3542399" y="3013749"/>
                  <a:pt x="3549591" y="3011352"/>
                </a:cubicBezTo>
                <a:cubicBezTo>
                  <a:pt x="3556782" y="3008955"/>
                  <a:pt x="3560977" y="3014348"/>
                  <a:pt x="3565172" y="3013150"/>
                </a:cubicBezTo>
                <a:cubicBezTo>
                  <a:pt x="3569367" y="3011951"/>
                  <a:pt x="3573562" y="3010752"/>
                  <a:pt x="3572962" y="3008955"/>
                </a:cubicBezTo>
                <a:cubicBezTo>
                  <a:pt x="3572363" y="3007157"/>
                  <a:pt x="3565172" y="3004760"/>
                  <a:pt x="3563374" y="3001763"/>
                </a:cubicBezTo>
                <a:cubicBezTo>
                  <a:pt x="3561576" y="2998767"/>
                  <a:pt x="3554385" y="2996370"/>
                  <a:pt x="3551988" y="2998767"/>
                </a:cubicBezTo>
                <a:cubicBezTo>
                  <a:pt x="3546594" y="3004161"/>
                  <a:pt x="3546594" y="2996370"/>
                  <a:pt x="3549591" y="2993973"/>
                </a:cubicBezTo>
                <a:cubicBezTo>
                  <a:pt x="3556782" y="2987980"/>
                  <a:pt x="3553186" y="2986781"/>
                  <a:pt x="3549591" y="2987381"/>
                </a:cubicBezTo>
                <a:cubicBezTo>
                  <a:pt x="3545995" y="2987980"/>
                  <a:pt x="3545995" y="2985583"/>
                  <a:pt x="3551988" y="2983785"/>
                </a:cubicBezTo>
                <a:cubicBezTo>
                  <a:pt x="3558580" y="2981388"/>
                  <a:pt x="3551988" y="2977792"/>
                  <a:pt x="3549591" y="2978392"/>
                </a:cubicBezTo>
                <a:cubicBezTo>
                  <a:pt x="3547194" y="2978991"/>
                  <a:pt x="3541800" y="2970601"/>
                  <a:pt x="3548392" y="2970601"/>
                </a:cubicBezTo>
                <a:cubicBezTo>
                  <a:pt x="3554984" y="2970601"/>
                  <a:pt x="3550789" y="2965807"/>
                  <a:pt x="3556183" y="2968803"/>
                </a:cubicBezTo>
                <a:cubicBezTo>
                  <a:pt x="3561576" y="2971800"/>
                  <a:pt x="3561576" y="2965208"/>
                  <a:pt x="3556183" y="2960413"/>
                </a:cubicBezTo>
                <a:cubicBezTo>
                  <a:pt x="3550789" y="2955020"/>
                  <a:pt x="3550789" y="2954421"/>
                  <a:pt x="3553785" y="2953222"/>
                </a:cubicBezTo>
                <a:cubicBezTo>
                  <a:pt x="3556183" y="2952024"/>
                  <a:pt x="3556183" y="2949027"/>
                  <a:pt x="3555584" y="2946630"/>
                </a:cubicBezTo>
                <a:cubicBezTo>
                  <a:pt x="3554984" y="2944233"/>
                  <a:pt x="3557381" y="2940038"/>
                  <a:pt x="3562175" y="2947829"/>
                </a:cubicBezTo>
                <a:cubicBezTo>
                  <a:pt x="3565771" y="2953821"/>
                  <a:pt x="3569966" y="2948428"/>
                  <a:pt x="3574161" y="2948428"/>
                </a:cubicBezTo>
                <a:cubicBezTo>
                  <a:pt x="3578356" y="2948428"/>
                  <a:pt x="3581951" y="2946031"/>
                  <a:pt x="3584349" y="2943634"/>
                </a:cubicBezTo>
                <a:cubicBezTo>
                  <a:pt x="3586746" y="2941237"/>
                  <a:pt x="3593937" y="2941237"/>
                  <a:pt x="3588544" y="2939439"/>
                </a:cubicBezTo>
                <a:cubicBezTo>
                  <a:pt x="3583150" y="2937641"/>
                  <a:pt x="3583150" y="2937641"/>
                  <a:pt x="3583150" y="2935843"/>
                </a:cubicBezTo>
                <a:cubicBezTo>
                  <a:pt x="3583150" y="2934045"/>
                  <a:pt x="3580154" y="2933446"/>
                  <a:pt x="3577157" y="2934645"/>
                </a:cubicBezTo>
                <a:cubicBezTo>
                  <a:pt x="3574161" y="2935244"/>
                  <a:pt x="3571764" y="2930450"/>
                  <a:pt x="3574760" y="2927453"/>
                </a:cubicBezTo>
                <a:cubicBezTo>
                  <a:pt x="3577756" y="2923858"/>
                  <a:pt x="3583150" y="2925056"/>
                  <a:pt x="3586746" y="2926854"/>
                </a:cubicBezTo>
                <a:cubicBezTo>
                  <a:pt x="3589742" y="2928652"/>
                  <a:pt x="3595136" y="2927453"/>
                  <a:pt x="3598731" y="2925056"/>
                </a:cubicBezTo>
                <a:cubicBezTo>
                  <a:pt x="3601727" y="2922659"/>
                  <a:pt x="3609518" y="2919663"/>
                  <a:pt x="3610716" y="2914869"/>
                </a:cubicBezTo>
                <a:cubicBezTo>
                  <a:pt x="3611915" y="2909475"/>
                  <a:pt x="3608320" y="2908277"/>
                  <a:pt x="3605323" y="2909475"/>
                </a:cubicBezTo>
                <a:cubicBezTo>
                  <a:pt x="3602327" y="2910674"/>
                  <a:pt x="3593937" y="2908277"/>
                  <a:pt x="3590341" y="2904681"/>
                </a:cubicBezTo>
                <a:cubicBezTo>
                  <a:pt x="3586746" y="2901085"/>
                  <a:pt x="3567569" y="2894493"/>
                  <a:pt x="3562775" y="2895692"/>
                </a:cubicBezTo>
                <a:cubicBezTo>
                  <a:pt x="3557980" y="2896890"/>
                  <a:pt x="3551389" y="2892696"/>
                  <a:pt x="3558580" y="2890898"/>
                </a:cubicBezTo>
                <a:cubicBezTo>
                  <a:pt x="3565771" y="2889100"/>
                  <a:pt x="3561576" y="2885504"/>
                  <a:pt x="3560378" y="2884905"/>
                </a:cubicBezTo>
                <a:cubicBezTo>
                  <a:pt x="3559179" y="2884306"/>
                  <a:pt x="3560378" y="2881908"/>
                  <a:pt x="3561576" y="2880111"/>
                </a:cubicBezTo>
                <a:cubicBezTo>
                  <a:pt x="3562775" y="2878313"/>
                  <a:pt x="3560977" y="2869923"/>
                  <a:pt x="3556183" y="2869324"/>
                </a:cubicBezTo>
                <a:cubicBezTo>
                  <a:pt x="3551988" y="2868725"/>
                  <a:pt x="3548991" y="2863930"/>
                  <a:pt x="3548991" y="2862133"/>
                </a:cubicBezTo>
                <a:cubicBezTo>
                  <a:pt x="3548991" y="2859735"/>
                  <a:pt x="3545396" y="2856739"/>
                  <a:pt x="3542399" y="2865129"/>
                </a:cubicBezTo>
                <a:cubicBezTo>
                  <a:pt x="3539403" y="2873519"/>
                  <a:pt x="3534609" y="2870522"/>
                  <a:pt x="3534609" y="2865129"/>
                </a:cubicBezTo>
                <a:cubicBezTo>
                  <a:pt x="3534609" y="2859735"/>
                  <a:pt x="3532212" y="2858537"/>
                  <a:pt x="3529215" y="2864530"/>
                </a:cubicBezTo>
                <a:cubicBezTo>
                  <a:pt x="3526219" y="2869923"/>
                  <a:pt x="3528616" y="2871721"/>
                  <a:pt x="3521425" y="2876515"/>
                </a:cubicBezTo>
                <a:cubicBezTo>
                  <a:pt x="3514234" y="2881908"/>
                  <a:pt x="3512436" y="2893295"/>
                  <a:pt x="3511237" y="2896890"/>
                </a:cubicBezTo>
                <a:cubicBezTo>
                  <a:pt x="3510039" y="2901085"/>
                  <a:pt x="3507042" y="2907078"/>
                  <a:pt x="3501049" y="2908876"/>
                </a:cubicBezTo>
                <a:cubicBezTo>
                  <a:pt x="3495057" y="2911273"/>
                  <a:pt x="3492660" y="2913670"/>
                  <a:pt x="3498653" y="2915468"/>
                </a:cubicBezTo>
                <a:cubicBezTo>
                  <a:pt x="3504645" y="2917266"/>
                  <a:pt x="3499252" y="2921461"/>
                  <a:pt x="3496255" y="2922659"/>
                </a:cubicBezTo>
                <a:lnTo>
                  <a:pt x="3491461" y="2923259"/>
                </a:lnTo>
                <a:cubicBezTo>
                  <a:pt x="3491461" y="2922659"/>
                  <a:pt x="3492060" y="2922060"/>
                  <a:pt x="3492060" y="2921461"/>
                </a:cubicBezTo>
                <a:cubicBezTo>
                  <a:pt x="3495656" y="2913670"/>
                  <a:pt x="3484869" y="2919663"/>
                  <a:pt x="3483671" y="2922060"/>
                </a:cubicBezTo>
                <a:cubicBezTo>
                  <a:pt x="3482472" y="2924457"/>
                  <a:pt x="3474682" y="2929850"/>
                  <a:pt x="3469288" y="2931049"/>
                </a:cubicBezTo>
                <a:cubicBezTo>
                  <a:pt x="3463894" y="2932248"/>
                  <a:pt x="3456703" y="2933446"/>
                  <a:pt x="3456104" y="2940038"/>
                </a:cubicBezTo>
                <a:cubicBezTo>
                  <a:pt x="3455505" y="2946630"/>
                  <a:pt x="3448313" y="2952024"/>
                  <a:pt x="3445916" y="2955619"/>
                </a:cubicBezTo>
                <a:cubicBezTo>
                  <a:pt x="3443519" y="2959814"/>
                  <a:pt x="3433931" y="2965208"/>
                  <a:pt x="3432732" y="2970002"/>
                </a:cubicBezTo>
                <a:cubicBezTo>
                  <a:pt x="3430934" y="2974796"/>
                  <a:pt x="3426140" y="2985583"/>
                  <a:pt x="3423144" y="2986781"/>
                </a:cubicBezTo>
                <a:cubicBezTo>
                  <a:pt x="3423144" y="2986781"/>
                  <a:pt x="3417151" y="2992175"/>
                  <a:pt x="3409960" y="2992175"/>
                </a:cubicBezTo>
                <a:cubicBezTo>
                  <a:pt x="3402769" y="2992175"/>
                  <a:pt x="3394379" y="2994572"/>
                  <a:pt x="3388985" y="2998767"/>
                </a:cubicBezTo>
                <a:cubicBezTo>
                  <a:pt x="3383592" y="3002962"/>
                  <a:pt x="3381794" y="3006558"/>
                  <a:pt x="3382393" y="3008955"/>
                </a:cubicBezTo>
                <a:cubicBezTo>
                  <a:pt x="3382992" y="3011352"/>
                  <a:pt x="3380596" y="3013749"/>
                  <a:pt x="3376401" y="3013150"/>
                </a:cubicBezTo>
                <a:cubicBezTo>
                  <a:pt x="3372206" y="3012550"/>
                  <a:pt x="3373404" y="3018543"/>
                  <a:pt x="3372206" y="3020940"/>
                </a:cubicBezTo>
                <a:cubicBezTo>
                  <a:pt x="3371606" y="3023337"/>
                  <a:pt x="3369209" y="3026933"/>
                  <a:pt x="3368011" y="3028731"/>
                </a:cubicBezTo>
                <a:cubicBezTo>
                  <a:pt x="3366812" y="3030529"/>
                  <a:pt x="3366812" y="3032926"/>
                  <a:pt x="3368610" y="3035922"/>
                </a:cubicBezTo>
                <a:cubicBezTo>
                  <a:pt x="3370408" y="3038918"/>
                  <a:pt x="3368011" y="3043113"/>
                  <a:pt x="3364415" y="3038319"/>
                </a:cubicBezTo>
                <a:cubicBezTo>
                  <a:pt x="3360820" y="3033525"/>
                  <a:pt x="3360220" y="3032926"/>
                  <a:pt x="3356625" y="3032926"/>
                </a:cubicBezTo>
                <a:cubicBezTo>
                  <a:pt x="3352430" y="3033525"/>
                  <a:pt x="3350632" y="3031727"/>
                  <a:pt x="3348235" y="3028731"/>
                </a:cubicBezTo>
                <a:cubicBezTo>
                  <a:pt x="3345838" y="3026334"/>
                  <a:pt x="3345238" y="3028131"/>
                  <a:pt x="3341043" y="3028731"/>
                </a:cubicBezTo>
                <a:cubicBezTo>
                  <a:pt x="3336849" y="3029330"/>
                  <a:pt x="3332654" y="3028731"/>
                  <a:pt x="3332054" y="3025734"/>
                </a:cubicBezTo>
                <a:cubicBezTo>
                  <a:pt x="3331455" y="3022738"/>
                  <a:pt x="3331455" y="3015547"/>
                  <a:pt x="3327859" y="3017344"/>
                </a:cubicBezTo>
                <a:cubicBezTo>
                  <a:pt x="3324264" y="3019142"/>
                  <a:pt x="3316473" y="3026933"/>
                  <a:pt x="3315874" y="3029929"/>
                </a:cubicBezTo>
                <a:cubicBezTo>
                  <a:pt x="3315275" y="3032926"/>
                  <a:pt x="3315275" y="3034723"/>
                  <a:pt x="3311679" y="3035323"/>
                </a:cubicBezTo>
                <a:cubicBezTo>
                  <a:pt x="3307484" y="3035922"/>
                  <a:pt x="3306885" y="3040716"/>
                  <a:pt x="3307484" y="3046110"/>
                </a:cubicBezTo>
                <a:cubicBezTo>
                  <a:pt x="3308083" y="3051503"/>
                  <a:pt x="3306885" y="3061691"/>
                  <a:pt x="3305087" y="3064687"/>
                </a:cubicBezTo>
                <a:cubicBezTo>
                  <a:pt x="3303889" y="3070081"/>
                  <a:pt x="3303889" y="3073077"/>
                  <a:pt x="3305087" y="3076073"/>
                </a:cubicBezTo>
                <a:close/>
                <a:moveTo>
                  <a:pt x="3952902" y="3131207"/>
                </a:moveTo>
                <a:cubicBezTo>
                  <a:pt x="3950505" y="3131806"/>
                  <a:pt x="3948707" y="3138997"/>
                  <a:pt x="3952902" y="3139596"/>
                </a:cubicBezTo>
                <a:cubicBezTo>
                  <a:pt x="3957097" y="3140196"/>
                  <a:pt x="3960093" y="3140196"/>
                  <a:pt x="3959494" y="3136600"/>
                </a:cubicBezTo>
                <a:cubicBezTo>
                  <a:pt x="3958895" y="3132405"/>
                  <a:pt x="3961891" y="3130607"/>
                  <a:pt x="3966086" y="3133604"/>
                </a:cubicBezTo>
                <a:cubicBezTo>
                  <a:pt x="3970281" y="3136600"/>
                  <a:pt x="3974476" y="3138997"/>
                  <a:pt x="3977472" y="3136600"/>
                </a:cubicBezTo>
                <a:cubicBezTo>
                  <a:pt x="3981667" y="3133004"/>
                  <a:pt x="3982866" y="3137199"/>
                  <a:pt x="3978671" y="3140795"/>
                </a:cubicBezTo>
                <a:cubicBezTo>
                  <a:pt x="3974476" y="3144390"/>
                  <a:pt x="3978072" y="3162968"/>
                  <a:pt x="3987061" y="3159372"/>
                </a:cubicBezTo>
                <a:cubicBezTo>
                  <a:pt x="3993653" y="3156975"/>
                  <a:pt x="3994252" y="3161769"/>
                  <a:pt x="3999046" y="3159972"/>
                </a:cubicBezTo>
                <a:cubicBezTo>
                  <a:pt x="4002642" y="3158773"/>
                  <a:pt x="4010432" y="3161170"/>
                  <a:pt x="4013429" y="3159972"/>
                </a:cubicBezTo>
                <a:cubicBezTo>
                  <a:pt x="4016425" y="3158773"/>
                  <a:pt x="4020620" y="3159372"/>
                  <a:pt x="4022418" y="3159372"/>
                </a:cubicBezTo>
                <a:cubicBezTo>
                  <a:pt x="4024215" y="3159372"/>
                  <a:pt x="4027811" y="3157575"/>
                  <a:pt x="4029609" y="3155178"/>
                </a:cubicBezTo>
                <a:cubicBezTo>
                  <a:pt x="4031407" y="3152780"/>
                  <a:pt x="4037999" y="3152181"/>
                  <a:pt x="4035602" y="3157575"/>
                </a:cubicBezTo>
                <a:cubicBezTo>
                  <a:pt x="4034403" y="3160571"/>
                  <a:pt x="4031407" y="3161769"/>
                  <a:pt x="4035003" y="3162968"/>
                </a:cubicBezTo>
                <a:cubicBezTo>
                  <a:pt x="4038598" y="3164766"/>
                  <a:pt x="4035602" y="3167163"/>
                  <a:pt x="4032605" y="3168361"/>
                </a:cubicBezTo>
                <a:cubicBezTo>
                  <a:pt x="4030208" y="3168961"/>
                  <a:pt x="4028410" y="3171957"/>
                  <a:pt x="4027811" y="3173755"/>
                </a:cubicBezTo>
                <a:cubicBezTo>
                  <a:pt x="4027212" y="3176152"/>
                  <a:pt x="4023017" y="3177350"/>
                  <a:pt x="4023616" y="3174354"/>
                </a:cubicBezTo>
                <a:cubicBezTo>
                  <a:pt x="4024215" y="3171358"/>
                  <a:pt x="4011032" y="3164167"/>
                  <a:pt x="4006237" y="3169560"/>
                </a:cubicBezTo>
                <a:cubicBezTo>
                  <a:pt x="4001443" y="3174954"/>
                  <a:pt x="3993653" y="3174954"/>
                  <a:pt x="3990656" y="3171957"/>
                </a:cubicBezTo>
                <a:cubicBezTo>
                  <a:pt x="3987660" y="3169560"/>
                  <a:pt x="3978671" y="3173755"/>
                  <a:pt x="3976873" y="3177350"/>
                </a:cubicBezTo>
                <a:cubicBezTo>
                  <a:pt x="3974476" y="3181545"/>
                  <a:pt x="3976274" y="3183343"/>
                  <a:pt x="3982866" y="3181545"/>
                </a:cubicBezTo>
                <a:cubicBezTo>
                  <a:pt x="3990057" y="3179748"/>
                  <a:pt x="3993653" y="3185141"/>
                  <a:pt x="3994851" y="3188138"/>
                </a:cubicBezTo>
                <a:cubicBezTo>
                  <a:pt x="3996050" y="3191134"/>
                  <a:pt x="3999645" y="3190535"/>
                  <a:pt x="4002043" y="3192332"/>
                </a:cubicBezTo>
                <a:cubicBezTo>
                  <a:pt x="4004440" y="3193531"/>
                  <a:pt x="4006237" y="3197726"/>
                  <a:pt x="4003840" y="3201321"/>
                </a:cubicBezTo>
                <a:cubicBezTo>
                  <a:pt x="4001443" y="3204917"/>
                  <a:pt x="4002642" y="3209112"/>
                  <a:pt x="4004440" y="3213906"/>
                </a:cubicBezTo>
                <a:cubicBezTo>
                  <a:pt x="4005638" y="3218701"/>
                  <a:pt x="4003241" y="3228888"/>
                  <a:pt x="4008635" y="3227091"/>
                </a:cubicBezTo>
                <a:cubicBezTo>
                  <a:pt x="4014028" y="3225292"/>
                  <a:pt x="4025414" y="3213906"/>
                  <a:pt x="4020620" y="3210311"/>
                </a:cubicBezTo>
                <a:cubicBezTo>
                  <a:pt x="4015826" y="3206116"/>
                  <a:pt x="4015226" y="3201921"/>
                  <a:pt x="4020620" y="3203719"/>
                </a:cubicBezTo>
                <a:cubicBezTo>
                  <a:pt x="4026014" y="3205516"/>
                  <a:pt x="4027811" y="3200722"/>
                  <a:pt x="4027811" y="3196527"/>
                </a:cubicBezTo>
                <a:cubicBezTo>
                  <a:pt x="4027811" y="3192332"/>
                  <a:pt x="4027212" y="3188737"/>
                  <a:pt x="4030208" y="3186340"/>
                </a:cubicBezTo>
                <a:cubicBezTo>
                  <a:pt x="4032605" y="3183943"/>
                  <a:pt x="4035602" y="3186939"/>
                  <a:pt x="4032605" y="3190535"/>
                </a:cubicBezTo>
                <a:cubicBezTo>
                  <a:pt x="4029609" y="3194730"/>
                  <a:pt x="4032006" y="3203719"/>
                  <a:pt x="4033205" y="3205516"/>
                </a:cubicBezTo>
                <a:cubicBezTo>
                  <a:pt x="4034403" y="3207314"/>
                  <a:pt x="4033804" y="3212708"/>
                  <a:pt x="4037999" y="3212708"/>
                </a:cubicBezTo>
                <a:cubicBezTo>
                  <a:pt x="4042194" y="3212708"/>
                  <a:pt x="4041595" y="3213307"/>
                  <a:pt x="4042194" y="3216903"/>
                </a:cubicBezTo>
                <a:cubicBezTo>
                  <a:pt x="4042793" y="3219899"/>
                  <a:pt x="4048786" y="3225292"/>
                  <a:pt x="4048786" y="3219300"/>
                </a:cubicBezTo>
                <a:cubicBezTo>
                  <a:pt x="4048786" y="3213307"/>
                  <a:pt x="4055378" y="3213906"/>
                  <a:pt x="4054179" y="3218701"/>
                </a:cubicBezTo>
                <a:cubicBezTo>
                  <a:pt x="4052981" y="3223495"/>
                  <a:pt x="4058374" y="3223495"/>
                  <a:pt x="4057775" y="3221098"/>
                </a:cubicBezTo>
                <a:cubicBezTo>
                  <a:pt x="4057176" y="3216903"/>
                  <a:pt x="4060771" y="3220498"/>
                  <a:pt x="4060172" y="3223495"/>
                </a:cubicBezTo>
                <a:cubicBezTo>
                  <a:pt x="4059573" y="3225892"/>
                  <a:pt x="4063768" y="3228888"/>
                  <a:pt x="4067363" y="3231285"/>
                </a:cubicBezTo>
                <a:cubicBezTo>
                  <a:pt x="4071558" y="3233682"/>
                  <a:pt x="4075154" y="3236080"/>
                  <a:pt x="4081147" y="3233682"/>
                </a:cubicBezTo>
                <a:cubicBezTo>
                  <a:pt x="4087139" y="3231285"/>
                  <a:pt x="4104518" y="3237278"/>
                  <a:pt x="4112908" y="3242072"/>
                </a:cubicBezTo>
                <a:cubicBezTo>
                  <a:pt x="4121298" y="3247466"/>
                  <a:pt x="4138677" y="3255256"/>
                  <a:pt x="4139876" y="3260051"/>
                </a:cubicBezTo>
                <a:cubicBezTo>
                  <a:pt x="4141074" y="3264845"/>
                  <a:pt x="4144670" y="3265444"/>
                  <a:pt x="4148865" y="3266043"/>
                </a:cubicBezTo>
                <a:cubicBezTo>
                  <a:pt x="4153059" y="3266642"/>
                  <a:pt x="4156655" y="3270238"/>
                  <a:pt x="4157254" y="3273234"/>
                </a:cubicBezTo>
                <a:cubicBezTo>
                  <a:pt x="4157854" y="3275632"/>
                  <a:pt x="4162048" y="3273834"/>
                  <a:pt x="4165644" y="3272635"/>
                </a:cubicBezTo>
                <a:cubicBezTo>
                  <a:pt x="4169240" y="3271437"/>
                  <a:pt x="4177630" y="3273834"/>
                  <a:pt x="4171038" y="3275032"/>
                </a:cubicBezTo>
                <a:cubicBezTo>
                  <a:pt x="4164446" y="3276231"/>
                  <a:pt x="4159652" y="3276830"/>
                  <a:pt x="4164446" y="3281025"/>
                </a:cubicBezTo>
                <a:cubicBezTo>
                  <a:pt x="4169240" y="3285220"/>
                  <a:pt x="4165045" y="3295408"/>
                  <a:pt x="4171637" y="3301400"/>
                </a:cubicBezTo>
                <a:cubicBezTo>
                  <a:pt x="4178828" y="3307393"/>
                  <a:pt x="4184821" y="3313386"/>
                  <a:pt x="4175233" y="3312187"/>
                </a:cubicBezTo>
                <a:cubicBezTo>
                  <a:pt x="4165644" y="3310989"/>
                  <a:pt x="4171038" y="3317581"/>
                  <a:pt x="4172836" y="3319978"/>
                </a:cubicBezTo>
                <a:cubicBezTo>
                  <a:pt x="4174633" y="3322375"/>
                  <a:pt x="4178828" y="3325371"/>
                  <a:pt x="4184821" y="3325371"/>
                </a:cubicBezTo>
                <a:cubicBezTo>
                  <a:pt x="4190814" y="3325971"/>
                  <a:pt x="4193211" y="3328967"/>
                  <a:pt x="4187818" y="3328967"/>
                </a:cubicBezTo>
                <a:cubicBezTo>
                  <a:pt x="4180626" y="3328967"/>
                  <a:pt x="4176431" y="3329566"/>
                  <a:pt x="4184821" y="3335559"/>
                </a:cubicBezTo>
                <a:cubicBezTo>
                  <a:pt x="4190814" y="3339754"/>
                  <a:pt x="4186619" y="3346346"/>
                  <a:pt x="4184222" y="3351140"/>
                </a:cubicBezTo>
                <a:cubicBezTo>
                  <a:pt x="4181825" y="3355934"/>
                  <a:pt x="4178828" y="3364924"/>
                  <a:pt x="4184821" y="3363125"/>
                </a:cubicBezTo>
                <a:cubicBezTo>
                  <a:pt x="4190814" y="3360729"/>
                  <a:pt x="4192012" y="3354136"/>
                  <a:pt x="4195009" y="3357732"/>
                </a:cubicBezTo>
                <a:cubicBezTo>
                  <a:pt x="4198005" y="3361927"/>
                  <a:pt x="4205196" y="3357732"/>
                  <a:pt x="4208193" y="3357133"/>
                </a:cubicBezTo>
                <a:cubicBezTo>
                  <a:pt x="4211789" y="3356534"/>
                  <a:pt x="4213586" y="3356534"/>
                  <a:pt x="4215384" y="3354736"/>
                </a:cubicBezTo>
                <a:cubicBezTo>
                  <a:pt x="4217182" y="3352938"/>
                  <a:pt x="4219579" y="3353537"/>
                  <a:pt x="4218980" y="3356534"/>
                </a:cubicBezTo>
                <a:cubicBezTo>
                  <a:pt x="4218381" y="3359530"/>
                  <a:pt x="4223774" y="3366721"/>
                  <a:pt x="4230965" y="3372714"/>
                </a:cubicBezTo>
                <a:cubicBezTo>
                  <a:pt x="4238156" y="3378107"/>
                  <a:pt x="4241153" y="3382902"/>
                  <a:pt x="4242951" y="3385898"/>
                </a:cubicBezTo>
                <a:cubicBezTo>
                  <a:pt x="4244149" y="3389494"/>
                  <a:pt x="4247745" y="3391291"/>
                  <a:pt x="4250142" y="3390692"/>
                </a:cubicBezTo>
                <a:lnTo>
                  <a:pt x="4250142" y="3389494"/>
                </a:lnTo>
                <a:cubicBezTo>
                  <a:pt x="4252539" y="3388894"/>
                  <a:pt x="4257333" y="3388894"/>
                  <a:pt x="4261528" y="3390093"/>
                </a:cubicBezTo>
                <a:cubicBezTo>
                  <a:pt x="4265723" y="3390692"/>
                  <a:pt x="4279507" y="3393689"/>
                  <a:pt x="4280106" y="3390692"/>
                </a:cubicBezTo>
                <a:cubicBezTo>
                  <a:pt x="4280705" y="3387696"/>
                  <a:pt x="4283702" y="3389494"/>
                  <a:pt x="4284900" y="3392490"/>
                </a:cubicBezTo>
                <a:cubicBezTo>
                  <a:pt x="4286098" y="3395486"/>
                  <a:pt x="4295087" y="3396685"/>
                  <a:pt x="4296885" y="3394887"/>
                </a:cubicBezTo>
                <a:cubicBezTo>
                  <a:pt x="4299282" y="3393089"/>
                  <a:pt x="4304077" y="3391291"/>
                  <a:pt x="4313665" y="3390692"/>
                </a:cubicBezTo>
                <a:cubicBezTo>
                  <a:pt x="4323253" y="3390093"/>
                  <a:pt x="4320257" y="3380504"/>
                  <a:pt x="4317261" y="3378707"/>
                </a:cubicBezTo>
                <a:cubicBezTo>
                  <a:pt x="4314264" y="3377508"/>
                  <a:pt x="4308871" y="3374512"/>
                  <a:pt x="4307073" y="3371515"/>
                </a:cubicBezTo>
                <a:cubicBezTo>
                  <a:pt x="4304676" y="3369118"/>
                  <a:pt x="4301680" y="3366721"/>
                  <a:pt x="4298683" y="3366721"/>
                </a:cubicBezTo>
                <a:cubicBezTo>
                  <a:pt x="4295687" y="3366721"/>
                  <a:pt x="4285499" y="3368519"/>
                  <a:pt x="4286098" y="3366122"/>
                </a:cubicBezTo>
                <a:cubicBezTo>
                  <a:pt x="4287896" y="3361927"/>
                  <a:pt x="4298084" y="3363725"/>
                  <a:pt x="4301080" y="3363125"/>
                </a:cubicBezTo>
                <a:cubicBezTo>
                  <a:pt x="4303477" y="3362526"/>
                  <a:pt x="4313066" y="3358931"/>
                  <a:pt x="4317860" y="3360729"/>
                </a:cubicBezTo>
                <a:cubicBezTo>
                  <a:pt x="4322055" y="3361927"/>
                  <a:pt x="4325051" y="3358331"/>
                  <a:pt x="4319658" y="3356534"/>
                </a:cubicBezTo>
                <a:cubicBezTo>
                  <a:pt x="4314863" y="3354736"/>
                  <a:pt x="4317261" y="3348743"/>
                  <a:pt x="4323253" y="3353537"/>
                </a:cubicBezTo>
                <a:cubicBezTo>
                  <a:pt x="4329246" y="3358331"/>
                  <a:pt x="4331044" y="3354136"/>
                  <a:pt x="4331643" y="3347544"/>
                </a:cubicBezTo>
                <a:cubicBezTo>
                  <a:pt x="4332243" y="3340353"/>
                  <a:pt x="4320856" y="3334360"/>
                  <a:pt x="4321456" y="3331364"/>
                </a:cubicBezTo>
                <a:cubicBezTo>
                  <a:pt x="4322055" y="3328967"/>
                  <a:pt x="4328048" y="3332563"/>
                  <a:pt x="4334040" y="3338555"/>
                </a:cubicBezTo>
                <a:cubicBezTo>
                  <a:pt x="4340033" y="3343949"/>
                  <a:pt x="4349022" y="3342750"/>
                  <a:pt x="4342430" y="3336758"/>
                </a:cubicBezTo>
                <a:cubicBezTo>
                  <a:pt x="4338235" y="3332563"/>
                  <a:pt x="4340033" y="3328967"/>
                  <a:pt x="4341831" y="3330765"/>
                </a:cubicBezTo>
                <a:cubicBezTo>
                  <a:pt x="4343629" y="3332563"/>
                  <a:pt x="4345427" y="3332563"/>
                  <a:pt x="4347224" y="3332563"/>
                </a:cubicBezTo>
                <a:cubicBezTo>
                  <a:pt x="4349622" y="3332563"/>
                  <a:pt x="4357412" y="3336758"/>
                  <a:pt x="4359809" y="3339754"/>
                </a:cubicBezTo>
                <a:cubicBezTo>
                  <a:pt x="4362206" y="3343349"/>
                  <a:pt x="4369997" y="3348144"/>
                  <a:pt x="4373593" y="3348144"/>
                </a:cubicBezTo>
                <a:cubicBezTo>
                  <a:pt x="4377787" y="3347544"/>
                  <a:pt x="4383780" y="3349342"/>
                  <a:pt x="4389174" y="3354136"/>
                </a:cubicBezTo>
                <a:cubicBezTo>
                  <a:pt x="4394567" y="3358931"/>
                  <a:pt x="4408950" y="3375710"/>
                  <a:pt x="4410747" y="3376310"/>
                </a:cubicBezTo>
                <a:cubicBezTo>
                  <a:pt x="4412545" y="3376909"/>
                  <a:pt x="4417340" y="3378707"/>
                  <a:pt x="4413744" y="3382302"/>
                </a:cubicBezTo>
                <a:cubicBezTo>
                  <a:pt x="4410148" y="3385898"/>
                  <a:pt x="4414343" y="3387696"/>
                  <a:pt x="4420935" y="3387696"/>
                </a:cubicBezTo>
                <a:cubicBezTo>
                  <a:pt x="4426928" y="3387096"/>
                  <a:pt x="4432921" y="3388894"/>
                  <a:pt x="4426329" y="3392490"/>
                </a:cubicBezTo>
                <a:cubicBezTo>
                  <a:pt x="4419736" y="3396085"/>
                  <a:pt x="4425729" y="3402678"/>
                  <a:pt x="4427527" y="3401479"/>
                </a:cubicBezTo>
                <a:cubicBezTo>
                  <a:pt x="4429325" y="3400880"/>
                  <a:pt x="4431722" y="3401479"/>
                  <a:pt x="4432921" y="3403876"/>
                </a:cubicBezTo>
                <a:cubicBezTo>
                  <a:pt x="4434718" y="3406273"/>
                  <a:pt x="4441310" y="3414064"/>
                  <a:pt x="4441310" y="3417060"/>
                </a:cubicBezTo>
                <a:cubicBezTo>
                  <a:pt x="4441310" y="3420656"/>
                  <a:pt x="4445505" y="3423053"/>
                  <a:pt x="4447303" y="3422454"/>
                </a:cubicBezTo>
                <a:cubicBezTo>
                  <a:pt x="4449700" y="3421855"/>
                  <a:pt x="4451498" y="3419457"/>
                  <a:pt x="4453296" y="3422454"/>
                </a:cubicBezTo>
                <a:cubicBezTo>
                  <a:pt x="4455693" y="3425450"/>
                  <a:pt x="4463484" y="3423652"/>
                  <a:pt x="4465281" y="3425450"/>
                </a:cubicBezTo>
                <a:cubicBezTo>
                  <a:pt x="4467079" y="3427248"/>
                  <a:pt x="4473072" y="3427847"/>
                  <a:pt x="4476068" y="3426649"/>
                </a:cubicBezTo>
                <a:cubicBezTo>
                  <a:pt x="4479065" y="3426049"/>
                  <a:pt x="4491050" y="3424851"/>
                  <a:pt x="4492249" y="3427847"/>
                </a:cubicBezTo>
                <a:cubicBezTo>
                  <a:pt x="4493447" y="3430844"/>
                  <a:pt x="4496444" y="3432042"/>
                  <a:pt x="4497642" y="3430244"/>
                </a:cubicBezTo>
                <a:cubicBezTo>
                  <a:pt x="4499440" y="3429046"/>
                  <a:pt x="4500039" y="3429645"/>
                  <a:pt x="4501837" y="3432042"/>
                </a:cubicBezTo>
                <a:cubicBezTo>
                  <a:pt x="4503036" y="3434439"/>
                  <a:pt x="4508429" y="3437436"/>
                  <a:pt x="4511426" y="3436237"/>
                </a:cubicBezTo>
                <a:cubicBezTo>
                  <a:pt x="4514422" y="3435038"/>
                  <a:pt x="4521014" y="3440432"/>
                  <a:pt x="4513223" y="3440432"/>
                </a:cubicBezTo>
                <a:cubicBezTo>
                  <a:pt x="4506032" y="3440432"/>
                  <a:pt x="4509627" y="3447623"/>
                  <a:pt x="4522812" y="3444027"/>
                </a:cubicBezTo>
                <a:cubicBezTo>
                  <a:pt x="4532999" y="3441031"/>
                  <a:pt x="4530602" y="3438634"/>
                  <a:pt x="4524010" y="3434439"/>
                </a:cubicBezTo>
                <a:cubicBezTo>
                  <a:pt x="4517418" y="3430244"/>
                  <a:pt x="4522812" y="3428446"/>
                  <a:pt x="4526407" y="3430244"/>
                </a:cubicBezTo>
                <a:cubicBezTo>
                  <a:pt x="4530602" y="3432641"/>
                  <a:pt x="4532999" y="3432641"/>
                  <a:pt x="4535996" y="3430844"/>
                </a:cubicBezTo>
                <a:cubicBezTo>
                  <a:pt x="4538992" y="3428446"/>
                  <a:pt x="4537194" y="3426649"/>
                  <a:pt x="4534198" y="3427248"/>
                </a:cubicBezTo>
                <a:cubicBezTo>
                  <a:pt x="4531202" y="3427847"/>
                  <a:pt x="4526407" y="3427847"/>
                  <a:pt x="4514422" y="3420656"/>
                </a:cubicBezTo>
                <a:cubicBezTo>
                  <a:pt x="4502436" y="3413465"/>
                  <a:pt x="4505433" y="3410468"/>
                  <a:pt x="4510826" y="3409869"/>
                </a:cubicBezTo>
                <a:cubicBezTo>
                  <a:pt x="4516220" y="3409270"/>
                  <a:pt x="4519216" y="3408670"/>
                  <a:pt x="4515620" y="3405674"/>
                </a:cubicBezTo>
                <a:cubicBezTo>
                  <a:pt x="4511426" y="3402678"/>
                  <a:pt x="4507830" y="3403277"/>
                  <a:pt x="4499440" y="3403277"/>
                </a:cubicBezTo>
                <a:cubicBezTo>
                  <a:pt x="4491050" y="3403277"/>
                  <a:pt x="4489252" y="3399681"/>
                  <a:pt x="4492848" y="3390093"/>
                </a:cubicBezTo>
                <a:cubicBezTo>
                  <a:pt x="4496444" y="3380504"/>
                  <a:pt x="4489852" y="3381703"/>
                  <a:pt x="4488653" y="3383501"/>
                </a:cubicBezTo>
                <a:cubicBezTo>
                  <a:pt x="4487455" y="3385898"/>
                  <a:pt x="4486256" y="3387096"/>
                  <a:pt x="4479664" y="3386497"/>
                </a:cubicBezTo>
                <a:cubicBezTo>
                  <a:pt x="4472473" y="3385898"/>
                  <a:pt x="4469476" y="3384100"/>
                  <a:pt x="4469476" y="3380504"/>
                </a:cubicBezTo>
                <a:cubicBezTo>
                  <a:pt x="4469476" y="3376310"/>
                  <a:pt x="4467079" y="3372115"/>
                  <a:pt x="4464083" y="3369718"/>
                </a:cubicBezTo>
                <a:cubicBezTo>
                  <a:pt x="4461686" y="3367320"/>
                  <a:pt x="4459888" y="3364324"/>
                  <a:pt x="4458689" y="3361927"/>
                </a:cubicBezTo>
                <a:cubicBezTo>
                  <a:pt x="4458090" y="3359530"/>
                  <a:pt x="4455693" y="3354736"/>
                  <a:pt x="4453296" y="3352938"/>
                </a:cubicBezTo>
                <a:cubicBezTo>
                  <a:pt x="4450899" y="3350541"/>
                  <a:pt x="4441310" y="3336158"/>
                  <a:pt x="4434119" y="3333162"/>
                </a:cubicBezTo>
                <a:cubicBezTo>
                  <a:pt x="4426928" y="3329566"/>
                  <a:pt x="4429924" y="3322974"/>
                  <a:pt x="4422134" y="3314584"/>
                </a:cubicBezTo>
                <a:cubicBezTo>
                  <a:pt x="4416740" y="3307992"/>
                  <a:pt x="4424531" y="3310989"/>
                  <a:pt x="4430524" y="3311588"/>
                </a:cubicBezTo>
                <a:cubicBezTo>
                  <a:pt x="4438314" y="3312187"/>
                  <a:pt x="4438314" y="3305595"/>
                  <a:pt x="4446704" y="3307393"/>
                </a:cubicBezTo>
                <a:cubicBezTo>
                  <a:pt x="4455094" y="3309191"/>
                  <a:pt x="4447303" y="3294808"/>
                  <a:pt x="4444307" y="3288816"/>
                </a:cubicBezTo>
                <a:cubicBezTo>
                  <a:pt x="4441310" y="3282823"/>
                  <a:pt x="4435917" y="3278628"/>
                  <a:pt x="4432921" y="3280426"/>
                </a:cubicBezTo>
                <a:cubicBezTo>
                  <a:pt x="4429924" y="3281624"/>
                  <a:pt x="4424531" y="3283422"/>
                  <a:pt x="4419137" y="3279827"/>
                </a:cubicBezTo>
                <a:cubicBezTo>
                  <a:pt x="4413744" y="3275632"/>
                  <a:pt x="4410747" y="3270837"/>
                  <a:pt x="4403556" y="3270837"/>
                </a:cubicBezTo>
                <a:cubicBezTo>
                  <a:pt x="4396365" y="3270837"/>
                  <a:pt x="4399960" y="3268440"/>
                  <a:pt x="4391571" y="3266043"/>
                </a:cubicBezTo>
                <a:cubicBezTo>
                  <a:pt x="4383181" y="3263646"/>
                  <a:pt x="4384979" y="3258852"/>
                  <a:pt x="4384979" y="3255856"/>
                </a:cubicBezTo>
                <a:cubicBezTo>
                  <a:pt x="4384979" y="3252859"/>
                  <a:pt x="4386776" y="3247466"/>
                  <a:pt x="4381383" y="3243870"/>
                </a:cubicBezTo>
                <a:cubicBezTo>
                  <a:pt x="4375989" y="3240274"/>
                  <a:pt x="4372993" y="3233682"/>
                  <a:pt x="4369398" y="3231285"/>
                </a:cubicBezTo>
                <a:cubicBezTo>
                  <a:pt x="4365203" y="3228888"/>
                  <a:pt x="4361607" y="3228289"/>
                  <a:pt x="4359210" y="3219300"/>
                </a:cubicBezTo>
                <a:cubicBezTo>
                  <a:pt x="4356813" y="3210311"/>
                  <a:pt x="4346625" y="3206116"/>
                  <a:pt x="4343629" y="3206116"/>
                </a:cubicBezTo>
                <a:cubicBezTo>
                  <a:pt x="4340633" y="3206715"/>
                  <a:pt x="4333441" y="3206715"/>
                  <a:pt x="4330445" y="3203719"/>
                </a:cubicBezTo>
                <a:cubicBezTo>
                  <a:pt x="4327448" y="3200722"/>
                  <a:pt x="4320257" y="3196527"/>
                  <a:pt x="4312467" y="3198325"/>
                </a:cubicBezTo>
                <a:cubicBezTo>
                  <a:pt x="4304077" y="3199524"/>
                  <a:pt x="4287896" y="3192932"/>
                  <a:pt x="4285499" y="3189935"/>
                </a:cubicBezTo>
                <a:cubicBezTo>
                  <a:pt x="4283102" y="3186939"/>
                  <a:pt x="4278308" y="3184542"/>
                  <a:pt x="4275312" y="3183343"/>
                </a:cubicBezTo>
                <a:cubicBezTo>
                  <a:pt x="4272315" y="3182744"/>
                  <a:pt x="4265124" y="3180946"/>
                  <a:pt x="4260330" y="3176751"/>
                </a:cubicBezTo>
                <a:cubicBezTo>
                  <a:pt x="4256135" y="3172556"/>
                  <a:pt x="4248344" y="3171358"/>
                  <a:pt x="4245348" y="3171957"/>
                </a:cubicBezTo>
                <a:cubicBezTo>
                  <a:pt x="4242951" y="3172556"/>
                  <a:pt x="4238156" y="3172556"/>
                  <a:pt x="4236958" y="3168961"/>
                </a:cubicBezTo>
                <a:cubicBezTo>
                  <a:pt x="4235760" y="3165365"/>
                  <a:pt x="4232763" y="3163567"/>
                  <a:pt x="4229767" y="3164766"/>
                </a:cubicBezTo>
                <a:cubicBezTo>
                  <a:pt x="4226770" y="3165365"/>
                  <a:pt x="4222576" y="3160571"/>
                  <a:pt x="4217781" y="3162968"/>
                </a:cubicBezTo>
                <a:cubicBezTo>
                  <a:pt x="4212987" y="3165365"/>
                  <a:pt x="4196207" y="3160571"/>
                  <a:pt x="4182424" y="3149784"/>
                </a:cubicBezTo>
                <a:cubicBezTo>
                  <a:pt x="4168641" y="3138398"/>
                  <a:pt x="4163847" y="3137799"/>
                  <a:pt x="4162648" y="3138997"/>
                </a:cubicBezTo>
                <a:cubicBezTo>
                  <a:pt x="4161449" y="3140196"/>
                  <a:pt x="4158453" y="3141394"/>
                  <a:pt x="4155457" y="3138398"/>
                </a:cubicBezTo>
                <a:cubicBezTo>
                  <a:pt x="4153059" y="3134802"/>
                  <a:pt x="4150063" y="3137199"/>
                  <a:pt x="4142872" y="3138997"/>
                </a:cubicBezTo>
                <a:cubicBezTo>
                  <a:pt x="4135681" y="3141394"/>
                  <a:pt x="4131486" y="3144390"/>
                  <a:pt x="4132684" y="3150983"/>
                </a:cubicBezTo>
                <a:cubicBezTo>
                  <a:pt x="4133283" y="3158174"/>
                  <a:pt x="4127890" y="3158174"/>
                  <a:pt x="4125493" y="3159972"/>
                </a:cubicBezTo>
                <a:cubicBezTo>
                  <a:pt x="4123096" y="3161769"/>
                  <a:pt x="4118901" y="3165964"/>
                  <a:pt x="4115305" y="3162369"/>
                </a:cubicBezTo>
                <a:cubicBezTo>
                  <a:pt x="4111710" y="3158773"/>
                  <a:pt x="4110511" y="3161170"/>
                  <a:pt x="4108114" y="3163567"/>
                </a:cubicBezTo>
                <a:cubicBezTo>
                  <a:pt x="4105717" y="3165964"/>
                  <a:pt x="4100323" y="3170759"/>
                  <a:pt x="4094930" y="3176751"/>
                </a:cubicBezTo>
                <a:cubicBezTo>
                  <a:pt x="4089536" y="3183343"/>
                  <a:pt x="4088937" y="3183343"/>
                  <a:pt x="4084143" y="3192932"/>
                </a:cubicBezTo>
                <a:cubicBezTo>
                  <a:pt x="4079349" y="3202520"/>
                  <a:pt x="4067363" y="3198325"/>
                  <a:pt x="4064367" y="3195928"/>
                </a:cubicBezTo>
                <a:cubicBezTo>
                  <a:pt x="4060771" y="3193531"/>
                  <a:pt x="4057775" y="3190535"/>
                  <a:pt x="4060172" y="3187538"/>
                </a:cubicBezTo>
                <a:cubicBezTo>
                  <a:pt x="4064367" y="3182145"/>
                  <a:pt x="4061371" y="3183943"/>
                  <a:pt x="4058974" y="3182744"/>
                </a:cubicBezTo>
                <a:cubicBezTo>
                  <a:pt x="4056576" y="3181545"/>
                  <a:pt x="4054179" y="3178549"/>
                  <a:pt x="4057176" y="3172556"/>
                </a:cubicBezTo>
                <a:cubicBezTo>
                  <a:pt x="4060172" y="3166564"/>
                  <a:pt x="4052981" y="3167163"/>
                  <a:pt x="4052381" y="3170159"/>
                </a:cubicBezTo>
                <a:cubicBezTo>
                  <a:pt x="4051782" y="3173755"/>
                  <a:pt x="4051782" y="3177350"/>
                  <a:pt x="4048786" y="3176751"/>
                </a:cubicBezTo>
                <a:cubicBezTo>
                  <a:pt x="4045790" y="3176152"/>
                  <a:pt x="4045190" y="3163567"/>
                  <a:pt x="4044591" y="3159972"/>
                </a:cubicBezTo>
                <a:cubicBezTo>
                  <a:pt x="4043992" y="3156376"/>
                  <a:pt x="4038598" y="3145589"/>
                  <a:pt x="4042194" y="3138997"/>
                </a:cubicBezTo>
                <a:cubicBezTo>
                  <a:pt x="4045790" y="3132405"/>
                  <a:pt x="4039797" y="3123416"/>
                  <a:pt x="4037400" y="3116824"/>
                </a:cubicBezTo>
                <a:cubicBezTo>
                  <a:pt x="4035003" y="3110232"/>
                  <a:pt x="4027811" y="3116824"/>
                  <a:pt x="4021219" y="3109033"/>
                </a:cubicBezTo>
                <a:cubicBezTo>
                  <a:pt x="4014627" y="3101243"/>
                  <a:pt x="4001443" y="3102441"/>
                  <a:pt x="3998447" y="3101842"/>
                </a:cubicBezTo>
                <a:cubicBezTo>
                  <a:pt x="3994851" y="3101243"/>
                  <a:pt x="3985263" y="3100044"/>
                  <a:pt x="3981068" y="3104838"/>
                </a:cubicBezTo>
                <a:cubicBezTo>
                  <a:pt x="3976873" y="3109633"/>
                  <a:pt x="3969083" y="3112030"/>
                  <a:pt x="3964888" y="3111430"/>
                </a:cubicBezTo>
                <a:cubicBezTo>
                  <a:pt x="3960693" y="3110831"/>
                  <a:pt x="3955299" y="3119221"/>
                  <a:pt x="3956498" y="3124614"/>
                </a:cubicBezTo>
                <a:cubicBezTo>
                  <a:pt x="3956498" y="3128809"/>
                  <a:pt x="3955299" y="3130607"/>
                  <a:pt x="3952902" y="3131207"/>
                </a:cubicBezTo>
                <a:close/>
                <a:moveTo>
                  <a:pt x="1105152" y="903106"/>
                </a:moveTo>
                <a:cubicBezTo>
                  <a:pt x="1108149" y="899510"/>
                  <a:pt x="1099759" y="898312"/>
                  <a:pt x="1096763" y="902507"/>
                </a:cubicBezTo>
                <a:cubicBezTo>
                  <a:pt x="1093766" y="906702"/>
                  <a:pt x="1099160" y="908499"/>
                  <a:pt x="1099160" y="908499"/>
                </a:cubicBezTo>
                <a:cubicBezTo>
                  <a:pt x="1099160" y="908499"/>
                  <a:pt x="1102156" y="906702"/>
                  <a:pt x="1105152" y="903106"/>
                </a:cubicBezTo>
                <a:close/>
                <a:moveTo>
                  <a:pt x="1121333" y="877936"/>
                </a:moveTo>
                <a:cubicBezTo>
                  <a:pt x="1121333" y="877936"/>
                  <a:pt x="1119535" y="880333"/>
                  <a:pt x="1124329" y="875539"/>
                </a:cubicBezTo>
                <a:cubicBezTo>
                  <a:pt x="1129123" y="871344"/>
                  <a:pt x="1128524" y="867749"/>
                  <a:pt x="1121932" y="873142"/>
                </a:cubicBezTo>
                <a:cubicBezTo>
                  <a:pt x="1115340" y="877936"/>
                  <a:pt x="1121333" y="877936"/>
                  <a:pt x="1121333" y="877936"/>
                </a:cubicBezTo>
                <a:close/>
                <a:moveTo>
                  <a:pt x="1077586" y="1020564"/>
                </a:moveTo>
                <a:cubicBezTo>
                  <a:pt x="1081781" y="1024758"/>
                  <a:pt x="1079983" y="1024159"/>
                  <a:pt x="1084178" y="1021163"/>
                </a:cubicBezTo>
                <a:cubicBezTo>
                  <a:pt x="1088373" y="1018766"/>
                  <a:pt x="1084178" y="1013972"/>
                  <a:pt x="1078784" y="1013972"/>
                </a:cubicBezTo>
                <a:cubicBezTo>
                  <a:pt x="1073990" y="1014571"/>
                  <a:pt x="1073990" y="1016369"/>
                  <a:pt x="1077586" y="1020564"/>
                </a:cubicBezTo>
                <a:close/>
                <a:moveTo>
                  <a:pt x="1162083" y="761078"/>
                </a:moveTo>
                <a:lnTo>
                  <a:pt x="1163881" y="758082"/>
                </a:lnTo>
                <a:cubicBezTo>
                  <a:pt x="1163881" y="758082"/>
                  <a:pt x="1164480" y="752688"/>
                  <a:pt x="1161484" y="756284"/>
                </a:cubicBezTo>
                <a:cubicBezTo>
                  <a:pt x="1157888" y="759879"/>
                  <a:pt x="1162083" y="761078"/>
                  <a:pt x="1162083" y="761078"/>
                </a:cubicBezTo>
                <a:close/>
                <a:moveTo>
                  <a:pt x="1201635" y="735309"/>
                </a:moveTo>
                <a:cubicBezTo>
                  <a:pt x="1203433" y="733511"/>
                  <a:pt x="1205231" y="732912"/>
                  <a:pt x="1208827" y="728717"/>
                </a:cubicBezTo>
                <a:cubicBezTo>
                  <a:pt x="1212422" y="724522"/>
                  <a:pt x="1213022" y="726320"/>
                  <a:pt x="1205830" y="725721"/>
                </a:cubicBezTo>
                <a:cubicBezTo>
                  <a:pt x="1198639" y="725122"/>
                  <a:pt x="1200437" y="725122"/>
                  <a:pt x="1197440" y="728118"/>
                </a:cubicBezTo>
                <a:cubicBezTo>
                  <a:pt x="1194444" y="731114"/>
                  <a:pt x="1196841" y="727519"/>
                  <a:pt x="1192047" y="728118"/>
                </a:cubicBezTo>
                <a:cubicBezTo>
                  <a:pt x="1187852" y="728717"/>
                  <a:pt x="1187253" y="732313"/>
                  <a:pt x="1184256" y="736508"/>
                </a:cubicBezTo>
                <a:cubicBezTo>
                  <a:pt x="1181260" y="740703"/>
                  <a:pt x="1178264" y="742500"/>
                  <a:pt x="1183058" y="743100"/>
                </a:cubicBezTo>
                <a:cubicBezTo>
                  <a:pt x="1187852" y="743699"/>
                  <a:pt x="1188451" y="740703"/>
                  <a:pt x="1193845" y="740103"/>
                </a:cubicBezTo>
                <a:cubicBezTo>
                  <a:pt x="1198639" y="739504"/>
                  <a:pt x="1199838" y="736508"/>
                  <a:pt x="1201635" y="735309"/>
                </a:cubicBezTo>
                <a:close/>
                <a:moveTo>
                  <a:pt x="1180062" y="768269"/>
                </a:moveTo>
                <a:cubicBezTo>
                  <a:pt x="1183058" y="768269"/>
                  <a:pt x="1184256" y="767071"/>
                  <a:pt x="1184256" y="763475"/>
                </a:cubicBezTo>
                <a:cubicBezTo>
                  <a:pt x="1184256" y="759879"/>
                  <a:pt x="1184856" y="758082"/>
                  <a:pt x="1187852" y="755085"/>
                </a:cubicBezTo>
                <a:cubicBezTo>
                  <a:pt x="1190848" y="751490"/>
                  <a:pt x="1190249" y="744898"/>
                  <a:pt x="1187852" y="747295"/>
                </a:cubicBezTo>
                <a:cubicBezTo>
                  <a:pt x="1185455" y="749692"/>
                  <a:pt x="1185455" y="752089"/>
                  <a:pt x="1182459" y="749692"/>
                </a:cubicBezTo>
                <a:cubicBezTo>
                  <a:pt x="1179462" y="747295"/>
                  <a:pt x="1180062" y="749092"/>
                  <a:pt x="1180062" y="753887"/>
                </a:cubicBezTo>
                <a:cubicBezTo>
                  <a:pt x="1180062" y="758681"/>
                  <a:pt x="1179462" y="761677"/>
                  <a:pt x="1178264" y="764074"/>
                </a:cubicBezTo>
                <a:cubicBezTo>
                  <a:pt x="1177065" y="766471"/>
                  <a:pt x="1177065" y="768269"/>
                  <a:pt x="1180062" y="768269"/>
                </a:cubicBezTo>
                <a:close/>
                <a:moveTo>
                  <a:pt x="1157289" y="792839"/>
                </a:moveTo>
                <a:cubicBezTo>
                  <a:pt x="1157289" y="792839"/>
                  <a:pt x="1157289" y="792839"/>
                  <a:pt x="1161484" y="792240"/>
                </a:cubicBezTo>
                <a:cubicBezTo>
                  <a:pt x="1165679" y="791641"/>
                  <a:pt x="1163881" y="791641"/>
                  <a:pt x="1160885" y="786847"/>
                </a:cubicBezTo>
                <a:cubicBezTo>
                  <a:pt x="1157888" y="782652"/>
                  <a:pt x="1155491" y="779655"/>
                  <a:pt x="1155491" y="783850"/>
                </a:cubicBezTo>
                <a:cubicBezTo>
                  <a:pt x="1154892" y="788045"/>
                  <a:pt x="1154892" y="788045"/>
                  <a:pt x="1150098" y="786247"/>
                </a:cubicBezTo>
                <a:cubicBezTo>
                  <a:pt x="1144704" y="785049"/>
                  <a:pt x="1145903" y="786847"/>
                  <a:pt x="1148300" y="790442"/>
                </a:cubicBezTo>
                <a:cubicBezTo>
                  <a:pt x="1149499" y="794038"/>
                  <a:pt x="1157289" y="792839"/>
                  <a:pt x="1157289" y="792839"/>
                </a:cubicBezTo>
                <a:close/>
                <a:moveTo>
                  <a:pt x="1132120" y="815612"/>
                </a:moveTo>
                <a:cubicBezTo>
                  <a:pt x="1132120" y="815612"/>
                  <a:pt x="1136315" y="813215"/>
                  <a:pt x="1136914" y="808421"/>
                </a:cubicBezTo>
                <a:cubicBezTo>
                  <a:pt x="1137513" y="803027"/>
                  <a:pt x="1135116" y="803626"/>
                  <a:pt x="1132120" y="806023"/>
                </a:cubicBezTo>
                <a:cubicBezTo>
                  <a:pt x="1129123" y="808421"/>
                  <a:pt x="1127925" y="808421"/>
                  <a:pt x="1129723" y="812016"/>
                </a:cubicBezTo>
                <a:cubicBezTo>
                  <a:pt x="1132120" y="815612"/>
                  <a:pt x="1132120" y="815612"/>
                  <a:pt x="1132120" y="815612"/>
                </a:cubicBezTo>
                <a:close/>
                <a:moveTo>
                  <a:pt x="1144704" y="810218"/>
                </a:moveTo>
                <a:cubicBezTo>
                  <a:pt x="1144704" y="810218"/>
                  <a:pt x="1148300" y="810818"/>
                  <a:pt x="1148300" y="807821"/>
                </a:cubicBezTo>
                <a:cubicBezTo>
                  <a:pt x="1148300" y="805424"/>
                  <a:pt x="1145304" y="802428"/>
                  <a:pt x="1141109" y="806623"/>
                </a:cubicBezTo>
                <a:cubicBezTo>
                  <a:pt x="1136914" y="811417"/>
                  <a:pt x="1144704" y="810218"/>
                  <a:pt x="1144704" y="810218"/>
                </a:cubicBezTo>
                <a:close/>
                <a:moveTo>
                  <a:pt x="1289129" y="719129"/>
                </a:moveTo>
                <a:cubicBezTo>
                  <a:pt x="1288530" y="725122"/>
                  <a:pt x="1297519" y="723923"/>
                  <a:pt x="1297519" y="723923"/>
                </a:cubicBezTo>
                <a:cubicBezTo>
                  <a:pt x="1297519" y="723923"/>
                  <a:pt x="1295122" y="720327"/>
                  <a:pt x="1293324" y="716732"/>
                </a:cubicBezTo>
                <a:cubicBezTo>
                  <a:pt x="1291527" y="713136"/>
                  <a:pt x="1289729" y="713136"/>
                  <a:pt x="1289129" y="719129"/>
                </a:cubicBezTo>
                <a:close/>
                <a:moveTo>
                  <a:pt x="1121932" y="907900"/>
                </a:moveTo>
                <a:cubicBezTo>
                  <a:pt x="1117138" y="904304"/>
                  <a:pt x="1117737" y="902507"/>
                  <a:pt x="1114741" y="904304"/>
                </a:cubicBezTo>
                <a:cubicBezTo>
                  <a:pt x="1111744" y="906702"/>
                  <a:pt x="1112943" y="906702"/>
                  <a:pt x="1108748" y="908499"/>
                </a:cubicBezTo>
                <a:cubicBezTo>
                  <a:pt x="1104553" y="910297"/>
                  <a:pt x="1105152" y="906702"/>
                  <a:pt x="1100957" y="910896"/>
                </a:cubicBezTo>
                <a:cubicBezTo>
                  <a:pt x="1096763" y="915091"/>
                  <a:pt x="1096763" y="913893"/>
                  <a:pt x="1088972" y="916290"/>
                </a:cubicBezTo>
                <a:cubicBezTo>
                  <a:pt x="1080582" y="918687"/>
                  <a:pt x="1081781" y="914492"/>
                  <a:pt x="1078784" y="918687"/>
                </a:cubicBezTo>
                <a:cubicBezTo>
                  <a:pt x="1075788" y="922882"/>
                  <a:pt x="1076986" y="924081"/>
                  <a:pt x="1085976" y="922283"/>
                </a:cubicBezTo>
                <a:cubicBezTo>
                  <a:pt x="1094365" y="920485"/>
                  <a:pt x="1087773" y="925279"/>
                  <a:pt x="1083578" y="932470"/>
                </a:cubicBezTo>
                <a:cubicBezTo>
                  <a:pt x="1079384" y="939662"/>
                  <a:pt x="1081181" y="942059"/>
                  <a:pt x="1073391" y="944456"/>
                </a:cubicBezTo>
                <a:cubicBezTo>
                  <a:pt x="1066199" y="946853"/>
                  <a:pt x="1059607" y="950449"/>
                  <a:pt x="1057810" y="948651"/>
                </a:cubicBezTo>
                <a:cubicBezTo>
                  <a:pt x="1056012" y="946254"/>
                  <a:pt x="1054813" y="946853"/>
                  <a:pt x="1051817" y="949250"/>
                </a:cubicBezTo>
                <a:cubicBezTo>
                  <a:pt x="1048821" y="951647"/>
                  <a:pt x="1044626" y="949250"/>
                  <a:pt x="1044626" y="951647"/>
                </a:cubicBezTo>
                <a:cubicBezTo>
                  <a:pt x="1044626" y="954044"/>
                  <a:pt x="1045225" y="954643"/>
                  <a:pt x="1041030" y="954044"/>
                </a:cubicBezTo>
                <a:cubicBezTo>
                  <a:pt x="1036835" y="953445"/>
                  <a:pt x="1036236" y="953445"/>
                  <a:pt x="1036236" y="957640"/>
                </a:cubicBezTo>
                <a:cubicBezTo>
                  <a:pt x="1036236" y="961835"/>
                  <a:pt x="1042828" y="961835"/>
                  <a:pt x="1049420" y="963633"/>
                </a:cubicBezTo>
                <a:cubicBezTo>
                  <a:pt x="1056012" y="965430"/>
                  <a:pt x="1054813" y="967827"/>
                  <a:pt x="1052416" y="967827"/>
                </a:cubicBezTo>
                <a:cubicBezTo>
                  <a:pt x="1050019" y="967827"/>
                  <a:pt x="1048821" y="969625"/>
                  <a:pt x="1056611" y="975618"/>
                </a:cubicBezTo>
                <a:cubicBezTo>
                  <a:pt x="1064402" y="981611"/>
                  <a:pt x="1068597" y="979214"/>
                  <a:pt x="1076387" y="975019"/>
                </a:cubicBezTo>
                <a:cubicBezTo>
                  <a:pt x="1083578" y="970824"/>
                  <a:pt x="1088373" y="972622"/>
                  <a:pt x="1086575" y="975019"/>
                </a:cubicBezTo>
                <a:cubicBezTo>
                  <a:pt x="1085376" y="977416"/>
                  <a:pt x="1081181" y="980412"/>
                  <a:pt x="1078185" y="982210"/>
                </a:cubicBezTo>
                <a:cubicBezTo>
                  <a:pt x="1074589" y="984008"/>
                  <a:pt x="1070994" y="982210"/>
                  <a:pt x="1067997" y="986405"/>
                </a:cubicBezTo>
                <a:cubicBezTo>
                  <a:pt x="1065001" y="990600"/>
                  <a:pt x="1063802" y="991798"/>
                  <a:pt x="1059607" y="990001"/>
                </a:cubicBezTo>
                <a:cubicBezTo>
                  <a:pt x="1055413" y="987603"/>
                  <a:pt x="1051218" y="986405"/>
                  <a:pt x="1047622" y="984008"/>
                </a:cubicBezTo>
                <a:cubicBezTo>
                  <a:pt x="1044626" y="981611"/>
                  <a:pt x="1039232" y="981611"/>
                  <a:pt x="1039232" y="984607"/>
                </a:cubicBezTo>
                <a:cubicBezTo>
                  <a:pt x="1038633" y="987004"/>
                  <a:pt x="1038633" y="988802"/>
                  <a:pt x="1036835" y="988802"/>
                </a:cubicBezTo>
                <a:cubicBezTo>
                  <a:pt x="1035037" y="988802"/>
                  <a:pt x="1031442" y="988203"/>
                  <a:pt x="1028445" y="991798"/>
                </a:cubicBezTo>
                <a:cubicBezTo>
                  <a:pt x="1025449" y="995993"/>
                  <a:pt x="1023651" y="998990"/>
                  <a:pt x="1019456" y="999589"/>
                </a:cubicBezTo>
                <a:cubicBezTo>
                  <a:pt x="1015261" y="1000188"/>
                  <a:pt x="1012265" y="998390"/>
                  <a:pt x="1008669" y="1003185"/>
                </a:cubicBezTo>
                <a:cubicBezTo>
                  <a:pt x="1005074" y="1007979"/>
                  <a:pt x="1001478" y="1005582"/>
                  <a:pt x="995485" y="1010376"/>
                </a:cubicBezTo>
                <a:cubicBezTo>
                  <a:pt x="990092" y="1015170"/>
                  <a:pt x="982900" y="1010975"/>
                  <a:pt x="980503" y="1013372"/>
                </a:cubicBezTo>
                <a:cubicBezTo>
                  <a:pt x="978106" y="1015769"/>
                  <a:pt x="976908" y="1018766"/>
                  <a:pt x="981103" y="1018766"/>
                </a:cubicBezTo>
                <a:cubicBezTo>
                  <a:pt x="985297" y="1018766"/>
                  <a:pt x="985897" y="1018166"/>
                  <a:pt x="986496" y="1021163"/>
                </a:cubicBezTo>
                <a:cubicBezTo>
                  <a:pt x="987095" y="1024159"/>
                  <a:pt x="988893" y="1024159"/>
                  <a:pt x="991290" y="1021762"/>
                </a:cubicBezTo>
                <a:cubicBezTo>
                  <a:pt x="993687" y="1019365"/>
                  <a:pt x="997283" y="1019964"/>
                  <a:pt x="1000879" y="1017567"/>
                </a:cubicBezTo>
                <a:cubicBezTo>
                  <a:pt x="1004474" y="1015170"/>
                  <a:pt x="1005074" y="1015769"/>
                  <a:pt x="1009268" y="1015170"/>
                </a:cubicBezTo>
                <a:cubicBezTo>
                  <a:pt x="1013463" y="1014571"/>
                  <a:pt x="1016460" y="1012773"/>
                  <a:pt x="1020655" y="1016968"/>
                </a:cubicBezTo>
                <a:cubicBezTo>
                  <a:pt x="1024850" y="1021163"/>
                  <a:pt x="1023052" y="1024159"/>
                  <a:pt x="1028445" y="1024159"/>
                </a:cubicBezTo>
                <a:cubicBezTo>
                  <a:pt x="1033839" y="1024159"/>
                  <a:pt x="1033839" y="1022361"/>
                  <a:pt x="1035037" y="1019365"/>
                </a:cubicBezTo>
                <a:cubicBezTo>
                  <a:pt x="1035636" y="1016369"/>
                  <a:pt x="1039232" y="1015769"/>
                  <a:pt x="1043427" y="1015170"/>
                </a:cubicBezTo>
                <a:cubicBezTo>
                  <a:pt x="1048221" y="1014571"/>
                  <a:pt x="1049420" y="1010975"/>
                  <a:pt x="1053615" y="1014571"/>
                </a:cubicBezTo>
                <a:cubicBezTo>
                  <a:pt x="1057810" y="1018766"/>
                  <a:pt x="1060207" y="1015769"/>
                  <a:pt x="1062005" y="1016369"/>
                </a:cubicBezTo>
                <a:cubicBezTo>
                  <a:pt x="1063802" y="1016968"/>
                  <a:pt x="1065001" y="1018766"/>
                  <a:pt x="1066199" y="1016968"/>
                </a:cubicBezTo>
                <a:cubicBezTo>
                  <a:pt x="1066799" y="1015170"/>
                  <a:pt x="1068597" y="1014571"/>
                  <a:pt x="1073990" y="1014571"/>
                </a:cubicBezTo>
                <a:cubicBezTo>
                  <a:pt x="1079384" y="1014571"/>
                  <a:pt x="1082380" y="1015769"/>
                  <a:pt x="1082380" y="1013372"/>
                </a:cubicBezTo>
                <a:cubicBezTo>
                  <a:pt x="1082380" y="1010975"/>
                  <a:pt x="1084178" y="1009177"/>
                  <a:pt x="1087174" y="1012773"/>
                </a:cubicBezTo>
                <a:cubicBezTo>
                  <a:pt x="1090170" y="1015769"/>
                  <a:pt x="1090170" y="1016968"/>
                  <a:pt x="1099759" y="1015769"/>
                </a:cubicBezTo>
                <a:cubicBezTo>
                  <a:pt x="1109347" y="1015170"/>
                  <a:pt x="1110546" y="1014571"/>
                  <a:pt x="1114741" y="1019964"/>
                </a:cubicBezTo>
                <a:cubicBezTo>
                  <a:pt x="1118936" y="1025358"/>
                  <a:pt x="1124928" y="1023560"/>
                  <a:pt x="1133318" y="1022361"/>
                </a:cubicBezTo>
                <a:cubicBezTo>
                  <a:pt x="1141708" y="1021163"/>
                  <a:pt x="1139910" y="1018166"/>
                  <a:pt x="1146502" y="1016369"/>
                </a:cubicBezTo>
                <a:cubicBezTo>
                  <a:pt x="1153094" y="1013972"/>
                  <a:pt x="1153094" y="1010975"/>
                  <a:pt x="1148899" y="1008578"/>
                </a:cubicBezTo>
                <a:cubicBezTo>
                  <a:pt x="1144704" y="1006181"/>
                  <a:pt x="1143506" y="1004383"/>
                  <a:pt x="1144704" y="1002585"/>
                </a:cubicBezTo>
                <a:cubicBezTo>
                  <a:pt x="1145903" y="1000787"/>
                  <a:pt x="1147701" y="998390"/>
                  <a:pt x="1147701" y="995394"/>
                </a:cubicBezTo>
                <a:cubicBezTo>
                  <a:pt x="1147701" y="992398"/>
                  <a:pt x="1152495" y="993596"/>
                  <a:pt x="1160885" y="991798"/>
                </a:cubicBezTo>
                <a:cubicBezTo>
                  <a:pt x="1169275" y="990001"/>
                  <a:pt x="1174069" y="982809"/>
                  <a:pt x="1178264" y="979214"/>
                </a:cubicBezTo>
                <a:cubicBezTo>
                  <a:pt x="1182459" y="975618"/>
                  <a:pt x="1185455" y="976817"/>
                  <a:pt x="1188451" y="973221"/>
                </a:cubicBezTo>
                <a:cubicBezTo>
                  <a:pt x="1191448" y="969625"/>
                  <a:pt x="1191448" y="967228"/>
                  <a:pt x="1199238" y="961835"/>
                </a:cubicBezTo>
                <a:cubicBezTo>
                  <a:pt x="1207029" y="956441"/>
                  <a:pt x="1203433" y="954044"/>
                  <a:pt x="1199838" y="946853"/>
                </a:cubicBezTo>
                <a:cubicBezTo>
                  <a:pt x="1196841" y="939662"/>
                  <a:pt x="1190249" y="938463"/>
                  <a:pt x="1186654" y="942059"/>
                </a:cubicBezTo>
                <a:cubicBezTo>
                  <a:pt x="1183058" y="946254"/>
                  <a:pt x="1179462" y="949250"/>
                  <a:pt x="1179462" y="943856"/>
                </a:cubicBezTo>
                <a:cubicBezTo>
                  <a:pt x="1179462" y="938463"/>
                  <a:pt x="1181859" y="938463"/>
                  <a:pt x="1187852" y="933070"/>
                </a:cubicBezTo>
                <a:cubicBezTo>
                  <a:pt x="1193845" y="927676"/>
                  <a:pt x="1193246" y="921084"/>
                  <a:pt x="1190249" y="918088"/>
                </a:cubicBezTo>
                <a:cubicBezTo>
                  <a:pt x="1187852" y="915091"/>
                  <a:pt x="1183058" y="915691"/>
                  <a:pt x="1185455" y="912694"/>
                </a:cubicBezTo>
                <a:cubicBezTo>
                  <a:pt x="1187852" y="909698"/>
                  <a:pt x="1189650" y="908499"/>
                  <a:pt x="1192646" y="915091"/>
                </a:cubicBezTo>
                <a:cubicBezTo>
                  <a:pt x="1195043" y="921683"/>
                  <a:pt x="1197440" y="918088"/>
                  <a:pt x="1197440" y="912095"/>
                </a:cubicBezTo>
                <a:cubicBezTo>
                  <a:pt x="1197440" y="906102"/>
                  <a:pt x="1196841" y="903705"/>
                  <a:pt x="1202834" y="900709"/>
                </a:cubicBezTo>
                <a:cubicBezTo>
                  <a:pt x="1208227" y="898312"/>
                  <a:pt x="1208227" y="896514"/>
                  <a:pt x="1205830" y="891720"/>
                </a:cubicBezTo>
                <a:cubicBezTo>
                  <a:pt x="1203433" y="886326"/>
                  <a:pt x="1207029" y="881532"/>
                  <a:pt x="1200437" y="879734"/>
                </a:cubicBezTo>
                <a:cubicBezTo>
                  <a:pt x="1193246" y="877337"/>
                  <a:pt x="1193845" y="877337"/>
                  <a:pt x="1199838" y="872543"/>
                </a:cubicBezTo>
                <a:cubicBezTo>
                  <a:pt x="1205830" y="867149"/>
                  <a:pt x="1205231" y="862954"/>
                  <a:pt x="1209426" y="856363"/>
                </a:cubicBezTo>
                <a:cubicBezTo>
                  <a:pt x="1213621" y="849770"/>
                  <a:pt x="1216617" y="850370"/>
                  <a:pt x="1216018" y="841980"/>
                </a:cubicBezTo>
                <a:cubicBezTo>
                  <a:pt x="1215419" y="833590"/>
                  <a:pt x="1215419" y="827597"/>
                  <a:pt x="1210625" y="826998"/>
                </a:cubicBezTo>
                <a:cubicBezTo>
                  <a:pt x="1205830" y="826399"/>
                  <a:pt x="1204032" y="826399"/>
                  <a:pt x="1195043" y="821605"/>
                </a:cubicBezTo>
                <a:cubicBezTo>
                  <a:pt x="1186054" y="816810"/>
                  <a:pt x="1192646" y="815612"/>
                  <a:pt x="1200437" y="816810"/>
                </a:cubicBezTo>
                <a:cubicBezTo>
                  <a:pt x="1208227" y="818009"/>
                  <a:pt x="1208827" y="815013"/>
                  <a:pt x="1215419" y="817410"/>
                </a:cubicBezTo>
                <a:cubicBezTo>
                  <a:pt x="1222011" y="819807"/>
                  <a:pt x="1225007" y="819807"/>
                  <a:pt x="1225007" y="812016"/>
                </a:cubicBezTo>
                <a:cubicBezTo>
                  <a:pt x="1225007" y="804825"/>
                  <a:pt x="1225606" y="803626"/>
                  <a:pt x="1232198" y="804226"/>
                </a:cubicBezTo>
                <a:cubicBezTo>
                  <a:pt x="1238790" y="804825"/>
                  <a:pt x="1238790" y="802428"/>
                  <a:pt x="1242985" y="798233"/>
                </a:cubicBezTo>
                <a:cubicBezTo>
                  <a:pt x="1247180" y="794038"/>
                  <a:pt x="1254971" y="789843"/>
                  <a:pt x="1265158" y="783251"/>
                </a:cubicBezTo>
                <a:cubicBezTo>
                  <a:pt x="1275346" y="777258"/>
                  <a:pt x="1272350" y="771865"/>
                  <a:pt x="1269353" y="770666"/>
                </a:cubicBezTo>
                <a:cubicBezTo>
                  <a:pt x="1265758" y="769468"/>
                  <a:pt x="1262162" y="770067"/>
                  <a:pt x="1259166" y="768269"/>
                </a:cubicBezTo>
                <a:cubicBezTo>
                  <a:pt x="1256169" y="766471"/>
                  <a:pt x="1256769" y="762276"/>
                  <a:pt x="1244184" y="762876"/>
                </a:cubicBezTo>
                <a:cubicBezTo>
                  <a:pt x="1231000" y="763475"/>
                  <a:pt x="1238191" y="753287"/>
                  <a:pt x="1245382" y="752688"/>
                </a:cubicBezTo>
                <a:cubicBezTo>
                  <a:pt x="1252574" y="752089"/>
                  <a:pt x="1256769" y="752089"/>
                  <a:pt x="1263960" y="749092"/>
                </a:cubicBezTo>
                <a:cubicBezTo>
                  <a:pt x="1271151" y="746695"/>
                  <a:pt x="1272350" y="748493"/>
                  <a:pt x="1277144" y="740703"/>
                </a:cubicBezTo>
                <a:cubicBezTo>
                  <a:pt x="1282537" y="732313"/>
                  <a:pt x="1274747" y="732313"/>
                  <a:pt x="1267556" y="732313"/>
                </a:cubicBezTo>
                <a:cubicBezTo>
                  <a:pt x="1260364" y="732313"/>
                  <a:pt x="1254371" y="734111"/>
                  <a:pt x="1250776" y="727519"/>
                </a:cubicBezTo>
                <a:cubicBezTo>
                  <a:pt x="1247180" y="720927"/>
                  <a:pt x="1238790" y="722125"/>
                  <a:pt x="1235195" y="727519"/>
                </a:cubicBezTo>
                <a:cubicBezTo>
                  <a:pt x="1231000" y="732912"/>
                  <a:pt x="1229202" y="734710"/>
                  <a:pt x="1222011" y="736508"/>
                </a:cubicBezTo>
                <a:cubicBezTo>
                  <a:pt x="1214819" y="738306"/>
                  <a:pt x="1202235" y="746096"/>
                  <a:pt x="1202235" y="753887"/>
                </a:cubicBezTo>
                <a:cubicBezTo>
                  <a:pt x="1202235" y="761677"/>
                  <a:pt x="1199838" y="756284"/>
                  <a:pt x="1195043" y="758082"/>
                </a:cubicBezTo>
                <a:cubicBezTo>
                  <a:pt x="1190848" y="760479"/>
                  <a:pt x="1187852" y="762276"/>
                  <a:pt x="1190848" y="763475"/>
                </a:cubicBezTo>
                <a:cubicBezTo>
                  <a:pt x="1193845" y="764674"/>
                  <a:pt x="1195043" y="764674"/>
                  <a:pt x="1191448" y="767071"/>
                </a:cubicBezTo>
                <a:cubicBezTo>
                  <a:pt x="1187852" y="769468"/>
                  <a:pt x="1187253" y="768269"/>
                  <a:pt x="1186054" y="773063"/>
                </a:cubicBezTo>
                <a:cubicBezTo>
                  <a:pt x="1184856" y="777858"/>
                  <a:pt x="1185455" y="781453"/>
                  <a:pt x="1184256" y="779056"/>
                </a:cubicBezTo>
                <a:cubicBezTo>
                  <a:pt x="1183657" y="776659"/>
                  <a:pt x="1181260" y="774861"/>
                  <a:pt x="1178863" y="774861"/>
                </a:cubicBezTo>
                <a:cubicBezTo>
                  <a:pt x="1176466" y="775461"/>
                  <a:pt x="1174069" y="775461"/>
                  <a:pt x="1174668" y="779655"/>
                </a:cubicBezTo>
                <a:cubicBezTo>
                  <a:pt x="1175267" y="783850"/>
                  <a:pt x="1174668" y="786247"/>
                  <a:pt x="1168076" y="784450"/>
                </a:cubicBezTo>
                <a:cubicBezTo>
                  <a:pt x="1161484" y="782652"/>
                  <a:pt x="1159087" y="782053"/>
                  <a:pt x="1160285" y="785049"/>
                </a:cubicBezTo>
                <a:cubicBezTo>
                  <a:pt x="1161484" y="788045"/>
                  <a:pt x="1164480" y="789843"/>
                  <a:pt x="1168675" y="790442"/>
                </a:cubicBezTo>
                <a:cubicBezTo>
                  <a:pt x="1172870" y="791042"/>
                  <a:pt x="1176466" y="789843"/>
                  <a:pt x="1174069" y="792839"/>
                </a:cubicBezTo>
                <a:cubicBezTo>
                  <a:pt x="1171672" y="795836"/>
                  <a:pt x="1169874" y="798233"/>
                  <a:pt x="1161484" y="801829"/>
                </a:cubicBezTo>
                <a:cubicBezTo>
                  <a:pt x="1153094" y="805424"/>
                  <a:pt x="1153094" y="813814"/>
                  <a:pt x="1143506" y="819807"/>
                </a:cubicBezTo>
                <a:cubicBezTo>
                  <a:pt x="1133917" y="825800"/>
                  <a:pt x="1136914" y="826399"/>
                  <a:pt x="1140509" y="825200"/>
                </a:cubicBezTo>
                <a:cubicBezTo>
                  <a:pt x="1144105" y="824601"/>
                  <a:pt x="1147101" y="822204"/>
                  <a:pt x="1151296" y="817410"/>
                </a:cubicBezTo>
                <a:cubicBezTo>
                  <a:pt x="1155491" y="812616"/>
                  <a:pt x="1156690" y="808421"/>
                  <a:pt x="1160885" y="807222"/>
                </a:cubicBezTo>
                <a:cubicBezTo>
                  <a:pt x="1165080" y="806023"/>
                  <a:pt x="1168076" y="805424"/>
                  <a:pt x="1165080" y="808421"/>
                </a:cubicBezTo>
                <a:cubicBezTo>
                  <a:pt x="1162083" y="811417"/>
                  <a:pt x="1163282" y="808421"/>
                  <a:pt x="1158488" y="812616"/>
                </a:cubicBezTo>
                <a:cubicBezTo>
                  <a:pt x="1153694" y="816810"/>
                  <a:pt x="1157888" y="818608"/>
                  <a:pt x="1163881" y="816211"/>
                </a:cubicBezTo>
                <a:cubicBezTo>
                  <a:pt x="1170473" y="813814"/>
                  <a:pt x="1172271" y="813814"/>
                  <a:pt x="1169275" y="816810"/>
                </a:cubicBezTo>
                <a:cubicBezTo>
                  <a:pt x="1166278" y="819807"/>
                  <a:pt x="1164480" y="822204"/>
                  <a:pt x="1157289" y="827597"/>
                </a:cubicBezTo>
                <a:cubicBezTo>
                  <a:pt x="1150098" y="832991"/>
                  <a:pt x="1148899" y="835388"/>
                  <a:pt x="1142307" y="840781"/>
                </a:cubicBezTo>
                <a:cubicBezTo>
                  <a:pt x="1136315" y="846175"/>
                  <a:pt x="1129723" y="843179"/>
                  <a:pt x="1128524" y="850370"/>
                </a:cubicBezTo>
                <a:cubicBezTo>
                  <a:pt x="1127325" y="857561"/>
                  <a:pt x="1129123" y="857561"/>
                  <a:pt x="1132120" y="852767"/>
                </a:cubicBezTo>
                <a:cubicBezTo>
                  <a:pt x="1135116" y="847973"/>
                  <a:pt x="1135116" y="846175"/>
                  <a:pt x="1137513" y="852767"/>
                </a:cubicBezTo>
                <a:cubicBezTo>
                  <a:pt x="1139910" y="859359"/>
                  <a:pt x="1145903" y="856962"/>
                  <a:pt x="1158488" y="856363"/>
                </a:cubicBezTo>
                <a:cubicBezTo>
                  <a:pt x="1171072" y="855763"/>
                  <a:pt x="1166878" y="856962"/>
                  <a:pt x="1162083" y="859359"/>
                </a:cubicBezTo>
                <a:cubicBezTo>
                  <a:pt x="1157289" y="861756"/>
                  <a:pt x="1153094" y="862954"/>
                  <a:pt x="1147701" y="870745"/>
                </a:cubicBezTo>
                <a:cubicBezTo>
                  <a:pt x="1142307" y="878536"/>
                  <a:pt x="1143506" y="880933"/>
                  <a:pt x="1148300" y="882131"/>
                </a:cubicBezTo>
                <a:cubicBezTo>
                  <a:pt x="1153694" y="883330"/>
                  <a:pt x="1153694" y="882731"/>
                  <a:pt x="1150098" y="886326"/>
                </a:cubicBezTo>
                <a:cubicBezTo>
                  <a:pt x="1145903" y="889922"/>
                  <a:pt x="1144704" y="888124"/>
                  <a:pt x="1141708" y="891120"/>
                </a:cubicBezTo>
                <a:cubicBezTo>
                  <a:pt x="1139311" y="894117"/>
                  <a:pt x="1142907" y="894117"/>
                  <a:pt x="1139311" y="898312"/>
                </a:cubicBezTo>
                <a:cubicBezTo>
                  <a:pt x="1135116" y="902507"/>
                  <a:pt x="1134517" y="900709"/>
                  <a:pt x="1130921" y="911496"/>
                </a:cubicBezTo>
                <a:cubicBezTo>
                  <a:pt x="1128524" y="920485"/>
                  <a:pt x="1126726" y="910896"/>
                  <a:pt x="1121932" y="907900"/>
                </a:cubicBezTo>
                <a:close/>
                <a:moveTo>
                  <a:pt x="4510826" y="3255856"/>
                </a:moveTo>
                <a:cubicBezTo>
                  <a:pt x="4506631" y="3261848"/>
                  <a:pt x="4504234" y="3269040"/>
                  <a:pt x="4497642" y="3268440"/>
                </a:cubicBezTo>
                <a:cubicBezTo>
                  <a:pt x="4494646" y="3267841"/>
                  <a:pt x="4471873" y="3266043"/>
                  <a:pt x="4468877" y="3264245"/>
                </a:cubicBezTo>
                <a:cubicBezTo>
                  <a:pt x="4466480" y="3262447"/>
                  <a:pt x="4459888" y="3261848"/>
                  <a:pt x="4461086" y="3269040"/>
                </a:cubicBezTo>
                <a:cubicBezTo>
                  <a:pt x="4462285" y="3276231"/>
                  <a:pt x="4465281" y="3279227"/>
                  <a:pt x="4469476" y="3278628"/>
                </a:cubicBezTo>
                <a:cubicBezTo>
                  <a:pt x="4473671" y="3278029"/>
                  <a:pt x="4474870" y="3282823"/>
                  <a:pt x="4476667" y="3285220"/>
                </a:cubicBezTo>
                <a:cubicBezTo>
                  <a:pt x="4478466" y="3287617"/>
                  <a:pt x="4483859" y="3290014"/>
                  <a:pt x="4489252" y="3288816"/>
                </a:cubicBezTo>
                <a:cubicBezTo>
                  <a:pt x="4494646" y="3287617"/>
                  <a:pt x="4497043" y="3288216"/>
                  <a:pt x="4499440" y="3291213"/>
                </a:cubicBezTo>
                <a:cubicBezTo>
                  <a:pt x="4501837" y="3293610"/>
                  <a:pt x="4509627" y="3295408"/>
                  <a:pt x="4512624" y="3291812"/>
                </a:cubicBezTo>
                <a:cubicBezTo>
                  <a:pt x="4515021" y="3288816"/>
                  <a:pt x="4520415" y="3291812"/>
                  <a:pt x="4522812" y="3292411"/>
                </a:cubicBezTo>
                <a:cubicBezTo>
                  <a:pt x="4530003" y="3295408"/>
                  <a:pt x="4534198" y="3288216"/>
                  <a:pt x="4538992" y="3289415"/>
                </a:cubicBezTo>
                <a:cubicBezTo>
                  <a:pt x="4543786" y="3290014"/>
                  <a:pt x="4552176" y="3283422"/>
                  <a:pt x="4556970" y="3282223"/>
                </a:cubicBezTo>
                <a:cubicBezTo>
                  <a:pt x="4561764" y="3281025"/>
                  <a:pt x="4564162" y="3278029"/>
                  <a:pt x="4561165" y="3276830"/>
                </a:cubicBezTo>
                <a:cubicBezTo>
                  <a:pt x="4558169" y="3276231"/>
                  <a:pt x="4556970" y="3273834"/>
                  <a:pt x="4563562" y="3273234"/>
                </a:cubicBezTo>
                <a:cubicBezTo>
                  <a:pt x="4570154" y="3272635"/>
                  <a:pt x="4573750" y="3272635"/>
                  <a:pt x="4576147" y="3269639"/>
                </a:cubicBezTo>
                <a:cubicBezTo>
                  <a:pt x="4578544" y="3266642"/>
                  <a:pt x="4576147" y="3264245"/>
                  <a:pt x="4573750" y="3264845"/>
                </a:cubicBezTo>
                <a:cubicBezTo>
                  <a:pt x="4571353" y="3265444"/>
                  <a:pt x="4564162" y="3252859"/>
                  <a:pt x="4573151" y="3252859"/>
                </a:cubicBezTo>
                <a:cubicBezTo>
                  <a:pt x="4581540" y="3253458"/>
                  <a:pt x="4580941" y="3243870"/>
                  <a:pt x="4580342" y="3237877"/>
                </a:cubicBezTo>
                <a:cubicBezTo>
                  <a:pt x="4579743" y="3232484"/>
                  <a:pt x="4579743" y="3225892"/>
                  <a:pt x="4576746" y="3224094"/>
                </a:cubicBezTo>
                <a:cubicBezTo>
                  <a:pt x="4573750" y="3221697"/>
                  <a:pt x="4570754" y="3224094"/>
                  <a:pt x="4570754" y="3227690"/>
                </a:cubicBezTo>
                <a:cubicBezTo>
                  <a:pt x="4570754" y="3231285"/>
                  <a:pt x="4567158" y="3233083"/>
                  <a:pt x="4565360" y="3230087"/>
                </a:cubicBezTo>
                <a:cubicBezTo>
                  <a:pt x="4563562" y="3227690"/>
                  <a:pt x="4555772" y="3229487"/>
                  <a:pt x="4558169" y="3238476"/>
                </a:cubicBezTo>
                <a:cubicBezTo>
                  <a:pt x="4560566" y="3248065"/>
                  <a:pt x="4556371" y="3251661"/>
                  <a:pt x="4553375" y="3252260"/>
                </a:cubicBezTo>
                <a:cubicBezTo>
                  <a:pt x="4550378" y="3252859"/>
                  <a:pt x="4548580" y="3257653"/>
                  <a:pt x="4547981" y="3260051"/>
                </a:cubicBezTo>
                <a:cubicBezTo>
                  <a:pt x="4547382" y="3262447"/>
                  <a:pt x="4541988" y="3265444"/>
                  <a:pt x="4539591" y="3265444"/>
                </a:cubicBezTo>
                <a:cubicBezTo>
                  <a:pt x="4537194" y="3265444"/>
                  <a:pt x="4533598" y="3267242"/>
                  <a:pt x="4532400" y="3269639"/>
                </a:cubicBezTo>
                <a:cubicBezTo>
                  <a:pt x="4531801" y="3272036"/>
                  <a:pt x="4530003" y="3271437"/>
                  <a:pt x="4528205" y="3269639"/>
                </a:cubicBezTo>
                <a:cubicBezTo>
                  <a:pt x="4526407" y="3267841"/>
                  <a:pt x="4524010" y="3269040"/>
                  <a:pt x="4521613" y="3270238"/>
                </a:cubicBezTo>
                <a:cubicBezTo>
                  <a:pt x="4519216" y="3271437"/>
                  <a:pt x="4508429" y="3270238"/>
                  <a:pt x="4513223" y="3263047"/>
                </a:cubicBezTo>
                <a:cubicBezTo>
                  <a:pt x="4518017" y="3255256"/>
                  <a:pt x="4517418" y="3246866"/>
                  <a:pt x="4510826" y="3255856"/>
                </a:cubicBezTo>
                <a:close/>
                <a:moveTo>
                  <a:pt x="4591129" y="3227690"/>
                </a:moveTo>
                <a:cubicBezTo>
                  <a:pt x="4591728" y="3236679"/>
                  <a:pt x="4591129" y="3239675"/>
                  <a:pt x="4595324" y="3243271"/>
                </a:cubicBezTo>
                <a:cubicBezTo>
                  <a:pt x="4599519" y="3246866"/>
                  <a:pt x="4601916" y="3247466"/>
                  <a:pt x="4602515" y="3243271"/>
                </a:cubicBezTo>
                <a:cubicBezTo>
                  <a:pt x="4603114" y="3239076"/>
                  <a:pt x="4603714" y="3235480"/>
                  <a:pt x="4606710" y="3233682"/>
                </a:cubicBezTo>
                <a:cubicBezTo>
                  <a:pt x="4609706" y="3231885"/>
                  <a:pt x="4607309" y="3224693"/>
                  <a:pt x="4604912" y="3221697"/>
                </a:cubicBezTo>
                <a:cubicBezTo>
                  <a:pt x="4602515" y="3218701"/>
                  <a:pt x="4600717" y="3213307"/>
                  <a:pt x="4595923" y="3214506"/>
                </a:cubicBezTo>
                <a:cubicBezTo>
                  <a:pt x="4591129" y="3215105"/>
                  <a:pt x="4586934" y="3209112"/>
                  <a:pt x="4586335" y="3206116"/>
                </a:cubicBezTo>
                <a:cubicBezTo>
                  <a:pt x="4585735" y="3203719"/>
                  <a:pt x="4579143" y="3198325"/>
                  <a:pt x="4573750" y="3194730"/>
                </a:cubicBezTo>
                <a:cubicBezTo>
                  <a:pt x="4568357" y="3191134"/>
                  <a:pt x="4561764" y="3185740"/>
                  <a:pt x="4558169" y="3185141"/>
                </a:cubicBezTo>
                <a:cubicBezTo>
                  <a:pt x="4558169" y="3185141"/>
                  <a:pt x="4553375" y="3183943"/>
                  <a:pt x="4550378" y="3180946"/>
                </a:cubicBezTo>
                <a:cubicBezTo>
                  <a:pt x="4544985" y="3176751"/>
                  <a:pt x="4540191" y="3177950"/>
                  <a:pt x="4546183" y="3183343"/>
                </a:cubicBezTo>
                <a:cubicBezTo>
                  <a:pt x="4551577" y="3188737"/>
                  <a:pt x="4564162" y="3198325"/>
                  <a:pt x="4568956" y="3201921"/>
                </a:cubicBezTo>
                <a:cubicBezTo>
                  <a:pt x="4573750" y="3204917"/>
                  <a:pt x="4590529" y="3218701"/>
                  <a:pt x="4591129" y="3227690"/>
                </a:cubicBezTo>
                <a:close/>
                <a:moveTo>
                  <a:pt x="1174668" y="303233"/>
                </a:moveTo>
                <a:cubicBezTo>
                  <a:pt x="1184856" y="303233"/>
                  <a:pt x="1195043" y="306229"/>
                  <a:pt x="1198040" y="302633"/>
                </a:cubicBezTo>
                <a:cubicBezTo>
                  <a:pt x="1201036" y="299038"/>
                  <a:pt x="1201036" y="300236"/>
                  <a:pt x="1202235" y="303233"/>
                </a:cubicBezTo>
                <a:cubicBezTo>
                  <a:pt x="1203433" y="306229"/>
                  <a:pt x="1205830" y="304431"/>
                  <a:pt x="1210025" y="302633"/>
                </a:cubicBezTo>
                <a:cubicBezTo>
                  <a:pt x="1214220" y="300236"/>
                  <a:pt x="1213022" y="301435"/>
                  <a:pt x="1217217" y="303233"/>
                </a:cubicBezTo>
                <a:cubicBezTo>
                  <a:pt x="1221411" y="305030"/>
                  <a:pt x="1223209" y="302633"/>
                  <a:pt x="1234596" y="302034"/>
                </a:cubicBezTo>
                <a:cubicBezTo>
                  <a:pt x="1245982" y="301435"/>
                  <a:pt x="1257967" y="300836"/>
                  <a:pt x="1266956" y="297839"/>
                </a:cubicBezTo>
                <a:cubicBezTo>
                  <a:pt x="1275346" y="295442"/>
                  <a:pt x="1274747" y="294843"/>
                  <a:pt x="1277144" y="292446"/>
                </a:cubicBezTo>
                <a:cubicBezTo>
                  <a:pt x="1279541" y="290049"/>
                  <a:pt x="1277743" y="291846"/>
                  <a:pt x="1284335" y="293045"/>
                </a:cubicBezTo>
                <a:cubicBezTo>
                  <a:pt x="1290927" y="294244"/>
                  <a:pt x="1296321" y="291846"/>
                  <a:pt x="1309505" y="291247"/>
                </a:cubicBezTo>
                <a:cubicBezTo>
                  <a:pt x="1322689" y="290648"/>
                  <a:pt x="1329281" y="291846"/>
                  <a:pt x="1332876" y="288850"/>
                </a:cubicBezTo>
                <a:cubicBezTo>
                  <a:pt x="1337071" y="286453"/>
                  <a:pt x="1338270" y="289449"/>
                  <a:pt x="1349057" y="287652"/>
                </a:cubicBezTo>
                <a:cubicBezTo>
                  <a:pt x="1359244" y="285254"/>
                  <a:pt x="1362840" y="284655"/>
                  <a:pt x="1350855" y="280460"/>
                </a:cubicBezTo>
                <a:cubicBezTo>
                  <a:pt x="1338869" y="276265"/>
                  <a:pt x="1334674" y="274467"/>
                  <a:pt x="1331079" y="269074"/>
                </a:cubicBezTo>
                <a:cubicBezTo>
                  <a:pt x="1326884" y="263681"/>
                  <a:pt x="1323887" y="264879"/>
                  <a:pt x="1320891" y="264879"/>
                </a:cubicBezTo>
                <a:cubicBezTo>
                  <a:pt x="1317295" y="264879"/>
                  <a:pt x="1323288" y="262482"/>
                  <a:pt x="1311302" y="261283"/>
                </a:cubicBezTo>
                <a:cubicBezTo>
                  <a:pt x="1299317" y="260684"/>
                  <a:pt x="1298118" y="259486"/>
                  <a:pt x="1290927" y="257688"/>
                </a:cubicBezTo>
                <a:cubicBezTo>
                  <a:pt x="1283736" y="255890"/>
                  <a:pt x="1282537" y="260684"/>
                  <a:pt x="1277743" y="257089"/>
                </a:cubicBezTo>
                <a:cubicBezTo>
                  <a:pt x="1272949" y="252894"/>
                  <a:pt x="1272949" y="255291"/>
                  <a:pt x="1269353" y="253493"/>
                </a:cubicBezTo>
                <a:cubicBezTo>
                  <a:pt x="1265158" y="251695"/>
                  <a:pt x="1264559" y="248099"/>
                  <a:pt x="1275346" y="250497"/>
                </a:cubicBezTo>
                <a:cubicBezTo>
                  <a:pt x="1286133" y="252894"/>
                  <a:pt x="1292725" y="255890"/>
                  <a:pt x="1295122" y="254691"/>
                </a:cubicBezTo>
                <a:cubicBezTo>
                  <a:pt x="1297519" y="253493"/>
                  <a:pt x="1299916" y="250497"/>
                  <a:pt x="1292126" y="250497"/>
                </a:cubicBezTo>
                <a:cubicBezTo>
                  <a:pt x="1284335" y="250497"/>
                  <a:pt x="1278342" y="249897"/>
                  <a:pt x="1276545" y="243904"/>
                </a:cubicBezTo>
                <a:cubicBezTo>
                  <a:pt x="1274747" y="237912"/>
                  <a:pt x="1279541" y="238511"/>
                  <a:pt x="1283736" y="238511"/>
                </a:cubicBezTo>
                <a:cubicBezTo>
                  <a:pt x="1287931" y="239110"/>
                  <a:pt x="1290328" y="236713"/>
                  <a:pt x="1294523" y="233717"/>
                </a:cubicBezTo>
                <a:cubicBezTo>
                  <a:pt x="1298718" y="230720"/>
                  <a:pt x="1303512" y="234316"/>
                  <a:pt x="1306508" y="233717"/>
                </a:cubicBezTo>
                <a:cubicBezTo>
                  <a:pt x="1309505" y="233118"/>
                  <a:pt x="1311302" y="236114"/>
                  <a:pt x="1316097" y="237912"/>
                </a:cubicBezTo>
                <a:cubicBezTo>
                  <a:pt x="1320891" y="239110"/>
                  <a:pt x="1331079" y="239710"/>
                  <a:pt x="1338869" y="239110"/>
                </a:cubicBezTo>
                <a:cubicBezTo>
                  <a:pt x="1347259" y="238511"/>
                  <a:pt x="1347858" y="237312"/>
                  <a:pt x="1346660" y="233118"/>
                </a:cubicBezTo>
                <a:cubicBezTo>
                  <a:pt x="1345461" y="228923"/>
                  <a:pt x="1344862" y="230121"/>
                  <a:pt x="1338270" y="227724"/>
                </a:cubicBezTo>
                <a:cubicBezTo>
                  <a:pt x="1331678" y="225327"/>
                  <a:pt x="1335273" y="222930"/>
                  <a:pt x="1334075" y="215139"/>
                </a:cubicBezTo>
                <a:cubicBezTo>
                  <a:pt x="1333476" y="207349"/>
                  <a:pt x="1332876" y="204952"/>
                  <a:pt x="1336472" y="209147"/>
                </a:cubicBezTo>
                <a:cubicBezTo>
                  <a:pt x="1340068" y="213342"/>
                  <a:pt x="1338270" y="219334"/>
                  <a:pt x="1338869" y="221132"/>
                </a:cubicBezTo>
                <a:cubicBezTo>
                  <a:pt x="1339468" y="223529"/>
                  <a:pt x="1341865" y="222331"/>
                  <a:pt x="1346060" y="225327"/>
                </a:cubicBezTo>
                <a:cubicBezTo>
                  <a:pt x="1350255" y="228323"/>
                  <a:pt x="1351454" y="230720"/>
                  <a:pt x="1352652" y="234915"/>
                </a:cubicBezTo>
                <a:cubicBezTo>
                  <a:pt x="1353252" y="239110"/>
                  <a:pt x="1353252" y="237912"/>
                  <a:pt x="1356847" y="237912"/>
                </a:cubicBezTo>
                <a:cubicBezTo>
                  <a:pt x="1359844" y="237912"/>
                  <a:pt x="1359844" y="238511"/>
                  <a:pt x="1356248" y="245103"/>
                </a:cubicBezTo>
                <a:cubicBezTo>
                  <a:pt x="1352652" y="252294"/>
                  <a:pt x="1350855" y="254691"/>
                  <a:pt x="1350855" y="260085"/>
                </a:cubicBezTo>
                <a:cubicBezTo>
                  <a:pt x="1351454" y="265478"/>
                  <a:pt x="1350855" y="270273"/>
                  <a:pt x="1356248" y="272070"/>
                </a:cubicBezTo>
                <a:cubicBezTo>
                  <a:pt x="1361042" y="274467"/>
                  <a:pt x="1364039" y="277464"/>
                  <a:pt x="1369432" y="276865"/>
                </a:cubicBezTo>
                <a:cubicBezTo>
                  <a:pt x="1374826" y="275666"/>
                  <a:pt x="1374826" y="273868"/>
                  <a:pt x="1377822" y="273868"/>
                </a:cubicBezTo>
                <a:cubicBezTo>
                  <a:pt x="1381418" y="273269"/>
                  <a:pt x="1391605" y="267875"/>
                  <a:pt x="1397598" y="263081"/>
                </a:cubicBezTo>
                <a:cubicBezTo>
                  <a:pt x="1403591" y="258287"/>
                  <a:pt x="1411981" y="251695"/>
                  <a:pt x="1403591" y="251096"/>
                </a:cubicBezTo>
                <a:cubicBezTo>
                  <a:pt x="1395201" y="250497"/>
                  <a:pt x="1398797" y="246302"/>
                  <a:pt x="1406587" y="247500"/>
                </a:cubicBezTo>
                <a:cubicBezTo>
                  <a:pt x="1414378" y="248699"/>
                  <a:pt x="1411981" y="243904"/>
                  <a:pt x="1408385" y="241507"/>
                </a:cubicBezTo>
                <a:cubicBezTo>
                  <a:pt x="1404789" y="239110"/>
                  <a:pt x="1405988" y="239110"/>
                  <a:pt x="1410782" y="237312"/>
                </a:cubicBezTo>
                <a:cubicBezTo>
                  <a:pt x="1414977" y="236114"/>
                  <a:pt x="1413179" y="231919"/>
                  <a:pt x="1408984" y="225327"/>
                </a:cubicBezTo>
                <a:cubicBezTo>
                  <a:pt x="1404789" y="218735"/>
                  <a:pt x="1398797" y="209147"/>
                  <a:pt x="1389807" y="213342"/>
                </a:cubicBezTo>
                <a:cubicBezTo>
                  <a:pt x="1380818" y="217536"/>
                  <a:pt x="1368833" y="225327"/>
                  <a:pt x="1378421" y="215139"/>
                </a:cubicBezTo>
                <a:cubicBezTo>
                  <a:pt x="1388010" y="204952"/>
                  <a:pt x="1393403" y="207948"/>
                  <a:pt x="1397598" y="209746"/>
                </a:cubicBezTo>
                <a:cubicBezTo>
                  <a:pt x="1401793" y="210944"/>
                  <a:pt x="1402991" y="210345"/>
                  <a:pt x="1401793" y="207349"/>
                </a:cubicBezTo>
                <a:cubicBezTo>
                  <a:pt x="1399995" y="204352"/>
                  <a:pt x="1407186" y="200757"/>
                  <a:pt x="1396999" y="201356"/>
                </a:cubicBezTo>
                <a:cubicBezTo>
                  <a:pt x="1386811" y="201955"/>
                  <a:pt x="1388010" y="200158"/>
                  <a:pt x="1383815" y="197161"/>
                </a:cubicBezTo>
                <a:cubicBezTo>
                  <a:pt x="1379620" y="194764"/>
                  <a:pt x="1380818" y="192966"/>
                  <a:pt x="1386811" y="194764"/>
                </a:cubicBezTo>
                <a:cubicBezTo>
                  <a:pt x="1392804" y="196562"/>
                  <a:pt x="1395201" y="195363"/>
                  <a:pt x="1399995" y="195363"/>
                </a:cubicBezTo>
                <a:cubicBezTo>
                  <a:pt x="1404190" y="195363"/>
                  <a:pt x="1413179" y="198959"/>
                  <a:pt x="1411381" y="192966"/>
                </a:cubicBezTo>
                <a:cubicBezTo>
                  <a:pt x="1408984" y="186973"/>
                  <a:pt x="1406587" y="185775"/>
                  <a:pt x="1396999" y="186973"/>
                </a:cubicBezTo>
                <a:cubicBezTo>
                  <a:pt x="1387410" y="187573"/>
                  <a:pt x="1379620" y="183378"/>
                  <a:pt x="1386212" y="182779"/>
                </a:cubicBezTo>
                <a:cubicBezTo>
                  <a:pt x="1392804" y="182179"/>
                  <a:pt x="1402392" y="185176"/>
                  <a:pt x="1401194" y="177385"/>
                </a:cubicBezTo>
                <a:cubicBezTo>
                  <a:pt x="1399995" y="170194"/>
                  <a:pt x="1406587" y="177385"/>
                  <a:pt x="1409583" y="181580"/>
                </a:cubicBezTo>
                <a:cubicBezTo>
                  <a:pt x="1413179" y="185775"/>
                  <a:pt x="1414977" y="185176"/>
                  <a:pt x="1420970" y="184576"/>
                </a:cubicBezTo>
                <a:cubicBezTo>
                  <a:pt x="1426962" y="183977"/>
                  <a:pt x="1426363" y="183977"/>
                  <a:pt x="1431157" y="184576"/>
                </a:cubicBezTo>
                <a:cubicBezTo>
                  <a:pt x="1435352" y="185176"/>
                  <a:pt x="1435951" y="184576"/>
                  <a:pt x="1435951" y="178584"/>
                </a:cubicBezTo>
                <a:cubicBezTo>
                  <a:pt x="1435951" y="172591"/>
                  <a:pt x="1437749" y="170793"/>
                  <a:pt x="1440146" y="177984"/>
                </a:cubicBezTo>
                <a:cubicBezTo>
                  <a:pt x="1442544" y="185176"/>
                  <a:pt x="1441944" y="183378"/>
                  <a:pt x="1450334" y="182179"/>
                </a:cubicBezTo>
                <a:cubicBezTo>
                  <a:pt x="1458724" y="181580"/>
                  <a:pt x="1458724" y="181580"/>
                  <a:pt x="1465316" y="186973"/>
                </a:cubicBezTo>
                <a:cubicBezTo>
                  <a:pt x="1472507" y="192367"/>
                  <a:pt x="1476103" y="194764"/>
                  <a:pt x="1470709" y="194165"/>
                </a:cubicBezTo>
                <a:cubicBezTo>
                  <a:pt x="1465316" y="193565"/>
                  <a:pt x="1466514" y="193565"/>
                  <a:pt x="1462320" y="189970"/>
                </a:cubicBezTo>
                <a:cubicBezTo>
                  <a:pt x="1458125" y="186374"/>
                  <a:pt x="1450933" y="185775"/>
                  <a:pt x="1458125" y="194165"/>
                </a:cubicBezTo>
                <a:cubicBezTo>
                  <a:pt x="1465316" y="202555"/>
                  <a:pt x="1470110" y="203753"/>
                  <a:pt x="1477301" y="200757"/>
                </a:cubicBezTo>
                <a:cubicBezTo>
                  <a:pt x="1484493" y="197760"/>
                  <a:pt x="1486291" y="202555"/>
                  <a:pt x="1490485" y="203753"/>
                </a:cubicBezTo>
                <a:cubicBezTo>
                  <a:pt x="1494680" y="204952"/>
                  <a:pt x="1497677" y="205551"/>
                  <a:pt x="1501872" y="201356"/>
                </a:cubicBezTo>
                <a:cubicBezTo>
                  <a:pt x="1506067" y="197161"/>
                  <a:pt x="1509063" y="195363"/>
                  <a:pt x="1510861" y="195363"/>
                </a:cubicBezTo>
                <a:cubicBezTo>
                  <a:pt x="1513258" y="195363"/>
                  <a:pt x="1510262" y="192367"/>
                  <a:pt x="1507265" y="189970"/>
                </a:cubicBezTo>
                <a:cubicBezTo>
                  <a:pt x="1504269" y="187573"/>
                  <a:pt x="1501872" y="187573"/>
                  <a:pt x="1498276" y="192367"/>
                </a:cubicBezTo>
                <a:cubicBezTo>
                  <a:pt x="1494680" y="197161"/>
                  <a:pt x="1488088" y="195963"/>
                  <a:pt x="1492883" y="191168"/>
                </a:cubicBezTo>
                <a:cubicBezTo>
                  <a:pt x="1497677" y="186374"/>
                  <a:pt x="1497077" y="184576"/>
                  <a:pt x="1497077" y="180981"/>
                </a:cubicBezTo>
                <a:cubicBezTo>
                  <a:pt x="1497077" y="177385"/>
                  <a:pt x="1496478" y="180981"/>
                  <a:pt x="1502471" y="180981"/>
                </a:cubicBezTo>
                <a:cubicBezTo>
                  <a:pt x="1508464" y="180981"/>
                  <a:pt x="1512659" y="179183"/>
                  <a:pt x="1516254" y="174988"/>
                </a:cubicBezTo>
                <a:cubicBezTo>
                  <a:pt x="1520449" y="170793"/>
                  <a:pt x="1524045" y="171392"/>
                  <a:pt x="1528240" y="174389"/>
                </a:cubicBezTo>
                <a:cubicBezTo>
                  <a:pt x="1532435" y="177385"/>
                  <a:pt x="1540225" y="177385"/>
                  <a:pt x="1541424" y="182779"/>
                </a:cubicBezTo>
                <a:cubicBezTo>
                  <a:pt x="1543222" y="188172"/>
                  <a:pt x="1544420" y="189371"/>
                  <a:pt x="1549814" y="188771"/>
                </a:cubicBezTo>
                <a:cubicBezTo>
                  <a:pt x="1555207" y="188172"/>
                  <a:pt x="1558803" y="183378"/>
                  <a:pt x="1551611" y="181580"/>
                </a:cubicBezTo>
                <a:cubicBezTo>
                  <a:pt x="1544420" y="179782"/>
                  <a:pt x="1540225" y="177385"/>
                  <a:pt x="1547416" y="171392"/>
                </a:cubicBezTo>
                <a:cubicBezTo>
                  <a:pt x="1554608" y="164800"/>
                  <a:pt x="1552810" y="164201"/>
                  <a:pt x="1546218" y="164201"/>
                </a:cubicBezTo>
                <a:cubicBezTo>
                  <a:pt x="1539626" y="164201"/>
                  <a:pt x="1543821" y="157609"/>
                  <a:pt x="1551611" y="160006"/>
                </a:cubicBezTo>
                <a:cubicBezTo>
                  <a:pt x="1559402" y="162403"/>
                  <a:pt x="1561799" y="163003"/>
                  <a:pt x="1560600" y="156411"/>
                </a:cubicBezTo>
                <a:cubicBezTo>
                  <a:pt x="1559402" y="149818"/>
                  <a:pt x="1558203" y="149818"/>
                  <a:pt x="1560600" y="146223"/>
                </a:cubicBezTo>
                <a:cubicBezTo>
                  <a:pt x="1562998" y="142627"/>
                  <a:pt x="1563597" y="142028"/>
                  <a:pt x="1562998" y="148021"/>
                </a:cubicBezTo>
                <a:cubicBezTo>
                  <a:pt x="1562398" y="153414"/>
                  <a:pt x="1562398" y="152216"/>
                  <a:pt x="1568391" y="158808"/>
                </a:cubicBezTo>
                <a:cubicBezTo>
                  <a:pt x="1574384" y="165999"/>
                  <a:pt x="1577380" y="167197"/>
                  <a:pt x="1580976" y="165999"/>
                </a:cubicBezTo>
                <a:cubicBezTo>
                  <a:pt x="1584571" y="164201"/>
                  <a:pt x="1588167" y="161804"/>
                  <a:pt x="1589965" y="161804"/>
                </a:cubicBezTo>
                <a:cubicBezTo>
                  <a:pt x="1592362" y="161804"/>
                  <a:pt x="1590564" y="157609"/>
                  <a:pt x="1595358" y="156411"/>
                </a:cubicBezTo>
                <a:cubicBezTo>
                  <a:pt x="1599553" y="154613"/>
                  <a:pt x="1602550" y="155811"/>
                  <a:pt x="1600752" y="151017"/>
                </a:cubicBezTo>
                <a:cubicBezTo>
                  <a:pt x="1599553" y="146223"/>
                  <a:pt x="1596557" y="145624"/>
                  <a:pt x="1589366" y="144425"/>
                </a:cubicBezTo>
                <a:cubicBezTo>
                  <a:pt x="1582174" y="143826"/>
                  <a:pt x="1580976" y="140230"/>
                  <a:pt x="1580376" y="137234"/>
                </a:cubicBezTo>
                <a:cubicBezTo>
                  <a:pt x="1579777" y="133638"/>
                  <a:pt x="1582774" y="136035"/>
                  <a:pt x="1587568" y="139631"/>
                </a:cubicBezTo>
                <a:cubicBezTo>
                  <a:pt x="1592961" y="143226"/>
                  <a:pt x="1597756" y="142028"/>
                  <a:pt x="1601950" y="142028"/>
                </a:cubicBezTo>
                <a:cubicBezTo>
                  <a:pt x="1606145" y="142627"/>
                  <a:pt x="1604347" y="136634"/>
                  <a:pt x="1600153" y="136035"/>
                </a:cubicBezTo>
                <a:cubicBezTo>
                  <a:pt x="1595958" y="135436"/>
                  <a:pt x="1585171" y="135436"/>
                  <a:pt x="1589965" y="130642"/>
                </a:cubicBezTo>
                <a:cubicBezTo>
                  <a:pt x="1595358" y="126447"/>
                  <a:pt x="1594160" y="125848"/>
                  <a:pt x="1590564" y="125248"/>
                </a:cubicBezTo>
                <a:cubicBezTo>
                  <a:pt x="1587568" y="124649"/>
                  <a:pt x="1586968" y="122851"/>
                  <a:pt x="1594160" y="122851"/>
                </a:cubicBezTo>
                <a:cubicBezTo>
                  <a:pt x="1601351" y="122851"/>
                  <a:pt x="1600153" y="122252"/>
                  <a:pt x="1602550" y="118656"/>
                </a:cubicBezTo>
                <a:cubicBezTo>
                  <a:pt x="1604947" y="115660"/>
                  <a:pt x="1604347" y="119256"/>
                  <a:pt x="1606745" y="121653"/>
                </a:cubicBezTo>
                <a:cubicBezTo>
                  <a:pt x="1609142" y="124050"/>
                  <a:pt x="1612138" y="122252"/>
                  <a:pt x="1615134" y="122252"/>
                </a:cubicBezTo>
                <a:cubicBezTo>
                  <a:pt x="1618730" y="122252"/>
                  <a:pt x="1623524" y="122851"/>
                  <a:pt x="1621127" y="119855"/>
                </a:cubicBezTo>
                <a:cubicBezTo>
                  <a:pt x="1618730" y="116259"/>
                  <a:pt x="1619929" y="117458"/>
                  <a:pt x="1627120" y="119256"/>
                </a:cubicBezTo>
                <a:cubicBezTo>
                  <a:pt x="1634311" y="120454"/>
                  <a:pt x="1636109" y="121053"/>
                  <a:pt x="1640304" y="120454"/>
                </a:cubicBezTo>
                <a:cubicBezTo>
                  <a:pt x="1644499" y="119855"/>
                  <a:pt x="1642701" y="122252"/>
                  <a:pt x="1650492" y="127645"/>
                </a:cubicBezTo>
                <a:cubicBezTo>
                  <a:pt x="1658282" y="133039"/>
                  <a:pt x="1658282" y="132440"/>
                  <a:pt x="1665473" y="127645"/>
                </a:cubicBezTo>
                <a:cubicBezTo>
                  <a:pt x="1672665" y="122851"/>
                  <a:pt x="1675661" y="121053"/>
                  <a:pt x="1667870" y="120454"/>
                </a:cubicBezTo>
                <a:cubicBezTo>
                  <a:pt x="1660679" y="119855"/>
                  <a:pt x="1660679" y="118057"/>
                  <a:pt x="1658282" y="114461"/>
                </a:cubicBezTo>
                <a:cubicBezTo>
                  <a:pt x="1655885" y="110266"/>
                  <a:pt x="1657683" y="113263"/>
                  <a:pt x="1661878" y="107869"/>
                </a:cubicBezTo>
                <a:cubicBezTo>
                  <a:pt x="1666073" y="102476"/>
                  <a:pt x="1667870" y="105472"/>
                  <a:pt x="1670867" y="111465"/>
                </a:cubicBezTo>
                <a:cubicBezTo>
                  <a:pt x="1673863" y="117458"/>
                  <a:pt x="1676860" y="114461"/>
                  <a:pt x="1676860" y="110266"/>
                </a:cubicBezTo>
                <a:cubicBezTo>
                  <a:pt x="1676860" y="106071"/>
                  <a:pt x="1676260" y="104873"/>
                  <a:pt x="1671466" y="99479"/>
                </a:cubicBezTo>
                <a:cubicBezTo>
                  <a:pt x="1666073" y="94086"/>
                  <a:pt x="1666073" y="94086"/>
                  <a:pt x="1670867" y="90490"/>
                </a:cubicBezTo>
                <a:cubicBezTo>
                  <a:pt x="1675661" y="86895"/>
                  <a:pt x="1678058" y="89292"/>
                  <a:pt x="1678658" y="92887"/>
                </a:cubicBezTo>
                <a:cubicBezTo>
                  <a:pt x="1679257" y="96483"/>
                  <a:pt x="1679257" y="97682"/>
                  <a:pt x="1685249" y="97082"/>
                </a:cubicBezTo>
                <a:cubicBezTo>
                  <a:pt x="1691242" y="96483"/>
                  <a:pt x="1690643" y="95884"/>
                  <a:pt x="1699033" y="94685"/>
                </a:cubicBezTo>
                <a:cubicBezTo>
                  <a:pt x="1707423" y="93487"/>
                  <a:pt x="1708022" y="92887"/>
                  <a:pt x="1715213" y="86295"/>
                </a:cubicBezTo>
                <a:cubicBezTo>
                  <a:pt x="1722404" y="79703"/>
                  <a:pt x="1727798" y="79104"/>
                  <a:pt x="1731993" y="76108"/>
                </a:cubicBezTo>
                <a:lnTo>
                  <a:pt x="1734989" y="73711"/>
                </a:lnTo>
                <a:cubicBezTo>
                  <a:pt x="1734989" y="73711"/>
                  <a:pt x="1752967" y="67718"/>
                  <a:pt x="1757162" y="67119"/>
                </a:cubicBezTo>
                <a:cubicBezTo>
                  <a:pt x="1760758" y="66519"/>
                  <a:pt x="1777538" y="66519"/>
                  <a:pt x="1781733" y="66519"/>
                </a:cubicBezTo>
                <a:cubicBezTo>
                  <a:pt x="1785928" y="66519"/>
                  <a:pt x="1790122" y="67119"/>
                  <a:pt x="1790722" y="64122"/>
                </a:cubicBezTo>
                <a:cubicBezTo>
                  <a:pt x="1791321" y="61126"/>
                  <a:pt x="1784130" y="55732"/>
                  <a:pt x="1778736" y="54534"/>
                </a:cubicBezTo>
                <a:cubicBezTo>
                  <a:pt x="1773343" y="53935"/>
                  <a:pt x="1757762" y="53935"/>
                  <a:pt x="1754765" y="54534"/>
                </a:cubicBezTo>
                <a:cubicBezTo>
                  <a:pt x="1752368" y="55133"/>
                  <a:pt x="1749372" y="53335"/>
                  <a:pt x="1754765" y="51538"/>
                </a:cubicBezTo>
                <a:cubicBezTo>
                  <a:pt x="1760159" y="49740"/>
                  <a:pt x="1762556" y="44346"/>
                  <a:pt x="1769148" y="44346"/>
                </a:cubicBezTo>
                <a:cubicBezTo>
                  <a:pt x="1775740" y="44346"/>
                  <a:pt x="1779935" y="47343"/>
                  <a:pt x="1782931" y="49740"/>
                </a:cubicBezTo>
                <a:cubicBezTo>
                  <a:pt x="1785928" y="52137"/>
                  <a:pt x="1790122" y="53935"/>
                  <a:pt x="1796115" y="55133"/>
                </a:cubicBezTo>
                <a:cubicBezTo>
                  <a:pt x="1802707" y="55732"/>
                  <a:pt x="1815891" y="60527"/>
                  <a:pt x="1822483" y="58130"/>
                </a:cubicBezTo>
                <a:cubicBezTo>
                  <a:pt x="1829075" y="55732"/>
                  <a:pt x="1826678" y="46144"/>
                  <a:pt x="1818288" y="46743"/>
                </a:cubicBezTo>
                <a:cubicBezTo>
                  <a:pt x="1809898" y="47343"/>
                  <a:pt x="1797913" y="44346"/>
                  <a:pt x="1796115" y="41350"/>
                </a:cubicBezTo>
                <a:cubicBezTo>
                  <a:pt x="1794317" y="38354"/>
                  <a:pt x="1794917" y="35956"/>
                  <a:pt x="1801509" y="37754"/>
                </a:cubicBezTo>
                <a:cubicBezTo>
                  <a:pt x="1808700" y="39552"/>
                  <a:pt x="1813494" y="39552"/>
                  <a:pt x="1821285" y="40151"/>
                </a:cubicBezTo>
                <a:cubicBezTo>
                  <a:pt x="1829075" y="40751"/>
                  <a:pt x="1828476" y="41949"/>
                  <a:pt x="1832071" y="44346"/>
                </a:cubicBezTo>
                <a:cubicBezTo>
                  <a:pt x="1836266" y="46743"/>
                  <a:pt x="1836266" y="48541"/>
                  <a:pt x="1844057" y="49140"/>
                </a:cubicBezTo>
                <a:cubicBezTo>
                  <a:pt x="1851848" y="49740"/>
                  <a:pt x="1865631" y="49740"/>
                  <a:pt x="1868627" y="49740"/>
                </a:cubicBezTo>
                <a:cubicBezTo>
                  <a:pt x="1871024" y="49740"/>
                  <a:pt x="1886605" y="48541"/>
                  <a:pt x="1893198" y="47343"/>
                </a:cubicBezTo>
                <a:cubicBezTo>
                  <a:pt x="1899790" y="46743"/>
                  <a:pt x="1907580" y="47343"/>
                  <a:pt x="1911176" y="47942"/>
                </a:cubicBezTo>
                <a:cubicBezTo>
                  <a:pt x="1914771" y="48541"/>
                  <a:pt x="1923161" y="49140"/>
                  <a:pt x="1926757" y="45545"/>
                </a:cubicBezTo>
                <a:cubicBezTo>
                  <a:pt x="1930353" y="41350"/>
                  <a:pt x="1929154" y="38354"/>
                  <a:pt x="1920764" y="35357"/>
                </a:cubicBezTo>
                <a:cubicBezTo>
                  <a:pt x="1912374" y="31762"/>
                  <a:pt x="1910576" y="28166"/>
                  <a:pt x="1907580" y="26967"/>
                </a:cubicBezTo>
                <a:cubicBezTo>
                  <a:pt x="1905183" y="25769"/>
                  <a:pt x="1900988" y="22173"/>
                  <a:pt x="1899190" y="20375"/>
                </a:cubicBezTo>
                <a:lnTo>
                  <a:pt x="1880613" y="2996"/>
                </a:lnTo>
                <a:lnTo>
                  <a:pt x="1628318" y="2996"/>
                </a:lnTo>
                <a:lnTo>
                  <a:pt x="1594759" y="20375"/>
                </a:lnTo>
                <a:cubicBezTo>
                  <a:pt x="1584571" y="24570"/>
                  <a:pt x="1509063" y="69516"/>
                  <a:pt x="1454529" y="101277"/>
                </a:cubicBezTo>
                <a:cubicBezTo>
                  <a:pt x="1400594" y="133638"/>
                  <a:pt x="1353252" y="164800"/>
                  <a:pt x="1309505" y="192966"/>
                </a:cubicBezTo>
                <a:cubicBezTo>
                  <a:pt x="1269353" y="218735"/>
                  <a:pt x="1213621" y="258886"/>
                  <a:pt x="1162683" y="296641"/>
                </a:cubicBezTo>
                <a:cubicBezTo>
                  <a:pt x="1162083" y="299038"/>
                  <a:pt x="1164480" y="303233"/>
                  <a:pt x="1174668" y="303233"/>
                </a:cubicBezTo>
                <a:close/>
                <a:moveTo>
                  <a:pt x="1299916" y="713136"/>
                </a:moveTo>
                <a:cubicBezTo>
                  <a:pt x="1302313" y="712537"/>
                  <a:pt x="1298718" y="710140"/>
                  <a:pt x="1298718" y="710140"/>
                </a:cubicBezTo>
                <a:cubicBezTo>
                  <a:pt x="1298718" y="710140"/>
                  <a:pt x="1297519" y="713136"/>
                  <a:pt x="1299916" y="713136"/>
                </a:cubicBezTo>
                <a:close/>
                <a:moveTo>
                  <a:pt x="1284934" y="725122"/>
                </a:moveTo>
                <a:cubicBezTo>
                  <a:pt x="1285534" y="725122"/>
                  <a:pt x="1285534" y="725122"/>
                  <a:pt x="1286133" y="725122"/>
                </a:cubicBezTo>
                <a:cubicBezTo>
                  <a:pt x="1286133" y="725122"/>
                  <a:pt x="1286133" y="724522"/>
                  <a:pt x="1286732" y="724522"/>
                </a:cubicBezTo>
                <a:cubicBezTo>
                  <a:pt x="1287332" y="723324"/>
                  <a:pt x="1286732" y="722724"/>
                  <a:pt x="1286732" y="721526"/>
                </a:cubicBezTo>
                <a:cubicBezTo>
                  <a:pt x="1286732" y="720927"/>
                  <a:pt x="1286133" y="720327"/>
                  <a:pt x="1285534" y="720327"/>
                </a:cubicBezTo>
                <a:cubicBezTo>
                  <a:pt x="1285534" y="720327"/>
                  <a:pt x="1284934" y="720327"/>
                  <a:pt x="1284934" y="720327"/>
                </a:cubicBezTo>
                <a:cubicBezTo>
                  <a:pt x="1284934" y="720327"/>
                  <a:pt x="1284335" y="720327"/>
                  <a:pt x="1284335" y="720927"/>
                </a:cubicBezTo>
                <a:cubicBezTo>
                  <a:pt x="1284335" y="721526"/>
                  <a:pt x="1284335" y="721526"/>
                  <a:pt x="1283736" y="721526"/>
                </a:cubicBezTo>
                <a:cubicBezTo>
                  <a:pt x="1283736" y="722125"/>
                  <a:pt x="1283736" y="722724"/>
                  <a:pt x="1283736" y="723923"/>
                </a:cubicBezTo>
                <a:cubicBezTo>
                  <a:pt x="1284335" y="724522"/>
                  <a:pt x="1284335" y="725122"/>
                  <a:pt x="1284934" y="725122"/>
                </a:cubicBezTo>
                <a:close/>
                <a:moveTo>
                  <a:pt x="1173469" y="745497"/>
                </a:moveTo>
                <a:cubicBezTo>
                  <a:pt x="1173469" y="746096"/>
                  <a:pt x="1172870" y="746695"/>
                  <a:pt x="1173469" y="747295"/>
                </a:cubicBezTo>
                <a:cubicBezTo>
                  <a:pt x="1173469" y="747295"/>
                  <a:pt x="1174069" y="747295"/>
                  <a:pt x="1174069" y="747295"/>
                </a:cubicBezTo>
                <a:cubicBezTo>
                  <a:pt x="1174668" y="747295"/>
                  <a:pt x="1174668" y="747295"/>
                  <a:pt x="1174668" y="747295"/>
                </a:cubicBezTo>
                <a:cubicBezTo>
                  <a:pt x="1175267" y="746695"/>
                  <a:pt x="1174668" y="745497"/>
                  <a:pt x="1174069" y="744298"/>
                </a:cubicBezTo>
                <a:cubicBezTo>
                  <a:pt x="1174069" y="744298"/>
                  <a:pt x="1173469" y="743699"/>
                  <a:pt x="1173469" y="743699"/>
                </a:cubicBezTo>
                <a:cubicBezTo>
                  <a:pt x="1173469" y="743699"/>
                  <a:pt x="1174069" y="744298"/>
                  <a:pt x="1173469" y="745497"/>
                </a:cubicBezTo>
                <a:close/>
                <a:moveTo>
                  <a:pt x="1171072" y="753287"/>
                </a:moveTo>
                <a:cubicBezTo>
                  <a:pt x="1171072" y="753287"/>
                  <a:pt x="1171672" y="753287"/>
                  <a:pt x="1171072" y="753287"/>
                </a:cubicBezTo>
                <a:lnTo>
                  <a:pt x="1171072" y="753287"/>
                </a:lnTo>
                <a:lnTo>
                  <a:pt x="1171072" y="753287"/>
                </a:lnTo>
                <a:cubicBezTo>
                  <a:pt x="1171672" y="753887"/>
                  <a:pt x="1171672" y="753287"/>
                  <a:pt x="1171672" y="753287"/>
                </a:cubicBezTo>
                <a:cubicBezTo>
                  <a:pt x="1171672" y="752688"/>
                  <a:pt x="1170473" y="750890"/>
                  <a:pt x="1170473" y="750890"/>
                </a:cubicBezTo>
                <a:lnTo>
                  <a:pt x="1170473" y="750890"/>
                </a:lnTo>
                <a:lnTo>
                  <a:pt x="1170473" y="750890"/>
                </a:lnTo>
                <a:cubicBezTo>
                  <a:pt x="1170473" y="750890"/>
                  <a:pt x="1170473" y="752089"/>
                  <a:pt x="1171072" y="753287"/>
                </a:cubicBezTo>
                <a:close/>
                <a:moveTo>
                  <a:pt x="1151296" y="766471"/>
                </a:moveTo>
                <a:lnTo>
                  <a:pt x="1151296" y="766471"/>
                </a:lnTo>
                <a:lnTo>
                  <a:pt x="1151296" y="766471"/>
                </a:lnTo>
                <a:cubicBezTo>
                  <a:pt x="1151896" y="765872"/>
                  <a:pt x="1152495" y="762276"/>
                  <a:pt x="1151896" y="762276"/>
                </a:cubicBezTo>
                <a:cubicBezTo>
                  <a:pt x="1151896" y="762276"/>
                  <a:pt x="1151896" y="762276"/>
                  <a:pt x="1151296" y="762876"/>
                </a:cubicBezTo>
                <a:cubicBezTo>
                  <a:pt x="1150098" y="765273"/>
                  <a:pt x="1150697" y="767071"/>
                  <a:pt x="1151296" y="766471"/>
                </a:cubicBezTo>
                <a:close/>
                <a:moveTo>
                  <a:pt x="1172271" y="771865"/>
                </a:moveTo>
                <a:lnTo>
                  <a:pt x="1172271" y="771865"/>
                </a:lnTo>
                <a:lnTo>
                  <a:pt x="1172271" y="771865"/>
                </a:lnTo>
                <a:cubicBezTo>
                  <a:pt x="1172271" y="771865"/>
                  <a:pt x="1173469" y="769468"/>
                  <a:pt x="1171672" y="769468"/>
                </a:cubicBezTo>
                <a:lnTo>
                  <a:pt x="1171672" y="769468"/>
                </a:lnTo>
                <a:lnTo>
                  <a:pt x="1171672" y="769468"/>
                </a:lnTo>
                <a:cubicBezTo>
                  <a:pt x="1170473" y="770666"/>
                  <a:pt x="1172271" y="771865"/>
                  <a:pt x="1172271" y="771865"/>
                </a:cubicBezTo>
                <a:close/>
                <a:moveTo>
                  <a:pt x="1162083" y="778457"/>
                </a:moveTo>
                <a:cubicBezTo>
                  <a:pt x="1162683" y="778457"/>
                  <a:pt x="1162683" y="778457"/>
                  <a:pt x="1163282" y="777858"/>
                </a:cubicBezTo>
                <a:cubicBezTo>
                  <a:pt x="1163282" y="777858"/>
                  <a:pt x="1163282" y="777258"/>
                  <a:pt x="1163282" y="777258"/>
                </a:cubicBezTo>
                <a:cubicBezTo>
                  <a:pt x="1163282" y="777258"/>
                  <a:pt x="1162683" y="776659"/>
                  <a:pt x="1162083" y="776659"/>
                </a:cubicBezTo>
                <a:cubicBezTo>
                  <a:pt x="1160285" y="776659"/>
                  <a:pt x="1158488" y="777258"/>
                  <a:pt x="1158488" y="777258"/>
                </a:cubicBezTo>
                <a:cubicBezTo>
                  <a:pt x="1158488" y="777258"/>
                  <a:pt x="1159087" y="777858"/>
                  <a:pt x="1160285" y="777858"/>
                </a:cubicBezTo>
                <a:cubicBezTo>
                  <a:pt x="1161484" y="777858"/>
                  <a:pt x="1161484" y="778457"/>
                  <a:pt x="1162083" y="778457"/>
                </a:cubicBezTo>
                <a:close/>
                <a:moveTo>
                  <a:pt x="1151296" y="779056"/>
                </a:moveTo>
                <a:cubicBezTo>
                  <a:pt x="1151896" y="779056"/>
                  <a:pt x="1151896" y="779056"/>
                  <a:pt x="1152495" y="779056"/>
                </a:cubicBezTo>
                <a:cubicBezTo>
                  <a:pt x="1153094" y="778457"/>
                  <a:pt x="1152495" y="778457"/>
                  <a:pt x="1151296" y="777858"/>
                </a:cubicBezTo>
                <a:cubicBezTo>
                  <a:pt x="1150697" y="777858"/>
                  <a:pt x="1150098" y="777858"/>
                  <a:pt x="1150098" y="777858"/>
                </a:cubicBezTo>
                <a:cubicBezTo>
                  <a:pt x="1149499" y="777858"/>
                  <a:pt x="1149499" y="777858"/>
                  <a:pt x="1149499" y="777858"/>
                </a:cubicBezTo>
                <a:cubicBezTo>
                  <a:pt x="1149499" y="777858"/>
                  <a:pt x="1149499" y="777858"/>
                  <a:pt x="1149499" y="778457"/>
                </a:cubicBezTo>
                <a:cubicBezTo>
                  <a:pt x="1150098" y="778457"/>
                  <a:pt x="1150697" y="779056"/>
                  <a:pt x="1151296" y="779056"/>
                </a:cubicBezTo>
                <a:close/>
                <a:moveTo>
                  <a:pt x="1151296" y="804226"/>
                </a:moveTo>
                <a:lnTo>
                  <a:pt x="1151296" y="804226"/>
                </a:lnTo>
                <a:cubicBezTo>
                  <a:pt x="1151296" y="804226"/>
                  <a:pt x="1150697" y="806623"/>
                  <a:pt x="1151896" y="806623"/>
                </a:cubicBezTo>
                <a:lnTo>
                  <a:pt x="1151896" y="806623"/>
                </a:lnTo>
                <a:lnTo>
                  <a:pt x="1151896" y="806623"/>
                </a:lnTo>
                <a:cubicBezTo>
                  <a:pt x="1152495" y="806623"/>
                  <a:pt x="1152495" y="806623"/>
                  <a:pt x="1152495" y="806023"/>
                </a:cubicBezTo>
                <a:cubicBezTo>
                  <a:pt x="1152495" y="806023"/>
                  <a:pt x="1152495" y="805424"/>
                  <a:pt x="1152495" y="805424"/>
                </a:cubicBezTo>
                <a:cubicBezTo>
                  <a:pt x="1151896" y="804825"/>
                  <a:pt x="1151296" y="804226"/>
                  <a:pt x="1151296" y="804226"/>
                </a:cubicBezTo>
                <a:lnTo>
                  <a:pt x="1151296" y="804226"/>
                </a:lnTo>
                <a:close/>
                <a:moveTo>
                  <a:pt x="1471309" y="729316"/>
                </a:moveTo>
                <a:cubicBezTo>
                  <a:pt x="1470709" y="729316"/>
                  <a:pt x="1470110" y="729916"/>
                  <a:pt x="1469511" y="730515"/>
                </a:cubicBezTo>
                <a:cubicBezTo>
                  <a:pt x="1467114" y="732912"/>
                  <a:pt x="1468312" y="735309"/>
                  <a:pt x="1468312" y="735309"/>
                </a:cubicBezTo>
                <a:cubicBezTo>
                  <a:pt x="1468312" y="735309"/>
                  <a:pt x="1471309" y="733511"/>
                  <a:pt x="1472507" y="731114"/>
                </a:cubicBezTo>
                <a:cubicBezTo>
                  <a:pt x="1473106" y="729916"/>
                  <a:pt x="1473106" y="729316"/>
                  <a:pt x="1472507" y="728717"/>
                </a:cubicBezTo>
                <a:cubicBezTo>
                  <a:pt x="1472507" y="729316"/>
                  <a:pt x="1471908" y="729316"/>
                  <a:pt x="1471309" y="729316"/>
                </a:cubicBezTo>
                <a:close/>
                <a:moveTo>
                  <a:pt x="1479099" y="728717"/>
                </a:moveTo>
                <a:cubicBezTo>
                  <a:pt x="1478500" y="728717"/>
                  <a:pt x="1478500" y="728717"/>
                  <a:pt x="1477901" y="729316"/>
                </a:cubicBezTo>
                <a:cubicBezTo>
                  <a:pt x="1476702" y="729916"/>
                  <a:pt x="1476702" y="732313"/>
                  <a:pt x="1476702" y="733511"/>
                </a:cubicBezTo>
                <a:cubicBezTo>
                  <a:pt x="1476702" y="734111"/>
                  <a:pt x="1476702" y="734710"/>
                  <a:pt x="1476702" y="734710"/>
                </a:cubicBezTo>
                <a:cubicBezTo>
                  <a:pt x="1476702" y="734710"/>
                  <a:pt x="1476702" y="734710"/>
                  <a:pt x="1477301" y="733511"/>
                </a:cubicBezTo>
                <a:cubicBezTo>
                  <a:pt x="1477301" y="732912"/>
                  <a:pt x="1477901" y="732313"/>
                  <a:pt x="1478500" y="731714"/>
                </a:cubicBezTo>
                <a:cubicBezTo>
                  <a:pt x="1479099" y="731114"/>
                  <a:pt x="1479099" y="730515"/>
                  <a:pt x="1479699" y="729916"/>
                </a:cubicBezTo>
                <a:cubicBezTo>
                  <a:pt x="1479699" y="729316"/>
                  <a:pt x="1479699" y="729316"/>
                  <a:pt x="1479699" y="728717"/>
                </a:cubicBezTo>
                <a:cubicBezTo>
                  <a:pt x="1479699" y="728717"/>
                  <a:pt x="1479699" y="728717"/>
                  <a:pt x="1479099" y="728717"/>
                </a:cubicBezTo>
                <a:close/>
                <a:moveTo>
                  <a:pt x="1459922" y="749092"/>
                </a:moveTo>
                <a:cubicBezTo>
                  <a:pt x="1459922" y="748493"/>
                  <a:pt x="1460522" y="747894"/>
                  <a:pt x="1460522" y="746695"/>
                </a:cubicBezTo>
                <a:cubicBezTo>
                  <a:pt x="1460522" y="745497"/>
                  <a:pt x="1459922" y="745497"/>
                  <a:pt x="1459922" y="746096"/>
                </a:cubicBezTo>
                <a:cubicBezTo>
                  <a:pt x="1459323" y="747295"/>
                  <a:pt x="1458125" y="750890"/>
                  <a:pt x="1458125" y="750890"/>
                </a:cubicBezTo>
                <a:lnTo>
                  <a:pt x="1458125" y="750890"/>
                </a:lnTo>
                <a:lnTo>
                  <a:pt x="1458125" y="750890"/>
                </a:lnTo>
                <a:cubicBezTo>
                  <a:pt x="1458125" y="751490"/>
                  <a:pt x="1459323" y="750890"/>
                  <a:pt x="1459922" y="749092"/>
                </a:cubicBezTo>
                <a:close/>
                <a:moveTo>
                  <a:pt x="1480298" y="725721"/>
                </a:moveTo>
                <a:cubicBezTo>
                  <a:pt x="1480298" y="725721"/>
                  <a:pt x="1480897" y="725721"/>
                  <a:pt x="1480298" y="725721"/>
                </a:cubicBezTo>
                <a:lnTo>
                  <a:pt x="1480298" y="725721"/>
                </a:lnTo>
                <a:lnTo>
                  <a:pt x="1480298" y="725721"/>
                </a:lnTo>
                <a:cubicBezTo>
                  <a:pt x="1480897" y="725721"/>
                  <a:pt x="1481496" y="725721"/>
                  <a:pt x="1481496" y="725721"/>
                </a:cubicBezTo>
                <a:cubicBezTo>
                  <a:pt x="1482096" y="725122"/>
                  <a:pt x="1479699" y="722724"/>
                  <a:pt x="1479699" y="722724"/>
                </a:cubicBezTo>
                <a:lnTo>
                  <a:pt x="1479699" y="722724"/>
                </a:lnTo>
                <a:lnTo>
                  <a:pt x="1479699" y="722724"/>
                </a:lnTo>
                <a:cubicBezTo>
                  <a:pt x="1479699" y="722724"/>
                  <a:pt x="1479699" y="723923"/>
                  <a:pt x="1479699" y="725122"/>
                </a:cubicBezTo>
                <a:cubicBezTo>
                  <a:pt x="1479699" y="725122"/>
                  <a:pt x="1480298" y="725721"/>
                  <a:pt x="1480298" y="725721"/>
                </a:cubicBezTo>
                <a:close/>
                <a:moveTo>
                  <a:pt x="1509662" y="681974"/>
                </a:moveTo>
                <a:cubicBezTo>
                  <a:pt x="1509662" y="681974"/>
                  <a:pt x="1509662" y="682573"/>
                  <a:pt x="1509662" y="683172"/>
                </a:cubicBezTo>
                <a:cubicBezTo>
                  <a:pt x="1509662" y="683772"/>
                  <a:pt x="1509662" y="684371"/>
                  <a:pt x="1509662" y="684371"/>
                </a:cubicBezTo>
                <a:cubicBezTo>
                  <a:pt x="1509662" y="684371"/>
                  <a:pt x="1509662" y="684970"/>
                  <a:pt x="1509662" y="684970"/>
                </a:cubicBezTo>
                <a:cubicBezTo>
                  <a:pt x="1509662" y="684970"/>
                  <a:pt x="1509662" y="684970"/>
                  <a:pt x="1510262" y="684970"/>
                </a:cubicBezTo>
                <a:cubicBezTo>
                  <a:pt x="1510262" y="684970"/>
                  <a:pt x="1510861" y="684970"/>
                  <a:pt x="1510861" y="684371"/>
                </a:cubicBezTo>
                <a:cubicBezTo>
                  <a:pt x="1510861" y="684371"/>
                  <a:pt x="1511460" y="683772"/>
                  <a:pt x="1511460" y="683772"/>
                </a:cubicBezTo>
                <a:cubicBezTo>
                  <a:pt x="1512059" y="683172"/>
                  <a:pt x="1510861" y="682573"/>
                  <a:pt x="1509662" y="681974"/>
                </a:cubicBezTo>
                <a:cubicBezTo>
                  <a:pt x="1510262" y="681974"/>
                  <a:pt x="1509662" y="681974"/>
                  <a:pt x="1509662" y="681974"/>
                </a:cubicBezTo>
                <a:close/>
                <a:moveTo>
                  <a:pt x="1391605" y="907301"/>
                </a:moveTo>
                <a:cubicBezTo>
                  <a:pt x="1391006" y="907301"/>
                  <a:pt x="1391006" y="907900"/>
                  <a:pt x="1391006" y="909099"/>
                </a:cubicBezTo>
                <a:cubicBezTo>
                  <a:pt x="1391006" y="910297"/>
                  <a:pt x="1391006" y="910896"/>
                  <a:pt x="1391605" y="910896"/>
                </a:cubicBezTo>
                <a:cubicBezTo>
                  <a:pt x="1392204" y="910896"/>
                  <a:pt x="1392204" y="910297"/>
                  <a:pt x="1392204" y="909099"/>
                </a:cubicBezTo>
                <a:cubicBezTo>
                  <a:pt x="1392204" y="907900"/>
                  <a:pt x="1392204" y="907301"/>
                  <a:pt x="1391605" y="907301"/>
                </a:cubicBezTo>
                <a:close/>
                <a:moveTo>
                  <a:pt x="1388010" y="914492"/>
                </a:moveTo>
                <a:lnTo>
                  <a:pt x="1388010" y="914492"/>
                </a:lnTo>
                <a:cubicBezTo>
                  <a:pt x="1387410" y="914492"/>
                  <a:pt x="1387410" y="914492"/>
                  <a:pt x="1387410" y="914492"/>
                </a:cubicBezTo>
                <a:cubicBezTo>
                  <a:pt x="1387410" y="914492"/>
                  <a:pt x="1386811" y="914492"/>
                  <a:pt x="1386811" y="915091"/>
                </a:cubicBezTo>
                <a:cubicBezTo>
                  <a:pt x="1386811" y="915091"/>
                  <a:pt x="1386811" y="915091"/>
                  <a:pt x="1387410" y="915691"/>
                </a:cubicBezTo>
                <a:cubicBezTo>
                  <a:pt x="1387410" y="915691"/>
                  <a:pt x="1388010" y="915691"/>
                  <a:pt x="1388010" y="915691"/>
                </a:cubicBezTo>
                <a:lnTo>
                  <a:pt x="1388010" y="915691"/>
                </a:lnTo>
                <a:lnTo>
                  <a:pt x="1388010" y="915691"/>
                </a:lnTo>
                <a:cubicBezTo>
                  <a:pt x="1388609" y="915691"/>
                  <a:pt x="1388609" y="915691"/>
                  <a:pt x="1388609" y="915691"/>
                </a:cubicBezTo>
                <a:cubicBezTo>
                  <a:pt x="1388609" y="915691"/>
                  <a:pt x="1389208" y="915691"/>
                  <a:pt x="1389208" y="915091"/>
                </a:cubicBezTo>
                <a:cubicBezTo>
                  <a:pt x="1389208" y="915091"/>
                  <a:pt x="1389208" y="915091"/>
                  <a:pt x="1388609" y="914492"/>
                </a:cubicBezTo>
                <a:cubicBezTo>
                  <a:pt x="1388609" y="914492"/>
                  <a:pt x="1388010" y="914492"/>
                  <a:pt x="1388010" y="914492"/>
                </a:cubicBezTo>
                <a:lnTo>
                  <a:pt x="1388010" y="914492"/>
                </a:lnTo>
                <a:close/>
                <a:moveTo>
                  <a:pt x="1392804" y="915691"/>
                </a:moveTo>
                <a:cubicBezTo>
                  <a:pt x="1392804" y="915091"/>
                  <a:pt x="1392804" y="914492"/>
                  <a:pt x="1392204" y="914492"/>
                </a:cubicBezTo>
                <a:cubicBezTo>
                  <a:pt x="1392204" y="914492"/>
                  <a:pt x="1391605" y="915091"/>
                  <a:pt x="1391605" y="915691"/>
                </a:cubicBezTo>
                <a:cubicBezTo>
                  <a:pt x="1391605" y="916290"/>
                  <a:pt x="1391605" y="916889"/>
                  <a:pt x="1392204" y="916889"/>
                </a:cubicBezTo>
                <a:cubicBezTo>
                  <a:pt x="1392804" y="916889"/>
                  <a:pt x="1392804" y="916290"/>
                  <a:pt x="1392804" y="915691"/>
                </a:cubicBezTo>
                <a:close/>
                <a:moveTo>
                  <a:pt x="1030243" y="1047531"/>
                </a:moveTo>
                <a:cubicBezTo>
                  <a:pt x="1029644" y="1047531"/>
                  <a:pt x="1029044" y="1047531"/>
                  <a:pt x="1029044" y="1048130"/>
                </a:cubicBezTo>
                <a:cubicBezTo>
                  <a:pt x="1028445" y="1048130"/>
                  <a:pt x="1028445" y="1048729"/>
                  <a:pt x="1028445" y="1049329"/>
                </a:cubicBezTo>
                <a:cubicBezTo>
                  <a:pt x="1028445" y="1049928"/>
                  <a:pt x="1028445" y="1049928"/>
                  <a:pt x="1029044" y="1050527"/>
                </a:cubicBezTo>
                <a:cubicBezTo>
                  <a:pt x="1029644" y="1050527"/>
                  <a:pt x="1029644" y="1051127"/>
                  <a:pt x="1030243" y="1051127"/>
                </a:cubicBezTo>
                <a:cubicBezTo>
                  <a:pt x="1030842" y="1051127"/>
                  <a:pt x="1031442" y="1051127"/>
                  <a:pt x="1031442" y="1050527"/>
                </a:cubicBezTo>
                <a:cubicBezTo>
                  <a:pt x="1032041" y="1050527"/>
                  <a:pt x="1032041" y="1049928"/>
                  <a:pt x="1032041" y="1049329"/>
                </a:cubicBezTo>
                <a:cubicBezTo>
                  <a:pt x="1032041" y="1048729"/>
                  <a:pt x="1032041" y="1048729"/>
                  <a:pt x="1031442" y="1048130"/>
                </a:cubicBezTo>
                <a:cubicBezTo>
                  <a:pt x="1030842" y="1047531"/>
                  <a:pt x="1030842" y="1047531"/>
                  <a:pt x="1030243" y="1047531"/>
                </a:cubicBezTo>
                <a:close/>
                <a:moveTo>
                  <a:pt x="1036236" y="1048130"/>
                </a:moveTo>
                <a:cubicBezTo>
                  <a:pt x="1036236" y="1047531"/>
                  <a:pt x="1035636" y="1046932"/>
                  <a:pt x="1035636" y="1046932"/>
                </a:cubicBezTo>
                <a:cubicBezTo>
                  <a:pt x="1035037" y="1046932"/>
                  <a:pt x="1035037" y="1047531"/>
                  <a:pt x="1035037" y="1048130"/>
                </a:cubicBezTo>
                <a:cubicBezTo>
                  <a:pt x="1035037" y="1048729"/>
                  <a:pt x="1035636" y="1049329"/>
                  <a:pt x="1035636" y="1049329"/>
                </a:cubicBezTo>
                <a:cubicBezTo>
                  <a:pt x="1035636" y="1049329"/>
                  <a:pt x="1036236" y="1048729"/>
                  <a:pt x="1036236" y="1048130"/>
                </a:cubicBezTo>
                <a:close/>
                <a:moveTo>
                  <a:pt x="1033239" y="1052924"/>
                </a:moveTo>
                <a:cubicBezTo>
                  <a:pt x="1033839" y="1052924"/>
                  <a:pt x="1033839" y="1052924"/>
                  <a:pt x="1034438" y="1052325"/>
                </a:cubicBezTo>
                <a:cubicBezTo>
                  <a:pt x="1034438" y="1052325"/>
                  <a:pt x="1035037" y="1051726"/>
                  <a:pt x="1035037" y="1051127"/>
                </a:cubicBezTo>
                <a:cubicBezTo>
                  <a:pt x="1035037" y="1050527"/>
                  <a:pt x="1035037" y="1050527"/>
                  <a:pt x="1034438" y="1049928"/>
                </a:cubicBezTo>
                <a:cubicBezTo>
                  <a:pt x="1033839" y="1049329"/>
                  <a:pt x="1033839" y="1049329"/>
                  <a:pt x="1033239" y="1049329"/>
                </a:cubicBezTo>
                <a:cubicBezTo>
                  <a:pt x="1032640" y="1049329"/>
                  <a:pt x="1031442" y="1049928"/>
                  <a:pt x="1031442" y="1051127"/>
                </a:cubicBezTo>
                <a:cubicBezTo>
                  <a:pt x="1031442" y="1052325"/>
                  <a:pt x="1032640" y="1052924"/>
                  <a:pt x="1033239" y="1052924"/>
                </a:cubicBezTo>
                <a:close/>
                <a:moveTo>
                  <a:pt x="1013463" y="1073300"/>
                </a:moveTo>
                <a:lnTo>
                  <a:pt x="1013463" y="1073300"/>
                </a:lnTo>
                <a:lnTo>
                  <a:pt x="1013463" y="1073300"/>
                </a:lnTo>
                <a:cubicBezTo>
                  <a:pt x="1013463" y="1073300"/>
                  <a:pt x="1013463" y="1073899"/>
                  <a:pt x="1013463" y="1073300"/>
                </a:cubicBezTo>
                <a:cubicBezTo>
                  <a:pt x="1012864" y="1073899"/>
                  <a:pt x="1012265" y="1073899"/>
                  <a:pt x="1012265" y="1075098"/>
                </a:cubicBezTo>
                <a:cubicBezTo>
                  <a:pt x="1012265" y="1075697"/>
                  <a:pt x="1012864" y="1076296"/>
                  <a:pt x="1012864" y="1076296"/>
                </a:cubicBezTo>
                <a:cubicBezTo>
                  <a:pt x="1012864" y="1076296"/>
                  <a:pt x="1012864" y="1076296"/>
                  <a:pt x="1013463" y="1076296"/>
                </a:cubicBezTo>
                <a:lnTo>
                  <a:pt x="1013463" y="1076296"/>
                </a:lnTo>
                <a:lnTo>
                  <a:pt x="1013463" y="1076296"/>
                </a:lnTo>
                <a:cubicBezTo>
                  <a:pt x="1013463" y="1076296"/>
                  <a:pt x="1013463" y="1076296"/>
                  <a:pt x="1014063" y="1076296"/>
                </a:cubicBezTo>
                <a:cubicBezTo>
                  <a:pt x="1014662" y="1076296"/>
                  <a:pt x="1014662" y="1075697"/>
                  <a:pt x="1014662" y="1075098"/>
                </a:cubicBezTo>
                <a:cubicBezTo>
                  <a:pt x="1014662" y="1074498"/>
                  <a:pt x="1014063" y="1073899"/>
                  <a:pt x="1013463" y="1073300"/>
                </a:cubicBezTo>
                <a:cubicBezTo>
                  <a:pt x="1014063" y="1073899"/>
                  <a:pt x="1013463" y="1073300"/>
                  <a:pt x="1013463" y="1073300"/>
                </a:cubicBezTo>
                <a:close/>
                <a:moveTo>
                  <a:pt x="957132" y="1111054"/>
                </a:moveTo>
                <a:cubicBezTo>
                  <a:pt x="957132" y="1109855"/>
                  <a:pt x="956532" y="1109256"/>
                  <a:pt x="955933" y="1109256"/>
                </a:cubicBezTo>
                <a:cubicBezTo>
                  <a:pt x="955334" y="1109256"/>
                  <a:pt x="954734" y="1109855"/>
                  <a:pt x="954734" y="1111054"/>
                </a:cubicBezTo>
                <a:cubicBezTo>
                  <a:pt x="954734" y="1112253"/>
                  <a:pt x="955334" y="1112852"/>
                  <a:pt x="955933" y="1112852"/>
                </a:cubicBezTo>
                <a:cubicBezTo>
                  <a:pt x="956532" y="1112852"/>
                  <a:pt x="957132" y="1112253"/>
                  <a:pt x="957132" y="1111054"/>
                </a:cubicBezTo>
                <a:close/>
                <a:moveTo>
                  <a:pt x="971514" y="1121242"/>
                </a:moveTo>
                <a:cubicBezTo>
                  <a:pt x="970915" y="1121242"/>
                  <a:pt x="970915" y="1120642"/>
                  <a:pt x="970316" y="1120642"/>
                </a:cubicBezTo>
                <a:cubicBezTo>
                  <a:pt x="969117" y="1120642"/>
                  <a:pt x="968518" y="1121242"/>
                  <a:pt x="968518" y="1121841"/>
                </a:cubicBezTo>
                <a:cubicBezTo>
                  <a:pt x="968518" y="1122440"/>
                  <a:pt x="969117" y="1123039"/>
                  <a:pt x="970316" y="1123039"/>
                </a:cubicBezTo>
                <a:cubicBezTo>
                  <a:pt x="970915" y="1123039"/>
                  <a:pt x="971514" y="1123039"/>
                  <a:pt x="971514" y="1122440"/>
                </a:cubicBezTo>
                <a:cubicBezTo>
                  <a:pt x="971514" y="1121841"/>
                  <a:pt x="972113" y="1121841"/>
                  <a:pt x="972113" y="1121841"/>
                </a:cubicBezTo>
                <a:cubicBezTo>
                  <a:pt x="972113" y="1121841"/>
                  <a:pt x="972113" y="1121242"/>
                  <a:pt x="971514" y="1121242"/>
                </a:cubicBezTo>
                <a:close/>
                <a:moveTo>
                  <a:pt x="972113" y="1172180"/>
                </a:moveTo>
                <a:lnTo>
                  <a:pt x="972113" y="1172180"/>
                </a:lnTo>
                <a:lnTo>
                  <a:pt x="972113" y="1172180"/>
                </a:lnTo>
                <a:cubicBezTo>
                  <a:pt x="972713" y="1172180"/>
                  <a:pt x="973312" y="1171581"/>
                  <a:pt x="973312" y="1170382"/>
                </a:cubicBezTo>
                <a:cubicBezTo>
                  <a:pt x="973312" y="1169783"/>
                  <a:pt x="972713" y="1168584"/>
                  <a:pt x="972113" y="1168584"/>
                </a:cubicBezTo>
                <a:lnTo>
                  <a:pt x="972113" y="1168584"/>
                </a:lnTo>
                <a:lnTo>
                  <a:pt x="972113" y="1168584"/>
                </a:lnTo>
                <a:cubicBezTo>
                  <a:pt x="971514" y="1168584"/>
                  <a:pt x="970915" y="1169184"/>
                  <a:pt x="970915" y="1170382"/>
                </a:cubicBezTo>
                <a:cubicBezTo>
                  <a:pt x="970915" y="1171581"/>
                  <a:pt x="971514" y="1172180"/>
                  <a:pt x="972113" y="1172180"/>
                </a:cubicBezTo>
                <a:close/>
                <a:moveTo>
                  <a:pt x="969716" y="1178173"/>
                </a:moveTo>
                <a:lnTo>
                  <a:pt x="969716" y="1178173"/>
                </a:lnTo>
                <a:lnTo>
                  <a:pt x="969716" y="1178173"/>
                </a:lnTo>
                <a:cubicBezTo>
                  <a:pt x="969117" y="1178173"/>
                  <a:pt x="969117" y="1179371"/>
                  <a:pt x="969117" y="1180570"/>
                </a:cubicBezTo>
                <a:cubicBezTo>
                  <a:pt x="969117" y="1181768"/>
                  <a:pt x="969117" y="1182967"/>
                  <a:pt x="969716" y="1182967"/>
                </a:cubicBezTo>
                <a:lnTo>
                  <a:pt x="969716" y="1182967"/>
                </a:lnTo>
                <a:lnTo>
                  <a:pt x="969716" y="1182967"/>
                </a:lnTo>
                <a:cubicBezTo>
                  <a:pt x="969716" y="1182967"/>
                  <a:pt x="969716" y="1182967"/>
                  <a:pt x="969716" y="1182967"/>
                </a:cubicBezTo>
                <a:cubicBezTo>
                  <a:pt x="969716" y="1182967"/>
                  <a:pt x="969716" y="1182368"/>
                  <a:pt x="970316" y="1181768"/>
                </a:cubicBezTo>
                <a:cubicBezTo>
                  <a:pt x="970316" y="1181768"/>
                  <a:pt x="970316" y="1181169"/>
                  <a:pt x="970316" y="1181169"/>
                </a:cubicBezTo>
                <a:cubicBezTo>
                  <a:pt x="970316" y="1181169"/>
                  <a:pt x="970316" y="1180570"/>
                  <a:pt x="970316" y="1180570"/>
                </a:cubicBezTo>
                <a:cubicBezTo>
                  <a:pt x="970316" y="1178772"/>
                  <a:pt x="970316" y="1178173"/>
                  <a:pt x="969716" y="1178173"/>
                </a:cubicBezTo>
                <a:cubicBezTo>
                  <a:pt x="969716" y="1178173"/>
                  <a:pt x="969716" y="1178173"/>
                  <a:pt x="969716" y="1178173"/>
                </a:cubicBezTo>
                <a:close/>
                <a:moveTo>
                  <a:pt x="1003875" y="855763"/>
                </a:moveTo>
                <a:cubicBezTo>
                  <a:pt x="1003875" y="855763"/>
                  <a:pt x="1003875" y="855763"/>
                  <a:pt x="1003875" y="855763"/>
                </a:cubicBezTo>
                <a:lnTo>
                  <a:pt x="1003875" y="855763"/>
                </a:lnTo>
                <a:lnTo>
                  <a:pt x="1003875" y="855763"/>
                </a:lnTo>
                <a:cubicBezTo>
                  <a:pt x="1004474" y="855763"/>
                  <a:pt x="1004474" y="855763"/>
                  <a:pt x="1003875" y="855763"/>
                </a:cubicBezTo>
                <a:cubicBezTo>
                  <a:pt x="1004474" y="855763"/>
                  <a:pt x="1004474" y="855164"/>
                  <a:pt x="1004474" y="854565"/>
                </a:cubicBezTo>
                <a:cubicBezTo>
                  <a:pt x="1004474" y="853965"/>
                  <a:pt x="1004474" y="853965"/>
                  <a:pt x="1004474" y="853366"/>
                </a:cubicBezTo>
                <a:cubicBezTo>
                  <a:pt x="1004474" y="853366"/>
                  <a:pt x="1004474" y="853366"/>
                  <a:pt x="1004474" y="853366"/>
                </a:cubicBezTo>
                <a:lnTo>
                  <a:pt x="1004474" y="853366"/>
                </a:lnTo>
                <a:lnTo>
                  <a:pt x="1004474" y="853366"/>
                </a:lnTo>
                <a:cubicBezTo>
                  <a:pt x="1004474" y="853366"/>
                  <a:pt x="1004474" y="853366"/>
                  <a:pt x="1004474" y="853366"/>
                </a:cubicBezTo>
                <a:cubicBezTo>
                  <a:pt x="1004474" y="853366"/>
                  <a:pt x="1004474" y="853965"/>
                  <a:pt x="1004474" y="854565"/>
                </a:cubicBezTo>
                <a:cubicBezTo>
                  <a:pt x="1004474" y="855164"/>
                  <a:pt x="1003875" y="855763"/>
                  <a:pt x="1003875" y="855763"/>
                </a:cubicBezTo>
                <a:close/>
                <a:moveTo>
                  <a:pt x="991290" y="861157"/>
                </a:moveTo>
                <a:lnTo>
                  <a:pt x="991290" y="861157"/>
                </a:lnTo>
                <a:lnTo>
                  <a:pt x="991290" y="861157"/>
                </a:lnTo>
                <a:cubicBezTo>
                  <a:pt x="991290" y="861157"/>
                  <a:pt x="991290" y="861157"/>
                  <a:pt x="991290" y="861157"/>
                </a:cubicBezTo>
                <a:cubicBezTo>
                  <a:pt x="991890" y="861157"/>
                  <a:pt x="991890" y="860557"/>
                  <a:pt x="991890" y="860557"/>
                </a:cubicBezTo>
                <a:cubicBezTo>
                  <a:pt x="991890" y="859958"/>
                  <a:pt x="991890" y="859958"/>
                  <a:pt x="991890" y="859958"/>
                </a:cubicBezTo>
                <a:cubicBezTo>
                  <a:pt x="991890" y="859958"/>
                  <a:pt x="991890" y="859958"/>
                  <a:pt x="991890" y="859958"/>
                </a:cubicBezTo>
                <a:lnTo>
                  <a:pt x="991890" y="859958"/>
                </a:lnTo>
                <a:lnTo>
                  <a:pt x="991890" y="859958"/>
                </a:lnTo>
                <a:cubicBezTo>
                  <a:pt x="991890" y="859958"/>
                  <a:pt x="991890" y="859958"/>
                  <a:pt x="991290" y="859958"/>
                </a:cubicBezTo>
                <a:cubicBezTo>
                  <a:pt x="991290" y="859958"/>
                  <a:pt x="991290" y="860557"/>
                  <a:pt x="991290" y="860557"/>
                </a:cubicBezTo>
                <a:cubicBezTo>
                  <a:pt x="990691" y="860557"/>
                  <a:pt x="990691" y="860557"/>
                  <a:pt x="991290" y="861157"/>
                </a:cubicBezTo>
                <a:cubicBezTo>
                  <a:pt x="990691" y="861157"/>
                  <a:pt x="991290" y="861157"/>
                  <a:pt x="991290" y="861157"/>
                </a:cubicBezTo>
                <a:close/>
                <a:moveTo>
                  <a:pt x="992489" y="867749"/>
                </a:moveTo>
                <a:lnTo>
                  <a:pt x="992489" y="867749"/>
                </a:lnTo>
                <a:lnTo>
                  <a:pt x="992489" y="867749"/>
                </a:lnTo>
                <a:cubicBezTo>
                  <a:pt x="993088" y="867749"/>
                  <a:pt x="993088" y="867749"/>
                  <a:pt x="992489" y="867749"/>
                </a:cubicBezTo>
                <a:cubicBezTo>
                  <a:pt x="993687" y="867749"/>
                  <a:pt x="994287" y="867149"/>
                  <a:pt x="994287" y="867149"/>
                </a:cubicBezTo>
                <a:cubicBezTo>
                  <a:pt x="994287" y="867149"/>
                  <a:pt x="993687" y="866550"/>
                  <a:pt x="993088" y="866550"/>
                </a:cubicBezTo>
                <a:cubicBezTo>
                  <a:pt x="993088" y="866550"/>
                  <a:pt x="993088" y="866550"/>
                  <a:pt x="992489" y="866550"/>
                </a:cubicBezTo>
                <a:lnTo>
                  <a:pt x="992489" y="866550"/>
                </a:lnTo>
                <a:lnTo>
                  <a:pt x="992489" y="866550"/>
                </a:lnTo>
                <a:cubicBezTo>
                  <a:pt x="991890" y="866550"/>
                  <a:pt x="990691" y="866550"/>
                  <a:pt x="990691" y="867149"/>
                </a:cubicBezTo>
                <a:cubicBezTo>
                  <a:pt x="991290" y="867149"/>
                  <a:pt x="991890" y="867749"/>
                  <a:pt x="992489" y="867749"/>
                </a:cubicBezTo>
                <a:close/>
                <a:moveTo>
                  <a:pt x="993088" y="875539"/>
                </a:moveTo>
                <a:lnTo>
                  <a:pt x="993088" y="875539"/>
                </a:lnTo>
                <a:lnTo>
                  <a:pt x="993088" y="875539"/>
                </a:lnTo>
                <a:cubicBezTo>
                  <a:pt x="993088" y="875539"/>
                  <a:pt x="992489" y="875539"/>
                  <a:pt x="992489" y="875539"/>
                </a:cubicBezTo>
                <a:cubicBezTo>
                  <a:pt x="992489" y="875539"/>
                  <a:pt x="992489" y="875539"/>
                  <a:pt x="992489" y="876139"/>
                </a:cubicBezTo>
                <a:cubicBezTo>
                  <a:pt x="992489" y="876139"/>
                  <a:pt x="992489" y="876139"/>
                  <a:pt x="992489" y="876738"/>
                </a:cubicBezTo>
                <a:cubicBezTo>
                  <a:pt x="992489" y="876738"/>
                  <a:pt x="993088" y="876738"/>
                  <a:pt x="993088" y="876738"/>
                </a:cubicBezTo>
                <a:lnTo>
                  <a:pt x="993088" y="876738"/>
                </a:lnTo>
                <a:lnTo>
                  <a:pt x="993088" y="876738"/>
                </a:lnTo>
                <a:cubicBezTo>
                  <a:pt x="993687" y="876738"/>
                  <a:pt x="993687" y="876738"/>
                  <a:pt x="993687" y="876139"/>
                </a:cubicBezTo>
                <a:cubicBezTo>
                  <a:pt x="993687" y="876139"/>
                  <a:pt x="993687" y="875539"/>
                  <a:pt x="993088" y="875539"/>
                </a:cubicBezTo>
                <a:close/>
                <a:moveTo>
                  <a:pt x="991290" y="884528"/>
                </a:moveTo>
                <a:lnTo>
                  <a:pt x="991290" y="884528"/>
                </a:lnTo>
                <a:lnTo>
                  <a:pt x="991290" y="884528"/>
                </a:lnTo>
                <a:cubicBezTo>
                  <a:pt x="991890" y="884528"/>
                  <a:pt x="991890" y="884528"/>
                  <a:pt x="991890" y="883929"/>
                </a:cubicBezTo>
                <a:cubicBezTo>
                  <a:pt x="991890" y="883330"/>
                  <a:pt x="991290" y="883330"/>
                  <a:pt x="991290" y="883330"/>
                </a:cubicBezTo>
                <a:lnTo>
                  <a:pt x="991290" y="883330"/>
                </a:lnTo>
                <a:lnTo>
                  <a:pt x="991290" y="883330"/>
                </a:lnTo>
                <a:cubicBezTo>
                  <a:pt x="991290" y="883330"/>
                  <a:pt x="990691" y="883330"/>
                  <a:pt x="990691" y="883330"/>
                </a:cubicBezTo>
                <a:cubicBezTo>
                  <a:pt x="990691" y="883330"/>
                  <a:pt x="990691" y="883330"/>
                  <a:pt x="990691" y="883929"/>
                </a:cubicBezTo>
                <a:cubicBezTo>
                  <a:pt x="990691" y="883929"/>
                  <a:pt x="990691" y="884528"/>
                  <a:pt x="990691" y="884528"/>
                </a:cubicBezTo>
                <a:cubicBezTo>
                  <a:pt x="990691" y="884528"/>
                  <a:pt x="990691" y="884528"/>
                  <a:pt x="991290" y="884528"/>
                </a:cubicBezTo>
                <a:close/>
                <a:moveTo>
                  <a:pt x="999680" y="859359"/>
                </a:moveTo>
                <a:lnTo>
                  <a:pt x="999680" y="859359"/>
                </a:lnTo>
                <a:lnTo>
                  <a:pt x="999680" y="859359"/>
                </a:lnTo>
                <a:cubicBezTo>
                  <a:pt x="999680" y="859359"/>
                  <a:pt x="999680" y="859359"/>
                  <a:pt x="999680" y="859359"/>
                </a:cubicBezTo>
                <a:cubicBezTo>
                  <a:pt x="1000279" y="858760"/>
                  <a:pt x="1000279" y="858760"/>
                  <a:pt x="1000279" y="858160"/>
                </a:cubicBezTo>
                <a:cubicBezTo>
                  <a:pt x="1000279" y="858160"/>
                  <a:pt x="1000279" y="857561"/>
                  <a:pt x="1000279" y="857561"/>
                </a:cubicBezTo>
                <a:cubicBezTo>
                  <a:pt x="1000279" y="857561"/>
                  <a:pt x="1000279" y="856962"/>
                  <a:pt x="999680" y="856962"/>
                </a:cubicBezTo>
                <a:lnTo>
                  <a:pt x="999680" y="856962"/>
                </a:lnTo>
                <a:lnTo>
                  <a:pt x="999680" y="856962"/>
                </a:lnTo>
                <a:cubicBezTo>
                  <a:pt x="999680" y="856962"/>
                  <a:pt x="999680" y="856962"/>
                  <a:pt x="999081" y="857561"/>
                </a:cubicBezTo>
                <a:cubicBezTo>
                  <a:pt x="999081" y="857561"/>
                  <a:pt x="999081" y="858160"/>
                  <a:pt x="999081" y="858160"/>
                </a:cubicBezTo>
                <a:cubicBezTo>
                  <a:pt x="999081" y="858760"/>
                  <a:pt x="999081" y="858760"/>
                  <a:pt x="999680" y="859359"/>
                </a:cubicBezTo>
                <a:cubicBezTo>
                  <a:pt x="999081" y="859359"/>
                  <a:pt x="999081" y="859359"/>
                  <a:pt x="999680" y="859359"/>
                </a:cubicBezTo>
                <a:close/>
                <a:moveTo>
                  <a:pt x="664087" y="4848726"/>
                </a:moveTo>
                <a:lnTo>
                  <a:pt x="664087" y="4848726"/>
                </a:lnTo>
                <a:lnTo>
                  <a:pt x="664087" y="4848726"/>
                </a:lnTo>
                <a:cubicBezTo>
                  <a:pt x="664087" y="4848726"/>
                  <a:pt x="664087" y="4849325"/>
                  <a:pt x="664087" y="4848726"/>
                </a:cubicBezTo>
                <a:cubicBezTo>
                  <a:pt x="663487" y="4849325"/>
                  <a:pt x="663487" y="4849924"/>
                  <a:pt x="663487" y="4850524"/>
                </a:cubicBezTo>
                <a:cubicBezTo>
                  <a:pt x="663487" y="4851123"/>
                  <a:pt x="663487" y="4851722"/>
                  <a:pt x="663487" y="4851722"/>
                </a:cubicBezTo>
                <a:cubicBezTo>
                  <a:pt x="663487" y="4852321"/>
                  <a:pt x="663487" y="4852321"/>
                  <a:pt x="664087" y="4852321"/>
                </a:cubicBezTo>
                <a:lnTo>
                  <a:pt x="664087" y="4852321"/>
                </a:lnTo>
                <a:lnTo>
                  <a:pt x="664087" y="4852321"/>
                </a:lnTo>
                <a:cubicBezTo>
                  <a:pt x="664087" y="4852321"/>
                  <a:pt x="664686" y="4852321"/>
                  <a:pt x="664686" y="4851722"/>
                </a:cubicBezTo>
                <a:cubicBezTo>
                  <a:pt x="664686" y="4851123"/>
                  <a:pt x="664686" y="4851123"/>
                  <a:pt x="664686" y="4850524"/>
                </a:cubicBezTo>
                <a:cubicBezTo>
                  <a:pt x="664686" y="4850524"/>
                  <a:pt x="664686" y="4849924"/>
                  <a:pt x="664087" y="4848726"/>
                </a:cubicBezTo>
                <a:cubicBezTo>
                  <a:pt x="664686" y="4849325"/>
                  <a:pt x="664087" y="4848726"/>
                  <a:pt x="664087" y="4848726"/>
                </a:cubicBezTo>
                <a:close/>
                <a:moveTo>
                  <a:pt x="1254371" y="5293986"/>
                </a:moveTo>
                <a:lnTo>
                  <a:pt x="1254371" y="5293986"/>
                </a:lnTo>
                <a:lnTo>
                  <a:pt x="1254371" y="5293986"/>
                </a:lnTo>
                <a:cubicBezTo>
                  <a:pt x="1253173" y="5293986"/>
                  <a:pt x="1252574" y="5294586"/>
                  <a:pt x="1252574" y="5295185"/>
                </a:cubicBezTo>
                <a:cubicBezTo>
                  <a:pt x="1252574" y="5295784"/>
                  <a:pt x="1253173" y="5296384"/>
                  <a:pt x="1254371" y="5296384"/>
                </a:cubicBezTo>
                <a:lnTo>
                  <a:pt x="1254371" y="5296384"/>
                </a:lnTo>
                <a:lnTo>
                  <a:pt x="1254371" y="5296384"/>
                </a:lnTo>
                <a:cubicBezTo>
                  <a:pt x="1254971" y="5296384"/>
                  <a:pt x="1255570" y="5296384"/>
                  <a:pt x="1255570" y="5295784"/>
                </a:cubicBezTo>
                <a:cubicBezTo>
                  <a:pt x="1256169" y="5295784"/>
                  <a:pt x="1256169" y="5295185"/>
                  <a:pt x="1256169" y="5294586"/>
                </a:cubicBezTo>
                <a:cubicBezTo>
                  <a:pt x="1256169" y="5293986"/>
                  <a:pt x="1256169" y="5293986"/>
                  <a:pt x="1255570" y="5293387"/>
                </a:cubicBezTo>
                <a:cubicBezTo>
                  <a:pt x="1255570" y="5293986"/>
                  <a:pt x="1254971" y="5293986"/>
                  <a:pt x="1254371" y="5293986"/>
                </a:cubicBezTo>
                <a:close/>
                <a:moveTo>
                  <a:pt x="1391006" y="3923447"/>
                </a:moveTo>
                <a:lnTo>
                  <a:pt x="1391006" y="3923447"/>
                </a:lnTo>
                <a:lnTo>
                  <a:pt x="1391006" y="3923447"/>
                </a:lnTo>
                <a:cubicBezTo>
                  <a:pt x="1390407" y="3923447"/>
                  <a:pt x="1390407" y="3923447"/>
                  <a:pt x="1390407" y="3924046"/>
                </a:cubicBezTo>
                <a:cubicBezTo>
                  <a:pt x="1390407" y="3925245"/>
                  <a:pt x="1394002" y="3927642"/>
                  <a:pt x="1394002" y="3927642"/>
                </a:cubicBezTo>
                <a:lnTo>
                  <a:pt x="1394002" y="3927642"/>
                </a:lnTo>
                <a:lnTo>
                  <a:pt x="1394002" y="3927642"/>
                </a:lnTo>
                <a:cubicBezTo>
                  <a:pt x="1394002" y="3927642"/>
                  <a:pt x="1394002" y="3925245"/>
                  <a:pt x="1392804" y="3924645"/>
                </a:cubicBezTo>
                <a:cubicBezTo>
                  <a:pt x="1392804" y="3924645"/>
                  <a:pt x="1392204" y="3924046"/>
                  <a:pt x="1392204" y="3924046"/>
                </a:cubicBezTo>
                <a:cubicBezTo>
                  <a:pt x="1391605" y="3923447"/>
                  <a:pt x="1391605" y="3923447"/>
                  <a:pt x="1391006" y="3923447"/>
                </a:cubicBezTo>
                <a:close/>
                <a:moveTo>
                  <a:pt x="1419172" y="3968392"/>
                </a:moveTo>
                <a:cubicBezTo>
                  <a:pt x="1419172" y="3968392"/>
                  <a:pt x="1419172" y="3965396"/>
                  <a:pt x="1419172" y="3963598"/>
                </a:cubicBezTo>
                <a:cubicBezTo>
                  <a:pt x="1419172" y="3962999"/>
                  <a:pt x="1419172" y="3962999"/>
                  <a:pt x="1418573" y="3962999"/>
                </a:cubicBezTo>
                <a:cubicBezTo>
                  <a:pt x="1418573" y="3962999"/>
                  <a:pt x="1418573" y="3962399"/>
                  <a:pt x="1417973" y="3962999"/>
                </a:cubicBezTo>
                <a:cubicBezTo>
                  <a:pt x="1417374" y="3963598"/>
                  <a:pt x="1417374" y="3962999"/>
                  <a:pt x="1417374" y="3963598"/>
                </a:cubicBezTo>
                <a:cubicBezTo>
                  <a:pt x="1416775" y="3964197"/>
                  <a:pt x="1416775" y="3965396"/>
                  <a:pt x="1416775" y="3965995"/>
                </a:cubicBezTo>
                <a:cubicBezTo>
                  <a:pt x="1416775" y="3966594"/>
                  <a:pt x="1417374" y="3967194"/>
                  <a:pt x="1417973" y="3967793"/>
                </a:cubicBezTo>
                <a:cubicBezTo>
                  <a:pt x="1418573" y="3968392"/>
                  <a:pt x="1419172" y="3968392"/>
                  <a:pt x="1419172" y="3968392"/>
                </a:cubicBezTo>
                <a:lnTo>
                  <a:pt x="1419172" y="3968392"/>
                </a:lnTo>
                <a:lnTo>
                  <a:pt x="1419172" y="3968392"/>
                </a:lnTo>
                <a:close/>
                <a:moveTo>
                  <a:pt x="1420370" y="3974385"/>
                </a:moveTo>
                <a:lnTo>
                  <a:pt x="1420370" y="3974385"/>
                </a:lnTo>
                <a:lnTo>
                  <a:pt x="1420370" y="3974385"/>
                </a:lnTo>
                <a:cubicBezTo>
                  <a:pt x="1420370" y="3974385"/>
                  <a:pt x="1422767" y="3971988"/>
                  <a:pt x="1419771" y="3971988"/>
                </a:cubicBezTo>
                <a:lnTo>
                  <a:pt x="1419771" y="3971988"/>
                </a:lnTo>
                <a:lnTo>
                  <a:pt x="1419771" y="3971988"/>
                </a:lnTo>
                <a:cubicBezTo>
                  <a:pt x="1417374" y="3972587"/>
                  <a:pt x="1420370" y="3974385"/>
                  <a:pt x="1420370" y="3974385"/>
                </a:cubicBezTo>
                <a:close/>
                <a:moveTo>
                  <a:pt x="1454529" y="3787412"/>
                </a:moveTo>
                <a:lnTo>
                  <a:pt x="1454529" y="3787412"/>
                </a:lnTo>
                <a:lnTo>
                  <a:pt x="1454529" y="3787412"/>
                </a:lnTo>
                <a:cubicBezTo>
                  <a:pt x="1453930" y="3787412"/>
                  <a:pt x="1453330" y="3787412"/>
                  <a:pt x="1453330" y="3788011"/>
                </a:cubicBezTo>
                <a:cubicBezTo>
                  <a:pt x="1453330" y="3788610"/>
                  <a:pt x="1453330" y="3788610"/>
                  <a:pt x="1453330" y="3789209"/>
                </a:cubicBezTo>
                <a:cubicBezTo>
                  <a:pt x="1453330" y="3790408"/>
                  <a:pt x="1454529" y="3791606"/>
                  <a:pt x="1454529" y="3791606"/>
                </a:cubicBezTo>
                <a:lnTo>
                  <a:pt x="1454529" y="3791606"/>
                </a:lnTo>
                <a:lnTo>
                  <a:pt x="1454529" y="3791606"/>
                </a:lnTo>
                <a:cubicBezTo>
                  <a:pt x="1453930" y="3791007"/>
                  <a:pt x="1457525" y="3787412"/>
                  <a:pt x="1454529" y="3787412"/>
                </a:cubicBezTo>
                <a:close/>
                <a:moveTo>
                  <a:pt x="1475504" y="3749657"/>
                </a:moveTo>
                <a:cubicBezTo>
                  <a:pt x="1474904" y="3750257"/>
                  <a:pt x="1474904" y="3750856"/>
                  <a:pt x="1474904" y="3750856"/>
                </a:cubicBezTo>
                <a:cubicBezTo>
                  <a:pt x="1474904" y="3750856"/>
                  <a:pt x="1475504" y="3750856"/>
                  <a:pt x="1475504" y="3750856"/>
                </a:cubicBezTo>
                <a:cubicBezTo>
                  <a:pt x="1475504" y="3750856"/>
                  <a:pt x="1476103" y="3750856"/>
                  <a:pt x="1476103" y="3750856"/>
                </a:cubicBezTo>
                <a:cubicBezTo>
                  <a:pt x="1476103" y="3750856"/>
                  <a:pt x="1476702" y="3750257"/>
                  <a:pt x="1476702" y="3749657"/>
                </a:cubicBezTo>
                <a:cubicBezTo>
                  <a:pt x="1476702" y="3749657"/>
                  <a:pt x="1476702" y="3749058"/>
                  <a:pt x="1476702" y="3748459"/>
                </a:cubicBezTo>
                <a:cubicBezTo>
                  <a:pt x="1476702" y="3747260"/>
                  <a:pt x="1476103" y="3748459"/>
                  <a:pt x="1475504" y="3749657"/>
                </a:cubicBezTo>
                <a:close/>
                <a:moveTo>
                  <a:pt x="1462919" y="3780220"/>
                </a:moveTo>
                <a:cubicBezTo>
                  <a:pt x="1462919" y="3780220"/>
                  <a:pt x="1462919" y="3779621"/>
                  <a:pt x="1462919" y="3780220"/>
                </a:cubicBezTo>
                <a:lnTo>
                  <a:pt x="1462919" y="3780220"/>
                </a:lnTo>
                <a:lnTo>
                  <a:pt x="1462919" y="3780220"/>
                </a:lnTo>
                <a:cubicBezTo>
                  <a:pt x="1462320" y="3780220"/>
                  <a:pt x="1462320" y="3780220"/>
                  <a:pt x="1461720" y="3780220"/>
                </a:cubicBezTo>
                <a:cubicBezTo>
                  <a:pt x="1461720" y="3780220"/>
                  <a:pt x="1461720" y="3780819"/>
                  <a:pt x="1461720" y="3781419"/>
                </a:cubicBezTo>
                <a:cubicBezTo>
                  <a:pt x="1461720" y="3782018"/>
                  <a:pt x="1461720" y="3782018"/>
                  <a:pt x="1461720" y="3782617"/>
                </a:cubicBezTo>
                <a:cubicBezTo>
                  <a:pt x="1461720" y="3782617"/>
                  <a:pt x="1462320" y="3783217"/>
                  <a:pt x="1462320" y="3783217"/>
                </a:cubicBezTo>
                <a:lnTo>
                  <a:pt x="1462320" y="3783217"/>
                </a:lnTo>
                <a:lnTo>
                  <a:pt x="1462320" y="3783217"/>
                </a:lnTo>
                <a:cubicBezTo>
                  <a:pt x="1462320" y="3783217"/>
                  <a:pt x="1462320" y="3783217"/>
                  <a:pt x="1462919" y="3783217"/>
                </a:cubicBezTo>
                <a:cubicBezTo>
                  <a:pt x="1463518" y="3783217"/>
                  <a:pt x="1463518" y="3782617"/>
                  <a:pt x="1463518" y="3782018"/>
                </a:cubicBezTo>
                <a:cubicBezTo>
                  <a:pt x="1463518" y="3780819"/>
                  <a:pt x="1463518" y="3780220"/>
                  <a:pt x="1462919" y="3780220"/>
                </a:cubicBezTo>
                <a:close/>
                <a:moveTo>
                  <a:pt x="2170661" y="698154"/>
                </a:moveTo>
                <a:lnTo>
                  <a:pt x="2170661" y="698154"/>
                </a:lnTo>
                <a:cubicBezTo>
                  <a:pt x="2169463" y="698154"/>
                  <a:pt x="2170062" y="699353"/>
                  <a:pt x="2171261" y="699952"/>
                </a:cubicBezTo>
                <a:cubicBezTo>
                  <a:pt x="2171860" y="700551"/>
                  <a:pt x="2172459" y="700551"/>
                  <a:pt x="2172459" y="700551"/>
                </a:cubicBezTo>
                <a:cubicBezTo>
                  <a:pt x="2172459" y="700551"/>
                  <a:pt x="2173059" y="697555"/>
                  <a:pt x="2170661" y="698154"/>
                </a:cubicBezTo>
                <a:lnTo>
                  <a:pt x="2170661" y="698154"/>
                </a:lnTo>
                <a:close/>
                <a:moveTo>
                  <a:pt x="2179650" y="693959"/>
                </a:moveTo>
                <a:lnTo>
                  <a:pt x="2179650" y="693959"/>
                </a:lnTo>
                <a:lnTo>
                  <a:pt x="2179650" y="693959"/>
                </a:lnTo>
                <a:cubicBezTo>
                  <a:pt x="2179650" y="693959"/>
                  <a:pt x="2179051" y="696356"/>
                  <a:pt x="2179650" y="696356"/>
                </a:cubicBezTo>
                <a:cubicBezTo>
                  <a:pt x="2179650" y="696356"/>
                  <a:pt x="2179650" y="696356"/>
                  <a:pt x="2179650" y="696356"/>
                </a:cubicBezTo>
                <a:cubicBezTo>
                  <a:pt x="2179650" y="696356"/>
                  <a:pt x="2180250" y="696356"/>
                  <a:pt x="2180250" y="696356"/>
                </a:cubicBezTo>
                <a:cubicBezTo>
                  <a:pt x="2180849" y="696356"/>
                  <a:pt x="2180849" y="695757"/>
                  <a:pt x="2180849" y="695757"/>
                </a:cubicBezTo>
                <a:cubicBezTo>
                  <a:pt x="2180849" y="695757"/>
                  <a:pt x="2180849" y="695158"/>
                  <a:pt x="2180849" y="695158"/>
                </a:cubicBezTo>
                <a:cubicBezTo>
                  <a:pt x="2180250" y="694559"/>
                  <a:pt x="2179650" y="693959"/>
                  <a:pt x="2179650" y="693959"/>
                </a:cubicBezTo>
                <a:close/>
                <a:moveTo>
                  <a:pt x="1741581" y="768868"/>
                </a:moveTo>
                <a:cubicBezTo>
                  <a:pt x="1741581" y="768868"/>
                  <a:pt x="1740982" y="768868"/>
                  <a:pt x="1740982" y="768868"/>
                </a:cubicBezTo>
                <a:cubicBezTo>
                  <a:pt x="1740982" y="768868"/>
                  <a:pt x="1740383" y="768868"/>
                  <a:pt x="1740383" y="769468"/>
                </a:cubicBezTo>
                <a:cubicBezTo>
                  <a:pt x="1739783" y="770067"/>
                  <a:pt x="1742180" y="771266"/>
                  <a:pt x="1742180" y="771266"/>
                </a:cubicBezTo>
                <a:lnTo>
                  <a:pt x="1742180" y="771266"/>
                </a:lnTo>
                <a:lnTo>
                  <a:pt x="1742180" y="771266"/>
                </a:lnTo>
                <a:cubicBezTo>
                  <a:pt x="1742180" y="770666"/>
                  <a:pt x="1742180" y="770067"/>
                  <a:pt x="1741581" y="768868"/>
                </a:cubicBezTo>
                <a:cubicBezTo>
                  <a:pt x="1741581" y="768868"/>
                  <a:pt x="1741581" y="768868"/>
                  <a:pt x="1741581" y="768868"/>
                </a:cubicBezTo>
                <a:close/>
                <a:moveTo>
                  <a:pt x="1739783" y="780255"/>
                </a:moveTo>
                <a:lnTo>
                  <a:pt x="1739783" y="780255"/>
                </a:lnTo>
                <a:lnTo>
                  <a:pt x="1739783" y="780255"/>
                </a:lnTo>
                <a:cubicBezTo>
                  <a:pt x="1739783" y="780255"/>
                  <a:pt x="1739184" y="780255"/>
                  <a:pt x="1739783" y="780255"/>
                </a:cubicBezTo>
                <a:cubicBezTo>
                  <a:pt x="1739184" y="780854"/>
                  <a:pt x="1739184" y="781453"/>
                  <a:pt x="1739184" y="781453"/>
                </a:cubicBezTo>
                <a:cubicBezTo>
                  <a:pt x="1738585" y="783850"/>
                  <a:pt x="1739783" y="788045"/>
                  <a:pt x="1739783" y="788045"/>
                </a:cubicBezTo>
                <a:lnTo>
                  <a:pt x="1739783" y="788045"/>
                </a:lnTo>
                <a:lnTo>
                  <a:pt x="1739783" y="788045"/>
                </a:lnTo>
                <a:cubicBezTo>
                  <a:pt x="1739184" y="787446"/>
                  <a:pt x="1741581" y="779655"/>
                  <a:pt x="1739783" y="780255"/>
                </a:cubicBezTo>
                <a:close/>
                <a:moveTo>
                  <a:pt x="6466856" y="620249"/>
                </a:moveTo>
                <a:lnTo>
                  <a:pt x="6466856" y="620249"/>
                </a:lnTo>
                <a:cubicBezTo>
                  <a:pt x="6465059" y="620249"/>
                  <a:pt x="6465059" y="621447"/>
                  <a:pt x="6465658" y="622646"/>
                </a:cubicBezTo>
                <a:cubicBezTo>
                  <a:pt x="6465658" y="622646"/>
                  <a:pt x="6466257" y="623245"/>
                  <a:pt x="6466856" y="623245"/>
                </a:cubicBezTo>
                <a:lnTo>
                  <a:pt x="6466856" y="623245"/>
                </a:lnTo>
                <a:lnTo>
                  <a:pt x="6466856" y="623245"/>
                </a:lnTo>
                <a:cubicBezTo>
                  <a:pt x="6466856" y="623245"/>
                  <a:pt x="6467456" y="623245"/>
                  <a:pt x="6467456" y="623245"/>
                </a:cubicBezTo>
                <a:cubicBezTo>
                  <a:pt x="6468055" y="622046"/>
                  <a:pt x="6468654" y="620249"/>
                  <a:pt x="6466856" y="620249"/>
                </a:cubicBezTo>
                <a:lnTo>
                  <a:pt x="6466856" y="620249"/>
                </a:lnTo>
                <a:close/>
                <a:moveTo>
                  <a:pt x="6458467" y="614855"/>
                </a:moveTo>
                <a:cubicBezTo>
                  <a:pt x="6456669" y="614256"/>
                  <a:pt x="6456069" y="616653"/>
                  <a:pt x="6457867" y="617252"/>
                </a:cubicBezTo>
                <a:lnTo>
                  <a:pt x="6457867" y="617252"/>
                </a:lnTo>
                <a:lnTo>
                  <a:pt x="6457867" y="617252"/>
                </a:lnTo>
                <a:cubicBezTo>
                  <a:pt x="6458467" y="617252"/>
                  <a:pt x="6458467" y="617252"/>
                  <a:pt x="6459066" y="617252"/>
                </a:cubicBezTo>
                <a:cubicBezTo>
                  <a:pt x="6459665" y="617252"/>
                  <a:pt x="6460264" y="616054"/>
                  <a:pt x="6459665" y="616054"/>
                </a:cubicBezTo>
                <a:cubicBezTo>
                  <a:pt x="6459066" y="614855"/>
                  <a:pt x="6458467" y="614855"/>
                  <a:pt x="6458467" y="614855"/>
                </a:cubicBezTo>
                <a:lnTo>
                  <a:pt x="6458467" y="614855"/>
                </a:lnTo>
                <a:lnTo>
                  <a:pt x="6458467" y="614855"/>
                </a:lnTo>
                <a:close/>
                <a:moveTo>
                  <a:pt x="6417117" y="615454"/>
                </a:moveTo>
                <a:lnTo>
                  <a:pt x="6417117" y="615454"/>
                </a:lnTo>
                <a:lnTo>
                  <a:pt x="6417117" y="615454"/>
                </a:lnTo>
                <a:cubicBezTo>
                  <a:pt x="6416518" y="615454"/>
                  <a:pt x="6415918" y="615454"/>
                  <a:pt x="6415918" y="615454"/>
                </a:cubicBezTo>
                <a:cubicBezTo>
                  <a:pt x="6415319" y="616054"/>
                  <a:pt x="6415319" y="617851"/>
                  <a:pt x="6416518" y="617851"/>
                </a:cubicBezTo>
                <a:cubicBezTo>
                  <a:pt x="6416518" y="617851"/>
                  <a:pt x="6417117" y="617851"/>
                  <a:pt x="6417117" y="617851"/>
                </a:cubicBezTo>
                <a:cubicBezTo>
                  <a:pt x="6417117" y="617851"/>
                  <a:pt x="6417716" y="617851"/>
                  <a:pt x="6417716" y="617851"/>
                </a:cubicBezTo>
                <a:cubicBezTo>
                  <a:pt x="6418315" y="617851"/>
                  <a:pt x="6418315" y="617252"/>
                  <a:pt x="6418315" y="617252"/>
                </a:cubicBezTo>
                <a:cubicBezTo>
                  <a:pt x="6418315" y="616054"/>
                  <a:pt x="6418315" y="615454"/>
                  <a:pt x="6417117" y="615454"/>
                </a:cubicBezTo>
                <a:close/>
                <a:moveTo>
                  <a:pt x="5880767" y="646017"/>
                </a:moveTo>
                <a:cubicBezTo>
                  <a:pt x="5881965" y="646617"/>
                  <a:pt x="5882564" y="646617"/>
                  <a:pt x="5883763" y="646017"/>
                </a:cubicBezTo>
                <a:cubicBezTo>
                  <a:pt x="5883763" y="646017"/>
                  <a:pt x="5884362" y="645418"/>
                  <a:pt x="5884362" y="645418"/>
                </a:cubicBezTo>
                <a:cubicBezTo>
                  <a:pt x="5884961" y="644819"/>
                  <a:pt x="5884362" y="644220"/>
                  <a:pt x="5883163" y="644220"/>
                </a:cubicBezTo>
                <a:cubicBezTo>
                  <a:pt x="5882564" y="644220"/>
                  <a:pt x="5881366" y="643620"/>
                  <a:pt x="5880767" y="643620"/>
                </a:cubicBezTo>
                <a:cubicBezTo>
                  <a:pt x="5880167" y="643620"/>
                  <a:pt x="5880167" y="643620"/>
                  <a:pt x="5879568" y="643620"/>
                </a:cubicBezTo>
                <a:cubicBezTo>
                  <a:pt x="5878968" y="643620"/>
                  <a:pt x="5878369" y="643620"/>
                  <a:pt x="5878369" y="644220"/>
                </a:cubicBezTo>
                <a:cubicBezTo>
                  <a:pt x="5878369" y="644220"/>
                  <a:pt x="5878968" y="645418"/>
                  <a:pt x="5880767" y="646017"/>
                </a:cubicBezTo>
                <a:close/>
                <a:moveTo>
                  <a:pt x="5835821" y="653209"/>
                </a:moveTo>
                <a:cubicBezTo>
                  <a:pt x="5835821" y="653209"/>
                  <a:pt x="5836420" y="653209"/>
                  <a:pt x="5837019" y="652609"/>
                </a:cubicBezTo>
                <a:cubicBezTo>
                  <a:pt x="5837019" y="652609"/>
                  <a:pt x="5837619" y="652609"/>
                  <a:pt x="5837619" y="652010"/>
                </a:cubicBezTo>
                <a:cubicBezTo>
                  <a:pt x="5838218" y="651411"/>
                  <a:pt x="5838817" y="650812"/>
                  <a:pt x="5837619" y="650812"/>
                </a:cubicBezTo>
                <a:lnTo>
                  <a:pt x="5837619" y="650812"/>
                </a:lnTo>
                <a:lnTo>
                  <a:pt x="5837619" y="650812"/>
                </a:lnTo>
                <a:cubicBezTo>
                  <a:pt x="5837619" y="650812"/>
                  <a:pt x="5837019" y="650812"/>
                  <a:pt x="5837019" y="650812"/>
                </a:cubicBezTo>
                <a:cubicBezTo>
                  <a:pt x="5835821" y="651411"/>
                  <a:pt x="5835821" y="653209"/>
                  <a:pt x="5835821" y="653209"/>
                </a:cubicBezTo>
                <a:lnTo>
                  <a:pt x="5835821" y="653209"/>
                </a:lnTo>
                <a:lnTo>
                  <a:pt x="5835821" y="653209"/>
                </a:lnTo>
                <a:close/>
                <a:moveTo>
                  <a:pt x="5744132" y="647216"/>
                </a:moveTo>
                <a:cubicBezTo>
                  <a:pt x="5744731" y="647216"/>
                  <a:pt x="5745330" y="647216"/>
                  <a:pt x="5745330" y="646017"/>
                </a:cubicBezTo>
                <a:cubicBezTo>
                  <a:pt x="5745330" y="645418"/>
                  <a:pt x="5744731" y="644819"/>
                  <a:pt x="5744132" y="644819"/>
                </a:cubicBezTo>
                <a:cubicBezTo>
                  <a:pt x="5743533" y="644819"/>
                  <a:pt x="5742934" y="644819"/>
                  <a:pt x="5742934" y="646017"/>
                </a:cubicBezTo>
                <a:cubicBezTo>
                  <a:pt x="5742934" y="646617"/>
                  <a:pt x="5743533" y="647216"/>
                  <a:pt x="5744132" y="647216"/>
                </a:cubicBezTo>
                <a:close/>
                <a:moveTo>
                  <a:pt x="5695591" y="646617"/>
                </a:moveTo>
                <a:lnTo>
                  <a:pt x="5695591" y="646617"/>
                </a:lnTo>
                <a:lnTo>
                  <a:pt x="5695591" y="646617"/>
                </a:lnTo>
                <a:cubicBezTo>
                  <a:pt x="5696190" y="646617"/>
                  <a:pt x="5696190" y="646617"/>
                  <a:pt x="5696190" y="646017"/>
                </a:cubicBezTo>
                <a:cubicBezTo>
                  <a:pt x="5696789" y="645418"/>
                  <a:pt x="5695591" y="643620"/>
                  <a:pt x="5695591" y="643620"/>
                </a:cubicBezTo>
                <a:lnTo>
                  <a:pt x="5695591" y="643620"/>
                </a:lnTo>
                <a:lnTo>
                  <a:pt x="5695591" y="643620"/>
                </a:lnTo>
                <a:cubicBezTo>
                  <a:pt x="5695591" y="643620"/>
                  <a:pt x="5695591" y="643620"/>
                  <a:pt x="5694992" y="644220"/>
                </a:cubicBezTo>
                <a:cubicBezTo>
                  <a:pt x="5694992" y="644819"/>
                  <a:pt x="5694392" y="645418"/>
                  <a:pt x="5694392" y="645418"/>
                </a:cubicBezTo>
                <a:cubicBezTo>
                  <a:pt x="5694992" y="646017"/>
                  <a:pt x="5694992" y="646617"/>
                  <a:pt x="5695591" y="646617"/>
                </a:cubicBezTo>
                <a:close/>
                <a:moveTo>
                  <a:pt x="5658436" y="652609"/>
                </a:moveTo>
                <a:cubicBezTo>
                  <a:pt x="5659035" y="652609"/>
                  <a:pt x="5659634" y="652609"/>
                  <a:pt x="5659634" y="652609"/>
                </a:cubicBezTo>
                <a:cubicBezTo>
                  <a:pt x="5659634" y="652609"/>
                  <a:pt x="5658436" y="650812"/>
                  <a:pt x="5657837" y="650812"/>
                </a:cubicBezTo>
                <a:cubicBezTo>
                  <a:pt x="5657837" y="650812"/>
                  <a:pt x="5657237" y="650812"/>
                  <a:pt x="5657237" y="651411"/>
                </a:cubicBezTo>
                <a:cubicBezTo>
                  <a:pt x="5657237" y="652010"/>
                  <a:pt x="5657837" y="652609"/>
                  <a:pt x="5658436" y="652609"/>
                </a:cubicBezTo>
                <a:close/>
                <a:moveTo>
                  <a:pt x="7826010" y="326005"/>
                </a:moveTo>
                <a:lnTo>
                  <a:pt x="7826010" y="326005"/>
                </a:lnTo>
                <a:cubicBezTo>
                  <a:pt x="7825410" y="326005"/>
                  <a:pt x="7824811" y="326604"/>
                  <a:pt x="7824811" y="327204"/>
                </a:cubicBezTo>
                <a:cubicBezTo>
                  <a:pt x="7824811" y="327803"/>
                  <a:pt x="7825410" y="328402"/>
                  <a:pt x="7826010" y="328402"/>
                </a:cubicBezTo>
                <a:lnTo>
                  <a:pt x="7826010" y="328402"/>
                </a:lnTo>
                <a:lnTo>
                  <a:pt x="7826010" y="328402"/>
                </a:lnTo>
                <a:cubicBezTo>
                  <a:pt x="7826609" y="328402"/>
                  <a:pt x="7827208" y="327803"/>
                  <a:pt x="7827208" y="327204"/>
                </a:cubicBezTo>
                <a:cubicBezTo>
                  <a:pt x="7827208" y="326604"/>
                  <a:pt x="7826609" y="326005"/>
                  <a:pt x="7826010" y="326005"/>
                </a:cubicBezTo>
                <a:lnTo>
                  <a:pt x="7826010" y="326005"/>
                </a:lnTo>
                <a:close/>
                <a:moveTo>
                  <a:pt x="7829605" y="378142"/>
                </a:moveTo>
                <a:lnTo>
                  <a:pt x="7829605" y="378142"/>
                </a:lnTo>
                <a:cubicBezTo>
                  <a:pt x="7829605" y="378142"/>
                  <a:pt x="7829605" y="378142"/>
                  <a:pt x="7829605" y="378142"/>
                </a:cubicBezTo>
                <a:cubicBezTo>
                  <a:pt x="7829006" y="378741"/>
                  <a:pt x="7828407" y="378741"/>
                  <a:pt x="7828407" y="379340"/>
                </a:cubicBezTo>
                <a:cubicBezTo>
                  <a:pt x="7828407" y="379940"/>
                  <a:pt x="7829006" y="379940"/>
                  <a:pt x="7829006" y="380539"/>
                </a:cubicBezTo>
                <a:cubicBezTo>
                  <a:pt x="7829006" y="380539"/>
                  <a:pt x="7829006" y="380539"/>
                  <a:pt x="7829605" y="380539"/>
                </a:cubicBezTo>
                <a:lnTo>
                  <a:pt x="7829605" y="380539"/>
                </a:lnTo>
                <a:lnTo>
                  <a:pt x="7829605" y="380539"/>
                </a:lnTo>
                <a:cubicBezTo>
                  <a:pt x="7830204" y="380539"/>
                  <a:pt x="7830204" y="380539"/>
                  <a:pt x="7830204" y="379940"/>
                </a:cubicBezTo>
                <a:cubicBezTo>
                  <a:pt x="7830204" y="379340"/>
                  <a:pt x="7830804" y="379340"/>
                  <a:pt x="7830804" y="379340"/>
                </a:cubicBezTo>
                <a:cubicBezTo>
                  <a:pt x="7830804" y="378741"/>
                  <a:pt x="7830804" y="378741"/>
                  <a:pt x="7830204" y="378741"/>
                </a:cubicBezTo>
                <a:cubicBezTo>
                  <a:pt x="7829605" y="378741"/>
                  <a:pt x="7830204" y="378142"/>
                  <a:pt x="7829605" y="378142"/>
                </a:cubicBezTo>
                <a:lnTo>
                  <a:pt x="7829605" y="378142"/>
                </a:lnTo>
                <a:close/>
                <a:moveTo>
                  <a:pt x="7449665" y="378142"/>
                </a:moveTo>
                <a:lnTo>
                  <a:pt x="7449665" y="378142"/>
                </a:lnTo>
                <a:lnTo>
                  <a:pt x="7449665" y="378142"/>
                </a:lnTo>
                <a:cubicBezTo>
                  <a:pt x="7450265" y="378142"/>
                  <a:pt x="7450864" y="377543"/>
                  <a:pt x="7450864" y="376943"/>
                </a:cubicBezTo>
                <a:cubicBezTo>
                  <a:pt x="7450864" y="376344"/>
                  <a:pt x="7450265" y="375745"/>
                  <a:pt x="7449665" y="375745"/>
                </a:cubicBezTo>
                <a:lnTo>
                  <a:pt x="7449665" y="375745"/>
                </a:lnTo>
                <a:lnTo>
                  <a:pt x="7449665" y="375745"/>
                </a:lnTo>
                <a:cubicBezTo>
                  <a:pt x="7449665" y="375745"/>
                  <a:pt x="7449665" y="375745"/>
                  <a:pt x="7449066" y="375745"/>
                </a:cubicBezTo>
                <a:cubicBezTo>
                  <a:pt x="7448467" y="375745"/>
                  <a:pt x="7448467" y="376344"/>
                  <a:pt x="7448467" y="376943"/>
                </a:cubicBezTo>
                <a:cubicBezTo>
                  <a:pt x="7448467" y="377543"/>
                  <a:pt x="7449066" y="377543"/>
                  <a:pt x="7449665" y="378142"/>
                </a:cubicBezTo>
                <a:cubicBezTo>
                  <a:pt x="7449665" y="378142"/>
                  <a:pt x="7449665" y="378142"/>
                  <a:pt x="7449665" y="378142"/>
                </a:cubicBezTo>
                <a:close/>
                <a:moveTo>
                  <a:pt x="7343594" y="309225"/>
                </a:moveTo>
                <a:lnTo>
                  <a:pt x="7343594" y="309225"/>
                </a:lnTo>
                <a:lnTo>
                  <a:pt x="7343594" y="309225"/>
                </a:lnTo>
                <a:cubicBezTo>
                  <a:pt x="7344193" y="309225"/>
                  <a:pt x="7344792" y="309225"/>
                  <a:pt x="7345392" y="309225"/>
                </a:cubicBezTo>
                <a:cubicBezTo>
                  <a:pt x="7345991" y="309225"/>
                  <a:pt x="7345991" y="308626"/>
                  <a:pt x="7345392" y="308027"/>
                </a:cubicBezTo>
                <a:cubicBezTo>
                  <a:pt x="7345392" y="308027"/>
                  <a:pt x="7344792" y="307428"/>
                  <a:pt x="7344193" y="307428"/>
                </a:cubicBezTo>
                <a:cubicBezTo>
                  <a:pt x="7342396" y="306828"/>
                  <a:pt x="7339999" y="308027"/>
                  <a:pt x="7339999" y="308027"/>
                </a:cubicBezTo>
                <a:cubicBezTo>
                  <a:pt x="7339999" y="308027"/>
                  <a:pt x="7339999" y="308626"/>
                  <a:pt x="7341197" y="309225"/>
                </a:cubicBezTo>
                <a:cubicBezTo>
                  <a:pt x="7341796" y="308626"/>
                  <a:pt x="7342396" y="309225"/>
                  <a:pt x="7343594" y="309225"/>
                </a:cubicBezTo>
                <a:close/>
                <a:moveTo>
                  <a:pt x="7401124" y="314020"/>
                </a:moveTo>
                <a:lnTo>
                  <a:pt x="7401124" y="314020"/>
                </a:lnTo>
                <a:cubicBezTo>
                  <a:pt x="7401723" y="314020"/>
                  <a:pt x="7402323" y="313420"/>
                  <a:pt x="7402323" y="312821"/>
                </a:cubicBezTo>
                <a:cubicBezTo>
                  <a:pt x="7402323" y="312222"/>
                  <a:pt x="7401723" y="311622"/>
                  <a:pt x="7401124" y="311622"/>
                </a:cubicBezTo>
                <a:lnTo>
                  <a:pt x="7401124" y="311622"/>
                </a:lnTo>
                <a:lnTo>
                  <a:pt x="7401124" y="311622"/>
                </a:lnTo>
                <a:cubicBezTo>
                  <a:pt x="7400525" y="311622"/>
                  <a:pt x="7399926" y="312222"/>
                  <a:pt x="7399926" y="312821"/>
                </a:cubicBezTo>
                <a:cubicBezTo>
                  <a:pt x="7399926" y="313420"/>
                  <a:pt x="7400525" y="314020"/>
                  <a:pt x="7401124" y="314020"/>
                </a:cubicBezTo>
                <a:lnTo>
                  <a:pt x="7401124" y="314020"/>
                </a:lnTo>
                <a:close/>
                <a:moveTo>
                  <a:pt x="7338800" y="296041"/>
                </a:moveTo>
                <a:lnTo>
                  <a:pt x="7338800" y="296041"/>
                </a:lnTo>
                <a:cubicBezTo>
                  <a:pt x="7339399" y="296041"/>
                  <a:pt x="7339999" y="295442"/>
                  <a:pt x="7339999" y="294843"/>
                </a:cubicBezTo>
                <a:cubicBezTo>
                  <a:pt x="7339999" y="294244"/>
                  <a:pt x="7339399" y="293644"/>
                  <a:pt x="7338800" y="293644"/>
                </a:cubicBezTo>
                <a:lnTo>
                  <a:pt x="7338800" y="293644"/>
                </a:lnTo>
                <a:lnTo>
                  <a:pt x="7338800" y="293644"/>
                </a:lnTo>
                <a:cubicBezTo>
                  <a:pt x="7338200" y="293644"/>
                  <a:pt x="7337601" y="294244"/>
                  <a:pt x="7337601" y="294843"/>
                </a:cubicBezTo>
                <a:cubicBezTo>
                  <a:pt x="7337601" y="295442"/>
                  <a:pt x="7338200" y="296041"/>
                  <a:pt x="7338800" y="296041"/>
                </a:cubicBezTo>
                <a:lnTo>
                  <a:pt x="7338800" y="296041"/>
                </a:lnTo>
                <a:close/>
                <a:moveTo>
                  <a:pt x="7260894" y="278662"/>
                </a:moveTo>
                <a:lnTo>
                  <a:pt x="7260894" y="278662"/>
                </a:lnTo>
                <a:cubicBezTo>
                  <a:pt x="7261494" y="278662"/>
                  <a:pt x="7261494" y="278662"/>
                  <a:pt x="7261494" y="278063"/>
                </a:cubicBezTo>
                <a:cubicBezTo>
                  <a:pt x="7261494" y="278063"/>
                  <a:pt x="7262093" y="277464"/>
                  <a:pt x="7262093" y="277464"/>
                </a:cubicBezTo>
                <a:cubicBezTo>
                  <a:pt x="7262093" y="276865"/>
                  <a:pt x="7262093" y="276865"/>
                  <a:pt x="7261494" y="276865"/>
                </a:cubicBezTo>
                <a:cubicBezTo>
                  <a:pt x="7261494" y="276865"/>
                  <a:pt x="7260894" y="276265"/>
                  <a:pt x="7260894" y="276265"/>
                </a:cubicBezTo>
                <a:lnTo>
                  <a:pt x="7260894" y="276265"/>
                </a:lnTo>
                <a:lnTo>
                  <a:pt x="7260894" y="276265"/>
                </a:lnTo>
                <a:cubicBezTo>
                  <a:pt x="7260295" y="276265"/>
                  <a:pt x="7259696" y="276865"/>
                  <a:pt x="7259696" y="277464"/>
                </a:cubicBezTo>
                <a:cubicBezTo>
                  <a:pt x="7259696" y="278063"/>
                  <a:pt x="7260295" y="278662"/>
                  <a:pt x="7260894" y="278662"/>
                </a:cubicBezTo>
                <a:lnTo>
                  <a:pt x="7260894" y="278662"/>
                </a:lnTo>
                <a:close/>
                <a:moveTo>
                  <a:pt x="7221342" y="256489"/>
                </a:moveTo>
                <a:lnTo>
                  <a:pt x="7221342" y="256489"/>
                </a:lnTo>
                <a:lnTo>
                  <a:pt x="7221342" y="256489"/>
                </a:lnTo>
                <a:cubicBezTo>
                  <a:pt x="7221941" y="256489"/>
                  <a:pt x="7221941" y="256489"/>
                  <a:pt x="7221342" y="256489"/>
                </a:cubicBezTo>
                <a:cubicBezTo>
                  <a:pt x="7221941" y="255890"/>
                  <a:pt x="7222541" y="255890"/>
                  <a:pt x="7222541" y="255291"/>
                </a:cubicBezTo>
                <a:cubicBezTo>
                  <a:pt x="7222541" y="254691"/>
                  <a:pt x="7221941" y="254691"/>
                  <a:pt x="7221941" y="254092"/>
                </a:cubicBezTo>
                <a:cubicBezTo>
                  <a:pt x="7221941" y="254092"/>
                  <a:pt x="7221941" y="254092"/>
                  <a:pt x="7221342" y="254092"/>
                </a:cubicBezTo>
                <a:lnTo>
                  <a:pt x="7221342" y="254092"/>
                </a:lnTo>
                <a:lnTo>
                  <a:pt x="7221342" y="254092"/>
                </a:lnTo>
                <a:cubicBezTo>
                  <a:pt x="7221342" y="254092"/>
                  <a:pt x="7221342" y="254092"/>
                  <a:pt x="7220743" y="254092"/>
                </a:cubicBezTo>
                <a:cubicBezTo>
                  <a:pt x="7220144" y="254092"/>
                  <a:pt x="7220144" y="254691"/>
                  <a:pt x="7220144" y="255291"/>
                </a:cubicBezTo>
                <a:cubicBezTo>
                  <a:pt x="7220743" y="255890"/>
                  <a:pt x="7220743" y="256489"/>
                  <a:pt x="7221342" y="256489"/>
                </a:cubicBezTo>
                <a:cubicBezTo>
                  <a:pt x="7221342" y="256489"/>
                  <a:pt x="7221342" y="256489"/>
                  <a:pt x="7221342" y="256489"/>
                </a:cubicBezTo>
                <a:close/>
                <a:moveTo>
                  <a:pt x="7268086" y="275067"/>
                </a:moveTo>
                <a:lnTo>
                  <a:pt x="7268086" y="275067"/>
                </a:lnTo>
                <a:cubicBezTo>
                  <a:pt x="7268086" y="275067"/>
                  <a:pt x="7269284" y="275067"/>
                  <a:pt x="7269284" y="272670"/>
                </a:cubicBezTo>
                <a:cubicBezTo>
                  <a:pt x="7269284" y="271471"/>
                  <a:pt x="7268685" y="270872"/>
                  <a:pt x="7268685" y="270872"/>
                </a:cubicBezTo>
                <a:cubicBezTo>
                  <a:pt x="7268086" y="270872"/>
                  <a:pt x="7268086" y="270872"/>
                  <a:pt x="7268086" y="270872"/>
                </a:cubicBezTo>
                <a:lnTo>
                  <a:pt x="7268086" y="275067"/>
                </a:lnTo>
                <a:lnTo>
                  <a:pt x="7268086" y="275067"/>
                </a:lnTo>
                <a:close/>
                <a:moveTo>
                  <a:pt x="7289659" y="298438"/>
                </a:moveTo>
                <a:lnTo>
                  <a:pt x="7289659" y="298438"/>
                </a:lnTo>
                <a:cubicBezTo>
                  <a:pt x="7289659" y="298438"/>
                  <a:pt x="7290258" y="298438"/>
                  <a:pt x="7290258" y="298438"/>
                </a:cubicBezTo>
                <a:cubicBezTo>
                  <a:pt x="7290258" y="298438"/>
                  <a:pt x="7290258" y="297839"/>
                  <a:pt x="7290258" y="297839"/>
                </a:cubicBezTo>
                <a:cubicBezTo>
                  <a:pt x="7290258" y="297839"/>
                  <a:pt x="7290258" y="297240"/>
                  <a:pt x="7289659" y="296641"/>
                </a:cubicBezTo>
                <a:cubicBezTo>
                  <a:pt x="7289060" y="296041"/>
                  <a:pt x="7288461" y="295442"/>
                  <a:pt x="7288461" y="295442"/>
                </a:cubicBezTo>
                <a:cubicBezTo>
                  <a:pt x="7288461" y="295442"/>
                  <a:pt x="7288461" y="295442"/>
                  <a:pt x="7287861" y="295442"/>
                </a:cubicBezTo>
                <a:cubicBezTo>
                  <a:pt x="7287262" y="295442"/>
                  <a:pt x="7287262" y="296041"/>
                  <a:pt x="7287262" y="296041"/>
                </a:cubicBezTo>
                <a:lnTo>
                  <a:pt x="7287861" y="297240"/>
                </a:lnTo>
                <a:lnTo>
                  <a:pt x="7289659" y="298438"/>
                </a:lnTo>
                <a:lnTo>
                  <a:pt x="7289659" y="298438"/>
                </a:lnTo>
                <a:close/>
                <a:moveTo>
                  <a:pt x="8913092" y="3037121"/>
                </a:moveTo>
                <a:lnTo>
                  <a:pt x="8913092" y="3037121"/>
                </a:lnTo>
                <a:lnTo>
                  <a:pt x="8913092" y="3037121"/>
                </a:lnTo>
                <a:cubicBezTo>
                  <a:pt x="8912493" y="3037121"/>
                  <a:pt x="8911893" y="3037720"/>
                  <a:pt x="8911893" y="3038319"/>
                </a:cubicBezTo>
                <a:cubicBezTo>
                  <a:pt x="8911893" y="3038918"/>
                  <a:pt x="8912493" y="3039518"/>
                  <a:pt x="8913092" y="3039518"/>
                </a:cubicBezTo>
                <a:lnTo>
                  <a:pt x="8913092" y="3039518"/>
                </a:lnTo>
                <a:lnTo>
                  <a:pt x="8913092" y="3039518"/>
                </a:lnTo>
                <a:cubicBezTo>
                  <a:pt x="8913691" y="3039518"/>
                  <a:pt x="8914291" y="3038918"/>
                  <a:pt x="8914291" y="3038319"/>
                </a:cubicBezTo>
                <a:cubicBezTo>
                  <a:pt x="8914291" y="3037720"/>
                  <a:pt x="8913691" y="3037121"/>
                  <a:pt x="8913092" y="3037121"/>
                </a:cubicBezTo>
                <a:close/>
                <a:moveTo>
                  <a:pt x="8945453" y="3076073"/>
                </a:moveTo>
                <a:lnTo>
                  <a:pt x="8945453" y="3076073"/>
                </a:lnTo>
                <a:lnTo>
                  <a:pt x="8945453" y="3076073"/>
                </a:lnTo>
                <a:cubicBezTo>
                  <a:pt x="8946052" y="3076073"/>
                  <a:pt x="8946052" y="3076073"/>
                  <a:pt x="8946052" y="3075474"/>
                </a:cubicBezTo>
                <a:cubicBezTo>
                  <a:pt x="8946052" y="3075474"/>
                  <a:pt x="8946652" y="3074875"/>
                  <a:pt x="8946652" y="3074875"/>
                </a:cubicBezTo>
                <a:cubicBezTo>
                  <a:pt x="8946652" y="3074276"/>
                  <a:pt x="8946652" y="3074276"/>
                  <a:pt x="8946052" y="3074276"/>
                </a:cubicBezTo>
                <a:cubicBezTo>
                  <a:pt x="8946052" y="3074276"/>
                  <a:pt x="8945453" y="3073676"/>
                  <a:pt x="8945453" y="3073676"/>
                </a:cubicBezTo>
                <a:lnTo>
                  <a:pt x="8945453" y="3073676"/>
                </a:lnTo>
                <a:lnTo>
                  <a:pt x="8945453" y="3073676"/>
                </a:lnTo>
                <a:cubicBezTo>
                  <a:pt x="8944853" y="3073676"/>
                  <a:pt x="8944254" y="3074276"/>
                  <a:pt x="8944254" y="3074875"/>
                </a:cubicBezTo>
                <a:cubicBezTo>
                  <a:pt x="8944853" y="3075474"/>
                  <a:pt x="8944853" y="3076073"/>
                  <a:pt x="8945453" y="3076073"/>
                </a:cubicBezTo>
                <a:close/>
                <a:moveTo>
                  <a:pt x="8955641" y="3076673"/>
                </a:moveTo>
                <a:lnTo>
                  <a:pt x="8955641" y="3076673"/>
                </a:lnTo>
                <a:lnTo>
                  <a:pt x="8955641" y="3076673"/>
                </a:lnTo>
                <a:cubicBezTo>
                  <a:pt x="8956240" y="3076673"/>
                  <a:pt x="8956240" y="3076673"/>
                  <a:pt x="8956240" y="3076073"/>
                </a:cubicBezTo>
                <a:cubicBezTo>
                  <a:pt x="8956240" y="3075474"/>
                  <a:pt x="8956839" y="3075474"/>
                  <a:pt x="8956839" y="3075474"/>
                </a:cubicBezTo>
                <a:cubicBezTo>
                  <a:pt x="8956839" y="3074875"/>
                  <a:pt x="8956839" y="3074875"/>
                  <a:pt x="8956240" y="3074875"/>
                </a:cubicBezTo>
                <a:cubicBezTo>
                  <a:pt x="8956240" y="3074875"/>
                  <a:pt x="8955641" y="3074276"/>
                  <a:pt x="8955641" y="3074276"/>
                </a:cubicBezTo>
                <a:lnTo>
                  <a:pt x="8955641" y="3074276"/>
                </a:lnTo>
                <a:lnTo>
                  <a:pt x="8955641" y="3074276"/>
                </a:lnTo>
                <a:cubicBezTo>
                  <a:pt x="8955041" y="3074276"/>
                  <a:pt x="8954442" y="3074875"/>
                  <a:pt x="8954442" y="3075474"/>
                </a:cubicBezTo>
                <a:cubicBezTo>
                  <a:pt x="8954442" y="3076673"/>
                  <a:pt x="8955041" y="3076673"/>
                  <a:pt x="8955641" y="3076673"/>
                </a:cubicBezTo>
                <a:close/>
                <a:moveTo>
                  <a:pt x="8914890" y="3060492"/>
                </a:moveTo>
                <a:lnTo>
                  <a:pt x="8914890" y="3060492"/>
                </a:lnTo>
                <a:lnTo>
                  <a:pt x="8914890" y="3060492"/>
                </a:lnTo>
                <a:cubicBezTo>
                  <a:pt x="8915490" y="3060492"/>
                  <a:pt x="8916089" y="3059893"/>
                  <a:pt x="8916089" y="3059294"/>
                </a:cubicBezTo>
                <a:cubicBezTo>
                  <a:pt x="8916089" y="3058694"/>
                  <a:pt x="8915490" y="3058095"/>
                  <a:pt x="8914890" y="3058095"/>
                </a:cubicBezTo>
                <a:lnTo>
                  <a:pt x="8914890" y="3058095"/>
                </a:lnTo>
                <a:lnTo>
                  <a:pt x="8914890" y="3058095"/>
                </a:lnTo>
                <a:cubicBezTo>
                  <a:pt x="8914291" y="3058095"/>
                  <a:pt x="8913691" y="3058694"/>
                  <a:pt x="8913691" y="3059294"/>
                </a:cubicBezTo>
                <a:cubicBezTo>
                  <a:pt x="8913691" y="3059893"/>
                  <a:pt x="8914291" y="3060492"/>
                  <a:pt x="8914890" y="3060492"/>
                </a:cubicBezTo>
                <a:close/>
                <a:moveTo>
                  <a:pt x="8898110" y="3080868"/>
                </a:moveTo>
                <a:lnTo>
                  <a:pt x="8898110" y="3080868"/>
                </a:lnTo>
                <a:cubicBezTo>
                  <a:pt x="8897511" y="3080868"/>
                  <a:pt x="8896911" y="3081467"/>
                  <a:pt x="8896911" y="3082066"/>
                </a:cubicBezTo>
                <a:cubicBezTo>
                  <a:pt x="8896911" y="3082665"/>
                  <a:pt x="8897511" y="3083265"/>
                  <a:pt x="8898110" y="3083265"/>
                </a:cubicBezTo>
                <a:lnTo>
                  <a:pt x="8898110" y="3083265"/>
                </a:lnTo>
                <a:lnTo>
                  <a:pt x="8898110" y="3083265"/>
                </a:lnTo>
                <a:cubicBezTo>
                  <a:pt x="8898710" y="3083265"/>
                  <a:pt x="8899309" y="3082665"/>
                  <a:pt x="8899309" y="3082066"/>
                </a:cubicBezTo>
                <a:cubicBezTo>
                  <a:pt x="8899309" y="3081467"/>
                  <a:pt x="8898710" y="3080868"/>
                  <a:pt x="8898110" y="3080868"/>
                </a:cubicBezTo>
                <a:lnTo>
                  <a:pt x="8898110" y="3080868"/>
                </a:lnTo>
                <a:close/>
                <a:moveTo>
                  <a:pt x="8891519" y="3097647"/>
                </a:moveTo>
                <a:lnTo>
                  <a:pt x="8891519" y="3097647"/>
                </a:lnTo>
                <a:cubicBezTo>
                  <a:pt x="8890919" y="3097647"/>
                  <a:pt x="8890320" y="3098247"/>
                  <a:pt x="8890320" y="3098846"/>
                </a:cubicBezTo>
                <a:cubicBezTo>
                  <a:pt x="8890320" y="3099445"/>
                  <a:pt x="8890919" y="3100044"/>
                  <a:pt x="8891519" y="3100044"/>
                </a:cubicBezTo>
                <a:lnTo>
                  <a:pt x="8891519" y="3100044"/>
                </a:lnTo>
                <a:lnTo>
                  <a:pt x="8891519" y="3100044"/>
                </a:lnTo>
                <a:cubicBezTo>
                  <a:pt x="8892118" y="3100044"/>
                  <a:pt x="8892717" y="3099445"/>
                  <a:pt x="8892717" y="3098846"/>
                </a:cubicBezTo>
                <a:cubicBezTo>
                  <a:pt x="8892717" y="3098247"/>
                  <a:pt x="8892118" y="3097647"/>
                  <a:pt x="8891519" y="3097647"/>
                </a:cubicBezTo>
                <a:lnTo>
                  <a:pt x="8891519" y="3097647"/>
                </a:lnTo>
                <a:close/>
                <a:moveTo>
                  <a:pt x="8897511" y="3068882"/>
                </a:moveTo>
                <a:lnTo>
                  <a:pt x="8897511" y="3068882"/>
                </a:lnTo>
                <a:cubicBezTo>
                  <a:pt x="8898110" y="3068882"/>
                  <a:pt x="8898710" y="3068283"/>
                  <a:pt x="8898710" y="3067683"/>
                </a:cubicBezTo>
                <a:cubicBezTo>
                  <a:pt x="8898710" y="3067084"/>
                  <a:pt x="8898110" y="3066485"/>
                  <a:pt x="8897511" y="3066485"/>
                </a:cubicBezTo>
                <a:lnTo>
                  <a:pt x="8897511" y="3066485"/>
                </a:lnTo>
                <a:lnTo>
                  <a:pt x="8897511" y="3066485"/>
                </a:lnTo>
                <a:cubicBezTo>
                  <a:pt x="8896911" y="3066485"/>
                  <a:pt x="8896312" y="3067084"/>
                  <a:pt x="8896312" y="3067683"/>
                </a:cubicBezTo>
                <a:cubicBezTo>
                  <a:pt x="8896312" y="3068283"/>
                  <a:pt x="8896911" y="3068882"/>
                  <a:pt x="8897511" y="3068882"/>
                </a:cubicBezTo>
                <a:lnTo>
                  <a:pt x="8897511" y="3068882"/>
                </a:lnTo>
                <a:close/>
                <a:moveTo>
                  <a:pt x="8883728" y="3094651"/>
                </a:moveTo>
                <a:lnTo>
                  <a:pt x="8883728" y="3094651"/>
                </a:lnTo>
                <a:lnTo>
                  <a:pt x="8883728" y="3094651"/>
                </a:lnTo>
                <a:cubicBezTo>
                  <a:pt x="8883129" y="3094651"/>
                  <a:pt x="8882529" y="3095250"/>
                  <a:pt x="8882529" y="3095849"/>
                </a:cubicBezTo>
                <a:cubicBezTo>
                  <a:pt x="8882529" y="3096448"/>
                  <a:pt x="8883129" y="3097048"/>
                  <a:pt x="8883728" y="3097048"/>
                </a:cubicBezTo>
                <a:lnTo>
                  <a:pt x="8883728" y="3097048"/>
                </a:lnTo>
                <a:lnTo>
                  <a:pt x="8883728" y="3097048"/>
                </a:lnTo>
                <a:cubicBezTo>
                  <a:pt x="8883728" y="3097048"/>
                  <a:pt x="8884327" y="3097048"/>
                  <a:pt x="8884327" y="3097048"/>
                </a:cubicBezTo>
                <a:cubicBezTo>
                  <a:pt x="8884926" y="3097048"/>
                  <a:pt x="8884926" y="3096448"/>
                  <a:pt x="8884926" y="3095849"/>
                </a:cubicBezTo>
                <a:cubicBezTo>
                  <a:pt x="8885526" y="3095250"/>
                  <a:pt x="8884926" y="3095250"/>
                  <a:pt x="8883728" y="3094651"/>
                </a:cubicBezTo>
                <a:cubicBezTo>
                  <a:pt x="8884327" y="3094651"/>
                  <a:pt x="8884327" y="3094651"/>
                  <a:pt x="8883728" y="3094651"/>
                </a:cubicBezTo>
                <a:close/>
                <a:moveTo>
                  <a:pt x="9074896" y="3180347"/>
                </a:moveTo>
                <a:lnTo>
                  <a:pt x="9074896" y="3180347"/>
                </a:lnTo>
                <a:lnTo>
                  <a:pt x="9074896" y="3180347"/>
                </a:lnTo>
                <a:cubicBezTo>
                  <a:pt x="9075495" y="3180347"/>
                  <a:pt x="9076095" y="3179748"/>
                  <a:pt x="9076095" y="3179149"/>
                </a:cubicBezTo>
                <a:cubicBezTo>
                  <a:pt x="9076095" y="3178549"/>
                  <a:pt x="9075495" y="3177950"/>
                  <a:pt x="9074896" y="3177950"/>
                </a:cubicBezTo>
                <a:lnTo>
                  <a:pt x="9074896" y="3177950"/>
                </a:lnTo>
                <a:lnTo>
                  <a:pt x="9074896" y="3177950"/>
                </a:lnTo>
                <a:cubicBezTo>
                  <a:pt x="9074297" y="3177950"/>
                  <a:pt x="9073697" y="3178549"/>
                  <a:pt x="9073697" y="3179149"/>
                </a:cubicBezTo>
                <a:cubicBezTo>
                  <a:pt x="9073697" y="3179748"/>
                  <a:pt x="9074297" y="3180347"/>
                  <a:pt x="9074896" y="3180347"/>
                </a:cubicBezTo>
                <a:close/>
                <a:moveTo>
                  <a:pt x="9100065" y="3197127"/>
                </a:moveTo>
                <a:cubicBezTo>
                  <a:pt x="9100065" y="3197127"/>
                  <a:pt x="9100065" y="3197726"/>
                  <a:pt x="9100065" y="3197127"/>
                </a:cubicBezTo>
                <a:lnTo>
                  <a:pt x="9100065" y="3197127"/>
                </a:lnTo>
                <a:lnTo>
                  <a:pt x="9100065" y="3197127"/>
                </a:lnTo>
                <a:cubicBezTo>
                  <a:pt x="9101264" y="3197127"/>
                  <a:pt x="9101264" y="3196527"/>
                  <a:pt x="9101264" y="3195928"/>
                </a:cubicBezTo>
                <a:cubicBezTo>
                  <a:pt x="9101264" y="3195329"/>
                  <a:pt x="9100665" y="3194730"/>
                  <a:pt x="9100065" y="3194730"/>
                </a:cubicBezTo>
                <a:lnTo>
                  <a:pt x="9100065" y="3194730"/>
                </a:lnTo>
                <a:lnTo>
                  <a:pt x="9100065" y="3194730"/>
                </a:lnTo>
                <a:cubicBezTo>
                  <a:pt x="9100065" y="3194730"/>
                  <a:pt x="9100065" y="3194730"/>
                  <a:pt x="9099466" y="3194730"/>
                </a:cubicBezTo>
                <a:cubicBezTo>
                  <a:pt x="9098867" y="3194730"/>
                  <a:pt x="9098867" y="3195329"/>
                  <a:pt x="9098867" y="3195928"/>
                </a:cubicBezTo>
                <a:cubicBezTo>
                  <a:pt x="9099466" y="3196527"/>
                  <a:pt x="9099466" y="3197127"/>
                  <a:pt x="9100065" y="3197127"/>
                </a:cubicBezTo>
                <a:close/>
                <a:moveTo>
                  <a:pt x="9095272" y="3191134"/>
                </a:moveTo>
                <a:lnTo>
                  <a:pt x="9095272" y="3191134"/>
                </a:lnTo>
                <a:lnTo>
                  <a:pt x="9095272" y="3191134"/>
                </a:lnTo>
                <a:cubicBezTo>
                  <a:pt x="9095871" y="3191134"/>
                  <a:pt x="9096470" y="3190535"/>
                  <a:pt x="9096470" y="3189935"/>
                </a:cubicBezTo>
                <a:cubicBezTo>
                  <a:pt x="9096470" y="3189336"/>
                  <a:pt x="9095871" y="3188737"/>
                  <a:pt x="9095272" y="3188737"/>
                </a:cubicBezTo>
                <a:lnTo>
                  <a:pt x="9095272" y="3188737"/>
                </a:lnTo>
                <a:lnTo>
                  <a:pt x="9095272" y="3188737"/>
                </a:lnTo>
                <a:cubicBezTo>
                  <a:pt x="9094672" y="3188737"/>
                  <a:pt x="9094073" y="3189336"/>
                  <a:pt x="9094073" y="3189935"/>
                </a:cubicBezTo>
                <a:cubicBezTo>
                  <a:pt x="9094073" y="3190535"/>
                  <a:pt x="9094672" y="3191134"/>
                  <a:pt x="9095272" y="3191134"/>
                </a:cubicBezTo>
                <a:close/>
                <a:moveTo>
                  <a:pt x="9224715" y="3292411"/>
                </a:moveTo>
                <a:lnTo>
                  <a:pt x="9224715" y="3292411"/>
                </a:lnTo>
                <a:lnTo>
                  <a:pt x="9224715" y="3292411"/>
                </a:lnTo>
                <a:cubicBezTo>
                  <a:pt x="9225314" y="3292411"/>
                  <a:pt x="9225314" y="3292411"/>
                  <a:pt x="9225314" y="3291812"/>
                </a:cubicBezTo>
                <a:cubicBezTo>
                  <a:pt x="9225314" y="3291812"/>
                  <a:pt x="9225913" y="3291213"/>
                  <a:pt x="9225913" y="3291213"/>
                </a:cubicBezTo>
                <a:cubicBezTo>
                  <a:pt x="9225913" y="3291213"/>
                  <a:pt x="9225913" y="3290613"/>
                  <a:pt x="9225314" y="3290613"/>
                </a:cubicBezTo>
                <a:cubicBezTo>
                  <a:pt x="9225314" y="3290613"/>
                  <a:pt x="9224715" y="3290014"/>
                  <a:pt x="9224715" y="3290014"/>
                </a:cubicBezTo>
                <a:lnTo>
                  <a:pt x="9224715" y="3290014"/>
                </a:lnTo>
                <a:lnTo>
                  <a:pt x="9224715" y="3290014"/>
                </a:lnTo>
                <a:cubicBezTo>
                  <a:pt x="9224116" y="3290014"/>
                  <a:pt x="9223516" y="3290613"/>
                  <a:pt x="9223516" y="3291213"/>
                </a:cubicBezTo>
                <a:cubicBezTo>
                  <a:pt x="9224116" y="3291812"/>
                  <a:pt x="9224116" y="3292411"/>
                  <a:pt x="9224715" y="3292411"/>
                </a:cubicBezTo>
                <a:close/>
                <a:moveTo>
                  <a:pt x="9310410" y="3266642"/>
                </a:moveTo>
                <a:cubicBezTo>
                  <a:pt x="9310410" y="3266043"/>
                  <a:pt x="9309811" y="3266043"/>
                  <a:pt x="9309811" y="3265444"/>
                </a:cubicBezTo>
                <a:cubicBezTo>
                  <a:pt x="9309811" y="3265444"/>
                  <a:pt x="9309811" y="3265444"/>
                  <a:pt x="9309212" y="3265444"/>
                </a:cubicBezTo>
                <a:lnTo>
                  <a:pt x="9309212" y="3265444"/>
                </a:lnTo>
                <a:lnTo>
                  <a:pt x="9309212" y="3265444"/>
                </a:lnTo>
                <a:cubicBezTo>
                  <a:pt x="9308613" y="3265444"/>
                  <a:pt x="9308014" y="3266043"/>
                  <a:pt x="9308014" y="3266642"/>
                </a:cubicBezTo>
                <a:cubicBezTo>
                  <a:pt x="9308014" y="3267242"/>
                  <a:pt x="9308613" y="3267841"/>
                  <a:pt x="9309212" y="3267841"/>
                </a:cubicBezTo>
                <a:lnTo>
                  <a:pt x="9309212" y="3267841"/>
                </a:lnTo>
                <a:lnTo>
                  <a:pt x="9309212" y="3267841"/>
                </a:lnTo>
                <a:cubicBezTo>
                  <a:pt x="9309212" y="3267841"/>
                  <a:pt x="9309212" y="3267841"/>
                  <a:pt x="9309811" y="3267841"/>
                </a:cubicBezTo>
                <a:cubicBezTo>
                  <a:pt x="9309811" y="3267242"/>
                  <a:pt x="9310410" y="3267242"/>
                  <a:pt x="9310410" y="3266642"/>
                </a:cubicBezTo>
                <a:close/>
                <a:moveTo>
                  <a:pt x="9308613" y="3256455"/>
                </a:moveTo>
                <a:cubicBezTo>
                  <a:pt x="9308613" y="3255856"/>
                  <a:pt x="9308014" y="3255256"/>
                  <a:pt x="9307414" y="3255256"/>
                </a:cubicBezTo>
                <a:lnTo>
                  <a:pt x="9307414" y="3255256"/>
                </a:lnTo>
                <a:lnTo>
                  <a:pt x="9307414" y="3255256"/>
                </a:lnTo>
                <a:cubicBezTo>
                  <a:pt x="9306815" y="3255256"/>
                  <a:pt x="9306815" y="3255256"/>
                  <a:pt x="9306815" y="3255856"/>
                </a:cubicBezTo>
                <a:cubicBezTo>
                  <a:pt x="9306815" y="3255856"/>
                  <a:pt x="9306216" y="3256455"/>
                  <a:pt x="9306216" y="3256455"/>
                </a:cubicBezTo>
                <a:cubicBezTo>
                  <a:pt x="9306216" y="3256455"/>
                  <a:pt x="9306216" y="3257054"/>
                  <a:pt x="9306815" y="3257054"/>
                </a:cubicBezTo>
                <a:cubicBezTo>
                  <a:pt x="9306815" y="3257054"/>
                  <a:pt x="9307414" y="3257653"/>
                  <a:pt x="9307414" y="3257653"/>
                </a:cubicBezTo>
                <a:lnTo>
                  <a:pt x="9307414" y="3257653"/>
                </a:lnTo>
                <a:lnTo>
                  <a:pt x="9307414" y="3257653"/>
                </a:lnTo>
                <a:cubicBezTo>
                  <a:pt x="9308613" y="3257653"/>
                  <a:pt x="9308613" y="3257054"/>
                  <a:pt x="9308613" y="3256455"/>
                </a:cubicBezTo>
                <a:close/>
                <a:moveTo>
                  <a:pt x="8844176" y="4143980"/>
                </a:moveTo>
                <a:cubicBezTo>
                  <a:pt x="8843577" y="4143980"/>
                  <a:pt x="8842977" y="4143980"/>
                  <a:pt x="8841779" y="4143980"/>
                </a:cubicBezTo>
                <a:cubicBezTo>
                  <a:pt x="8841179" y="4143980"/>
                  <a:pt x="8841179" y="4143980"/>
                  <a:pt x="8840580" y="4143980"/>
                </a:cubicBezTo>
                <a:cubicBezTo>
                  <a:pt x="8836984" y="4144579"/>
                  <a:pt x="8839381" y="4146377"/>
                  <a:pt x="8839381" y="4146377"/>
                </a:cubicBezTo>
                <a:lnTo>
                  <a:pt x="8839381" y="4146377"/>
                </a:lnTo>
                <a:lnTo>
                  <a:pt x="8839381" y="4146377"/>
                </a:lnTo>
                <a:cubicBezTo>
                  <a:pt x="8839381" y="4146377"/>
                  <a:pt x="8840580" y="4146377"/>
                  <a:pt x="8841779" y="4146377"/>
                </a:cubicBezTo>
                <a:cubicBezTo>
                  <a:pt x="8842378" y="4146377"/>
                  <a:pt x="8842378" y="4146377"/>
                  <a:pt x="8842977" y="4146377"/>
                </a:cubicBezTo>
                <a:cubicBezTo>
                  <a:pt x="8844176" y="4146377"/>
                  <a:pt x="8844775" y="4146377"/>
                  <a:pt x="8845374" y="4145777"/>
                </a:cubicBezTo>
                <a:cubicBezTo>
                  <a:pt x="8846573" y="4145178"/>
                  <a:pt x="8845973" y="4144579"/>
                  <a:pt x="8844176" y="4143980"/>
                </a:cubicBezTo>
                <a:close/>
                <a:moveTo>
                  <a:pt x="8686566" y="4268629"/>
                </a:moveTo>
                <a:lnTo>
                  <a:pt x="8686566" y="4268629"/>
                </a:lnTo>
                <a:lnTo>
                  <a:pt x="8686566" y="4268629"/>
                </a:lnTo>
                <a:cubicBezTo>
                  <a:pt x="8685967" y="4268629"/>
                  <a:pt x="8685368" y="4269228"/>
                  <a:pt x="8685368" y="4269827"/>
                </a:cubicBezTo>
                <a:cubicBezTo>
                  <a:pt x="8685368" y="4270426"/>
                  <a:pt x="8685967" y="4271026"/>
                  <a:pt x="8686566" y="4271026"/>
                </a:cubicBezTo>
                <a:lnTo>
                  <a:pt x="8686566" y="4271026"/>
                </a:lnTo>
                <a:lnTo>
                  <a:pt x="8686566" y="4271026"/>
                </a:lnTo>
                <a:cubicBezTo>
                  <a:pt x="8687166" y="4271026"/>
                  <a:pt x="8687765" y="4270426"/>
                  <a:pt x="8687765" y="4269827"/>
                </a:cubicBezTo>
                <a:cubicBezTo>
                  <a:pt x="8687765" y="4269228"/>
                  <a:pt x="8687166" y="4268629"/>
                  <a:pt x="8686566" y="4268629"/>
                </a:cubicBezTo>
                <a:close/>
                <a:moveTo>
                  <a:pt x="8153213" y="3185740"/>
                </a:moveTo>
                <a:lnTo>
                  <a:pt x="8153213" y="3185740"/>
                </a:lnTo>
                <a:cubicBezTo>
                  <a:pt x="8153213" y="3185740"/>
                  <a:pt x="8153213" y="3185740"/>
                  <a:pt x="8155011" y="3183943"/>
                </a:cubicBezTo>
                <a:cubicBezTo>
                  <a:pt x="8156209" y="3182744"/>
                  <a:pt x="8156209" y="3180946"/>
                  <a:pt x="8155011" y="3180946"/>
                </a:cubicBezTo>
                <a:cubicBezTo>
                  <a:pt x="8155011" y="3180946"/>
                  <a:pt x="8154412" y="3180946"/>
                  <a:pt x="8153812" y="3181545"/>
                </a:cubicBezTo>
                <a:cubicBezTo>
                  <a:pt x="8152614" y="3183343"/>
                  <a:pt x="8153213" y="3185740"/>
                  <a:pt x="8153213" y="3185740"/>
                </a:cubicBezTo>
                <a:lnTo>
                  <a:pt x="8153213" y="3185740"/>
                </a:lnTo>
                <a:close/>
                <a:moveTo>
                  <a:pt x="8147220" y="3182145"/>
                </a:moveTo>
                <a:cubicBezTo>
                  <a:pt x="8147220" y="3182145"/>
                  <a:pt x="8147819" y="3182145"/>
                  <a:pt x="8148419" y="3182145"/>
                </a:cubicBezTo>
                <a:cubicBezTo>
                  <a:pt x="8149617" y="3182145"/>
                  <a:pt x="8150816" y="3181545"/>
                  <a:pt x="8151416" y="3179748"/>
                </a:cubicBezTo>
                <a:cubicBezTo>
                  <a:pt x="8152015" y="3176751"/>
                  <a:pt x="8153213" y="3174354"/>
                  <a:pt x="8153213" y="3174354"/>
                </a:cubicBezTo>
                <a:lnTo>
                  <a:pt x="8153213" y="3174354"/>
                </a:lnTo>
                <a:lnTo>
                  <a:pt x="8153213" y="3174354"/>
                </a:lnTo>
                <a:lnTo>
                  <a:pt x="8147220" y="3182145"/>
                </a:lnTo>
                <a:close/>
                <a:moveTo>
                  <a:pt x="1883010" y="684970"/>
                </a:moveTo>
                <a:lnTo>
                  <a:pt x="1883010" y="684970"/>
                </a:lnTo>
                <a:lnTo>
                  <a:pt x="1883010" y="684970"/>
                </a:lnTo>
                <a:cubicBezTo>
                  <a:pt x="1883010" y="684970"/>
                  <a:pt x="1884208" y="680775"/>
                  <a:pt x="1881212" y="681375"/>
                </a:cubicBezTo>
                <a:cubicBezTo>
                  <a:pt x="1880613" y="681375"/>
                  <a:pt x="1880613" y="681375"/>
                  <a:pt x="1880013" y="681974"/>
                </a:cubicBezTo>
                <a:cubicBezTo>
                  <a:pt x="1880013" y="681974"/>
                  <a:pt x="1879414" y="681974"/>
                  <a:pt x="1879414" y="682573"/>
                </a:cubicBezTo>
                <a:cubicBezTo>
                  <a:pt x="1879414" y="683172"/>
                  <a:pt x="1883010" y="684970"/>
                  <a:pt x="1883010" y="684970"/>
                </a:cubicBezTo>
                <a:close/>
                <a:moveTo>
                  <a:pt x="1308905" y="720327"/>
                </a:moveTo>
                <a:lnTo>
                  <a:pt x="1308905" y="720327"/>
                </a:lnTo>
                <a:lnTo>
                  <a:pt x="1308905" y="720327"/>
                </a:lnTo>
                <a:cubicBezTo>
                  <a:pt x="1308905" y="720327"/>
                  <a:pt x="1308306" y="721526"/>
                  <a:pt x="1308905" y="722724"/>
                </a:cubicBezTo>
                <a:cubicBezTo>
                  <a:pt x="1308905" y="722724"/>
                  <a:pt x="1308905" y="723324"/>
                  <a:pt x="1308905" y="723324"/>
                </a:cubicBezTo>
                <a:cubicBezTo>
                  <a:pt x="1308905" y="723324"/>
                  <a:pt x="1309505" y="723923"/>
                  <a:pt x="1310104" y="723324"/>
                </a:cubicBezTo>
                <a:lnTo>
                  <a:pt x="1310104" y="723324"/>
                </a:lnTo>
                <a:lnTo>
                  <a:pt x="1310104" y="723324"/>
                </a:lnTo>
                <a:cubicBezTo>
                  <a:pt x="1312501" y="722724"/>
                  <a:pt x="1308905" y="720327"/>
                  <a:pt x="1308905" y="720327"/>
                </a:cubicBezTo>
                <a:close/>
                <a:moveTo>
                  <a:pt x="9046730" y="3141994"/>
                </a:moveTo>
                <a:cubicBezTo>
                  <a:pt x="9047330" y="3141994"/>
                  <a:pt x="9047330" y="3141994"/>
                  <a:pt x="9046730" y="3141994"/>
                </a:cubicBezTo>
                <a:lnTo>
                  <a:pt x="9046730" y="3141994"/>
                </a:lnTo>
                <a:lnTo>
                  <a:pt x="9046730" y="3141994"/>
                </a:lnTo>
                <a:cubicBezTo>
                  <a:pt x="9047929" y="3141994"/>
                  <a:pt x="9047929" y="3141394"/>
                  <a:pt x="9047929" y="3140795"/>
                </a:cubicBezTo>
                <a:cubicBezTo>
                  <a:pt x="9047929" y="3140196"/>
                  <a:pt x="9047330" y="3139596"/>
                  <a:pt x="9046730" y="3139596"/>
                </a:cubicBezTo>
                <a:lnTo>
                  <a:pt x="9046730" y="3139596"/>
                </a:lnTo>
                <a:lnTo>
                  <a:pt x="9046730" y="3139596"/>
                </a:lnTo>
                <a:cubicBezTo>
                  <a:pt x="9046730" y="3139596"/>
                  <a:pt x="9046730" y="3139596"/>
                  <a:pt x="9046131" y="3139596"/>
                </a:cubicBezTo>
                <a:cubicBezTo>
                  <a:pt x="9045532" y="3139596"/>
                  <a:pt x="9045532" y="3140196"/>
                  <a:pt x="9045532" y="3140795"/>
                </a:cubicBezTo>
                <a:cubicBezTo>
                  <a:pt x="9046131" y="3141394"/>
                  <a:pt x="9046730" y="3141994"/>
                  <a:pt x="9046730" y="3141994"/>
                </a:cubicBezTo>
                <a:close/>
                <a:moveTo>
                  <a:pt x="9055120" y="3156975"/>
                </a:moveTo>
                <a:cubicBezTo>
                  <a:pt x="9055120" y="3156975"/>
                  <a:pt x="9055719" y="3156975"/>
                  <a:pt x="9055120" y="3156975"/>
                </a:cubicBezTo>
                <a:lnTo>
                  <a:pt x="9055120" y="3156975"/>
                </a:lnTo>
                <a:lnTo>
                  <a:pt x="9055120" y="3156975"/>
                </a:lnTo>
                <a:cubicBezTo>
                  <a:pt x="9056319" y="3156975"/>
                  <a:pt x="9056319" y="3156376"/>
                  <a:pt x="9056319" y="3155777"/>
                </a:cubicBezTo>
                <a:cubicBezTo>
                  <a:pt x="9056319" y="3155178"/>
                  <a:pt x="9055719" y="3154578"/>
                  <a:pt x="9055120" y="3154578"/>
                </a:cubicBezTo>
                <a:lnTo>
                  <a:pt x="9055120" y="3154578"/>
                </a:lnTo>
                <a:lnTo>
                  <a:pt x="9055120" y="3154578"/>
                </a:lnTo>
                <a:cubicBezTo>
                  <a:pt x="9055120" y="3154578"/>
                  <a:pt x="9055120" y="3154578"/>
                  <a:pt x="9054521" y="3154578"/>
                </a:cubicBezTo>
                <a:cubicBezTo>
                  <a:pt x="9053922" y="3154578"/>
                  <a:pt x="9053922" y="3155178"/>
                  <a:pt x="9053922" y="3155777"/>
                </a:cubicBezTo>
                <a:cubicBezTo>
                  <a:pt x="9053922" y="3156376"/>
                  <a:pt x="9055120" y="3156975"/>
                  <a:pt x="9055120" y="3156975"/>
                </a:cubicBezTo>
                <a:close/>
                <a:moveTo>
                  <a:pt x="9067105" y="3189336"/>
                </a:moveTo>
                <a:lnTo>
                  <a:pt x="9067105" y="3189336"/>
                </a:lnTo>
                <a:lnTo>
                  <a:pt x="9067105" y="3189336"/>
                </a:lnTo>
                <a:cubicBezTo>
                  <a:pt x="9067105" y="3189336"/>
                  <a:pt x="9067105" y="3189336"/>
                  <a:pt x="9067105" y="3189336"/>
                </a:cubicBezTo>
                <a:cubicBezTo>
                  <a:pt x="9067705" y="3188737"/>
                  <a:pt x="9068304" y="3188737"/>
                  <a:pt x="9068304" y="3188138"/>
                </a:cubicBezTo>
                <a:cubicBezTo>
                  <a:pt x="9068304" y="3187538"/>
                  <a:pt x="9067705" y="3187538"/>
                  <a:pt x="9067705" y="3186939"/>
                </a:cubicBezTo>
                <a:cubicBezTo>
                  <a:pt x="9067705" y="3186939"/>
                  <a:pt x="9067705" y="3186939"/>
                  <a:pt x="9067105" y="3186939"/>
                </a:cubicBezTo>
                <a:lnTo>
                  <a:pt x="9067105" y="3186939"/>
                </a:lnTo>
                <a:lnTo>
                  <a:pt x="9067105" y="3186939"/>
                </a:lnTo>
                <a:cubicBezTo>
                  <a:pt x="9066506" y="3186939"/>
                  <a:pt x="9065907" y="3187538"/>
                  <a:pt x="9065907" y="3188138"/>
                </a:cubicBezTo>
                <a:cubicBezTo>
                  <a:pt x="9065907" y="3188737"/>
                  <a:pt x="9066506" y="3189336"/>
                  <a:pt x="9067105" y="3189336"/>
                </a:cubicBezTo>
                <a:close/>
              </a:path>
            </a:pathLst>
          </a:custGeom>
          <a:solidFill>
            <a:schemeClr val="tx1">
              <a:lumMod val="10000"/>
              <a:lumOff val="90000"/>
              <a:alpha val="50000"/>
            </a:schemeClr>
          </a:solidFill>
          <a:ln w="5992" cap="flat">
            <a:noFill/>
            <a:prstDash val="solid"/>
            <a:miter/>
          </a:ln>
        </p:spPr>
        <p:txBody>
          <a:bodyPr rtlCol="0" anchor="ctr"/>
          <a:lstStyle/>
          <a:p>
            <a:endParaRPr lang="zh-CN" altLang="en-US">
              <a:latin typeface="Arial" panose="020B0604020202020204" pitchFamily="34" charset="0"/>
              <a:ea typeface="微软雅黑" panose="020B0503020204020204" pitchFamily="34" charset="-122"/>
              <a:sym typeface="Arial" panose="020B0604020202020204" pitchFamily="34" charset="0"/>
            </a:endParaRPr>
          </a:p>
        </p:txBody>
      </p:sp>
      <p:sp>
        <p:nvSpPr>
          <p:cNvPr id="6" name="圆角矩形 5"/>
          <p:cNvSpPr/>
          <p:nvPr/>
        </p:nvSpPr>
        <p:spPr>
          <a:xfrm>
            <a:off x="1707077" y="1895474"/>
            <a:ext cx="9722923" cy="998122"/>
          </a:xfrm>
          <a:prstGeom prst="roundRect">
            <a:avLst/>
          </a:prstGeom>
          <a:solidFill>
            <a:srgbClr val="FFC000">
              <a:alpha val="392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5" name="对象 4" hidden="1">
            <a:extLst>
              <a:ext uri="{FF2B5EF4-FFF2-40B4-BE49-F238E27FC236}">
                <a16:creationId xmlns:a16="http://schemas.microsoft.com/office/drawing/2014/main" id="{BB6AFB4E-95EE-4C8E-8FB4-0600644084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6" progId="TCLayout.ActiveDocument.1">
                  <p:embed/>
                </p:oleObj>
              </mc:Choice>
              <mc:Fallback>
                <p:oleObj name="think-cell 幻灯片" r:id="rId5" imgW="426" imgH="426" progId="TCLayout.ActiveDocument.1">
                  <p:embed/>
                  <p:pic>
                    <p:nvPicPr>
                      <p:cNvPr id="5" name="对象 4" hidden="1">
                        <a:extLst>
                          <a:ext uri="{FF2B5EF4-FFF2-40B4-BE49-F238E27FC236}">
                            <a16:creationId xmlns:a16="http://schemas.microsoft.com/office/drawing/2014/main" id="{BB6AFB4E-95EE-4C8E-8FB4-0600644084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9D25DFD2-D530-4A33-BD59-7A195E0C2BDB}"/>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1</a:t>
            </a:r>
            <a:r>
              <a:rPr lang="zh-CN" altLang="en-US" dirty="0">
                <a:latin typeface="Arial" panose="020B0604020202020204" pitchFamily="34" charset="0"/>
                <a:sym typeface="Arial" panose="020B0604020202020204" pitchFamily="34" charset="0"/>
              </a:rPr>
              <a:t> 药品基本信息</a:t>
            </a:r>
          </a:p>
        </p:txBody>
      </p:sp>
      <p:sp>
        <p:nvSpPr>
          <p:cNvPr id="2" name="ïṩľïďé"/>
          <p:cNvSpPr>
            <a:spLocks noGrp="1"/>
          </p:cNvSpPr>
          <p:nvPr>
            <p:ph type="sldNum" sz="quarter" idx="4294967295"/>
          </p:nvPr>
        </p:nvSpPr>
        <p:spPr>
          <a:xfrm>
            <a:off x="11961813" y="6480175"/>
            <a:ext cx="230187" cy="215900"/>
          </a:xfrm>
        </p:spPr>
        <p:txBody>
          <a:bodyPr/>
          <a:lstStyle/>
          <a:p>
            <a:fld id="{7F65B630-C7FF-41C0-9923-C5E5E29EED81}" type="slidenum">
              <a:rPr lang="zh-CN" altLang="en-US" smtClean="0">
                <a:solidFill>
                  <a:schemeClr val="tx1"/>
                </a:solidFill>
                <a:latin typeface="Arial" panose="020B0604020202020204" pitchFamily="34" charset="0"/>
                <a:ea typeface="微软雅黑" panose="020B0503020204020204" pitchFamily="34" charset="-122"/>
                <a:sym typeface="Arial" panose="020B0604020202020204" pitchFamily="34" charset="0"/>
              </a:rPr>
              <a:t>3</a:t>
            </a:fld>
            <a:endParaRPr lang="zh-CN" altLang="en-US">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矩形 2">
            <a:extLst>
              <a:ext uri="{FF2B5EF4-FFF2-40B4-BE49-F238E27FC236}">
                <a16:creationId xmlns:a16="http://schemas.microsoft.com/office/drawing/2014/main" id="{884001B9-1D75-401E-8D49-FE8962EB1B5D}"/>
              </a:ext>
            </a:extLst>
          </p:cNvPr>
          <p:cNvSpPr/>
          <p:nvPr/>
        </p:nvSpPr>
        <p:spPr>
          <a:xfrm>
            <a:off x="7576868" y="1733868"/>
            <a:ext cx="3485299" cy="9981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rgbClr val="FF0000"/>
                </a:solidFill>
                <a:latin typeface="Arial" panose="020B0604020202020204" pitchFamily="34" charset="0"/>
                <a:ea typeface="微软雅黑" panose="020B0503020204020204" pitchFamily="34" charset="-122"/>
                <a:sym typeface="Arial" panose="020B0604020202020204" pitchFamily="34" charset="0"/>
              </a:rPr>
              <a:t>全球首个且目前唯一</a:t>
            </a:r>
            <a:endParaRPr lang="en-US" altLang="zh-CN" sz="24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a:p>
            <a:pPr algn="ctr"/>
            <a:r>
              <a:rPr lang="zh-CN" altLang="en-US" sz="2400" b="1"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获批预防用药</a:t>
            </a:r>
            <a:endParaRPr lang="en-US" sz="2400" b="1"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57" name="pills_375929">
            <a:extLst>
              <a:ext uri="{FF2B5EF4-FFF2-40B4-BE49-F238E27FC236}">
                <a16:creationId xmlns:a16="http://schemas.microsoft.com/office/drawing/2014/main" id="{D58C5DA8-EF83-488B-81FA-3C6DA1757806}"/>
              </a:ext>
            </a:extLst>
          </p:cNvPr>
          <p:cNvSpPr/>
          <p:nvPr/>
        </p:nvSpPr>
        <p:spPr>
          <a:xfrm>
            <a:off x="1041020" y="1521648"/>
            <a:ext cx="332906" cy="303054"/>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7639" h="562689">
                <a:moveTo>
                  <a:pt x="381759" y="298139"/>
                </a:moveTo>
                <a:lnTo>
                  <a:pt x="475208" y="298139"/>
                </a:lnTo>
                <a:cubicBezTo>
                  <a:pt x="548277" y="298139"/>
                  <a:pt x="607639" y="357412"/>
                  <a:pt x="607639" y="430458"/>
                </a:cubicBezTo>
                <a:cubicBezTo>
                  <a:pt x="607639" y="503416"/>
                  <a:pt x="548277" y="562689"/>
                  <a:pt x="475208" y="562689"/>
                </a:cubicBezTo>
                <a:lnTo>
                  <a:pt x="381759" y="562689"/>
                </a:lnTo>
                <a:close/>
                <a:moveTo>
                  <a:pt x="245900" y="298139"/>
                </a:moveTo>
                <a:lnTo>
                  <a:pt x="339349" y="298139"/>
                </a:lnTo>
                <a:lnTo>
                  <a:pt x="339349" y="562689"/>
                </a:lnTo>
                <a:lnTo>
                  <a:pt x="245900" y="562689"/>
                </a:lnTo>
                <a:cubicBezTo>
                  <a:pt x="172831" y="562689"/>
                  <a:pt x="113469" y="503416"/>
                  <a:pt x="113469" y="430458"/>
                </a:cubicBezTo>
                <a:cubicBezTo>
                  <a:pt x="113469" y="357412"/>
                  <a:pt x="172831" y="298139"/>
                  <a:pt x="245900" y="298139"/>
                </a:cubicBezTo>
                <a:close/>
                <a:moveTo>
                  <a:pt x="0" y="267866"/>
                </a:moveTo>
                <a:lnTo>
                  <a:pt x="181847" y="267866"/>
                </a:lnTo>
                <a:cubicBezTo>
                  <a:pt x="159862" y="276488"/>
                  <a:pt x="139567" y="289732"/>
                  <a:pt x="122299" y="306887"/>
                </a:cubicBezTo>
                <a:cubicBezTo>
                  <a:pt x="89277" y="339865"/>
                  <a:pt x="71119" y="383775"/>
                  <a:pt x="71119" y="430352"/>
                </a:cubicBezTo>
                <a:cubicBezTo>
                  <a:pt x="71119" y="448218"/>
                  <a:pt x="73789" y="465551"/>
                  <a:pt x="78863" y="482173"/>
                </a:cubicBezTo>
                <a:cubicBezTo>
                  <a:pt x="32400" y="461551"/>
                  <a:pt x="0" y="415152"/>
                  <a:pt x="0" y="361109"/>
                </a:cubicBezTo>
                <a:close/>
                <a:moveTo>
                  <a:pt x="132452" y="0"/>
                </a:moveTo>
                <a:cubicBezTo>
                  <a:pt x="205620" y="0"/>
                  <a:pt x="264903" y="59199"/>
                  <a:pt x="264903" y="132265"/>
                </a:cubicBezTo>
                <a:lnTo>
                  <a:pt x="264903" y="225598"/>
                </a:lnTo>
                <a:lnTo>
                  <a:pt x="0" y="225598"/>
                </a:lnTo>
                <a:lnTo>
                  <a:pt x="0" y="132265"/>
                </a:lnTo>
                <a:cubicBezTo>
                  <a:pt x="0" y="59199"/>
                  <a:pt x="59283" y="0"/>
                  <a:pt x="13245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58" name="文本框 57"/>
          <p:cNvSpPr txBox="1"/>
          <p:nvPr/>
        </p:nvSpPr>
        <p:spPr>
          <a:xfrm>
            <a:off x="364409" y="1484662"/>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通用名：</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62" name="pills_375929">
            <a:extLst>
              <a:ext uri="{FF2B5EF4-FFF2-40B4-BE49-F238E27FC236}">
                <a16:creationId xmlns:a16="http://schemas.microsoft.com/office/drawing/2014/main" id="{D58C5DA8-EF83-488B-81FA-3C6DA1757806}"/>
              </a:ext>
            </a:extLst>
          </p:cNvPr>
          <p:cNvSpPr/>
          <p:nvPr/>
        </p:nvSpPr>
        <p:spPr>
          <a:xfrm>
            <a:off x="1031998" y="2216050"/>
            <a:ext cx="332906" cy="332404"/>
          </a:xfrm>
          <a:custGeom>
            <a:avLst/>
            <a:gdLst>
              <a:gd name="connsiteX0" fmla="*/ 347041 w 607639"/>
              <a:gd name="connsiteY0" fmla="*/ 313875 h 606722"/>
              <a:gd name="connsiteX1" fmla="*/ 379713 w 607639"/>
              <a:gd name="connsiteY1" fmla="*/ 346512 h 606722"/>
              <a:gd name="connsiteX2" fmla="*/ 347041 w 607639"/>
              <a:gd name="connsiteY2" fmla="*/ 379149 h 606722"/>
              <a:gd name="connsiteX3" fmla="*/ 314369 w 607639"/>
              <a:gd name="connsiteY3" fmla="*/ 346512 h 606722"/>
              <a:gd name="connsiteX4" fmla="*/ 347041 w 607639"/>
              <a:gd name="connsiteY4" fmla="*/ 313875 h 606722"/>
              <a:gd name="connsiteX5" fmla="*/ 260563 w 607639"/>
              <a:gd name="connsiteY5" fmla="*/ 213037 h 606722"/>
              <a:gd name="connsiteX6" fmla="*/ 313452 w 607639"/>
              <a:gd name="connsiteY6" fmla="*/ 265856 h 606722"/>
              <a:gd name="connsiteX7" fmla="*/ 260563 w 607639"/>
              <a:gd name="connsiteY7" fmla="*/ 318675 h 606722"/>
              <a:gd name="connsiteX8" fmla="*/ 207674 w 607639"/>
              <a:gd name="connsiteY8" fmla="*/ 265856 h 606722"/>
              <a:gd name="connsiteX9" fmla="*/ 260563 w 607639"/>
              <a:gd name="connsiteY9" fmla="*/ 213037 h 606722"/>
              <a:gd name="connsiteX10" fmla="*/ 303775 w 607639"/>
              <a:gd name="connsiteY10" fmla="*/ 152236 h 606722"/>
              <a:gd name="connsiteX11" fmla="*/ 152466 w 607639"/>
              <a:gd name="connsiteY11" fmla="*/ 303317 h 606722"/>
              <a:gd name="connsiteX12" fmla="*/ 303775 w 607639"/>
              <a:gd name="connsiteY12" fmla="*/ 454486 h 606722"/>
              <a:gd name="connsiteX13" fmla="*/ 455173 w 607639"/>
              <a:gd name="connsiteY13" fmla="*/ 303317 h 606722"/>
              <a:gd name="connsiteX14" fmla="*/ 303775 w 607639"/>
              <a:gd name="connsiteY14" fmla="*/ 152236 h 606722"/>
              <a:gd name="connsiteX15" fmla="*/ 270042 w 607639"/>
              <a:gd name="connsiteY15" fmla="*/ 0 h 606722"/>
              <a:gd name="connsiteX16" fmla="*/ 337597 w 607639"/>
              <a:gd name="connsiteY16" fmla="*/ 0 h 606722"/>
              <a:gd name="connsiteX17" fmla="*/ 361628 w 607639"/>
              <a:gd name="connsiteY17" fmla="*/ 23995 h 606722"/>
              <a:gd name="connsiteX18" fmla="*/ 337597 w 607639"/>
              <a:gd name="connsiteY18" fmla="*/ 47901 h 606722"/>
              <a:gd name="connsiteX19" fmla="*/ 327806 w 607639"/>
              <a:gd name="connsiteY19" fmla="*/ 47901 h 606722"/>
              <a:gd name="connsiteX20" fmla="*/ 327806 w 607639"/>
              <a:gd name="connsiteY20" fmla="*/ 105756 h 606722"/>
              <a:gd name="connsiteX21" fmla="*/ 426691 w 607639"/>
              <a:gd name="connsiteY21" fmla="*/ 146726 h 606722"/>
              <a:gd name="connsiteX22" fmla="*/ 467723 w 607639"/>
              <a:gd name="connsiteY22" fmla="*/ 105756 h 606722"/>
              <a:gd name="connsiteX23" fmla="*/ 460780 w 607639"/>
              <a:gd name="connsiteY23" fmla="*/ 98913 h 606722"/>
              <a:gd name="connsiteX24" fmla="*/ 460780 w 607639"/>
              <a:gd name="connsiteY24" fmla="*/ 64965 h 606722"/>
              <a:gd name="connsiteX25" fmla="*/ 494691 w 607639"/>
              <a:gd name="connsiteY25" fmla="*/ 64965 h 606722"/>
              <a:gd name="connsiteX26" fmla="*/ 530382 w 607639"/>
              <a:gd name="connsiteY26" fmla="*/ 100602 h 606722"/>
              <a:gd name="connsiteX27" fmla="*/ 531094 w 607639"/>
              <a:gd name="connsiteY27" fmla="*/ 101313 h 606722"/>
              <a:gd name="connsiteX28" fmla="*/ 537414 w 607639"/>
              <a:gd name="connsiteY28" fmla="*/ 107534 h 606722"/>
              <a:gd name="connsiteX29" fmla="*/ 537770 w 607639"/>
              <a:gd name="connsiteY29" fmla="*/ 107978 h 606722"/>
              <a:gd name="connsiteX30" fmla="*/ 537948 w 607639"/>
              <a:gd name="connsiteY30" fmla="*/ 108156 h 606722"/>
              <a:gd name="connsiteX31" fmla="*/ 538482 w 607639"/>
              <a:gd name="connsiteY31" fmla="*/ 108689 h 606722"/>
              <a:gd name="connsiteX32" fmla="*/ 538215 w 607639"/>
              <a:gd name="connsiteY32" fmla="*/ 108423 h 606722"/>
              <a:gd name="connsiteX33" fmla="*/ 538749 w 607639"/>
              <a:gd name="connsiteY33" fmla="*/ 108867 h 606722"/>
              <a:gd name="connsiteX34" fmla="*/ 539105 w 607639"/>
              <a:gd name="connsiteY34" fmla="*/ 109311 h 606722"/>
              <a:gd name="connsiteX35" fmla="*/ 542487 w 607639"/>
              <a:gd name="connsiteY35" fmla="*/ 112688 h 606722"/>
              <a:gd name="connsiteX36" fmla="*/ 542487 w 607639"/>
              <a:gd name="connsiteY36" fmla="*/ 146637 h 606722"/>
              <a:gd name="connsiteX37" fmla="*/ 508576 w 607639"/>
              <a:gd name="connsiteY37" fmla="*/ 146637 h 606722"/>
              <a:gd name="connsiteX38" fmla="*/ 501634 w 607639"/>
              <a:gd name="connsiteY38" fmla="*/ 139705 h 606722"/>
              <a:gd name="connsiteX39" fmla="*/ 460691 w 607639"/>
              <a:gd name="connsiteY39" fmla="*/ 180675 h 606722"/>
              <a:gd name="connsiteX40" fmla="*/ 501723 w 607639"/>
              <a:gd name="connsiteY40" fmla="*/ 279410 h 606722"/>
              <a:gd name="connsiteX41" fmla="*/ 559576 w 607639"/>
              <a:gd name="connsiteY41" fmla="*/ 279410 h 606722"/>
              <a:gd name="connsiteX42" fmla="*/ 559576 w 607639"/>
              <a:gd name="connsiteY42" fmla="*/ 269634 h 606722"/>
              <a:gd name="connsiteX43" fmla="*/ 583608 w 607639"/>
              <a:gd name="connsiteY43" fmla="*/ 245639 h 606722"/>
              <a:gd name="connsiteX44" fmla="*/ 607639 w 607639"/>
              <a:gd name="connsiteY44" fmla="*/ 269634 h 606722"/>
              <a:gd name="connsiteX45" fmla="*/ 607639 w 607639"/>
              <a:gd name="connsiteY45" fmla="*/ 337088 h 606722"/>
              <a:gd name="connsiteX46" fmla="*/ 583608 w 607639"/>
              <a:gd name="connsiteY46" fmla="*/ 361083 h 606722"/>
              <a:gd name="connsiteX47" fmla="*/ 559576 w 607639"/>
              <a:gd name="connsiteY47" fmla="*/ 337088 h 606722"/>
              <a:gd name="connsiteX48" fmla="*/ 559576 w 607639"/>
              <a:gd name="connsiteY48" fmla="*/ 327312 h 606722"/>
              <a:gd name="connsiteX49" fmla="*/ 501723 w 607639"/>
              <a:gd name="connsiteY49" fmla="*/ 327312 h 606722"/>
              <a:gd name="connsiteX50" fmla="*/ 460691 w 607639"/>
              <a:gd name="connsiteY50" fmla="*/ 426047 h 606722"/>
              <a:gd name="connsiteX51" fmla="*/ 501634 w 607639"/>
              <a:gd name="connsiteY51" fmla="*/ 467017 h 606722"/>
              <a:gd name="connsiteX52" fmla="*/ 508576 w 607639"/>
              <a:gd name="connsiteY52" fmla="*/ 460085 h 606722"/>
              <a:gd name="connsiteX53" fmla="*/ 542487 w 607639"/>
              <a:gd name="connsiteY53" fmla="*/ 460085 h 606722"/>
              <a:gd name="connsiteX54" fmla="*/ 542487 w 607639"/>
              <a:gd name="connsiteY54" fmla="*/ 493945 h 606722"/>
              <a:gd name="connsiteX55" fmla="*/ 518990 w 607639"/>
              <a:gd name="connsiteY55" fmla="*/ 517496 h 606722"/>
              <a:gd name="connsiteX56" fmla="*/ 494691 w 607639"/>
              <a:gd name="connsiteY56" fmla="*/ 541668 h 606722"/>
              <a:gd name="connsiteX57" fmla="*/ 460780 w 607639"/>
              <a:gd name="connsiteY57" fmla="*/ 541668 h 606722"/>
              <a:gd name="connsiteX58" fmla="*/ 460780 w 607639"/>
              <a:gd name="connsiteY58" fmla="*/ 507809 h 606722"/>
              <a:gd name="connsiteX59" fmla="*/ 467723 w 607639"/>
              <a:gd name="connsiteY59" fmla="*/ 500877 h 606722"/>
              <a:gd name="connsiteX60" fmla="*/ 426691 w 607639"/>
              <a:gd name="connsiteY60" fmla="*/ 459996 h 606722"/>
              <a:gd name="connsiteX61" fmla="*/ 327806 w 607639"/>
              <a:gd name="connsiteY61" fmla="*/ 500966 h 606722"/>
              <a:gd name="connsiteX62" fmla="*/ 327806 w 607639"/>
              <a:gd name="connsiteY62" fmla="*/ 558732 h 606722"/>
              <a:gd name="connsiteX63" fmla="*/ 337597 w 607639"/>
              <a:gd name="connsiteY63" fmla="*/ 558732 h 606722"/>
              <a:gd name="connsiteX64" fmla="*/ 361628 w 607639"/>
              <a:gd name="connsiteY64" fmla="*/ 582727 h 606722"/>
              <a:gd name="connsiteX65" fmla="*/ 337597 w 607639"/>
              <a:gd name="connsiteY65" fmla="*/ 606722 h 606722"/>
              <a:gd name="connsiteX66" fmla="*/ 270042 w 607639"/>
              <a:gd name="connsiteY66" fmla="*/ 606722 h 606722"/>
              <a:gd name="connsiteX67" fmla="*/ 246011 w 607639"/>
              <a:gd name="connsiteY67" fmla="*/ 582727 h 606722"/>
              <a:gd name="connsiteX68" fmla="*/ 270042 w 607639"/>
              <a:gd name="connsiteY68" fmla="*/ 558732 h 606722"/>
              <a:gd name="connsiteX69" fmla="*/ 279833 w 607639"/>
              <a:gd name="connsiteY69" fmla="*/ 558732 h 606722"/>
              <a:gd name="connsiteX70" fmla="*/ 279833 w 607639"/>
              <a:gd name="connsiteY70" fmla="*/ 500966 h 606722"/>
              <a:gd name="connsiteX71" fmla="*/ 180948 w 607639"/>
              <a:gd name="connsiteY71" fmla="*/ 459996 h 606722"/>
              <a:gd name="connsiteX72" fmla="*/ 139916 w 607639"/>
              <a:gd name="connsiteY72" fmla="*/ 500877 h 606722"/>
              <a:gd name="connsiteX73" fmla="*/ 146859 w 607639"/>
              <a:gd name="connsiteY73" fmla="*/ 507809 h 606722"/>
              <a:gd name="connsiteX74" fmla="*/ 146859 w 607639"/>
              <a:gd name="connsiteY74" fmla="*/ 541668 h 606722"/>
              <a:gd name="connsiteX75" fmla="*/ 112859 w 607639"/>
              <a:gd name="connsiteY75" fmla="*/ 541668 h 606722"/>
              <a:gd name="connsiteX76" fmla="*/ 77257 w 607639"/>
              <a:gd name="connsiteY76" fmla="*/ 506120 h 606722"/>
              <a:gd name="connsiteX77" fmla="*/ 68534 w 607639"/>
              <a:gd name="connsiteY77" fmla="*/ 497411 h 606722"/>
              <a:gd name="connsiteX78" fmla="*/ 65063 w 607639"/>
              <a:gd name="connsiteY78" fmla="*/ 493945 h 606722"/>
              <a:gd name="connsiteX79" fmla="*/ 65063 w 607639"/>
              <a:gd name="connsiteY79" fmla="*/ 460085 h 606722"/>
              <a:gd name="connsiteX80" fmla="*/ 99063 w 607639"/>
              <a:gd name="connsiteY80" fmla="*/ 460085 h 606722"/>
              <a:gd name="connsiteX81" fmla="*/ 105916 w 607639"/>
              <a:gd name="connsiteY81" fmla="*/ 467017 h 606722"/>
              <a:gd name="connsiteX82" fmla="*/ 146948 w 607639"/>
              <a:gd name="connsiteY82" fmla="*/ 426047 h 606722"/>
              <a:gd name="connsiteX83" fmla="*/ 105916 w 607639"/>
              <a:gd name="connsiteY83" fmla="*/ 327312 h 606722"/>
              <a:gd name="connsiteX84" fmla="*/ 47974 w 607639"/>
              <a:gd name="connsiteY84" fmla="*/ 327312 h 606722"/>
              <a:gd name="connsiteX85" fmla="*/ 47974 w 607639"/>
              <a:gd name="connsiteY85" fmla="*/ 337088 h 606722"/>
              <a:gd name="connsiteX86" fmla="*/ 24031 w 607639"/>
              <a:gd name="connsiteY86" fmla="*/ 361083 h 606722"/>
              <a:gd name="connsiteX87" fmla="*/ 0 w 607639"/>
              <a:gd name="connsiteY87" fmla="*/ 337088 h 606722"/>
              <a:gd name="connsiteX88" fmla="*/ 0 w 607639"/>
              <a:gd name="connsiteY88" fmla="*/ 269634 h 606722"/>
              <a:gd name="connsiteX89" fmla="*/ 24031 w 607639"/>
              <a:gd name="connsiteY89" fmla="*/ 245639 h 606722"/>
              <a:gd name="connsiteX90" fmla="*/ 47974 w 607639"/>
              <a:gd name="connsiteY90" fmla="*/ 269634 h 606722"/>
              <a:gd name="connsiteX91" fmla="*/ 47974 w 607639"/>
              <a:gd name="connsiteY91" fmla="*/ 279410 h 606722"/>
              <a:gd name="connsiteX92" fmla="*/ 105916 w 607639"/>
              <a:gd name="connsiteY92" fmla="*/ 279410 h 606722"/>
              <a:gd name="connsiteX93" fmla="*/ 146948 w 607639"/>
              <a:gd name="connsiteY93" fmla="*/ 180675 h 606722"/>
              <a:gd name="connsiteX94" fmla="*/ 105916 w 607639"/>
              <a:gd name="connsiteY94" fmla="*/ 139705 h 606722"/>
              <a:gd name="connsiteX95" fmla="*/ 99063 w 607639"/>
              <a:gd name="connsiteY95" fmla="*/ 146637 h 606722"/>
              <a:gd name="connsiteX96" fmla="*/ 65063 w 607639"/>
              <a:gd name="connsiteY96" fmla="*/ 146637 h 606722"/>
              <a:gd name="connsiteX97" fmla="*/ 65063 w 607639"/>
              <a:gd name="connsiteY97" fmla="*/ 112688 h 606722"/>
              <a:gd name="connsiteX98" fmla="*/ 106450 w 607639"/>
              <a:gd name="connsiteY98" fmla="*/ 71452 h 606722"/>
              <a:gd name="connsiteX99" fmla="*/ 112859 w 607639"/>
              <a:gd name="connsiteY99" fmla="*/ 64965 h 606722"/>
              <a:gd name="connsiteX100" fmla="*/ 146859 w 607639"/>
              <a:gd name="connsiteY100" fmla="*/ 64965 h 606722"/>
              <a:gd name="connsiteX101" fmla="*/ 146859 w 607639"/>
              <a:gd name="connsiteY101" fmla="*/ 98913 h 606722"/>
              <a:gd name="connsiteX102" fmla="*/ 139916 w 607639"/>
              <a:gd name="connsiteY102" fmla="*/ 105756 h 606722"/>
              <a:gd name="connsiteX103" fmla="*/ 180948 w 607639"/>
              <a:gd name="connsiteY103" fmla="*/ 146726 h 606722"/>
              <a:gd name="connsiteX104" fmla="*/ 279833 w 607639"/>
              <a:gd name="connsiteY104" fmla="*/ 105756 h 606722"/>
              <a:gd name="connsiteX105" fmla="*/ 279833 w 607639"/>
              <a:gd name="connsiteY105" fmla="*/ 47901 h 606722"/>
              <a:gd name="connsiteX106" fmla="*/ 270042 w 607639"/>
              <a:gd name="connsiteY106" fmla="*/ 47901 h 606722"/>
              <a:gd name="connsiteX107" fmla="*/ 246011 w 607639"/>
              <a:gd name="connsiteY107" fmla="*/ 23995 h 606722"/>
              <a:gd name="connsiteX108" fmla="*/ 270042 w 607639"/>
              <a:gd name="connsiteY108"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607639" h="606722">
                <a:moveTo>
                  <a:pt x="347041" y="313875"/>
                </a:moveTo>
                <a:cubicBezTo>
                  <a:pt x="365085" y="313875"/>
                  <a:pt x="379713" y="328487"/>
                  <a:pt x="379713" y="346512"/>
                </a:cubicBezTo>
                <a:cubicBezTo>
                  <a:pt x="379713" y="364537"/>
                  <a:pt x="365085" y="379149"/>
                  <a:pt x="347041" y="379149"/>
                </a:cubicBezTo>
                <a:cubicBezTo>
                  <a:pt x="328997" y="379149"/>
                  <a:pt x="314369" y="364537"/>
                  <a:pt x="314369" y="346512"/>
                </a:cubicBezTo>
                <a:cubicBezTo>
                  <a:pt x="314369" y="328487"/>
                  <a:pt x="328997" y="313875"/>
                  <a:pt x="347041" y="313875"/>
                </a:cubicBezTo>
                <a:close/>
                <a:moveTo>
                  <a:pt x="260563" y="213037"/>
                </a:moveTo>
                <a:cubicBezTo>
                  <a:pt x="289773" y="213037"/>
                  <a:pt x="313452" y="236685"/>
                  <a:pt x="313452" y="265856"/>
                </a:cubicBezTo>
                <a:cubicBezTo>
                  <a:pt x="313452" y="295027"/>
                  <a:pt x="289773" y="318675"/>
                  <a:pt x="260563" y="318675"/>
                </a:cubicBezTo>
                <a:cubicBezTo>
                  <a:pt x="231353" y="318675"/>
                  <a:pt x="207674" y="295027"/>
                  <a:pt x="207674" y="265856"/>
                </a:cubicBezTo>
                <a:cubicBezTo>
                  <a:pt x="207674" y="236685"/>
                  <a:pt x="231353" y="213037"/>
                  <a:pt x="260563" y="213037"/>
                </a:cubicBezTo>
                <a:close/>
                <a:moveTo>
                  <a:pt x="303775" y="152236"/>
                </a:moveTo>
                <a:cubicBezTo>
                  <a:pt x="220377" y="152236"/>
                  <a:pt x="152466" y="220045"/>
                  <a:pt x="152466" y="303317"/>
                </a:cubicBezTo>
                <a:cubicBezTo>
                  <a:pt x="152466" y="386678"/>
                  <a:pt x="220377" y="454486"/>
                  <a:pt x="303775" y="454486"/>
                </a:cubicBezTo>
                <a:cubicBezTo>
                  <a:pt x="387262" y="454486"/>
                  <a:pt x="455173" y="386678"/>
                  <a:pt x="455173" y="303317"/>
                </a:cubicBezTo>
                <a:cubicBezTo>
                  <a:pt x="455173" y="220045"/>
                  <a:pt x="387262" y="152236"/>
                  <a:pt x="303775" y="152236"/>
                </a:cubicBezTo>
                <a:close/>
                <a:moveTo>
                  <a:pt x="270042" y="0"/>
                </a:moveTo>
                <a:lnTo>
                  <a:pt x="337597" y="0"/>
                </a:lnTo>
                <a:cubicBezTo>
                  <a:pt x="350859" y="0"/>
                  <a:pt x="361628" y="10753"/>
                  <a:pt x="361628" y="23995"/>
                </a:cubicBezTo>
                <a:cubicBezTo>
                  <a:pt x="361628" y="37237"/>
                  <a:pt x="350859" y="47901"/>
                  <a:pt x="337597" y="47901"/>
                </a:cubicBezTo>
                <a:lnTo>
                  <a:pt x="327806" y="47901"/>
                </a:lnTo>
                <a:lnTo>
                  <a:pt x="327806" y="105756"/>
                </a:lnTo>
                <a:cubicBezTo>
                  <a:pt x="364833" y="110200"/>
                  <a:pt x="398744" y="124864"/>
                  <a:pt x="426691" y="146726"/>
                </a:cubicBezTo>
                <a:lnTo>
                  <a:pt x="467723" y="105756"/>
                </a:lnTo>
                <a:lnTo>
                  <a:pt x="460780" y="98913"/>
                </a:lnTo>
                <a:cubicBezTo>
                  <a:pt x="451435" y="89493"/>
                  <a:pt x="451435" y="74385"/>
                  <a:pt x="460780" y="64965"/>
                </a:cubicBezTo>
                <a:cubicBezTo>
                  <a:pt x="470126" y="55633"/>
                  <a:pt x="485346" y="55633"/>
                  <a:pt x="494691" y="64965"/>
                </a:cubicBezTo>
                <a:lnTo>
                  <a:pt x="530382" y="100602"/>
                </a:lnTo>
                <a:lnTo>
                  <a:pt x="531094" y="101313"/>
                </a:lnTo>
                <a:lnTo>
                  <a:pt x="537414" y="107534"/>
                </a:lnTo>
                <a:lnTo>
                  <a:pt x="537770" y="107978"/>
                </a:lnTo>
                <a:lnTo>
                  <a:pt x="537948" y="108156"/>
                </a:lnTo>
                <a:lnTo>
                  <a:pt x="538482" y="108689"/>
                </a:lnTo>
                <a:lnTo>
                  <a:pt x="538215" y="108423"/>
                </a:lnTo>
                <a:lnTo>
                  <a:pt x="538749" y="108867"/>
                </a:lnTo>
                <a:lnTo>
                  <a:pt x="539105" y="109311"/>
                </a:lnTo>
                <a:lnTo>
                  <a:pt x="542487" y="112688"/>
                </a:lnTo>
                <a:cubicBezTo>
                  <a:pt x="551922" y="122109"/>
                  <a:pt x="551922" y="137217"/>
                  <a:pt x="542487" y="146637"/>
                </a:cubicBezTo>
                <a:cubicBezTo>
                  <a:pt x="533142" y="155969"/>
                  <a:pt x="517922" y="155969"/>
                  <a:pt x="508576" y="146637"/>
                </a:cubicBezTo>
                <a:lnTo>
                  <a:pt x="501634" y="139705"/>
                </a:lnTo>
                <a:lnTo>
                  <a:pt x="460691" y="180675"/>
                </a:lnTo>
                <a:cubicBezTo>
                  <a:pt x="482587" y="208491"/>
                  <a:pt x="497272" y="242440"/>
                  <a:pt x="501723" y="279410"/>
                </a:cubicBezTo>
                <a:lnTo>
                  <a:pt x="559576" y="279410"/>
                </a:lnTo>
                <a:lnTo>
                  <a:pt x="559576" y="269634"/>
                </a:lnTo>
                <a:cubicBezTo>
                  <a:pt x="559576" y="256393"/>
                  <a:pt x="570346" y="245639"/>
                  <a:pt x="583608" y="245639"/>
                </a:cubicBezTo>
                <a:cubicBezTo>
                  <a:pt x="596869" y="245639"/>
                  <a:pt x="607639" y="256393"/>
                  <a:pt x="607639" y="269634"/>
                </a:cubicBezTo>
                <a:lnTo>
                  <a:pt x="607639" y="337088"/>
                </a:lnTo>
                <a:cubicBezTo>
                  <a:pt x="607639" y="350329"/>
                  <a:pt x="596869" y="361083"/>
                  <a:pt x="583608" y="361083"/>
                </a:cubicBezTo>
                <a:cubicBezTo>
                  <a:pt x="570346" y="361083"/>
                  <a:pt x="559576" y="350329"/>
                  <a:pt x="559576" y="337088"/>
                </a:cubicBezTo>
                <a:lnTo>
                  <a:pt x="559576" y="327312"/>
                </a:lnTo>
                <a:lnTo>
                  <a:pt x="501723" y="327312"/>
                </a:lnTo>
                <a:cubicBezTo>
                  <a:pt x="497272" y="364282"/>
                  <a:pt x="482587" y="398142"/>
                  <a:pt x="460691" y="426047"/>
                </a:cubicBezTo>
                <a:lnTo>
                  <a:pt x="501634" y="467017"/>
                </a:lnTo>
                <a:lnTo>
                  <a:pt x="508576" y="460085"/>
                </a:lnTo>
                <a:cubicBezTo>
                  <a:pt x="517922" y="450753"/>
                  <a:pt x="533142" y="450753"/>
                  <a:pt x="542487" y="460085"/>
                </a:cubicBezTo>
                <a:cubicBezTo>
                  <a:pt x="551922" y="469416"/>
                  <a:pt x="551922" y="484613"/>
                  <a:pt x="542487" y="493945"/>
                </a:cubicBezTo>
                <a:cubicBezTo>
                  <a:pt x="512759" y="523717"/>
                  <a:pt x="518456" y="518029"/>
                  <a:pt x="518990" y="517496"/>
                </a:cubicBezTo>
                <a:cubicBezTo>
                  <a:pt x="518545" y="517940"/>
                  <a:pt x="514272" y="522206"/>
                  <a:pt x="494691" y="541668"/>
                </a:cubicBezTo>
                <a:cubicBezTo>
                  <a:pt x="485346" y="551089"/>
                  <a:pt x="470126" y="551089"/>
                  <a:pt x="460780" y="541668"/>
                </a:cubicBezTo>
                <a:cubicBezTo>
                  <a:pt x="451435" y="532337"/>
                  <a:pt x="451435" y="517140"/>
                  <a:pt x="460780" y="507809"/>
                </a:cubicBezTo>
                <a:lnTo>
                  <a:pt x="467723" y="500877"/>
                </a:lnTo>
                <a:lnTo>
                  <a:pt x="426691" y="459996"/>
                </a:lnTo>
                <a:cubicBezTo>
                  <a:pt x="398744" y="481858"/>
                  <a:pt x="364833" y="496522"/>
                  <a:pt x="327806" y="500966"/>
                </a:cubicBezTo>
                <a:lnTo>
                  <a:pt x="327806" y="558732"/>
                </a:lnTo>
                <a:lnTo>
                  <a:pt x="337597" y="558732"/>
                </a:lnTo>
                <a:cubicBezTo>
                  <a:pt x="350859" y="558732"/>
                  <a:pt x="361628" y="569485"/>
                  <a:pt x="361628" y="582727"/>
                </a:cubicBezTo>
                <a:cubicBezTo>
                  <a:pt x="361628" y="595969"/>
                  <a:pt x="350859" y="606722"/>
                  <a:pt x="337597" y="606722"/>
                </a:cubicBezTo>
                <a:lnTo>
                  <a:pt x="270042" y="606722"/>
                </a:lnTo>
                <a:cubicBezTo>
                  <a:pt x="256780" y="606722"/>
                  <a:pt x="246011" y="595969"/>
                  <a:pt x="246011" y="582727"/>
                </a:cubicBezTo>
                <a:cubicBezTo>
                  <a:pt x="246011" y="569485"/>
                  <a:pt x="256780" y="558732"/>
                  <a:pt x="270042" y="558732"/>
                </a:cubicBezTo>
                <a:lnTo>
                  <a:pt x="279833" y="558732"/>
                </a:lnTo>
                <a:lnTo>
                  <a:pt x="279833" y="500966"/>
                </a:lnTo>
                <a:cubicBezTo>
                  <a:pt x="242806" y="496522"/>
                  <a:pt x="208806" y="481858"/>
                  <a:pt x="180948" y="459996"/>
                </a:cubicBezTo>
                <a:lnTo>
                  <a:pt x="139916" y="500877"/>
                </a:lnTo>
                <a:lnTo>
                  <a:pt x="146859" y="507809"/>
                </a:lnTo>
                <a:cubicBezTo>
                  <a:pt x="156204" y="517140"/>
                  <a:pt x="156204" y="532337"/>
                  <a:pt x="146859" y="541668"/>
                </a:cubicBezTo>
                <a:cubicBezTo>
                  <a:pt x="137424" y="551089"/>
                  <a:pt x="122293" y="551089"/>
                  <a:pt x="112859" y="541668"/>
                </a:cubicBezTo>
                <a:lnTo>
                  <a:pt x="77257" y="506120"/>
                </a:lnTo>
                <a:lnTo>
                  <a:pt x="68534" y="497411"/>
                </a:lnTo>
                <a:lnTo>
                  <a:pt x="65063" y="493945"/>
                </a:lnTo>
                <a:cubicBezTo>
                  <a:pt x="55717" y="484613"/>
                  <a:pt x="55717" y="469416"/>
                  <a:pt x="65063" y="460085"/>
                </a:cubicBezTo>
                <a:cubicBezTo>
                  <a:pt x="74497" y="450753"/>
                  <a:pt x="89628" y="450753"/>
                  <a:pt x="99063" y="460085"/>
                </a:cubicBezTo>
                <a:lnTo>
                  <a:pt x="105916" y="467017"/>
                </a:lnTo>
                <a:lnTo>
                  <a:pt x="146948" y="426047"/>
                </a:lnTo>
                <a:cubicBezTo>
                  <a:pt x="125052" y="398142"/>
                  <a:pt x="110367" y="364282"/>
                  <a:pt x="105916" y="327312"/>
                </a:cubicBezTo>
                <a:lnTo>
                  <a:pt x="47974" y="327312"/>
                </a:lnTo>
                <a:lnTo>
                  <a:pt x="47974" y="337088"/>
                </a:lnTo>
                <a:cubicBezTo>
                  <a:pt x="47974" y="350329"/>
                  <a:pt x="37293" y="361083"/>
                  <a:pt x="24031" y="361083"/>
                </a:cubicBezTo>
                <a:cubicBezTo>
                  <a:pt x="10770" y="361083"/>
                  <a:pt x="0" y="350329"/>
                  <a:pt x="0" y="337088"/>
                </a:cubicBezTo>
                <a:lnTo>
                  <a:pt x="0" y="269634"/>
                </a:lnTo>
                <a:cubicBezTo>
                  <a:pt x="0" y="256393"/>
                  <a:pt x="10770" y="245639"/>
                  <a:pt x="24031" y="245639"/>
                </a:cubicBezTo>
                <a:cubicBezTo>
                  <a:pt x="37293" y="245639"/>
                  <a:pt x="47974" y="256393"/>
                  <a:pt x="47974" y="269634"/>
                </a:cubicBezTo>
                <a:lnTo>
                  <a:pt x="47974" y="279410"/>
                </a:lnTo>
                <a:lnTo>
                  <a:pt x="105916" y="279410"/>
                </a:lnTo>
                <a:cubicBezTo>
                  <a:pt x="110367" y="242440"/>
                  <a:pt x="125052" y="208491"/>
                  <a:pt x="146948" y="180675"/>
                </a:cubicBezTo>
                <a:lnTo>
                  <a:pt x="105916" y="139705"/>
                </a:lnTo>
                <a:lnTo>
                  <a:pt x="99063" y="146637"/>
                </a:lnTo>
                <a:cubicBezTo>
                  <a:pt x="89628" y="155969"/>
                  <a:pt x="74497" y="155969"/>
                  <a:pt x="65063" y="146637"/>
                </a:cubicBezTo>
                <a:cubicBezTo>
                  <a:pt x="55717" y="137217"/>
                  <a:pt x="55717" y="122109"/>
                  <a:pt x="65063" y="112688"/>
                </a:cubicBezTo>
                <a:lnTo>
                  <a:pt x="106450" y="71452"/>
                </a:lnTo>
                <a:lnTo>
                  <a:pt x="112859" y="64965"/>
                </a:lnTo>
                <a:cubicBezTo>
                  <a:pt x="122293" y="55633"/>
                  <a:pt x="137424" y="55633"/>
                  <a:pt x="146859" y="64965"/>
                </a:cubicBezTo>
                <a:cubicBezTo>
                  <a:pt x="156204" y="74385"/>
                  <a:pt x="156204" y="89493"/>
                  <a:pt x="146859" y="98913"/>
                </a:cubicBezTo>
                <a:lnTo>
                  <a:pt x="139916" y="105756"/>
                </a:lnTo>
                <a:lnTo>
                  <a:pt x="180948" y="146726"/>
                </a:lnTo>
                <a:cubicBezTo>
                  <a:pt x="208806" y="124864"/>
                  <a:pt x="242806" y="110200"/>
                  <a:pt x="279833" y="105756"/>
                </a:cubicBezTo>
                <a:lnTo>
                  <a:pt x="279833" y="47901"/>
                </a:lnTo>
                <a:lnTo>
                  <a:pt x="270042" y="47901"/>
                </a:lnTo>
                <a:cubicBezTo>
                  <a:pt x="256780" y="47901"/>
                  <a:pt x="246011" y="37237"/>
                  <a:pt x="246011" y="23995"/>
                </a:cubicBezTo>
                <a:cubicBezTo>
                  <a:pt x="246011" y="10753"/>
                  <a:pt x="256780" y="0"/>
                  <a:pt x="27004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60" name="文本框 59"/>
          <p:cNvSpPr txBox="1"/>
          <p:nvPr/>
        </p:nvSpPr>
        <p:spPr>
          <a:xfrm>
            <a:off x="364409" y="2206022"/>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适应症：</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63" name="文本框 62"/>
          <p:cNvSpPr txBox="1"/>
          <p:nvPr/>
        </p:nvSpPr>
        <p:spPr>
          <a:xfrm>
            <a:off x="364409" y="2904656"/>
            <a:ext cx="2306854" cy="377026"/>
          </a:xfrm>
          <a:prstGeom prst="rect">
            <a:avLst/>
          </a:prstGeom>
          <a:noFill/>
        </p:spPr>
        <p:txBody>
          <a:bodyPr wrap="square" rtlCol="0" anchor="ctr">
            <a:spAutoFit/>
          </a:bodyPr>
          <a:lstStyle/>
          <a:p>
            <a:pPr algn="r">
              <a:lnSpc>
                <a:spcPct val="150000"/>
              </a:lnSpc>
            </a:pPr>
            <a:r>
              <a:rPr lang="en-US" altLang="zh-CN" sz="1400" b="1" dirty="0">
                <a:latin typeface="Arial" panose="020B0604020202020204" pitchFamily="34" charset="0"/>
                <a:ea typeface="微软雅黑" panose="020B0503020204020204" pitchFamily="34" charset="-122"/>
                <a:sym typeface="Arial" panose="020B0604020202020204" pitchFamily="34" charset="0"/>
              </a:rPr>
              <a:t>ATC</a:t>
            </a:r>
            <a:r>
              <a:rPr lang="zh-CN" altLang="en-US" sz="1400" b="1" dirty="0">
                <a:latin typeface="Arial" panose="020B0604020202020204" pitchFamily="34" charset="0"/>
                <a:ea typeface="微软雅黑" panose="020B0503020204020204" pitchFamily="34" charset="-122"/>
                <a:sym typeface="Arial" panose="020B0604020202020204" pitchFamily="34" charset="0"/>
              </a:rPr>
              <a:t>分类：</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3" name="任意多边形 72">
            <a:extLst>
              <a:ext uri="{FF2B5EF4-FFF2-40B4-BE49-F238E27FC236}">
                <a16:creationId xmlns:a16="http://schemas.microsoft.com/office/drawing/2014/main" id="{D58C5DA8-EF83-488B-81FA-3C6DA1757806}"/>
              </a:ext>
            </a:extLst>
          </p:cNvPr>
          <p:cNvSpPr/>
          <p:nvPr/>
        </p:nvSpPr>
        <p:spPr>
          <a:xfrm>
            <a:off x="1041020" y="2818021"/>
            <a:ext cx="368680" cy="513530"/>
          </a:xfrm>
          <a:custGeom>
            <a:avLst/>
            <a:gdLst>
              <a:gd name="connsiteX0" fmla="*/ 206387 w 482925"/>
              <a:gd name="connsiteY0" fmla="*/ 10612 h 672661"/>
              <a:gd name="connsiteX1" fmla="*/ 161210 w 482925"/>
              <a:gd name="connsiteY1" fmla="*/ 29281 h 672661"/>
              <a:gd name="connsiteX2" fmla="*/ 154460 w 482925"/>
              <a:gd name="connsiteY2" fmla="*/ 49968 h 672661"/>
              <a:gd name="connsiteX3" fmla="*/ 161730 w 482925"/>
              <a:gd name="connsiteY3" fmla="*/ 60564 h 672661"/>
              <a:gd name="connsiteX4" fmla="*/ 206387 w 482925"/>
              <a:gd name="connsiteY4" fmla="*/ 71665 h 672661"/>
              <a:gd name="connsiteX5" fmla="*/ 225081 w 482925"/>
              <a:gd name="connsiteY5" fmla="*/ 90839 h 672661"/>
              <a:gd name="connsiteX6" fmla="*/ 227678 w 482925"/>
              <a:gd name="connsiteY6" fmla="*/ 90334 h 672661"/>
              <a:gd name="connsiteX7" fmla="*/ 247930 w 482925"/>
              <a:gd name="connsiteY7" fmla="*/ 104967 h 672661"/>
              <a:gd name="connsiteX8" fmla="*/ 280644 w 482925"/>
              <a:gd name="connsiteY8" fmla="*/ 69142 h 672661"/>
              <a:gd name="connsiteX9" fmla="*/ 280644 w 482925"/>
              <a:gd name="connsiteY9" fmla="*/ 67124 h 672661"/>
              <a:gd name="connsiteX10" fmla="*/ 263508 w 482925"/>
              <a:gd name="connsiteY10" fmla="*/ 30290 h 672661"/>
              <a:gd name="connsiteX11" fmla="*/ 206387 w 482925"/>
              <a:gd name="connsiteY11" fmla="*/ 10612 h 672661"/>
              <a:gd name="connsiteX12" fmla="*/ 206907 w 482925"/>
              <a:gd name="connsiteY12" fmla="*/ 16 h 672661"/>
              <a:gd name="connsiteX13" fmla="*/ 271297 w 482925"/>
              <a:gd name="connsiteY13" fmla="*/ 23226 h 672661"/>
              <a:gd name="connsiteX14" fmla="*/ 291029 w 482925"/>
              <a:gd name="connsiteY14" fmla="*/ 71160 h 672661"/>
              <a:gd name="connsiteX15" fmla="*/ 271816 w 482925"/>
              <a:gd name="connsiteY15" fmla="*/ 109508 h 672661"/>
              <a:gd name="connsiteX16" fmla="*/ 291549 w 482925"/>
              <a:gd name="connsiteY16" fmla="*/ 181661 h 672661"/>
              <a:gd name="connsiteX17" fmla="*/ 291029 w 482925"/>
              <a:gd name="connsiteY17" fmla="*/ 182166 h 672661"/>
              <a:gd name="connsiteX18" fmla="*/ 342957 w 482925"/>
              <a:gd name="connsiteY18" fmla="*/ 201340 h 672661"/>
              <a:gd name="connsiteX19" fmla="*/ 395923 w 482925"/>
              <a:gd name="connsiteY19" fmla="*/ 263402 h 672661"/>
              <a:gd name="connsiteX20" fmla="*/ 396962 w 482925"/>
              <a:gd name="connsiteY20" fmla="*/ 353216 h 672661"/>
              <a:gd name="connsiteX21" fmla="*/ 418771 w 482925"/>
              <a:gd name="connsiteY21" fmla="*/ 434956 h 672661"/>
              <a:gd name="connsiteX22" fmla="*/ 430715 w 482925"/>
              <a:gd name="connsiteY22" fmla="*/ 495505 h 672661"/>
              <a:gd name="connsiteX23" fmla="*/ 437985 w 482925"/>
              <a:gd name="connsiteY23" fmla="*/ 542430 h 672661"/>
              <a:gd name="connsiteX24" fmla="*/ 455640 w 482925"/>
              <a:gd name="connsiteY24" fmla="*/ 568163 h 672661"/>
              <a:gd name="connsiteX25" fmla="*/ 479527 w 482925"/>
              <a:gd name="connsiteY25" fmla="*/ 622152 h 672661"/>
              <a:gd name="connsiteX26" fmla="*/ 457198 w 482925"/>
              <a:gd name="connsiteY26" fmla="*/ 598942 h 672661"/>
              <a:gd name="connsiteX27" fmla="*/ 467583 w 482925"/>
              <a:gd name="connsiteY27" fmla="*/ 634767 h 672661"/>
              <a:gd name="connsiteX28" fmla="*/ 464468 w 482925"/>
              <a:gd name="connsiteY28" fmla="*/ 655959 h 672661"/>
              <a:gd name="connsiteX29" fmla="*/ 449928 w 482925"/>
              <a:gd name="connsiteY29" fmla="*/ 625684 h 672661"/>
              <a:gd name="connsiteX30" fmla="*/ 449928 w 482925"/>
              <a:gd name="connsiteY30" fmla="*/ 672105 h 672661"/>
              <a:gd name="connsiteX31" fmla="*/ 436946 w 482925"/>
              <a:gd name="connsiteY31" fmla="*/ 627703 h 672661"/>
              <a:gd name="connsiteX32" fmla="*/ 432792 w 482925"/>
              <a:gd name="connsiteY32" fmla="*/ 663023 h 672661"/>
              <a:gd name="connsiteX33" fmla="*/ 423964 w 482925"/>
              <a:gd name="connsiteY33" fmla="*/ 667059 h 672661"/>
              <a:gd name="connsiteX34" fmla="*/ 421887 w 482925"/>
              <a:gd name="connsiteY34" fmla="*/ 627703 h 672661"/>
              <a:gd name="connsiteX35" fmla="*/ 410982 w 482925"/>
              <a:gd name="connsiteY35" fmla="*/ 657472 h 672661"/>
              <a:gd name="connsiteX36" fmla="*/ 407347 w 482925"/>
              <a:gd name="connsiteY36" fmla="*/ 627198 h 672661"/>
              <a:gd name="connsiteX37" fmla="*/ 405270 w 482925"/>
              <a:gd name="connsiteY37" fmla="*/ 604997 h 672661"/>
              <a:gd name="connsiteX38" fmla="*/ 404751 w 482925"/>
              <a:gd name="connsiteY38" fmla="*/ 590869 h 672661"/>
              <a:gd name="connsiteX39" fmla="*/ 406309 w 482925"/>
              <a:gd name="connsiteY39" fmla="*/ 568163 h 672661"/>
              <a:gd name="connsiteX40" fmla="*/ 384499 w 482925"/>
              <a:gd name="connsiteY40" fmla="*/ 520734 h 672661"/>
              <a:gd name="connsiteX41" fmla="*/ 353862 w 482925"/>
              <a:gd name="connsiteY41" fmla="*/ 426883 h 672661"/>
              <a:gd name="connsiteX42" fmla="*/ 340880 w 482925"/>
              <a:gd name="connsiteY42" fmla="*/ 371380 h 672661"/>
              <a:gd name="connsiteX43" fmla="*/ 337764 w 482925"/>
              <a:gd name="connsiteY43" fmla="*/ 499542 h 672661"/>
              <a:gd name="connsiteX44" fmla="*/ 351785 w 482925"/>
              <a:gd name="connsiteY44" fmla="*/ 540538 h 672661"/>
              <a:gd name="connsiteX45" fmla="*/ 360057 w 482925"/>
              <a:gd name="connsiteY45" fmla="*/ 579334 h 672661"/>
              <a:gd name="connsiteX46" fmla="*/ 122820 w 482925"/>
              <a:gd name="connsiteY46" fmla="*/ 579334 h 672661"/>
              <a:gd name="connsiteX47" fmla="*/ 131092 w 482925"/>
              <a:gd name="connsiteY47" fmla="*/ 540538 h 672661"/>
              <a:gd name="connsiteX48" fmla="*/ 145113 w 482925"/>
              <a:gd name="connsiteY48" fmla="*/ 499542 h 672661"/>
              <a:gd name="connsiteX49" fmla="*/ 141997 w 482925"/>
              <a:gd name="connsiteY49" fmla="*/ 371380 h 672661"/>
              <a:gd name="connsiteX50" fmla="*/ 129015 w 482925"/>
              <a:gd name="connsiteY50" fmla="*/ 426883 h 672661"/>
              <a:gd name="connsiteX51" fmla="*/ 98378 w 482925"/>
              <a:gd name="connsiteY51" fmla="*/ 520734 h 672661"/>
              <a:gd name="connsiteX52" fmla="*/ 76568 w 482925"/>
              <a:gd name="connsiteY52" fmla="*/ 568163 h 672661"/>
              <a:gd name="connsiteX53" fmla="*/ 78126 w 482925"/>
              <a:gd name="connsiteY53" fmla="*/ 590869 h 672661"/>
              <a:gd name="connsiteX54" fmla="*/ 77607 w 482925"/>
              <a:gd name="connsiteY54" fmla="*/ 604997 h 672661"/>
              <a:gd name="connsiteX55" fmla="*/ 75530 w 482925"/>
              <a:gd name="connsiteY55" fmla="*/ 627198 h 672661"/>
              <a:gd name="connsiteX56" fmla="*/ 71895 w 482925"/>
              <a:gd name="connsiteY56" fmla="*/ 657472 h 672661"/>
              <a:gd name="connsiteX57" fmla="*/ 60990 w 482925"/>
              <a:gd name="connsiteY57" fmla="*/ 627703 h 672661"/>
              <a:gd name="connsiteX58" fmla="*/ 58913 w 482925"/>
              <a:gd name="connsiteY58" fmla="*/ 667059 h 672661"/>
              <a:gd name="connsiteX59" fmla="*/ 50085 w 482925"/>
              <a:gd name="connsiteY59" fmla="*/ 663023 h 672661"/>
              <a:gd name="connsiteX60" fmla="*/ 45931 w 482925"/>
              <a:gd name="connsiteY60" fmla="*/ 627703 h 672661"/>
              <a:gd name="connsiteX61" fmla="*/ 32949 w 482925"/>
              <a:gd name="connsiteY61" fmla="*/ 672105 h 672661"/>
              <a:gd name="connsiteX62" fmla="*/ 32430 w 482925"/>
              <a:gd name="connsiteY62" fmla="*/ 625684 h 672661"/>
              <a:gd name="connsiteX63" fmla="*/ 18409 w 482925"/>
              <a:gd name="connsiteY63" fmla="*/ 655959 h 672661"/>
              <a:gd name="connsiteX64" fmla="*/ 15294 w 482925"/>
              <a:gd name="connsiteY64" fmla="*/ 634767 h 672661"/>
              <a:gd name="connsiteX65" fmla="*/ 25160 w 482925"/>
              <a:gd name="connsiteY65" fmla="*/ 598942 h 672661"/>
              <a:gd name="connsiteX66" fmla="*/ 3350 w 482925"/>
              <a:gd name="connsiteY66" fmla="*/ 622152 h 672661"/>
              <a:gd name="connsiteX67" fmla="*/ 27237 w 482925"/>
              <a:gd name="connsiteY67" fmla="*/ 568163 h 672661"/>
              <a:gd name="connsiteX68" fmla="*/ 45412 w 482925"/>
              <a:gd name="connsiteY68" fmla="*/ 542430 h 672661"/>
              <a:gd name="connsiteX69" fmla="*/ 52682 w 482925"/>
              <a:gd name="connsiteY69" fmla="*/ 495505 h 672661"/>
              <a:gd name="connsiteX70" fmla="*/ 64625 w 482925"/>
              <a:gd name="connsiteY70" fmla="*/ 434956 h 672661"/>
              <a:gd name="connsiteX71" fmla="*/ 86435 w 482925"/>
              <a:gd name="connsiteY71" fmla="*/ 353216 h 672661"/>
              <a:gd name="connsiteX72" fmla="*/ 87473 w 482925"/>
              <a:gd name="connsiteY72" fmla="*/ 263402 h 672661"/>
              <a:gd name="connsiteX73" fmla="*/ 140439 w 482925"/>
              <a:gd name="connsiteY73" fmla="*/ 201340 h 672661"/>
              <a:gd name="connsiteX74" fmla="*/ 193925 w 482925"/>
              <a:gd name="connsiteY74" fmla="*/ 179643 h 672661"/>
              <a:gd name="connsiteX75" fmla="*/ 195483 w 482925"/>
              <a:gd name="connsiteY75" fmla="*/ 179643 h 672661"/>
              <a:gd name="connsiteX76" fmla="*/ 193406 w 482925"/>
              <a:gd name="connsiteY76" fmla="*/ 165011 h 672661"/>
              <a:gd name="connsiteX77" fmla="*/ 171077 w 482925"/>
              <a:gd name="connsiteY77" fmla="*/ 160974 h 672661"/>
              <a:gd name="connsiteX78" fmla="*/ 151344 w 482925"/>
              <a:gd name="connsiteY78" fmla="*/ 158451 h 672661"/>
              <a:gd name="connsiteX79" fmla="*/ 149267 w 482925"/>
              <a:gd name="connsiteY79" fmla="*/ 147855 h 672661"/>
              <a:gd name="connsiteX80" fmla="*/ 146671 w 482925"/>
              <a:gd name="connsiteY80" fmla="*/ 139782 h 672661"/>
              <a:gd name="connsiteX81" fmla="*/ 145113 w 482925"/>
              <a:gd name="connsiteY81" fmla="*/ 132718 h 672661"/>
              <a:gd name="connsiteX82" fmla="*/ 145632 w 482925"/>
              <a:gd name="connsiteY82" fmla="*/ 130700 h 672661"/>
              <a:gd name="connsiteX83" fmla="*/ 141478 w 482925"/>
              <a:gd name="connsiteY83" fmla="*/ 127168 h 672661"/>
              <a:gd name="connsiteX84" fmla="*/ 141478 w 482925"/>
              <a:gd name="connsiteY84" fmla="*/ 120608 h 672661"/>
              <a:gd name="connsiteX85" fmla="*/ 139920 w 482925"/>
              <a:gd name="connsiteY85" fmla="*/ 115563 h 672661"/>
              <a:gd name="connsiteX86" fmla="*/ 131092 w 482925"/>
              <a:gd name="connsiteY86" fmla="*/ 110012 h 672661"/>
              <a:gd name="connsiteX87" fmla="*/ 140959 w 482925"/>
              <a:gd name="connsiteY87" fmla="*/ 88316 h 672661"/>
              <a:gd name="connsiteX88" fmla="*/ 137843 w 482925"/>
              <a:gd name="connsiteY88" fmla="*/ 68637 h 672661"/>
              <a:gd name="connsiteX89" fmla="*/ 153421 w 482925"/>
              <a:gd name="connsiteY89" fmla="*/ 21712 h 672661"/>
              <a:gd name="connsiteX90" fmla="*/ 206907 w 482925"/>
              <a:gd name="connsiteY90" fmla="*/ 16 h 672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482925" h="672661">
                <a:moveTo>
                  <a:pt x="206387" y="10612"/>
                </a:moveTo>
                <a:cubicBezTo>
                  <a:pt x="193406" y="10612"/>
                  <a:pt x="175231" y="14144"/>
                  <a:pt x="161210" y="29281"/>
                </a:cubicBezTo>
                <a:cubicBezTo>
                  <a:pt x="156018" y="34831"/>
                  <a:pt x="153421" y="39372"/>
                  <a:pt x="154460" y="49968"/>
                </a:cubicBezTo>
                <a:cubicBezTo>
                  <a:pt x="155498" y="54005"/>
                  <a:pt x="158095" y="57032"/>
                  <a:pt x="161730" y="60564"/>
                </a:cubicBezTo>
                <a:cubicBezTo>
                  <a:pt x="172115" y="70656"/>
                  <a:pt x="192367" y="61573"/>
                  <a:pt x="206387" y="71665"/>
                </a:cubicBezTo>
                <a:cubicBezTo>
                  <a:pt x="212619" y="75701"/>
                  <a:pt x="210022" y="91343"/>
                  <a:pt x="225081" y="90839"/>
                </a:cubicBezTo>
                <a:lnTo>
                  <a:pt x="227678" y="90334"/>
                </a:lnTo>
                <a:cubicBezTo>
                  <a:pt x="233909" y="96893"/>
                  <a:pt x="234948" y="105471"/>
                  <a:pt x="247930" y="104967"/>
                </a:cubicBezTo>
                <a:cubicBezTo>
                  <a:pt x="266104" y="103957"/>
                  <a:pt x="281163" y="88316"/>
                  <a:pt x="280644" y="69142"/>
                </a:cubicBezTo>
                <a:lnTo>
                  <a:pt x="280644" y="67124"/>
                </a:lnTo>
                <a:cubicBezTo>
                  <a:pt x="280644" y="61573"/>
                  <a:pt x="279605" y="46941"/>
                  <a:pt x="263508" y="30290"/>
                </a:cubicBezTo>
                <a:cubicBezTo>
                  <a:pt x="253642" y="20199"/>
                  <a:pt x="241179" y="10107"/>
                  <a:pt x="206387" y="10612"/>
                </a:cubicBezTo>
                <a:close/>
                <a:moveTo>
                  <a:pt x="206907" y="16"/>
                </a:moveTo>
                <a:cubicBezTo>
                  <a:pt x="244295" y="-489"/>
                  <a:pt x="259873" y="11116"/>
                  <a:pt x="271297" y="23226"/>
                </a:cubicBezTo>
                <a:cubicBezTo>
                  <a:pt x="295703" y="48455"/>
                  <a:pt x="291029" y="71160"/>
                  <a:pt x="291029" y="71160"/>
                </a:cubicBezTo>
                <a:cubicBezTo>
                  <a:pt x="290510" y="84784"/>
                  <a:pt x="271816" y="109508"/>
                  <a:pt x="271816" y="109508"/>
                </a:cubicBezTo>
                <a:cubicBezTo>
                  <a:pt x="257277" y="130700"/>
                  <a:pt x="291549" y="181661"/>
                  <a:pt x="291549" y="181661"/>
                </a:cubicBezTo>
                <a:lnTo>
                  <a:pt x="291029" y="182166"/>
                </a:lnTo>
                <a:cubicBezTo>
                  <a:pt x="294664" y="186203"/>
                  <a:pt x="306608" y="196294"/>
                  <a:pt x="342957" y="201340"/>
                </a:cubicBezTo>
                <a:cubicBezTo>
                  <a:pt x="342957" y="201340"/>
                  <a:pt x="389692" y="201844"/>
                  <a:pt x="395923" y="263402"/>
                </a:cubicBezTo>
                <a:lnTo>
                  <a:pt x="396962" y="353216"/>
                </a:lnTo>
                <a:cubicBezTo>
                  <a:pt x="396962" y="353216"/>
                  <a:pt x="400077" y="406700"/>
                  <a:pt x="418771" y="434956"/>
                </a:cubicBezTo>
                <a:cubicBezTo>
                  <a:pt x="418771" y="434956"/>
                  <a:pt x="429157" y="453121"/>
                  <a:pt x="430715" y="495505"/>
                </a:cubicBezTo>
                <a:cubicBezTo>
                  <a:pt x="430715" y="495505"/>
                  <a:pt x="433830" y="531330"/>
                  <a:pt x="437985" y="542430"/>
                </a:cubicBezTo>
                <a:cubicBezTo>
                  <a:pt x="440062" y="548990"/>
                  <a:pt x="448889" y="560090"/>
                  <a:pt x="455640" y="568163"/>
                </a:cubicBezTo>
                <a:cubicBezTo>
                  <a:pt x="469141" y="584310"/>
                  <a:pt x="491470" y="618116"/>
                  <a:pt x="479527" y="622152"/>
                </a:cubicBezTo>
                <a:cubicBezTo>
                  <a:pt x="479527" y="622152"/>
                  <a:pt x="470180" y="623162"/>
                  <a:pt x="457198" y="598942"/>
                </a:cubicBezTo>
                <a:cubicBezTo>
                  <a:pt x="457198" y="598942"/>
                  <a:pt x="457717" y="608024"/>
                  <a:pt x="467583" y="634767"/>
                </a:cubicBezTo>
                <a:cubicBezTo>
                  <a:pt x="469660" y="639812"/>
                  <a:pt x="477969" y="665041"/>
                  <a:pt x="464468" y="655959"/>
                </a:cubicBezTo>
                <a:cubicBezTo>
                  <a:pt x="464468" y="655959"/>
                  <a:pt x="458236" y="651922"/>
                  <a:pt x="449928" y="625684"/>
                </a:cubicBezTo>
                <a:cubicBezTo>
                  <a:pt x="449928" y="625684"/>
                  <a:pt x="454601" y="669582"/>
                  <a:pt x="449928" y="672105"/>
                </a:cubicBezTo>
                <a:cubicBezTo>
                  <a:pt x="443697" y="675132"/>
                  <a:pt x="440062" y="666555"/>
                  <a:pt x="436946" y="627703"/>
                </a:cubicBezTo>
                <a:cubicBezTo>
                  <a:pt x="436946" y="627703"/>
                  <a:pt x="434350" y="615593"/>
                  <a:pt x="432792" y="663023"/>
                </a:cubicBezTo>
                <a:cubicBezTo>
                  <a:pt x="432792" y="665041"/>
                  <a:pt x="429157" y="677151"/>
                  <a:pt x="423964" y="667059"/>
                </a:cubicBezTo>
                <a:cubicBezTo>
                  <a:pt x="419810" y="658482"/>
                  <a:pt x="421887" y="635271"/>
                  <a:pt x="421887" y="627703"/>
                </a:cubicBezTo>
                <a:cubicBezTo>
                  <a:pt x="421887" y="627703"/>
                  <a:pt x="416175" y="657472"/>
                  <a:pt x="410982" y="657472"/>
                </a:cubicBezTo>
                <a:cubicBezTo>
                  <a:pt x="410982" y="657472"/>
                  <a:pt x="404751" y="664536"/>
                  <a:pt x="407347" y="627198"/>
                </a:cubicBezTo>
                <a:cubicBezTo>
                  <a:pt x="407867" y="621143"/>
                  <a:pt x="405790" y="609034"/>
                  <a:pt x="405270" y="604997"/>
                </a:cubicBezTo>
                <a:lnTo>
                  <a:pt x="404751" y="590869"/>
                </a:lnTo>
                <a:cubicBezTo>
                  <a:pt x="404751" y="590869"/>
                  <a:pt x="406309" y="574723"/>
                  <a:pt x="406309" y="568163"/>
                </a:cubicBezTo>
                <a:cubicBezTo>
                  <a:pt x="406309" y="566145"/>
                  <a:pt x="400077" y="543944"/>
                  <a:pt x="384499" y="520734"/>
                </a:cubicBezTo>
                <a:cubicBezTo>
                  <a:pt x="384499" y="520734"/>
                  <a:pt x="351265" y="464222"/>
                  <a:pt x="353862" y="426883"/>
                </a:cubicBezTo>
                <a:cubicBezTo>
                  <a:pt x="353862" y="426883"/>
                  <a:pt x="353862" y="391563"/>
                  <a:pt x="340880" y="371380"/>
                </a:cubicBezTo>
                <a:cubicBezTo>
                  <a:pt x="340880" y="371380"/>
                  <a:pt x="331533" y="471790"/>
                  <a:pt x="337764" y="499542"/>
                </a:cubicBezTo>
                <a:cubicBezTo>
                  <a:pt x="337764" y="499542"/>
                  <a:pt x="345164" y="516823"/>
                  <a:pt x="351785" y="540538"/>
                </a:cubicBezTo>
                <a:lnTo>
                  <a:pt x="360057" y="579334"/>
                </a:lnTo>
                <a:lnTo>
                  <a:pt x="122820" y="579334"/>
                </a:lnTo>
                <a:lnTo>
                  <a:pt x="131092" y="540538"/>
                </a:lnTo>
                <a:cubicBezTo>
                  <a:pt x="137713" y="516823"/>
                  <a:pt x="145113" y="499542"/>
                  <a:pt x="145113" y="499542"/>
                </a:cubicBezTo>
                <a:cubicBezTo>
                  <a:pt x="151344" y="471790"/>
                  <a:pt x="141997" y="371380"/>
                  <a:pt x="141997" y="371380"/>
                </a:cubicBezTo>
                <a:cubicBezTo>
                  <a:pt x="128496" y="391563"/>
                  <a:pt x="129015" y="426883"/>
                  <a:pt x="129015" y="426883"/>
                </a:cubicBezTo>
                <a:cubicBezTo>
                  <a:pt x="131092" y="464222"/>
                  <a:pt x="98378" y="520734"/>
                  <a:pt x="98378" y="520734"/>
                </a:cubicBezTo>
                <a:cubicBezTo>
                  <a:pt x="82800" y="543944"/>
                  <a:pt x="76568" y="566145"/>
                  <a:pt x="76568" y="568163"/>
                </a:cubicBezTo>
                <a:cubicBezTo>
                  <a:pt x="76568" y="574723"/>
                  <a:pt x="78126" y="590869"/>
                  <a:pt x="78126" y="590869"/>
                </a:cubicBezTo>
                <a:lnTo>
                  <a:pt x="77607" y="604997"/>
                </a:lnTo>
                <a:cubicBezTo>
                  <a:pt x="77088" y="609034"/>
                  <a:pt x="75011" y="621143"/>
                  <a:pt x="75530" y="627198"/>
                </a:cubicBezTo>
                <a:cubicBezTo>
                  <a:pt x="78126" y="664536"/>
                  <a:pt x="71895" y="657472"/>
                  <a:pt x="71895" y="657472"/>
                </a:cubicBezTo>
                <a:cubicBezTo>
                  <a:pt x="66702" y="657472"/>
                  <a:pt x="60990" y="627703"/>
                  <a:pt x="60990" y="627703"/>
                </a:cubicBezTo>
                <a:cubicBezTo>
                  <a:pt x="60990" y="635271"/>
                  <a:pt x="63067" y="658482"/>
                  <a:pt x="58913" y="667059"/>
                </a:cubicBezTo>
                <a:cubicBezTo>
                  <a:pt x="53720" y="677151"/>
                  <a:pt x="50085" y="665041"/>
                  <a:pt x="50085" y="663023"/>
                </a:cubicBezTo>
                <a:cubicBezTo>
                  <a:pt x="48527" y="615593"/>
                  <a:pt x="45931" y="627703"/>
                  <a:pt x="45931" y="627703"/>
                </a:cubicBezTo>
                <a:cubicBezTo>
                  <a:pt x="42815" y="666555"/>
                  <a:pt x="39180" y="675132"/>
                  <a:pt x="32949" y="672105"/>
                </a:cubicBezTo>
                <a:cubicBezTo>
                  <a:pt x="28276" y="669582"/>
                  <a:pt x="32430" y="625684"/>
                  <a:pt x="32430" y="625684"/>
                </a:cubicBezTo>
                <a:cubicBezTo>
                  <a:pt x="24641" y="651922"/>
                  <a:pt x="18409" y="655959"/>
                  <a:pt x="18409" y="655959"/>
                </a:cubicBezTo>
                <a:cubicBezTo>
                  <a:pt x="4908" y="665041"/>
                  <a:pt x="13217" y="639812"/>
                  <a:pt x="15294" y="634767"/>
                </a:cubicBezTo>
                <a:cubicBezTo>
                  <a:pt x="25160" y="608024"/>
                  <a:pt x="25160" y="598942"/>
                  <a:pt x="25160" y="598942"/>
                </a:cubicBezTo>
                <a:cubicBezTo>
                  <a:pt x="12697" y="623162"/>
                  <a:pt x="3350" y="622152"/>
                  <a:pt x="3350" y="622152"/>
                </a:cubicBezTo>
                <a:cubicBezTo>
                  <a:pt x="-8593" y="618116"/>
                  <a:pt x="14255" y="584310"/>
                  <a:pt x="27237" y="568163"/>
                </a:cubicBezTo>
                <a:cubicBezTo>
                  <a:pt x="34507" y="560090"/>
                  <a:pt x="42815" y="548990"/>
                  <a:pt x="45412" y="542430"/>
                </a:cubicBezTo>
                <a:cubicBezTo>
                  <a:pt x="49566" y="531330"/>
                  <a:pt x="52682" y="495505"/>
                  <a:pt x="52682" y="495505"/>
                </a:cubicBezTo>
                <a:cubicBezTo>
                  <a:pt x="54239" y="453121"/>
                  <a:pt x="64625" y="434956"/>
                  <a:pt x="64625" y="434956"/>
                </a:cubicBezTo>
                <a:cubicBezTo>
                  <a:pt x="83319" y="406196"/>
                  <a:pt x="86435" y="353216"/>
                  <a:pt x="86435" y="353216"/>
                </a:cubicBezTo>
                <a:lnTo>
                  <a:pt x="87473" y="263402"/>
                </a:lnTo>
                <a:cubicBezTo>
                  <a:pt x="93704" y="201844"/>
                  <a:pt x="140439" y="201340"/>
                  <a:pt x="140439" y="201340"/>
                </a:cubicBezTo>
                <a:cubicBezTo>
                  <a:pt x="187174" y="194780"/>
                  <a:pt x="193925" y="179643"/>
                  <a:pt x="193925" y="179643"/>
                </a:cubicBezTo>
                <a:lnTo>
                  <a:pt x="195483" y="179643"/>
                </a:lnTo>
                <a:cubicBezTo>
                  <a:pt x="194444" y="173588"/>
                  <a:pt x="193406" y="165011"/>
                  <a:pt x="193406" y="165011"/>
                </a:cubicBezTo>
                <a:cubicBezTo>
                  <a:pt x="187174" y="157442"/>
                  <a:pt x="176789" y="160469"/>
                  <a:pt x="171077" y="160974"/>
                </a:cubicBezTo>
                <a:cubicBezTo>
                  <a:pt x="154979" y="162992"/>
                  <a:pt x="151344" y="158451"/>
                  <a:pt x="151344" y="158451"/>
                </a:cubicBezTo>
                <a:lnTo>
                  <a:pt x="149267" y="147855"/>
                </a:lnTo>
                <a:cubicBezTo>
                  <a:pt x="150306" y="143314"/>
                  <a:pt x="148228" y="141296"/>
                  <a:pt x="146671" y="139782"/>
                </a:cubicBezTo>
                <a:cubicBezTo>
                  <a:pt x="143036" y="134736"/>
                  <a:pt x="145113" y="132718"/>
                  <a:pt x="145113" y="132718"/>
                </a:cubicBezTo>
                <a:lnTo>
                  <a:pt x="145632" y="130700"/>
                </a:lnTo>
                <a:cubicBezTo>
                  <a:pt x="141478" y="129186"/>
                  <a:pt x="141478" y="127168"/>
                  <a:pt x="141478" y="127168"/>
                </a:cubicBezTo>
                <a:lnTo>
                  <a:pt x="141478" y="120608"/>
                </a:lnTo>
                <a:cubicBezTo>
                  <a:pt x="141997" y="115563"/>
                  <a:pt x="139920" y="115563"/>
                  <a:pt x="139920" y="115563"/>
                </a:cubicBezTo>
                <a:cubicBezTo>
                  <a:pt x="130573" y="115058"/>
                  <a:pt x="131092" y="110012"/>
                  <a:pt x="131092" y="110012"/>
                </a:cubicBezTo>
                <a:lnTo>
                  <a:pt x="140959" y="88316"/>
                </a:lnTo>
                <a:cubicBezTo>
                  <a:pt x="145632" y="78729"/>
                  <a:pt x="138362" y="73683"/>
                  <a:pt x="137843" y="68637"/>
                </a:cubicBezTo>
                <a:cubicBezTo>
                  <a:pt x="135247" y="46436"/>
                  <a:pt x="143036" y="32813"/>
                  <a:pt x="153421" y="21712"/>
                </a:cubicBezTo>
                <a:cubicBezTo>
                  <a:pt x="170557" y="4052"/>
                  <a:pt x="192367" y="16"/>
                  <a:pt x="206907" y="16"/>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69" name="文本框 68"/>
          <p:cNvSpPr txBox="1"/>
          <p:nvPr/>
        </p:nvSpPr>
        <p:spPr>
          <a:xfrm>
            <a:off x="364409" y="3939769"/>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注册规格：</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1" name="文本框 70"/>
          <p:cNvSpPr txBox="1"/>
          <p:nvPr/>
        </p:nvSpPr>
        <p:spPr>
          <a:xfrm>
            <a:off x="364409" y="3433312"/>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应用科室：</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5" name="Freeform 73">
            <a:extLst>
              <a:ext uri="{FF2B5EF4-FFF2-40B4-BE49-F238E27FC236}">
                <a16:creationId xmlns:a16="http://schemas.microsoft.com/office/drawing/2014/main" id="{D58C5DA8-EF83-488B-81FA-3C6DA1757806}"/>
              </a:ext>
            </a:extLst>
          </p:cNvPr>
          <p:cNvSpPr/>
          <p:nvPr/>
        </p:nvSpPr>
        <p:spPr>
          <a:xfrm>
            <a:off x="1070071" y="3512028"/>
            <a:ext cx="310578" cy="310110"/>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 name="connsiteX51" fmla="*/ 373273 h 605239"/>
              <a:gd name="connsiteY51" fmla="*/ 373273 h 605239"/>
              <a:gd name="connsiteX52" fmla="*/ 373273 h 605239"/>
              <a:gd name="connsiteY52" fmla="*/ 373273 h 605239"/>
              <a:gd name="connsiteX53" fmla="*/ 373273 h 605239"/>
              <a:gd name="connsiteY53" fmla="*/ 373273 h 605239"/>
              <a:gd name="connsiteX54" fmla="*/ 373273 h 605239"/>
              <a:gd name="connsiteY54" fmla="*/ 373273 h 605239"/>
              <a:gd name="connsiteX55" fmla="*/ 373273 h 605239"/>
              <a:gd name="connsiteY55" fmla="*/ 373273 h 605239"/>
              <a:gd name="connsiteX56" fmla="*/ 373273 h 605239"/>
              <a:gd name="connsiteY56" fmla="*/ 373273 h 605239"/>
              <a:gd name="connsiteX57" fmla="*/ 373273 h 605239"/>
              <a:gd name="connsiteY57" fmla="*/ 373273 h 605239"/>
              <a:gd name="connsiteX58" fmla="*/ 373273 h 605239"/>
              <a:gd name="connsiteY58" fmla="*/ 373273 h 605239"/>
              <a:gd name="connsiteX59" fmla="*/ 373273 h 605239"/>
              <a:gd name="connsiteY59" fmla="*/ 373273 h 605239"/>
              <a:gd name="connsiteX60" fmla="*/ 373273 h 605239"/>
              <a:gd name="connsiteY60" fmla="*/ 373273 h 605239"/>
              <a:gd name="connsiteX61" fmla="*/ 373273 h 605239"/>
              <a:gd name="connsiteY61" fmla="*/ 373273 h 605239"/>
              <a:gd name="connsiteX62" fmla="*/ 373273 h 605239"/>
              <a:gd name="connsiteY62" fmla="*/ 373273 h 605239"/>
              <a:gd name="connsiteX63" fmla="*/ 373273 h 605239"/>
              <a:gd name="connsiteY63" fmla="*/ 373273 h 605239"/>
              <a:gd name="connsiteX64" fmla="*/ 373273 h 605239"/>
              <a:gd name="connsiteY64" fmla="*/ 373273 h 605239"/>
              <a:gd name="connsiteX65" fmla="*/ 373273 h 605239"/>
              <a:gd name="connsiteY65" fmla="*/ 373273 h 605239"/>
              <a:gd name="connsiteX66" fmla="*/ 373273 h 605239"/>
              <a:gd name="connsiteY66" fmla="*/ 373273 h 605239"/>
              <a:gd name="connsiteX67" fmla="*/ 373273 h 605239"/>
              <a:gd name="connsiteY67" fmla="*/ 373273 h 605239"/>
              <a:gd name="connsiteX68" fmla="*/ 373273 h 605239"/>
              <a:gd name="connsiteY68" fmla="*/ 373273 h 605239"/>
              <a:gd name="connsiteX69" fmla="*/ 373273 h 605239"/>
              <a:gd name="connsiteY69" fmla="*/ 373273 h 605239"/>
              <a:gd name="connsiteX70" fmla="*/ 373273 h 605239"/>
              <a:gd name="connsiteY70" fmla="*/ 373273 h 605239"/>
              <a:gd name="connsiteX71" fmla="*/ 373273 h 605239"/>
              <a:gd name="connsiteY71" fmla="*/ 373273 h 605239"/>
              <a:gd name="connsiteX72" fmla="*/ 373273 h 605239"/>
              <a:gd name="connsiteY72" fmla="*/ 373273 h 605239"/>
              <a:gd name="connsiteX73" fmla="*/ 373273 h 605239"/>
              <a:gd name="connsiteY73" fmla="*/ 373273 h 605239"/>
              <a:gd name="connsiteX74" fmla="*/ 373273 h 605239"/>
              <a:gd name="connsiteY74" fmla="*/ 373273 h 605239"/>
              <a:gd name="connsiteX75" fmla="*/ 373273 h 605239"/>
              <a:gd name="connsiteY75" fmla="*/ 373273 h 605239"/>
              <a:gd name="connsiteX76" fmla="*/ 373273 h 605239"/>
              <a:gd name="connsiteY76" fmla="*/ 373273 h 605239"/>
              <a:gd name="connsiteX77" fmla="*/ 373273 h 605239"/>
              <a:gd name="connsiteY77" fmla="*/ 373273 h 605239"/>
              <a:gd name="connsiteX78" fmla="*/ 373273 h 605239"/>
              <a:gd name="connsiteY78" fmla="*/ 373273 h 605239"/>
              <a:gd name="connsiteX79" fmla="*/ 373273 h 605239"/>
              <a:gd name="connsiteY79" fmla="*/ 373273 h 605239"/>
              <a:gd name="connsiteX80" fmla="*/ 373273 h 605239"/>
              <a:gd name="connsiteY80" fmla="*/ 373273 h 605239"/>
              <a:gd name="connsiteX81" fmla="*/ 373273 h 605239"/>
              <a:gd name="connsiteY81" fmla="*/ 373273 h 605239"/>
              <a:gd name="connsiteX82" fmla="*/ 373273 h 605239"/>
              <a:gd name="connsiteY82" fmla="*/ 373273 h 605239"/>
              <a:gd name="connsiteX83" fmla="*/ 373273 h 605239"/>
              <a:gd name="connsiteY83" fmla="*/ 373273 h 605239"/>
              <a:gd name="connsiteX84" fmla="*/ 373273 h 605239"/>
              <a:gd name="connsiteY84" fmla="*/ 373273 h 605239"/>
              <a:gd name="connsiteX85" fmla="*/ 373273 h 605239"/>
              <a:gd name="connsiteY85" fmla="*/ 373273 h 605239"/>
              <a:gd name="connsiteX86" fmla="*/ 373273 h 605239"/>
              <a:gd name="connsiteY86" fmla="*/ 373273 h 605239"/>
              <a:gd name="connsiteX87" fmla="*/ 373273 h 605239"/>
              <a:gd name="connsiteY87" fmla="*/ 373273 h 605239"/>
              <a:gd name="connsiteX88" fmla="*/ 373273 h 605239"/>
              <a:gd name="connsiteY88" fmla="*/ 373273 h 605239"/>
              <a:gd name="connsiteX89" fmla="*/ 373273 h 605239"/>
              <a:gd name="connsiteY89" fmla="*/ 373273 h 605239"/>
              <a:gd name="connsiteX90" fmla="*/ 373273 h 605239"/>
              <a:gd name="connsiteY90" fmla="*/ 373273 h 605239"/>
              <a:gd name="connsiteX91" fmla="*/ 373273 h 605239"/>
              <a:gd name="connsiteY91" fmla="*/ 373273 h 605239"/>
              <a:gd name="connsiteX92" fmla="*/ 373273 h 605239"/>
              <a:gd name="connsiteY92" fmla="*/ 373273 h 605239"/>
              <a:gd name="connsiteX93" fmla="*/ 373273 h 605239"/>
              <a:gd name="connsiteY93" fmla="*/ 373273 h 605239"/>
              <a:gd name="connsiteX94" fmla="*/ 373273 h 605239"/>
              <a:gd name="connsiteY94" fmla="*/ 373273 h 605239"/>
              <a:gd name="connsiteX95" fmla="*/ 373273 h 605239"/>
              <a:gd name="connsiteY95" fmla="*/ 373273 h 605239"/>
              <a:gd name="connsiteX96" fmla="*/ 373273 h 605239"/>
              <a:gd name="connsiteY96" fmla="*/ 373273 h 605239"/>
              <a:gd name="connsiteX97" fmla="*/ 373273 h 605239"/>
              <a:gd name="connsiteY97" fmla="*/ 373273 h 605239"/>
              <a:gd name="connsiteX98" fmla="*/ 373273 h 605239"/>
              <a:gd name="connsiteY98" fmla="*/ 373273 h 605239"/>
              <a:gd name="connsiteX99" fmla="*/ 373273 h 605239"/>
              <a:gd name="connsiteY99" fmla="*/ 373273 h 605239"/>
              <a:gd name="connsiteX100" fmla="*/ 373273 h 605239"/>
              <a:gd name="connsiteY100" fmla="*/ 373273 h 605239"/>
              <a:gd name="connsiteX101" fmla="*/ 373273 h 605239"/>
              <a:gd name="connsiteY101" fmla="*/ 373273 h 605239"/>
              <a:gd name="connsiteX102" fmla="*/ 373273 h 605239"/>
              <a:gd name="connsiteY102" fmla="*/ 373273 h 605239"/>
              <a:gd name="connsiteX103" fmla="*/ 373273 h 605239"/>
              <a:gd name="connsiteY103" fmla="*/ 373273 h 605239"/>
              <a:gd name="connsiteX104" fmla="*/ 373273 h 605239"/>
              <a:gd name="connsiteY104" fmla="*/ 373273 h 605239"/>
              <a:gd name="connsiteX105" fmla="*/ 373273 h 605239"/>
              <a:gd name="connsiteY105" fmla="*/ 373273 h 605239"/>
              <a:gd name="connsiteX106" fmla="*/ 373273 h 605239"/>
              <a:gd name="connsiteY106" fmla="*/ 373273 h 605239"/>
              <a:gd name="connsiteX107" fmla="*/ 373273 h 605239"/>
              <a:gd name="connsiteY107" fmla="*/ 373273 h 605239"/>
              <a:gd name="connsiteX108" fmla="*/ 373273 h 605239"/>
              <a:gd name="connsiteY108" fmla="*/ 373273 h 605239"/>
              <a:gd name="connsiteX109" fmla="*/ 373273 h 605239"/>
              <a:gd name="connsiteY109" fmla="*/ 373273 h 605239"/>
              <a:gd name="connsiteX110" fmla="*/ 373273 h 605239"/>
              <a:gd name="connsiteY110" fmla="*/ 373273 h 605239"/>
              <a:gd name="connsiteX111" fmla="*/ 373273 h 605239"/>
              <a:gd name="connsiteY111" fmla="*/ 373273 h 605239"/>
              <a:gd name="connsiteX112" fmla="*/ 373273 h 605239"/>
              <a:gd name="connsiteY112" fmla="*/ 373273 h 605239"/>
              <a:gd name="connsiteX113" fmla="*/ 373273 h 605239"/>
              <a:gd name="connsiteY113" fmla="*/ 373273 h 605239"/>
              <a:gd name="connsiteX114" fmla="*/ 373273 h 605239"/>
              <a:gd name="connsiteY114" fmla="*/ 373273 h 605239"/>
              <a:gd name="connsiteX115" fmla="*/ 373273 h 605239"/>
              <a:gd name="connsiteY115" fmla="*/ 373273 h 605239"/>
              <a:gd name="connsiteX116" fmla="*/ 373273 h 605239"/>
              <a:gd name="connsiteY116" fmla="*/ 373273 h 605239"/>
              <a:gd name="connsiteX117" fmla="*/ 373273 h 605239"/>
              <a:gd name="connsiteY117" fmla="*/ 373273 h 605239"/>
              <a:gd name="connsiteX118" fmla="*/ 373273 h 605239"/>
              <a:gd name="connsiteY118" fmla="*/ 373273 h 605239"/>
              <a:gd name="connsiteX119" fmla="*/ 373273 h 605239"/>
              <a:gd name="connsiteY119" fmla="*/ 373273 h 605239"/>
              <a:gd name="connsiteX120" fmla="*/ 373273 h 605239"/>
              <a:gd name="connsiteY120" fmla="*/ 373273 h 605239"/>
              <a:gd name="connsiteX121" fmla="*/ 373273 h 605239"/>
              <a:gd name="connsiteY121" fmla="*/ 373273 h 605239"/>
              <a:gd name="connsiteX122" fmla="*/ 373273 h 605239"/>
              <a:gd name="connsiteY122" fmla="*/ 373273 h 605239"/>
              <a:gd name="connsiteX123" fmla="*/ 373273 h 605239"/>
              <a:gd name="connsiteY123" fmla="*/ 373273 h 605239"/>
              <a:gd name="connsiteX124" fmla="*/ 373273 h 605239"/>
              <a:gd name="connsiteY124" fmla="*/ 373273 h 605239"/>
              <a:gd name="connsiteX125" fmla="*/ 373273 h 605239"/>
              <a:gd name="connsiteY125" fmla="*/ 373273 h 605239"/>
              <a:gd name="connsiteX126" fmla="*/ 373273 h 605239"/>
              <a:gd name="connsiteY126" fmla="*/ 373273 h 605239"/>
              <a:gd name="connsiteX127" fmla="*/ 373273 h 605239"/>
              <a:gd name="connsiteY127" fmla="*/ 373273 h 605239"/>
              <a:gd name="connsiteX128" fmla="*/ 373273 h 605239"/>
              <a:gd name="connsiteY128" fmla="*/ 373273 h 605239"/>
              <a:gd name="connsiteX129" fmla="*/ 373273 h 605239"/>
              <a:gd name="connsiteY129" fmla="*/ 373273 h 605239"/>
              <a:gd name="connsiteX130" fmla="*/ 373273 h 605239"/>
              <a:gd name="connsiteY130" fmla="*/ 373273 h 605239"/>
              <a:gd name="connsiteX131" fmla="*/ 373273 h 605239"/>
              <a:gd name="connsiteY131" fmla="*/ 373273 h 605239"/>
              <a:gd name="connsiteX132" fmla="*/ 373273 h 605239"/>
              <a:gd name="connsiteY132" fmla="*/ 373273 h 605239"/>
              <a:gd name="connsiteX133" fmla="*/ 373273 h 605239"/>
              <a:gd name="connsiteY133" fmla="*/ 373273 h 605239"/>
              <a:gd name="connsiteX134" fmla="*/ 373273 h 605239"/>
              <a:gd name="connsiteY134" fmla="*/ 373273 h 605239"/>
              <a:gd name="connsiteX135" fmla="*/ 373273 h 605239"/>
              <a:gd name="connsiteY135" fmla="*/ 373273 h 605239"/>
              <a:gd name="connsiteX136" fmla="*/ 373273 h 605239"/>
              <a:gd name="connsiteY136" fmla="*/ 373273 h 605239"/>
              <a:gd name="connsiteX137" fmla="*/ 373273 h 605239"/>
              <a:gd name="connsiteY137" fmla="*/ 373273 h 605239"/>
              <a:gd name="connsiteX138" fmla="*/ 373273 h 605239"/>
              <a:gd name="connsiteY138" fmla="*/ 373273 h 605239"/>
              <a:gd name="connsiteX139" fmla="*/ 373273 h 605239"/>
              <a:gd name="connsiteY139" fmla="*/ 373273 h 605239"/>
              <a:gd name="connsiteX140" fmla="*/ 373273 h 605239"/>
              <a:gd name="connsiteY140" fmla="*/ 373273 h 605239"/>
              <a:gd name="connsiteX141" fmla="*/ 373273 h 605239"/>
              <a:gd name="connsiteY141" fmla="*/ 373273 h 605239"/>
              <a:gd name="connsiteX142" fmla="*/ 373273 h 605239"/>
              <a:gd name="connsiteY142" fmla="*/ 373273 h 605239"/>
              <a:gd name="connsiteX143" fmla="*/ 373273 h 605239"/>
              <a:gd name="connsiteY143" fmla="*/ 373273 h 605239"/>
              <a:gd name="connsiteX144" fmla="*/ 373273 h 605239"/>
              <a:gd name="connsiteY144" fmla="*/ 373273 h 605239"/>
              <a:gd name="connsiteX145" fmla="*/ 373273 h 605239"/>
              <a:gd name="connsiteY145" fmla="*/ 373273 h 605239"/>
              <a:gd name="connsiteX146" fmla="*/ 373273 h 605239"/>
              <a:gd name="connsiteY146" fmla="*/ 373273 h 605239"/>
              <a:gd name="connsiteX147" fmla="*/ 373273 h 605239"/>
              <a:gd name="connsiteY147" fmla="*/ 373273 h 605239"/>
              <a:gd name="connsiteX148" fmla="*/ 373273 h 605239"/>
              <a:gd name="connsiteY148" fmla="*/ 373273 h 605239"/>
              <a:gd name="connsiteX149" fmla="*/ 373273 h 605239"/>
              <a:gd name="connsiteY149" fmla="*/ 373273 h 605239"/>
              <a:gd name="connsiteX150" fmla="*/ 373273 h 605239"/>
              <a:gd name="connsiteY150" fmla="*/ 373273 h 605239"/>
              <a:gd name="connsiteX151" fmla="*/ 373273 h 605239"/>
              <a:gd name="connsiteY151" fmla="*/ 373273 h 605239"/>
              <a:gd name="connsiteX152" fmla="*/ 373273 h 605239"/>
              <a:gd name="connsiteY152" fmla="*/ 373273 h 605239"/>
              <a:gd name="connsiteX153" fmla="*/ 373273 h 605239"/>
              <a:gd name="connsiteY153" fmla="*/ 373273 h 605239"/>
              <a:gd name="connsiteX154" fmla="*/ 373273 h 605239"/>
              <a:gd name="connsiteY154" fmla="*/ 373273 h 605239"/>
              <a:gd name="connsiteX155" fmla="*/ 373273 h 605239"/>
              <a:gd name="connsiteY155" fmla="*/ 373273 h 605239"/>
              <a:gd name="connsiteX156" fmla="*/ 373273 h 605239"/>
              <a:gd name="connsiteY156" fmla="*/ 373273 h 605239"/>
              <a:gd name="connsiteX157" fmla="*/ 373273 h 605239"/>
              <a:gd name="connsiteY157" fmla="*/ 373273 h 605239"/>
              <a:gd name="connsiteX158" fmla="*/ 373273 h 605239"/>
              <a:gd name="connsiteY158" fmla="*/ 373273 h 605239"/>
              <a:gd name="connsiteX159" fmla="*/ 373273 h 605239"/>
              <a:gd name="connsiteY159" fmla="*/ 373273 h 605239"/>
              <a:gd name="connsiteX160" fmla="*/ 373273 h 605239"/>
              <a:gd name="connsiteY160" fmla="*/ 373273 h 605239"/>
              <a:gd name="connsiteX161" fmla="*/ 373273 h 605239"/>
              <a:gd name="connsiteY161" fmla="*/ 373273 h 605239"/>
              <a:gd name="connsiteX162" fmla="*/ 373273 h 605239"/>
              <a:gd name="connsiteY162" fmla="*/ 373273 h 605239"/>
              <a:gd name="connsiteX163" fmla="*/ 373273 h 605239"/>
              <a:gd name="connsiteY163" fmla="*/ 373273 h 605239"/>
              <a:gd name="connsiteX164" fmla="*/ 373273 h 605239"/>
              <a:gd name="connsiteY164" fmla="*/ 373273 h 605239"/>
              <a:gd name="connsiteX165" fmla="*/ 373273 h 605239"/>
              <a:gd name="connsiteY165" fmla="*/ 373273 h 605239"/>
              <a:gd name="connsiteX166" fmla="*/ 373273 h 605239"/>
              <a:gd name="connsiteY166" fmla="*/ 373273 h 605239"/>
              <a:gd name="connsiteX167" fmla="*/ 373273 h 605239"/>
              <a:gd name="connsiteY167" fmla="*/ 373273 h 605239"/>
              <a:gd name="connsiteX168" fmla="*/ 373273 h 605239"/>
              <a:gd name="connsiteY168" fmla="*/ 373273 h 605239"/>
              <a:gd name="connsiteX169" fmla="*/ 373273 h 605239"/>
              <a:gd name="connsiteY169" fmla="*/ 373273 h 605239"/>
              <a:gd name="connsiteX170" fmla="*/ 373273 h 605239"/>
              <a:gd name="connsiteY170" fmla="*/ 373273 h 605239"/>
              <a:gd name="connsiteX171" fmla="*/ 373273 h 605239"/>
              <a:gd name="connsiteY171" fmla="*/ 373273 h 605239"/>
              <a:gd name="connsiteX172" fmla="*/ 373273 h 605239"/>
              <a:gd name="connsiteY172" fmla="*/ 373273 h 605239"/>
              <a:gd name="connsiteX173" fmla="*/ 373273 h 605239"/>
              <a:gd name="connsiteY173" fmla="*/ 373273 h 605239"/>
              <a:gd name="connsiteX174" fmla="*/ 373273 h 605239"/>
              <a:gd name="connsiteY174" fmla="*/ 373273 h 605239"/>
              <a:gd name="connsiteX175" fmla="*/ 373273 h 605239"/>
              <a:gd name="connsiteY175" fmla="*/ 373273 h 605239"/>
              <a:gd name="connsiteX176" fmla="*/ 373273 h 605239"/>
              <a:gd name="connsiteY176" fmla="*/ 373273 h 605239"/>
              <a:gd name="connsiteX177" fmla="*/ 373273 h 605239"/>
              <a:gd name="connsiteY177" fmla="*/ 373273 h 605239"/>
              <a:gd name="connsiteX178" fmla="*/ 373273 h 605239"/>
              <a:gd name="connsiteY178" fmla="*/ 373273 h 605239"/>
              <a:gd name="connsiteX179" fmla="*/ 373273 h 605239"/>
              <a:gd name="connsiteY179" fmla="*/ 373273 h 605239"/>
              <a:gd name="connsiteX180" fmla="*/ 373273 h 605239"/>
              <a:gd name="connsiteY180" fmla="*/ 373273 h 605239"/>
              <a:gd name="connsiteX181" fmla="*/ 373273 h 605239"/>
              <a:gd name="connsiteY181" fmla="*/ 373273 h 605239"/>
              <a:gd name="connsiteX182" fmla="*/ 373273 h 605239"/>
              <a:gd name="connsiteY182" fmla="*/ 373273 h 605239"/>
              <a:gd name="connsiteX183" fmla="*/ 373273 h 605239"/>
              <a:gd name="connsiteY183" fmla="*/ 373273 h 605239"/>
              <a:gd name="connsiteX184" fmla="*/ 373273 h 605239"/>
              <a:gd name="connsiteY184" fmla="*/ 373273 h 605239"/>
              <a:gd name="connsiteX185" fmla="*/ 373273 h 605239"/>
              <a:gd name="connsiteY185" fmla="*/ 373273 h 605239"/>
              <a:gd name="connsiteX186" fmla="*/ 373273 h 605239"/>
              <a:gd name="connsiteY186" fmla="*/ 373273 h 605239"/>
              <a:gd name="connsiteX187" fmla="*/ 373273 h 605239"/>
              <a:gd name="connsiteY187" fmla="*/ 373273 h 605239"/>
              <a:gd name="connsiteX188" fmla="*/ 373273 h 605239"/>
              <a:gd name="connsiteY188" fmla="*/ 373273 h 605239"/>
              <a:gd name="connsiteX189" fmla="*/ 373273 h 605239"/>
              <a:gd name="connsiteY189" fmla="*/ 373273 h 605239"/>
              <a:gd name="connsiteX190" fmla="*/ 373273 h 605239"/>
              <a:gd name="connsiteY190" fmla="*/ 373273 h 605239"/>
              <a:gd name="connsiteX191" fmla="*/ 373273 h 605239"/>
              <a:gd name="connsiteY191" fmla="*/ 373273 h 605239"/>
              <a:gd name="connsiteX192" fmla="*/ 373273 h 605239"/>
              <a:gd name="connsiteY192" fmla="*/ 373273 h 605239"/>
              <a:gd name="connsiteX193" fmla="*/ 373273 h 605239"/>
              <a:gd name="connsiteY193" fmla="*/ 373273 h 605239"/>
              <a:gd name="connsiteX194" fmla="*/ 373273 h 605239"/>
              <a:gd name="connsiteY194" fmla="*/ 373273 h 605239"/>
              <a:gd name="connsiteX195" fmla="*/ 373273 h 605239"/>
              <a:gd name="connsiteY195" fmla="*/ 373273 h 605239"/>
              <a:gd name="connsiteX196" fmla="*/ 373273 h 605239"/>
              <a:gd name="connsiteY196" fmla="*/ 373273 h 605239"/>
              <a:gd name="connsiteX197" fmla="*/ 373273 h 605239"/>
              <a:gd name="connsiteY197" fmla="*/ 373273 h 605239"/>
              <a:gd name="connsiteX198" fmla="*/ 373273 h 605239"/>
              <a:gd name="connsiteY198" fmla="*/ 373273 h 605239"/>
              <a:gd name="connsiteX199" fmla="*/ 373273 h 605239"/>
              <a:gd name="connsiteY199" fmla="*/ 373273 h 605239"/>
              <a:gd name="connsiteX200" fmla="*/ 373273 h 605239"/>
              <a:gd name="connsiteY200" fmla="*/ 373273 h 605239"/>
              <a:gd name="connsiteX201" fmla="*/ 373273 h 605239"/>
              <a:gd name="connsiteY201" fmla="*/ 373273 h 605239"/>
              <a:gd name="connsiteX202" fmla="*/ 373273 h 605239"/>
              <a:gd name="connsiteY202" fmla="*/ 373273 h 605239"/>
              <a:gd name="connsiteX203" fmla="*/ 373273 h 605239"/>
              <a:gd name="connsiteY203" fmla="*/ 373273 h 605239"/>
              <a:gd name="connsiteX204" fmla="*/ 373273 h 605239"/>
              <a:gd name="connsiteY204" fmla="*/ 373273 h 605239"/>
              <a:gd name="connsiteX205" fmla="*/ 373273 h 605239"/>
              <a:gd name="connsiteY205" fmla="*/ 373273 h 605239"/>
              <a:gd name="connsiteX206" fmla="*/ 373273 h 605239"/>
              <a:gd name="connsiteY206" fmla="*/ 373273 h 605239"/>
              <a:gd name="connsiteX207" fmla="*/ 373273 h 605239"/>
              <a:gd name="connsiteY207" fmla="*/ 373273 h 605239"/>
              <a:gd name="connsiteX208" fmla="*/ 373273 h 605239"/>
              <a:gd name="connsiteY208" fmla="*/ 373273 h 605239"/>
              <a:gd name="connsiteX209" fmla="*/ 373273 h 605239"/>
              <a:gd name="connsiteY209" fmla="*/ 373273 h 605239"/>
              <a:gd name="connsiteX210" fmla="*/ 373273 h 605239"/>
              <a:gd name="connsiteY210" fmla="*/ 373273 h 605239"/>
              <a:gd name="connsiteX211" fmla="*/ 373273 h 605239"/>
              <a:gd name="connsiteY211" fmla="*/ 373273 h 605239"/>
              <a:gd name="connsiteX212" fmla="*/ 373273 h 605239"/>
              <a:gd name="connsiteY212" fmla="*/ 373273 h 605239"/>
              <a:gd name="connsiteX213" fmla="*/ 373273 h 605239"/>
              <a:gd name="connsiteY213" fmla="*/ 373273 h 605239"/>
              <a:gd name="connsiteX214" fmla="*/ 373273 h 605239"/>
              <a:gd name="connsiteY214" fmla="*/ 373273 h 605239"/>
              <a:gd name="connsiteX215" fmla="*/ 373273 h 605239"/>
              <a:gd name="connsiteY215" fmla="*/ 373273 h 605239"/>
              <a:gd name="connsiteX216" fmla="*/ 373273 h 605239"/>
              <a:gd name="connsiteY216" fmla="*/ 373273 h 605239"/>
              <a:gd name="connsiteX217" fmla="*/ 373273 h 605239"/>
              <a:gd name="connsiteY217" fmla="*/ 373273 h 605239"/>
              <a:gd name="connsiteX218" fmla="*/ 373273 h 605239"/>
              <a:gd name="connsiteY218" fmla="*/ 373273 h 605239"/>
              <a:gd name="connsiteX219" fmla="*/ 373273 h 605239"/>
              <a:gd name="connsiteY219" fmla="*/ 373273 h 605239"/>
              <a:gd name="connsiteX220" fmla="*/ 373273 h 605239"/>
              <a:gd name="connsiteY220" fmla="*/ 373273 h 605239"/>
              <a:gd name="connsiteX221" fmla="*/ 373273 h 605239"/>
              <a:gd name="connsiteY221" fmla="*/ 373273 h 605239"/>
              <a:gd name="connsiteX222" fmla="*/ 373273 h 605239"/>
              <a:gd name="connsiteY222" fmla="*/ 373273 h 605239"/>
              <a:gd name="connsiteX223" fmla="*/ 373273 h 605239"/>
              <a:gd name="connsiteY223" fmla="*/ 373273 h 605239"/>
              <a:gd name="connsiteX224" fmla="*/ 373273 h 605239"/>
              <a:gd name="connsiteY224" fmla="*/ 373273 h 605239"/>
              <a:gd name="connsiteX225" fmla="*/ 373273 h 605239"/>
              <a:gd name="connsiteY225" fmla="*/ 373273 h 605239"/>
              <a:gd name="connsiteX226" fmla="*/ 373273 h 605239"/>
              <a:gd name="connsiteY226" fmla="*/ 373273 h 605239"/>
              <a:gd name="connsiteX227" fmla="*/ 373273 h 605239"/>
              <a:gd name="connsiteY227" fmla="*/ 373273 h 605239"/>
              <a:gd name="connsiteX228" fmla="*/ 373273 h 605239"/>
              <a:gd name="connsiteY228" fmla="*/ 373273 h 605239"/>
              <a:gd name="connsiteX229" fmla="*/ 373273 h 605239"/>
              <a:gd name="connsiteY229" fmla="*/ 373273 h 605239"/>
              <a:gd name="connsiteX230" fmla="*/ 373273 h 605239"/>
              <a:gd name="connsiteY230" fmla="*/ 373273 h 605239"/>
              <a:gd name="connsiteX231" fmla="*/ 373273 h 605239"/>
              <a:gd name="connsiteY231" fmla="*/ 373273 h 605239"/>
              <a:gd name="connsiteX232" fmla="*/ 373273 h 605239"/>
              <a:gd name="connsiteY232" fmla="*/ 373273 h 605239"/>
              <a:gd name="connsiteX233" fmla="*/ 373273 h 605239"/>
              <a:gd name="connsiteY233" fmla="*/ 373273 h 605239"/>
              <a:gd name="connsiteX234" fmla="*/ 373273 h 605239"/>
              <a:gd name="connsiteY234" fmla="*/ 373273 h 605239"/>
              <a:gd name="connsiteX235" fmla="*/ 373273 h 605239"/>
              <a:gd name="connsiteY235" fmla="*/ 373273 h 605239"/>
              <a:gd name="connsiteX236" fmla="*/ 373273 h 605239"/>
              <a:gd name="connsiteY236" fmla="*/ 373273 h 605239"/>
              <a:gd name="connsiteX237" fmla="*/ 373273 h 605239"/>
              <a:gd name="connsiteY237" fmla="*/ 373273 h 605239"/>
              <a:gd name="connsiteX238" fmla="*/ 373273 h 605239"/>
              <a:gd name="connsiteY238" fmla="*/ 373273 h 605239"/>
              <a:gd name="connsiteX239" fmla="*/ 373273 h 605239"/>
              <a:gd name="connsiteY239" fmla="*/ 373273 h 605239"/>
              <a:gd name="connsiteX240" fmla="*/ 373273 h 605239"/>
              <a:gd name="connsiteY240" fmla="*/ 373273 h 605239"/>
              <a:gd name="connsiteX241" fmla="*/ 373273 h 605239"/>
              <a:gd name="connsiteY241" fmla="*/ 373273 h 605239"/>
              <a:gd name="connsiteX242" fmla="*/ 373273 h 605239"/>
              <a:gd name="connsiteY242" fmla="*/ 373273 h 605239"/>
              <a:gd name="connsiteX243" fmla="*/ 373273 h 605239"/>
              <a:gd name="connsiteY243" fmla="*/ 373273 h 605239"/>
              <a:gd name="connsiteX244" fmla="*/ 373273 h 605239"/>
              <a:gd name="connsiteY244" fmla="*/ 373273 h 605239"/>
              <a:gd name="connsiteX245" fmla="*/ 373273 h 605239"/>
              <a:gd name="connsiteY245" fmla="*/ 373273 h 605239"/>
              <a:gd name="connsiteX246" fmla="*/ 373273 h 605239"/>
              <a:gd name="connsiteY246" fmla="*/ 373273 h 605239"/>
              <a:gd name="connsiteX247" fmla="*/ 373273 h 605239"/>
              <a:gd name="connsiteY247" fmla="*/ 373273 h 605239"/>
              <a:gd name="connsiteX248" fmla="*/ 373273 h 605239"/>
              <a:gd name="connsiteY248" fmla="*/ 373273 h 605239"/>
              <a:gd name="connsiteX249" fmla="*/ 373273 h 605239"/>
              <a:gd name="connsiteY249" fmla="*/ 373273 h 605239"/>
              <a:gd name="connsiteX250" fmla="*/ 373273 h 605239"/>
              <a:gd name="connsiteY250" fmla="*/ 373273 h 605239"/>
              <a:gd name="connsiteX251" fmla="*/ 373273 h 605239"/>
              <a:gd name="connsiteY251" fmla="*/ 373273 h 605239"/>
              <a:gd name="connsiteX252" fmla="*/ 373273 h 605239"/>
              <a:gd name="connsiteY252" fmla="*/ 373273 h 605239"/>
              <a:gd name="connsiteX253" fmla="*/ 373273 h 605239"/>
              <a:gd name="connsiteY253" fmla="*/ 373273 h 605239"/>
              <a:gd name="connsiteX254" fmla="*/ 373273 h 605239"/>
              <a:gd name="connsiteY254" fmla="*/ 373273 h 605239"/>
              <a:gd name="connsiteX255" fmla="*/ 373273 h 605239"/>
              <a:gd name="connsiteY255" fmla="*/ 373273 h 605239"/>
              <a:gd name="connsiteX256" fmla="*/ 373273 h 605239"/>
              <a:gd name="connsiteY256" fmla="*/ 373273 h 605239"/>
              <a:gd name="connsiteX257" fmla="*/ 373273 h 605239"/>
              <a:gd name="connsiteY257" fmla="*/ 373273 h 605239"/>
              <a:gd name="connsiteX258" fmla="*/ 373273 h 605239"/>
              <a:gd name="connsiteY258" fmla="*/ 373273 h 605239"/>
              <a:gd name="connsiteX259" fmla="*/ 373273 h 605239"/>
              <a:gd name="connsiteY259" fmla="*/ 373273 h 605239"/>
              <a:gd name="connsiteX260" fmla="*/ 373273 h 605239"/>
              <a:gd name="connsiteY260" fmla="*/ 373273 h 605239"/>
              <a:gd name="connsiteX261" fmla="*/ 373273 h 605239"/>
              <a:gd name="connsiteY261" fmla="*/ 373273 h 605239"/>
              <a:gd name="connsiteX262" fmla="*/ 373273 h 605239"/>
              <a:gd name="connsiteY262" fmla="*/ 373273 h 605239"/>
              <a:gd name="connsiteX263" fmla="*/ 373273 h 605239"/>
              <a:gd name="connsiteY263" fmla="*/ 373273 h 605239"/>
              <a:gd name="connsiteX264" fmla="*/ 373273 h 605239"/>
              <a:gd name="connsiteY264" fmla="*/ 373273 h 605239"/>
              <a:gd name="connsiteX265" fmla="*/ 373273 h 605239"/>
              <a:gd name="connsiteY265" fmla="*/ 373273 h 605239"/>
              <a:gd name="connsiteX266" fmla="*/ 373273 h 605239"/>
              <a:gd name="connsiteY266" fmla="*/ 373273 h 605239"/>
              <a:gd name="connsiteX267" fmla="*/ 373273 h 605239"/>
              <a:gd name="connsiteY267" fmla="*/ 373273 h 605239"/>
              <a:gd name="connsiteX268" fmla="*/ 373273 h 605239"/>
              <a:gd name="connsiteY268" fmla="*/ 373273 h 605239"/>
              <a:gd name="connsiteX269" fmla="*/ 373273 h 605239"/>
              <a:gd name="connsiteY269" fmla="*/ 373273 h 605239"/>
              <a:gd name="connsiteX270" fmla="*/ 373273 h 605239"/>
              <a:gd name="connsiteY270" fmla="*/ 373273 h 605239"/>
              <a:gd name="connsiteX271" fmla="*/ 373273 h 605239"/>
              <a:gd name="connsiteY271" fmla="*/ 373273 h 605239"/>
              <a:gd name="connsiteX272" fmla="*/ 373273 h 605239"/>
              <a:gd name="connsiteY272" fmla="*/ 373273 h 605239"/>
              <a:gd name="connsiteX273" fmla="*/ 373273 h 605239"/>
              <a:gd name="connsiteY273" fmla="*/ 373273 h 605239"/>
              <a:gd name="connsiteX274" fmla="*/ 373273 h 605239"/>
              <a:gd name="connsiteY274" fmla="*/ 373273 h 605239"/>
              <a:gd name="connsiteX275" fmla="*/ 373273 h 605239"/>
              <a:gd name="connsiteY275" fmla="*/ 373273 h 605239"/>
              <a:gd name="connsiteX276" fmla="*/ 373273 h 605239"/>
              <a:gd name="connsiteY276" fmla="*/ 373273 h 605239"/>
              <a:gd name="connsiteX277" fmla="*/ 373273 h 605239"/>
              <a:gd name="connsiteY277" fmla="*/ 373273 h 605239"/>
              <a:gd name="connsiteX278" fmla="*/ 373273 h 605239"/>
              <a:gd name="connsiteY278" fmla="*/ 373273 h 605239"/>
              <a:gd name="connsiteX279" fmla="*/ 373273 h 605239"/>
              <a:gd name="connsiteY279" fmla="*/ 373273 h 605239"/>
              <a:gd name="connsiteX280" fmla="*/ 373273 h 605239"/>
              <a:gd name="connsiteY280" fmla="*/ 373273 h 605239"/>
              <a:gd name="connsiteX281" fmla="*/ 373273 h 605239"/>
              <a:gd name="connsiteY281" fmla="*/ 373273 h 605239"/>
              <a:gd name="connsiteX282" fmla="*/ 373273 h 605239"/>
              <a:gd name="connsiteY282" fmla="*/ 373273 h 605239"/>
              <a:gd name="connsiteX283" fmla="*/ 373273 h 605239"/>
              <a:gd name="connsiteY283" fmla="*/ 373273 h 605239"/>
              <a:gd name="connsiteX284" fmla="*/ 373273 h 605239"/>
              <a:gd name="connsiteY284" fmla="*/ 373273 h 605239"/>
              <a:gd name="connsiteX285" fmla="*/ 373273 h 605239"/>
              <a:gd name="connsiteY285" fmla="*/ 373273 h 605239"/>
              <a:gd name="connsiteX286" fmla="*/ 373273 h 605239"/>
              <a:gd name="connsiteY286" fmla="*/ 373273 h 605239"/>
              <a:gd name="connsiteX287" fmla="*/ 373273 h 605239"/>
              <a:gd name="connsiteY287" fmla="*/ 373273 h 605239"/>
              <a:gd name="connsiteX288" fmla="*/ 373273 h 605239"/>
              <a:gd name="connsiteY288" fmla="*/ 373273 h 605239"/>
              <a:gd name="connsiteX289" fmla="*/ 373273 h 605239"/>
              <a:gd name="connsiteY289" fmla="*/ 373273 h 605239"/>
              <a:gd name="connsiteX290" fmla="*/ 373273 h 605239"/>
              <a:gd name="connsiteY290" fmla="*/ 373273 h 605239"/>
              <a:gd name="connsiteX291" fmla="*/ 373273 h 605239"/>
              <a:gd name="connsiteY291" fmla="*/ 373273 h 605239"/>
              <a:gd name="connsiteX292" fmla="*/ 373273 h 605239"/>
              <a:gd name="connsiteY292" fmla="*/ 373273 h 605239"/>
              <a:gd name="connsiteX293" fmla="*/ 373273 h 605239"/>
              <a:gd name="connsiteY293" fmla="*/ 373273 h 605239"/>
              <a:gd name="connsiteX294" fmla="*/ 373273 h 605239"/>
              <a:gd name="connsiteY294" fmla="*/ 373273 h 605239"/>
              <a:gd name="connsiteX295" fmla="*/ 373273 h 605239"/>
              <a:gd name="connsiteY295" fmla="*/ 373273 h 605239"/>
              <a:gd name="connsiteX296" fmla="*/ 373273 h 605239"/>
              <a:gd name="connsiteY296" fmla="*/ 373273 h 605239"/>
              <a:gd name="connsiteX297" fmla="*/ 373273 h 605239"/>
              <a:gd name="connsiteY297" fmla="*/ 373273 h 605239"/>
              <a:gd name="connsiteX298" fmla="*/ 373273 h 605239"/>
              <a:gd name="connsiteY298" fmla="*/ 373273 h 605239"/>
              <a:gd name="connsiteX299" fmla="*/ 373273 h 605239"/>
              <a:gd name="connsiteY299" fmla="*/ 373273 h 605239"/>
              <a:gd name="connsiteX300" fmla="*/ 373273 h 605239"/>
              <a:gd name="connsiteY300" fmla="*/ 373273 h 605239"/>
              <a:gd name="connsiteX301" fmla="*/ 373273 h 605239"/>
              <a:gd name="connsiteY301" fmla="*/ 373273 h 605239"/>
              <a:gd name="connsiteX302" fmla="*/ 373273 h 605239"/>
              <a:gd name="connsiteY302" fmla="*/ 373273 h 605239"/>
              <a:gd name="connsiteX303" fmla="*/ 373273 h 605239"/>
              <a:gd name="connsiteY303" fmla="*/ 373273 h 605239"/>
              <a:gd name="connsiteX304" fmla="*/ 373273 h 605239"/>
              <a:gd name="connsiteY304" fmla="*/ 373273 h 605239"/>
              <a:gd name="connsiteX305" fmla="*/ 373273 h 605239"/>
              <a:gd name="connsiteY305" fmla="*/ 373273 h 605239"/>
              <a:gd name="connsiteX306" fmla="*/ 373273 h 605239"/>
              <a:gd name="connsiteY306" fmla="*/ 373273 h 605239"/>
              <a:gd name="connsiteX307" fmla="*/ 373273 h 605239"/>
              <a:gd name="connsiteY307" fmla="*/ 373273 h 605239"/>
              <a:gd name="connsiteX308" fmla="*/ 373273 h 605239"/>
              <a:gd name="connsiteY308" fmla="*/ 373273 h 605239"/>
              <a:gd name="connsiteX309" fmla="*/ 373273 h 605239"/>
              <a:gd name="connsiteY309" fmla="*/ 373273 h 605239"/>
              <a:gd name="connsiteX310" fmla="*/ 373273 h 605239"/>
              <a:gd name="connsiteY310" fmla="*/ 373273 h 605239"/>
              <a:gd name="connsiteX311" fmla="*/ 373273 h 605239"/>
              <a:gd name="connsiteY311" fmla="*/ 373273 h 605239"/>
              <a:gd name="connsiteX312" fmla="*/ 373273 h 605239"/>
              <a:gd name="connsiteY312" fmla="*/ 373273 h 605239"/>
              <a:gd name="connsiteX313" fmla="*/ 373273 h 605239"/>
              <a:gd name="connsiteY313" fmla="*/ 373273 h 605239"/>
              <a:gd name="connsiteX314" fmla="*/ 373273 h 605239"/>
              <a:gd name="connsiteY314" fmla="*/ 373273 h 605239"/>
              <a:gd name="connsiteX315" fmla="*/ 373273 h 605239"/>
              <a:gd name="connsiteY315" fmla="*/ 373273 h 605239"/>
              <a:gd name="connsiteX316" fmla="*/ 373273 h 605239"/>
              <a:gd name="connsiteY316" fmla="*/ 373273 h 605239"/>
              <a:gd name="connsiteX317" fmla="*/ 373273 h 605239"/>
              <a:gd name="connsiteY317" fmla="*/ 373273 h 605239"/>
              <a:gd name="connsiteX318" fmla="*/ 373273 h 605239"/>
              <a:gd name="connsiteY318" fmla="*/ 373273 h 605239"/>
              <a:gd name="connsiteX319" fmla="*/ 373273 h 605239"/>
              <a:gd name="connsiteY319" fmla="*/ 373273 h 605239"/>
              <a:gd name="connsiteX320" fmla="*/ 373273 h 605239"/>
              <a:gd name="connsiteY320" fmla="*/ 373273 h 605239"/>
              <a:gd name="connsiteX321" fmla="*/ 373273 h 605239"/>
              <a:gd name="connsiteY321" fmla="*/ 373273 h 605239"/>
              <a:gd name="connsiteX322" fmla="*/ 373273 h 605239"/>
              <a:gd name="connsiteY322" fmla="*/ 373273 h 605239"/>
              <a:gd name="connsiteX323" fmla="*/ 373273 h 605239"/>
              <a:gd name="connsiteY323" fmla="*/ 373273 h 605239"/>
              <a:gd name="connsiteX324" fmla="*/ 373273 h 605239"/>
              <a:gd name="connsiteY324" fmla="*/ 373273 h 605239"/>
              <a:gd name="connsiteX325" fmla="*/ 373273 h 605239"/>
              <a:gd name="connsiteY325" fmla="*/ 373273 h 605239"/>
              <a:gd name="connsiteX326" fmla="*/ 373273 h 605239"/>
              <a:gd name="connsiteY326" fmla="*/ 373273 h 605239"/>
              <a:gd name="connsiteX327" fmla="*/ 373273 h 605239"/>
              <a:gd name="connsiteY327" fmla="*/ 373273 h 605239"/>
              <a:gd name="connsiteX328" fmla="*/ 373273 h 605239"/>
              <a:gd name="connsiteY328" fmla="*/ 373273 h 605239"/>
              <a:gd name="connsiteX329" fmla="*/ 373273 h 605239"/>
              <a:gd name="connsiteY329" fmla="*/ 373273 h 605239"/>
              <a:gd name="connsiteX330" fmla="*/ 373273 h 605239"/>
              <a:gd name="connsiteY330" fmla="*/ 373273 h 605239"/>
              <a:gd name="connsiteX331" fmla="*/ 373273 h 605239"/>
              <a:gd name="connsiteY331" fmla="*/ 373273 h 605239"/>
              <a:gd name="connsiteX332" fmla="*/ 373273 h 605239"/>
              <a:gd name="connsiteY332" fmla="*/ 373273 h 605239"/>
              <a:gd name="connsiteX333" fmla="*/ 373273 h 605239"/>
              <a:gd name="connsiteY333"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Lst>
            <a:rect l="l" t="t" r="r" b="b"/>
            <a:pathLst>
              <a:path w="609614" h="608697">
                <a:moveTo>
                  <a:pt x="501482" y="559637"/>
                </a:moveTo>
                <a:cubicBezTo>
                  <a:pt x="490604" y="559637"/>
                  <a:pt x="481847" y="568473"/>
                  <a:pt x="481847" y="579243"/>
                </a:cubicBezTo>
                <a:cubicBezTo>
                  <a:pt x="481847" y="582372"/>
                  <a:pt x="482584" y="584949"/>
                  <a:pt x="483598" y="587158"/>
                </a:cubicBezTo>
                <a:cubicBezTo>
                  <a:pt x="496781" y="584949"/>
                  <a:pt x="509226" y="580715"/>
                  <a:pt x="520749" y="574732"/>
                </a:cubicBezTo>
                <a:cubicBezTo>
                  <a:pt x="518905" y="566356"/>
                  <a:pt x="510977" y="559637"/>
                  <a:pt x="501482" y="559637"/>
                </a:cubicBezTo>
                <a:close/>
                <a:moveTo>
                  <a:pt x="422849" y="559637"/>
                </a:moveTo>
                <a:cubicBezTo>
                  <a:pt x="413538" y="559637"/>
                  <a:pt x="405702" y="566172"/>
                  <a:pt x="403674" y="574824"/>
                </a:cubicBezTo>
                <a:cubicBezTo>
                  <a:pt x="415197" y="580715"/>
                  <a:pt x="427643" y="584949"/>
                  <a:pt x="440733" y="587158"/>
                </a:cubicBezTo>
                <a:cubicBezTo>
                  <a:pt x="441747" y="584949"/>
                  <a:pt x="442484" y="582372"/>
                  <a:pt x="442484" y="579243"/>
                </a:cubicBezTo>
                <a:cubicBezTo>
                  <a:pt x="442484" y="568473"/>
                  <a:pt x="433635" y="559637"/>
                  <a:pt x="422849" y="559637"/>
                </a:cubicBezTo>
                <a:close/>
                <a:moveTo>
                  <a:pt x="462122" y="490900"/>
                </a:moveTo>
                <a:cubicBezTo>
                  <a:pt x="451330" y="490900"/>
                  <a:pt x="442475" y="499732"/>
                  <a:pt x="442475" y="510587"/>
                </a:cubicBezTo>
                <a:cubicBezTo>
                  <a:pt x="442475" y="521350"/>
                  <a:pt x="451330" y="530181"/>
                  <a:pt x="462122" y="530181"/>
                </a:cubicBezTo>
                <a:cubicBezTo>
                  <a:pt x="473006" y="530181"/>
                  <a:pt x="481861" y="521350"/>
                  <a:pt x="481861" y="510587"/>
                </a:cubicBezTo>
                <a:cubicBezTo>
                  <a:pt x="481861" y="499732"/>
                  <a:pt x="473006" y="490900"/>
                  <a:pt x="462122" y="490900"/>
                </a:cubicBezTo>
                <a:close/>
                <a:moveTo>
                  <a:pt x="540845" y="490879"/>
                </a:moveTo>
                <a:cubicBezTo>
                  <a:pt x="529967" y="490879"/>
                  <a:pt x="521117" y="499715"/>
                  <a:pt x="521117" y="510577"/>
                </a:cubicBezTo>
                <a:cubicBezTo>
                  <a:pt x="521117" y="521346"/>
                  <a:pt x="529967" y="530182"/>
                  <a:pt x="540845" y="530182"/>
                </a:cubicBezTo>
                <a:cubicBezTo>
                  <a:pt x="551630" y="530182"/>
                  <a:pt x="560480" y="521346"/>
                  <a:pt x="560480" y="510577"/>
                </a:cubicBezTo>
                <a:cubicBezTo>
                  <a:pt x="560480" y="499715"/>
                  <a:pt x="551630" y="490879"/>
                  <a:pt x="540845" y="490879"/>
                </a:cubicBezTo>
                <a:close/>
                <a:moveTo>
                  <a:pt x="383486" y="490879"/>
                </a:moveTo>
                <a:cubicBezTo>
                  <a:pt x="372608" y="490879"/>
                  <a:pt x="363851" y="499715"/>
                  <a:pt x="363851" y="510577"/>
                </a:cubicBezTo>
                <a:cubicBezTo>
                  <a:pt x="363851" y="521346"/>
                  <a:pt x="372608" y="530182"/>
                  <a:pt x="383486" y="530182"/>
                </a:cubicBezTo>
                <a:cubicBezTo>
                  <a:pt x="394364" y="530182"/>
                  <a:pt x="403121" y="521346"/>
                  <a:pt x="403121" y="510577"/>
                </a:cubicBezTo>
                <a:cubicBezTo>
                  <a:pt x="403121" y="499715"/>
                  <a:pt x="394364" y="490879"/>
                  <a:pt x="383486" y="490879"/>
                </a:cubicBezTo>
                <a:close/>
                <a:moveTo>
                  <a:pt x="462122" y="471306"/>
                </a:moveTo>
                <a:cubicBezTo>
                  <a:pt x="473006" y="471306"/>
                  <a:pt x="482853" y="475699"/>
                  <a:pt x="489978" y="482805"/>
                </a:cubicBezTo>
                <a:lnTo>
                  <a:pt x="501493" y="510550"/>
                </a:lnTo>
                <a:lnTo>
                  <a:pt x="501482" y="510577"/>
                </a:lnTo>
                <a:lnTo>
                  <a:pt x="501497" y="510613"/>
                </a:lnTo>
                <a:lnTo>
                  <a:pt x="489978" y="538288"/>
                </a:lnTo>
                <a:cubicBezTo>
                  <a:pt x="482853" y="545382"/>
                  <a:pt x="473006" y="549775"/>
                  <a:pt x="462122" y="549775"/>
                </a:cubicBezTo>
                <a:cubicBezTo>
                  <a:pt x="451284" y="549775"/>
                  <a:pt x="441460" y="545382"/>
                  <a:pt x="434347" y="538288"/>
                </a:cubicBezTo>
                <a:lnTo>
                  <a:pt x="422837" y="510607"/>
                </a:lnTo>
                <a:lnTo>
                  <a:pt x="422849" y="510577"/>
                </a:lnTo>
                <a:lnTo>
                  <a:pt x="422841" y="510556"/>
                </a:lnTo>
                <a:lnTo>
                  <a:pt x="434347" y="482805"/>
                </a:lnTo>
                <a:cubicBezTo>
                  <a:pt x="441460" y="475699"/>
                  <a:pt x="451284" y="471306"/>
                  <a:pt x="462122" y="471306"/>
                </a:cubicBezTo>
                <a:close/>
                <a:moveTo>
                  <a:pt x="580115" y="422213"/>
                </a:moveTo>
                <a:cubicBezTo>
                  <a:pt x="569330" y="422213"/>
                  <a:pt x="560480" y="430957"/>
                  <a:pt x="560480" y="441818"/>
                </a:cubicBezTo>
                <a:cubicBezTo>
                  <a:pt x="560480" y="452680"/>
                  <a:pt x="569330" y="461424"/>
                  <a:pt x="580115" y="461424"/>
                </a:cubicBezTo>
                <a:cubicBezTo>
                  <a:pt x="584171" y="461424"/>
                  <a:pt x="587306" y="460228"/>
                  <a:pt x="589887" y="458755"/>
                </a:cubicBezTo>
                <a:cubicBezTo>
                  <a:pt x="589610" y="446145"/>
                  <a:pt x="587490" y="433995"/>
                  <a:pt x="583895" y="422581"/>
                </a:cubicBezTo>
                <a:cubicBezTo>
                  <a:pt x="582604" y="422305"/>
                  <a:pt x="581406" y="422213"/>
                  <a:pt x="580115" y="422213"/>
                </a:cubicBezTo>
                <a:close/>
                <a:moveTo>
                  <a:pt x="344123" y="422213"/>
                </a:moveTo>
                <a:cubicBezTo>
                  <a:pt x="342925" y="422213"/>
                  <a:pt x="341634" y="422305"/>
                  <a:pt x="340436" y="422581"/>
                </a:cubicBezTo>
                <a:cubicBezTo>
                  <a:pt x="336749" y="433995"/>
                  <a:pt x="334721" y="446145"/>
                  <a:pt x="334444" y="458755"/>
                </a:cubicBezTo>
                <a:cubicBezTo>
                  <a:pt x="336933" y="460228"/>
                  <a:pt x="340159" y="461424"/>
                  <a:pt x="344123" y="461424"/>
                </a:cubicBezTo>
                <a:cubicBezTo>
                  <a:pt x="355001" y="461424"/>
                  <a:pt x="363851" y="452680"/>
                  <a:pt x="363851" y="441818"/>
                </a:cubicBezTo>
                <a:cubicBezTo>
                  <a:pt x="363851" y="430957"/>
                  <a:pt x="355001" y="422213"/>
                  <a:pt x="344123" y="422213"/>
                </a:cubicBezTo>
                <a:close/>
                <a:moveTo>
                  <a:pt x="501472" y="422203"/>
                </a:moveTo>
                <a:cubicBezTo>
                  <a:pt x="490601" y="422203"/>
                  <a:pt x="481848" y="430948"/>
                  <a:pt x="481848" y="441810"/>
                </a:cubicBezTo>
                <a:cubicBezTo>
                  <a:pt x="481848" y="452672"/>
                  <a:pt x="490601" y="461416"/>
                  <a:pt x="501472" y="461416"/>
                </a:cubicBezTo>
                <a:cubicBezTo>
                  <a:pt x="512344" y="461416"/>
                  <a:pt x="521096" y="452672"/>
                  <a:pt x="521096" y="441810"/>
                </a:cubicBezTo>
                <a:cubicBezTo>
                  <a:pt x="521096" y="430948"/>
                  <a:pt x="512344" y="422203"/>
                  <a:pt x="501472" y="422203"/>
                </a:cubicBezTo>
                <a:close/>
                <a:moveTo>
                  <a:pt x="422838" y="422203"/>
                </a:moveTo>
                <a:cubicBezTo>
                  <a:pt x="411954" y="422203"/>
                  <a:pt x="403099" y="430948"/>
                  <a:pt x="403099" y="441810"/>
                </a:cubicBezTo>
                <a:cubicBezTo>
                  <a:pt x="403099" y="452672"/>
                  <a:pt x="411954" y="461416"/>
                  <a:pt x="422838" y="461416"/>
                </a:cubicBezTo>
                <a:cubicBezTo>
                  <a:pt x="433630" y="461416"/>
                  <a:pt x="442485" y="452672"/>
                  <a:pt x="442485" y="441810"/>
                </a:cubicBezTo>
                <a:cubicBezTo>
                  <a:pt x="442485" y="430948"/>
                  <a:pt x="433630" y="422203"/>
                  <a:pt x="422838" y="422203"/>
                </a:cubicBezTo>
                <a:close/>
                <a:moveTo>
                  <a:pt x="501472" y="402505"/>
                </a:moveTo>
                <a:cubicBezTo>
                  <a:pt x="523123" y="402505"/>
                  <a:pt x="540812" y="420178"/>
                  <a:pt x="540812" y="441810"/>
                </a:cubicBezTo>
                <a:cubicBezTo>
                  <a:pt x="540812" y="463441"/>
                  <a:pt x="523123" y="481115"/>
                  <a:pt x="501472" y="481115"/>
                </a:cubicBezTo>
                <a:cubicBezTo>
                  <a:pt x="479821" y="481115"/>
                  <a:pt x="462132" y="463441"/>
                  <a:pt x="462132" y="441810"/>
                </a:cubicBezTo>
                <a:cubicBezTo>
                  <a:pt x="462132" y="420178"/>
                  <a:pt x="479821" y="402505"/>
                  <a:pt x="501472" y="402505"/>
                </a:cubicBezTo>
                <a:close/>
                <a:moveTo>
                  <a:pt x="422838" y="402505"/>
                </a:moveTo>
                <a:cubicBezTo>
                  <a:pt x="444515" y="402505"/>
                  <a:pt x="462132" y="420178"/>
                  <a:pt x="462132" y="441810"/>
                </a:cubicBezTo>
                <a:cubicBezTo>
                  <a:pt x="462132" y="463441"/>
                  <a:pt x="444515" y="481115"/>
                  <a:pt x="422838" y="481115"/>
                </a:cubicBezTo>
                <a:cubicBezTo>
                  <a:pt x="411954" y="481115"/>
                  <a:pt x="402107" y="476697"/>
                  <a:pt x="394982" y="469574"/>
                </a:cubicBezTo>
                <a:lnTo>
                  <a:pt x="383471" y="441855"/>
                </a:lnTo>
                <a:lnTo>
                  <a:pt x="383486" y="441818"/>
                </a:lnTo>
                <a:lnTo>
                  <a:pt x="383468" y="441772"/>
                </a:lnTo>
                <a:lnTo>
                  <a:pt x="394982" y="414046"/>
                </a:lnTo>
                <a:cubicBezTo>
                  <a:pt x="402107" y="406923"/>
                  <a:pt x="411954" y="402505"/>
                  <a:pt x="422838" y="402505"/>
                </a:cubicBezTo>
                <a:close/>
                <a:moveTo>
                  <a:pt x="532825" y="355204"/>
                </a:moveTo>
                <a:cubicBezTo>
                  <a:pt x="525819" y="358333"/>
                  <a:pt x="521117" y="365237"/>
                  <a:pt x="521117" y="373060"/>
                </a:cubicBezTo>
                <a:cubicBezTo>
                  <a:pt x="521117" y="383922"/>
                  <a:pt x="529967" y="392758"/>
                  <a:pt x="540845" y="392758"/>
                </a:cubicBezTo>
                <a:cubicBezTo>
                  <a:pt x="549510" y="392758"/>
                  <a:pt x="556977" y="386959"/>
                  <a:pt x="559466" y="378859"/>
                </a:cubicBezTo>
                <a:cubicBezTo>
                  <a:pt x="551723" y="369839"/>
                  <a:pt x="542781" y="361831"/>
                  <a:pt x="532825" y="355204"/>
                </a:cubicBezTo>
                <a:close/>
                <a:moveTo>
                  <a:pt x="391414" y="355204"/>
                </a:moveTo>
                <a:cubicBezTo>
                  <a:pt x="381458" y="361831"/>
                  <a:pt x="372608" y="369839"/>
                  <a:pt x="364865" y="378859"/>
                </a:cubicBezTo>
                <a:cubicBezTo>
                  <a:pt x="367354" y="386959"/>
                  <a:pt x="374728" y="392758"/>
                  <a:pt x="383486" y="392758"/>
                </a:cubicBezTo>
                <a:cubicBezTo>
                  <a:pt x="394364" y="392758"/>
                  <a:pt x="403121" y="383922"/>
                  <a:pt x="403121" y="373060"/>
                </a:cubicBezTo>
                <a:cubicBezTo>
                  <a:pt x="403121" y="365237"/>
                  <a:pt x="398512" y="358333"/>
                  <a:pt x="391414" y="355204"/>
                </a:cubicBezTo>
                <a:close/>
                <a:moveTo>
                  <a:pt x="462122" y="353457"/>
                </a:moveTo>
                <a:cubicBezTo>
                  <a:pt x="451330" y="353457"/>
                  <a:pt x="442475" y="362296"/>
                  <a:pt x="442475" y="373068"/>
                </a:cubicBezTo>
                <a:cubicBezTo>
                  <a:pt x="442475" y="383933"/>
                  <a:pt x="451330" y="392772"/>
                  <a:pt x="462122" y="392772"/>
                </a:cubicBezTo>
                <a:cubicBezTo>
                  <a:pt x="473006" y="392772"/>
                  <a:pt x="481861" y="383933"/>
                  <a:pt x="481861" y="373068"/>
                </a:cubicBezTo>
                <a:cubicBezTo>
                  <a:pt x="481861" y="362296"/>
                  <a:pt x="473006" y="353457"/>
                  <a:pt x="462122" y="353457"/>
                </a:cubicBezTo>
                <a:close/>
                <a:moveTo>
                  <a:pt x="462120" y="333849"/>
                </a:moveTo>
                <a:lnTo>
                  <a:pt x="462145" y="333854"/>
                </a:lnTo>
                <a:lnTo>
                  <a:pt x="489978" y="345343"/>
                </a:lnTo>
                <a:lnTo>
                  <a:pt x="501494" y="373034"/>
                </a:lnTo>
                <a:lnTo>
                  <a:pt x="501482" y="373060"/>
                </a:lnTo>
                <a:lnTo>
                  <a:pt x="501497" y="373096"/>
                </a:lnTo>
                <a:lnTo>
                  <a:pt x="489978" y="400875"/>
                </a:lnTo>
                <a:cubicBezTo>
                  <a:pt x="482853" y="407987"/>
                  <a:pt x="473006" y="412384"/>
                  <a:pt x="462122" y="412384"/>
                </a:cubicBezTo>
                <a:cubicBezTo>
                  <a:pt x="451284" y="412384"/>
                  <a:pt x="441460" y="407987"/>
                  <a:pt x="434347" y="400875"/>
                </a:cubicBezTo>
                <a:lnTo>
                  <a:pt x="422837" y="373090"/>
                </a:lnTo>
                <a:lnTo>
                  <a:pt x="422849" y="373060"/>
                </a:lnTo>
                <a:lnTo>
                  <a:pt x="422840" y="373040"/>
                </a:lnTo>
                <a:lnTo>
                  <a:pt x="434347" y="345343"/>
                </a:lnTo>
                <a:lnTo>
                  <a:pt x="462105" y="333852"/>
                </a:lnTo>
                <a:close/>
                <a:moveTo>
                  <a:pt x="462122" y="333845"/>
                </a:moveTo>
                <a:lnTo>
                  <a:pt x="462105" y="333852"/>
                </a:lnTo>
                <a:lnTo>
                  <a:pt x="410588" y="344710"/>
                </a:lnTo>
                <a:lnTo>
                  <a:pt x="422840" y="373040"/>
                </a:lnTo>
                <a:lnTo>
                  <a:pt x="422828" y="373068"/>
                </a:lnTo>
                <a:lnTo>
                  <a:pt x="422837" y="373090"/>
                </a:lnTo>
                <a:lnTo>
                  <a:pt x="411291" y="400858"/>
                </a:lnTo>
                <a:cubicBezTo>
                  <a:pt x="404158" y="407969"/>
                  <a:pt x="394318" y="412364"/>
                  <a:pt x="383486" y="412364"/>
                </a:cubicBezTo>
                <a:cubicBezTo>
                  <a:pt x="370765" y="412364"/>
                  <a:pt x="359334" y="406289"/>
                  <a:pt x="352236" y="396716"/>
                </a:cubicBezTo>
                <a:cubicBezTo>
                  <a:pt x="350945" y="398741"/>
                  <a:pt x="349747" y="400858"/>
                  <a:pt x="348640" y="402975"/>
                </a:cubicBezTo>
                <a:cubicBezTo>
                  <a:pt x="358412" y="404126"/>
                  <a:pt x="367123" y="408797"/>
                  <a:pt x="373392" y="415700"/>
                </a:cubicBezTo>
                <a:lnTo>
                  <a:pt x="383468" y="441772"/>
                </a:lnTo>
                <a:lnTo>
                  <a:pt x="383452" y="441810"/>
                </a:lnTo>
                <a:lnTo>
                  <a:pt x="383471" y="441855"/>
                </a:lnTo>
                <a:lnTo>
                  <a:pt x="371963" y="469582"/>
                </a:lnTo>
                <a:cubicBezTo>
                  <a:pt x="364842" y="476704"/>
                  <a:pt x="355001" y="481122"/>
                  <a:pt x="344123" y="481122"/>
                </a:cubicBezTo>
                <a:cubicBezTo>
                  <a:pt x="341358" y="481122"/>
                  <a:pt x="338592" y="480662"/>
                  <a:pt x="335827" y="480109"/>
                </a:cubicBezTo>
                <a:cubicBezTo>
                  <a:pt x="337394" y="490695"/>
                  <a:pt x="340159" y="500912"/>
                  <a:pt x="344123" y="510485"/>
                </a:cubicBezTo>
                <a:cubicBezTo>
                  <a:pt x="344216" y="488854"/>
                  <a:pt x="361823" y="471273"/>
                  <a:pt x="383486" y="471273"/>
                </a:cubicBezTo>
                <a:cubicBezTo>
                  <a:pt x="394318" y="471273"/>
                  <a:pt x="404158" y="475668"/>
                  <a:pt x="411291" y="482779"/>
                </a:cubicBezTo>
                <a:lnTo>
                  <a:pt x="422841" y="510556"/>
                </a:lnTo>
                <a:lnTo>
                  <a:pt x="422828" y="510587"/>
                </a:lnTo>
                <a:lnTo>
                  <a:pt x="422837" y="510607"/>
                </a:lnTo>
                <a:lnTo>
                  <a:pt x="411291" y="538294"/>
                </a:lnTo>
                <a:cubicBezTo>
                  <a:pt x="404158" y="545393"/>
                  <a:pt x="394318" y="549788"/>
                  <a:pt x="383486" y="549788"/>
                </a:cubicBezTo>
                <a:cubicBezTo>
                  <a:pt x="377402" y="549788"/>
                  <a:pt x="371594" y="548315"/>
                  <a:pt x="366432" y="545738"/>
                </a:cubicBezTo>
                <a:cubicBezTo>
                  <a:pt x="372516" y="552641"/>
                  <a:pt x="379153" y="558716"/>
                  <a:pt x="386528" y="564147"/>
                </a:cubicBezTo>
                <a:cubicBezTo>
                  <a:pt x="392520" y="549972"/>
                  <a:pt x="406532" y="540031"/>
                  <a:pt x="422849" y="540031"/>
                </a:cubicBezTo>
                <a:cubicBezTo>
                  <a:pt x="444512" y="540031"/>
                  <a:pt x="462120" y="557612"/>
                  <a:pt x="462120" y="579243"/>
                </a:cubicBezTo>
                <a:cubicBezTo>
                  <a:pt x="462120" y="582648"/>
                  <a:pt x="461566" y="585870"/>
                  <a:pt x="460737" y="588999"/>
                </a:cubicBezTo>
                <a:cubicBezTo>
                  <a:pt x="461198" y="588999"/>
                  <a:pt x="461659" y="589091"/>
                  <a:pt x="462120" y="589091"/>
                </a:cubicBezTo>
                <a:cubicBezTo>
                  <a:pt x="462580" y="589091"/>
                  <a:pt x="463041" y="588999"/>
                  <a:pt x="463502" y="588999"/>
                </a:cubicBezTo>
                <a:cubicBezTo>
                  <a:pt x="462673" y="585870"/>
                  <a:pt x="462120" y="582648"/>
                  <a:pt x="462120" y="579243"/>
                </a:cubicBezTo>
                <a:cubicBezTo>
                  <a:pt x="462120" y="557612"/>
                  <a:pt x="479819" y="540031"/>
                  <a:pt x="501482" y="540031"/>
                </a:cubicBezTo>
                <a:cubicBezTo>
                  <a:pt x="517799" y="540031"/>
                  <a:pt x="531811" y="549972"/>
                  <a:pt x="537711" y="564147"/>
                </a:cubicBezTo>
                <a:cubicBezTo>
                  <a:pt x="545085" y="558716"/>
                  <a:pt x="551815" y="552549"/>
                  <a:pt x="557807" y="545738"/>
                </a:cubicBezTo>
                <a:cubicBezTo>
                  <a:pt x="552644" y="548315"/>
                  <a:pt x="546929" y="549788"/>
                  <a:pt x="540845" y="549788"/>
                </a:cubicBezTo>
                <a:cubicBezTo>
                  <a:pt x="529967" y="549788"/>
                  <a:pt x="520126" y="545393"/>
                  <a:pt x="513005" y="538294"/>
                </a:cubicBezTo>
                <a:lnTo>
                  <a:pt x="501497" y="510613"/>
                </a:lnTo>
                <a:lnTo>
                  <a:pt x="501508" y="510587"/>
                </a:lnTo>
                <a:lnTo>
                  <a:pt x="501493" y="510550"/>
                </a:lnTo>
                <a:lnTo>
                  <a:pt x="513005" y="482779"/>
                </a:lnTo>
                <a:cubicBezTo>
                  <a:pt x="520126" y="475668"/>
                  <a:pt x="529967" y="471273"/>
                  <a:pt x="540845" y="471273"/>
                </a:cubicBezTo>
                <a:cubicBezTo>
                  <a:pt x="562508" y="471273"/>
                  <a:pt x="580115" y="488854"/>
                  <a:pt x="580115" y="510485"/>
                </a:cubicBezTo>
                <a:cubicBezTo>
                  <a:pt x="584171" y="500912"/>
                  <a:pt x="586937" y="490695"/>
                  <a:pt x="588412" y="480109"/>
                </a:cubicBezTo>
                <a:cubicBezTo>
                  <a:pt x="585739" y="480662"/>
                  <a:pt x="582973" y="481122"/>
                  <a:pt x="580115" y="481122"/>
                </a:cubicBezTo>
                <a:cubicBezTo>
                  <a:pt x="558452" y="481122"/>
                  <a:pt x="540845" y="463449"/>
                  <a:pt x="540845" y="441818"/>
                </a:cubicBezTo>
                <a:cubicBezTo>
                  <a:pt x="540845" y="421660"/>
                  <a:pt x="556055" y="405276"/>
                  <a:pt x="575690" y="402975"/>
                </a:cubicBezTo>
                <a:cubicBezTo>
                  <a:pt x="574584" y="400858"/>
                  <a:pt x="573294" y="398741"/>
                  <a:pt x="572095" y="396716"/>
                </a:cubicBezTo>
                <a:cubicBezTo>
                  <a:pt x="564905" y="406289"/>
                  <a:pt x="553566" y="412364"/>
                  <a:pt x="540845" y="412364"/>
                </a:cubicBezTo>
                <a:cubicBezTo>
                  <a:pt x="529967" y="412364"/>
                  <a:pt x="520126" y="407969"/>
                  <a:pt x="513005" y="400858"/>
                </a:cubicBezTo>
                <a:lnTo>
                  <a:pt x="501497" y="373096"/>
                </a:lnTo>
                <a:lnTo>
                  <a:pt x="501508" y="373068"/>
                </a:lnTo>
                <a:lnTo>
                  <a:pt x="501494" y="373034"/>
                </a:lnTo>
                <a:lnTo>
                  <a:pt x="513651" y="344710"/>
                </a:lnTo>
                <a:lnTo>
                  <a:pt x="462145" y="333854"/>
                </a:lnTo>
                <a:close/>
                <a:moveTo>
                  <a:pt x="507474" y="298688"/>
                </a:moveTo>
                <a:lnTo>
                  <a:pt x="501851" y="319766"/>
                </a:lnTo>
                <a:cubicBezTo>
                  <a:pt x="539462" y="330259"/>
                  <a:pt x="570897" y="355204"/>
                  <a:pt x="589979" y="388248"/>
                </a:cubicBezTo>
                <a:lnTo>
                  <a:pt x="589979" y="351982"/>
                </a:lnTo>
                <a:cubicBezTo>
                  <a:pt x="589979" y="331180"/>
                  <a:pt x="572925" y="314151"/>
                  <a:pt x="552091" y="314151"/>
                </a:cubicBezTo>
                <a:cubicBezTo>
                  <a:pt x="543242" y="314151"/>
                  <a:pt x="534300" y="312126"/>
                  <a:pt x="526372" y="308076"/>
                </a:cubicBezTo>
                <a:close/>
                <a:moveTo>
                  <a:pt x="213764" y="196311"/>
                </a:moveTo>
                <a:cubicBezTo>
                  <a:pt x="204360" y="196311"/>
                  <a:pt x="196615" y="204046"/>
                  <a:pt x="196615" y="213439"/>
                </a:cubicBezTo>
                <a:lnTo>
                  <a:pt x="196615" y="225503"/>
                </a:lnTo>
                <a:cubicBezTo>
                  <a:pt x="196615" y="229647"/>
                  <a:pt x="198183" y="233698"/>
                  <a:pt x="200856" y="236737"/>
                </a:cubicBezTo>
                <a:lnTo>
                  <a:pt x="250273" y="293187"/>
                </a:lnTo>
                <a:cubicBezTo>
                  <a:pt x="256542" y="300278"/>
                  <a:pt x="265578" y="304422"/>
                  <a:pt x="275074" y="304422"/>
                </a:cubicBezTo>
                <a:lnTo>
                  <a:pt x="334540" y="304422"/>
                </a:lnTo>
                <a:cubicBezTo>
                  <a:pt x="344036" y="304422"/>
                  <a:pt x="353163" y="300278"/>
                  <a:pt x="359340" y="293187"/>
                </a:cubicBezTo>
                <a:lnTo>
                  <a:pt x="408757" y="236737"/>
                </a:lnTo>
                <a:cubicBezTo>
                  <a:pt x="411523" y="233698"/>
                  <a:pt x="412998" y="229647"/>
                  <a:pt x="412998" y="225503"/>
                </a:cubicBezTo>
                <a:lnTo>
                  <a:pt x="412998" y="213439"/>
                </a:lnTo>
                <a:cubicBezTo>
                  <a:pt x="412998" y="204046"/>
                  <a:pt x="405346" y="196311"/>
                  <a:pt x="395850" y="196311"/>
                </a:cubicBezTo>
                <a:cubicBezTo>
                  <a:pt x="390871" y="196311"/>
                  <a:pt x="386169" y="198521"/>
                  <a:pt x="382850" y="202296"/>
                </a:cubicBezTo>
                <a:lnTo>
                  <a:pt x="344773" y="246775"/>
                </a:lnTo>
                <a:cubicBezTo>
                  <a:pt x="334724" y="258378"/>
                  <a:pt x="320157" y="265101"/>
                  <a:pt x="304853" y="265101"/>
                </a:cubicBezTo>
                <a:cubicBezTo>
                  <a:pt x="289456" y="265101"/>
                  <a:pt x="274889" y="258378"/>
                  <a:pt x="264840" y="246775"/>
                </a:cubicBezTo>
                <a:lnTo>
                  <a:pt x="226763" y="202296"/>
                </a:lnTo>
                <a:cubicBezTo>
                  <a:pt x="223536" y="198521"/>
                  <a:pt x="218742" y="196311"/>
                  <a:pt x="213764" y="196311"/>
                </a:cubicBezTo>
                <a:close/>
                <a:moveTo>
                  <a:pt x="213764" y="176696"/>
                </a:moveTo>
                <a:cubicBezTo>
                  <a:pt x="224551" y="176696"/>
                  <a:pt x="234692" y="181392"/>
                  <a:pt x="241699" y="189496"/>
                </a:cubicBezTo>
                <a:lnTo>
                  <a:pt x="279776" y="233975"/>
                </a:lnTo>
                <a:cubicBezTo>
                  <a:pt x="286045" y="241250"/>
                  <a:pt x="295172" y="245486"/>
                  <a:pt x="304853" y="245486"/>
                </a:cubicBezTo>
                <a:cubicBezTo>
                  <a:pt x="314441" y="245486"/>
                  <a:pt x="323569" y="241250"/>
                  <a:pt x="329838" y="233975"/>
                </a:cubicBezTo>
                <a:lnTo>
                  <a:pt x="368007" y="189496"/>
                </a:lnTo>
                <a:cubicBezTo>
                  <a:pt x="374921" y="181392"/>
                  <a:pt x="385155" y="176696"/>
                  <a:pt x="395850" y="176696"/>
                </a:cubicBezTo>
                <a:cubicBezTo>
                  <a:pt x="416133" y="176696"/>
                  <a:pt x="432636" y="193180"/>
                  <a:pt x="432636" y="213439"/>
                </a:cubicBezTo>
                <a:lnTo>
                  <a:pt x="432636" y="225503"/>
                </a:lnTo>
                <a:cubicBezTo>
                  <a:pt x="432636" y="234435"/>
                  <a:pt x="429409" y="242999"/>
                  <a:pt x="423601" y="249722"/>
                </a:cubicBezTo>
                <a:lnTo>
                  <a:pt x="374184" y="306080"/>
                </a:lnTo>
                <a:cubicBezTo>
                  <a:pt x="364227" y="317499"/>
                  <a:pt x="349752" y="324037"/>
                  <a:pt x="334632" y="324037"/>
                </a:cubicBezTo>
                <a:lnTo>
                  <a:pt x="275074" y="324037"/>
                </a:lnTo>
                <a:cubicBezTo>
                  <a:pt x="259861" y="324037"/>
                  <a:pt x="245479" y="317499"/>
                  <a:pt x="235430" y="306080"/>
                </a:cubicBezTo>
                <a:lnTo>
                  <a:pt x="186105" y="249722"/>
                </a:lnTo>
                <a:cubicBezTo>
                  <a:pt x="180205" y="242999"/>
                  <a:pt x="176978" y="234435"/>
                  <a:pt x="176978" y="225503"/>
                </a:cubicBezTo>
                <a:lnTo>
                  <a:pt x="176978" y="213439"/>
                </a:lnTo>
                <a:cubicBezTo>
                  <a:pt x="176978" y="193180"/>
                  <a:pt x="193481" y="176696"/>
                  <a:pt x="213764" y="176696"/>
                </a:cubicBezTo>
                <a:close/>
                <a:moveTo>
                  <a:pt x="285125" y="117818"/>
                </a:moveTo>
                <a:lnTo>
                  <a:pt x="285125" y="137424"/>
                </a:lnTo>
                <a:lnTo>
                  <a:pt x="324488" y="137424"/>
                </a:lnTo>
                <a:lnTo>
                  <a:pt x="324488" y="117818"/>
                </a:lnTo>
                <a:close/>
                <a:moveTo>
                  <a:pt x="285125" y="78515"/>
                </a:moveTo>
                <a:lnTo>
                  <a:pt x="285125" y="98212"/>
                </a:lnTo>
                <a:lnTo>
                  <a:pt x="324488" y="98212"/>
                </a:lnTo>
                <a:lnTo>
                  <a:pt x="324488" y="78515"/>
                </a:lnTo>
                <a:close/>
                <a:moveTo>
                  <a:pt x="285125" y="39303"/>
                </a:moveTo>
                <a:lnTo>
                  <a:pt x="285125" y="58909"/>
                </a:lnTo>
                <a:lnTo>
                  <a:pt x="324488" y="58909"/>
                </a:lnTo>
                <a:lnTo>
                  <a:pt x="324488" y="39303"/>
                </a:lnTo>
                <a:close/>
                <a:moveTo>
                  <a:pt x="116981" y="19606"/>
                </a:moveTo>
                <a:cubicBezTo>
                  <a:pt x="63330" y="19606"/>
                  <a:pt x="19635" y="63235"/>
                  <a:pt x="19635" y="116806"/>
                </a:cubicBezTo>
                <a:lnTo>
                  <a:pt x="19635" y="129324"/>
                </a:lnTo>
                <a:cubicBezTo>
                  <a:pt x="19635" y="161816"/>
                  <a:pt x="35859" y="192099"/>
                  <a:pt x="62962" y="210140"/>
                </a:cubicBezTo>
                <a:cubicBezTo>
                  <a:pt x="91262" y="228917"/>
                  <a:pt x="111635" y="257451"/>
                  <a:pt x="120300" y="290311"/>
                </a:cubicBezTo>
                <a:lnTo>
                  <a:pt x="143070" y="376742"/>
                </a:lnTo>
                <a:cubicBezTo>
                  <a:pt x="150168" y="403527"/>
                  <a:pt x="174412" y="422213"/>
                  <a:pt x="202160" y="422213"/>
                </a:cubicBezTo>
                <a:cubicBezTo>
                  <a:pt x="229262" y="422213"/>
                  <a:pt x="253414" y="403988"/>
                  <a:pt x="260881" y="377939"/>
                </a:cubicBezTo>
                <a:cubicBezTo>
                  <a:pt x="265029" y="363488"/>
                  <a:pt x="278396" y="353455"/>
                  <a:pt x="293422" y="353455"/>
                </a:cubicBezTo>
                <a:lnTo>
                  <a:pt x="316192" y="353455"/>
                </a:lnTo>
                <a:cubicBezTo>
                  <a:pt x="328729" y="353455"/>
                  <a:pt x="340067" y="360542"/>
                  <a:pt x="345875" y="371219"/>
                </a:cubicBezTo>
                <a:cubicBezTo>
                  <a:pt x="372885" y="336610"/>
                  <a:pt x="414921" y="314151"/>
                  <a:pt x="462120" y="314151"/>
                </a:cubicBezTo>
                <a:cubicBezTo>
                  <a:pt x="469126" y="314151"/>
                  <a:pt x="475947" y="314796"/>
                  <a:pt x="482584" y="315808"/>
                </a:cubicBezTo>
                <a:lnTo>
                  <a:pt x="489314" y="290311"/>
                </a:lnTo>
                <a:cubicBezTo>
                  <a:pt x="497979" y="257451"/>
                  <a:pt x="518352" y="228917"/>
                  <a:pt x="546652" y="210140"/>
                </a:cubicBezTo>
                <a:cubicBezTo>
                  <a:pt x="573755" y="192099"/>
                  <a:pt x="589979" y="161816"/>
                  <a:pt x="589979" y="129324"/>
                </a:cubicBezTo>
                <a:lnTo>
                  <a:pt x="589979" y="116806"/>
                </a:lnTo>
                <a:cubicBezTo>
                  <a:pt x="589979" y="63235"/>
                  <a:pt x="546376" y="19606"/>
                  <a:pt x="492725" y="19606"/>
                </a:cubicBezTo>
                <a:cubicBezTo>
                  <a:pt x="449398" y="19606"/>
                  <a:pt x="411971" y="47495"/>
                  <a:pt x="399526" y="88824"/>
                </a:cubicBezTo>
                <a:cubicBezTo>
                  <a:pt x="394272" y="106220"/>
                  <a:pt x="378600" y="117818"/>
                  <a:pt x="360532" y="117818"/>
                </a:cubicBezTo>
                <a:lnTo>
                  <a:pt x="344123" y="117818"/>
                </a:lnTo>
                <a:lnTo>
                  <a:pt x="344123" y="137424"/>
                </a:lnTo>
                <a:lnTo>
                  <a:pt x="363851" y="137424"/>
                </a:lnTo>
                <a:lnTo>
                  <a:pt x="363851" y="157122"/>
                </a:lnTo>
                <a:lnTo>
                  <a:pt x="344123" y="157122"/>
                </a:lnTo>
                <a:lnTo>
                  <a:pt x="344123" y="176727"/>
                </a:lnTo>
                <a:lnTo>
                  <a:pt x="324488" y="176727"/>
                </a:lnTo>
                <a:lnTo>
                  <a:pt x="324488" y="157122"/>
                </a:lnTo>
                <a:lnTo>
                  <a:pt x="285125" y="157122"/>
                </a:lnTo>
                <a:lnTo>
                  <a:pt x="285125" y="176727"/>
                </a:lnTo>
                <a:lnTo>
                  <a:pt x="265490" y="176727"/>
                </a:lnTo>
                <a:lnTo>
                  <a:pt x="265490" y="157122"/>
                </a:lnTo>
                <a:lnTo>
                  <a:pt x="245855" y="157122"/>
                </a:lnTo>
                <a:lnTo>
                  <a:pt x="245855" y="137424"/>
                </a:lnTo>
                <a:lnTo>
                  <a:pt x="265490" y="137424"/>
                </a:lnTo>
                <a:lnTo>
                  <a:pt x="265490" y="117818"/>
                </a:lnTo>
                <a:lnTo>
                  <a:pt x="249081" y="117818"/>
                </a:lnTo>
                <a:cubicBezTo>
                  <a:pt x="231013" y="117818"/>
                  <a:pt x="215342" y="106220"/>
                  <a:pt x="210180" y="88824"/>
                </a:cubicBezTo>
                <a:cubicBezTo>
                  <a:pt x="197735" y="47495"/>
                  <a:pt x="160216" y="19606"/>
                  <a:pt x="116981" y="19606"/>
                </a:cubicBezTo>
                <a:close/>
                <a:moveTo>
                  <a:pt x="116981" y="0"/>
                </a:moveTo>
                <a:cubicBezTo>
                  <a:pt x="168973" y="0"/>
                  <a:pt x="214051" y="33412"/>
                  <a:pt x="228985" y="83209"/>
                </a:cubicBezTo>
                <a:cubicBezTo>
                  <a:pt x="231659" y="92137"/>
                  <a:pt x="239771" y="98212"/>
                  <a:pt x="249081" y="98212"/>
                </a:cubicBezTo>
                <a:lnTo>
                  <a:pt x="265490" y="98212"/>
                </a:lnTo>
                <a:lnTo>
                  <a:pt x="265490" y="78515"/>
                </a:lnTo>
                <a:lnTo>
                  <a:pt x="245855" y="78515"/>
                </a:lnTo>
                <a:lnTo>
                  <a:pt x="245855" y="58909"/>
                </a:lnTo>
                <a:lnTo>
                  <a:pt x="265490" y="58909"/>
                </a:lnTo>
                <a:lnTo>
                  <a:pt x="265490" y="39303"/>
                </a:lnTo>
                <a:lnTo>
                  <a:pt x="245855" y="39303"/>
                </a:lnTo>
                <a:lnTo>
                  <a:pt x="245855" y="19606"/>
                </a:lnTo>
                <a:lnTo>
                  <a:pt x="265490" y="19606"/>
                </a:lnTo>
                <a:lnTo>
                  <a:pt x="265490" y="0"/>
                </a:lnTo>
                <a:lnTo>
                  <a:pt x="285125" y="0"/>
                </a:lnTo>
                <a:lnTo>
                  <a:pt x="285125" y="19606"/>
                </a:lnTo>
                <a:lnTo>
                  <a:pt x="324488" y="19606"/>
                </a:lnTo>
                <a:lnTo>
                  <a:pt x="324488" y="0"/>
                </a:lnTo>
                <a:lnTo>
                  <a:pt x="344123" y="0"/>
                </a:lnTo>
                <a:lnTo>
                  <a:pt x="344123" y="19606"/>
                </a:lnTo>
                <a:lnTo>
                  <a:pt x="363851" y="19606"/>
                </a:lnTo>
                <a:lnTo>
                  <a:pt x="363851" y="39303"/>
                </a:lnTo>
                <a:lnTo>
                  <a:pt x="344123" y="39303"/>
                </a:lnTo>
                <a:lnTo>
                  <a:pt x="344123" y="58909"/>
                </a:lnTo>
                <a:lnTo>
                  <a:pt x="363851" y="58909"/>
                </a:lnTo>
                <a:lnTo>
                  <a:pt x="363851" y="78515"/>
                </a:lnTo>
                <a:lnTo>
                  <a:pt x="344123" y="78515"/>
                </a:lnTo>
                <a:lnTo>
                  <a:pt x="344123" y="98212"/>
                </a:lnTo>
                <a:lnTo>
                  <a:pt x="360532" y="98212"/>
                </a:lnTo>
                <a:cubicBezTo>
                  <a:pt x="369843" y="98212"/>
                  <a:pt x="377955" y="92137"/>
                  <a:pt x="380628" y="83209"/>
                </a:cubicBezTo>
                <a:cubicBezTo>
                  <a:pt x="395654" y="33412"/>
                  <a:pt x="440641" y="0"/>
                  <a:pt x="492725" y="0"/>
                </a:cubicBezTo>
                <a:cubicBezTo>
                  <a:pt x="557161" y="0"/>
                  <a:pt x="609614" y="52374"/>
                  <a:pt x="609614" y="116806"/>
                </a:cubicBezTo>
                <a:lnTo>
                  <a:pt x="609614" y="129324"/>
                </a:lnTo>
                <a:cubicBezTo>
                  <a:pt x="609614" y="168443"/>
                  <a:pt x="590163" y="204801"/>
                  <a:pt x="557530" y="226432"/>
                </a:cubicBezTo>
                <a:cubicBezTo>
                  <a:pt x="537803" y="239594"/>
                  <a:pt x="522685" y="258188"/>
                  <a:pt x="513651" y="279818"/>
                </a:cubicBezTo>
                <a:lnTo>
                  <a:pt x="535129" y="290588"/>
                </a:lnTo>
                <a:cubicBezTo>
                  <a:pt x="540384" y="293165"/>
                  <a:pt x="546192" y="294546"/>
                  <a:pt x="552091" y="294546"/>
                </a:cubicBezTo>
                <a:cubicBezTo>
                  <a:pt x="583803" y="294546"/>
                  <a:pt x="609614" y="320318"/>
                  <a:pt x="609614" y="351982"/>
                </a:cubicBezTo>
                <a:lnTo>
                  <a:pt x="609614" y="392574"/>
                </a:lnTo>
                <a:cubicBezTo>
                  <a:pt x="609614" y="401595"/>
                  <a:pt x="607310" y="410339"/>
                  <a:pt x="603161" y="418531"/>
                </a:cubicBezTo>
                <a:cubicBezTo>
                  <a:pt x="607402" y="432062"/>
                  <a:pt x="609614" y="446513"/>
                  <a:pt x="609614" y="461424"/>
                </a:cubicBezTo>
                <a:cubicBezTo>
                  <a:pt x="609614" y="498611"/>
                  <a:pt x="595694" y="532483"/>
                  <a:pt x="572833" y="558440"/>
                </a:cubicBezTo>
                <a:lnTo>
                  <a:pt x="570252" y="599493"/>
                </a:lnTo>
                <a:lnTo>
                  <a:pt x="550709" y="598296"/>
                </a:lnTo>
                <a:lnTo>
                  <a:pt x="551907" y="578046"/>
                </a:lnTo>
                <a:cubicBezTo>
                  <a:pt x="527017" y="597191"/>
                  <a:pt x="495951" y="608697"/>
                  <a:pt x="462120" y="608697"/>
                </a:cubicBezTo>
                <a:cubicBezTo>
                  <a:pt x="380813" y="608697"/>
                  <a:pt x="314624" y="542700"/>
                  <a:pt x="314624" y="461424"/>
                </a:cubicBezTo>
                <a:cubicBezTo>
                  <a:pt x="314624" y="436020"/>
                  <a:pt x="321169" y="412088"/>
                  <a:pt x="332600" y="391101"/>
                </a:cubicBezTo>
                <a:cubicBezTo>
                  <a:pt x="331494" y="388524"/>
                  <a:pt x="330572" y="385947"/>
                  <a:pt x="329835" y="383369"/>
                </a:cubicBezTo>
                <a:cubicBezTo>
                  <a:pt x="328083" y="377294"/>
                  <a:pt x="322552" y="373060"/>
                  <a:pt x="316192" y="373060"/>
                </a:cubicBezTo>
                <a:lnTo>
                  <a:pt x="293422" y="373060"/>
                </a:lnTo>
                <a:cubicBezTo>
                  <a:pt x="287153" y="373060"/>
                  <a:pt x="281530" y="377294"/>
                  <a:pt x="279779" y="383369"/>
                </a:cubicBezTo>
                <a:cubicBezTo>
                  <a:pt x="270007" y="417795"/>
                  <a:pt x="238019" y="441818"/>
                  <a:pt x="202160" y="441818"/>
                </a:cubicBezTo>
                <a:cubicBezTo>
                  <a:pt x="165470" y="441818"/>
                  <a:pt x="133390" y="417058"/>
                  <a:pt x="124080" y="381713"/>
                </a:cubicBezTo>
                <a:lnTo>
                  <a:pt x="123250" y="378491"/>
                </a:lnTo>
                <a:cubicBezTo>
                  <a:pt x="114124" y="385947"/>
                  <a:pt x="108777" y="397452"/>
                  <a:pt x="109330" y="409326"/>
                </a:cubicBezTo>
                <a:lnTo>
                  <a:pt x="117996" y="598480"/>
                </a:lnTo>
                <a:lnTo>
                  <a:pt x="98360" y="599400"/>
                </a:lnTo>
                <a:lnTo>
                  <a:pt x="89695" y="410247"/>
                </a:lnTo>
                <a:cubicBezTo>
                  <a:pt x="88773" y="390273"/>
                  <a:pt x="98637" y="370943"/>
                  <a:pt x="115322" y="359806"/>
                </a:cubicBezTo>
                <a:lnTo>
                  <a:pt x="117811" y="358149"/>
                </a:lnTo>
                <a:lnTo>
                  <a:pt x="102140" y="298688"/>
                </a:lnTo>
                <a:lnTo>
                  <a:pt x="83334" y="308076"/>
                </a:lnTo>
                <a:cubicBezTo>
                  <a:pt x="75314" y="312126"/>
                  <a:pt x="66465" y="314151"/>
                  <a:pt x="57523" y="314151"/>
                </a:cubicBezTo>
                <a:cubicBezTo>
                  <a:pt x="36689" y="314151"/>
                  <a:pt x="19635" y="331180"/>
                  <a:pt x="19635" y="351982"/>
                </a:cubicBezTo>
                <a:lnTo>
                  <a:pt x="19635" y="392574"/>
                </a:lnTo>
                <a:cubicBezTo>
                  <a:pt x="19635" y="402607"/>
                  <a:pt x="23691" y="412364"/>
                  <a:pt x="30789" y="419359"/>
                </a:cubicBezTo>
                <a:lnTo>
                  <a:pt x="33555" y="422121"/>
                </a:lnTo>
                <a:cubicBezTo>
                  <a:pt x="43419" y="432062"/>
                  <a:pt x="49410" y="445224"/>
                  <a:pt x="50240" y="459215"/>
                </a:cubicBezTo>
                <a:lnTo>
                  <a:pt x="58998" y="598296"/>
                </a:lnTo>
                <a:lnTo>
                  <a:pt x="39362" y="599493"/>
                </a:lnTo>
                <a:lnTo>
                  <a:pt x="30605" y="460412"/>
                </a:lnTo>
                <a:cubicBezTo>
                  <a:pt x="30052" y="451207"/>
                  <a:pt x="26180" y="442555"/>
                  <a:pt x="19635" y="436020"/>
                </a:cubicBezTo>
                <a:lnTo>
                  <a:pt x="16869" y="433258"/>
                </a:lnTo>
                <a:cubicBezTo>
                  <a:pt x="6176" y="422581"/>
                  <a:pt x="0" y="407762"/>
                  <a:pt x="0" y="392574"/>
                </a:cubicBezTo>
                <a:lnTo>
                  <a:pt x="0" y="351982"/>
                </a:lnTo>
                <a:cubicBezTo>
                  <a:pt x="0" y="320318"/>
                  <a:pt x="25811" y="294546"/>
                  <a:pt x="57523" y="294546"/>
                </a:cubicBezTo>
                <a:cubicBezTo>
                  <a:pt x="63422" y="294546"/>
                  <a:pt x="69230" y="293165"/>
                  <a:pt x="74485" y="290496"/>
                </a:cubicBezTo>
                <a:lnTo>
                  <a:pt x="95963" y="279818"/>
                </a:lnTo>
                <a:cubicBezTo>
                  <a:pt x="86929" y="258188"/>
                  <a:pt x="71811" y="239594"/>
                  <a:pt x="52084" y="226432"/>
                </a:cubicBezTo>
                <a:cubicBezTo>
                  <a:pt x="19451" y="204801"/>
                  <a:pt x="0" y="168443"/>
                  <a:pt x="0" y="129324"/>
                </a:cubicBezTo>
                <a:lnTo>
                  <a:pt x="0" y="116806"/>
                </a:lnTo>
                <a:cubicBezTo>
                  <a:pt x="0" y="52374"/>
                  <a:pt x="52453" y="0"/>
                  <a:pt x="11698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76" name="文本框 75"/>
          <p:cNvSpPr txBox="1"/>
          <p:nvPr/>
        </p:nvSpPr>
        <p:spPr>
          <a:xfrm>
            <a:off x="364409" y="4626763"/>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中国大陆首次上市时间：</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7" name="文本框 76"/>
          <p:cNvSpPr txBox="1"/>
          <p:nvPr/>
        </p:nvSpPr>
        <p:spPr>
          <a:xfrm>
            <a:off x="374960" y="5471189"/>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是否为</a:t>
            </a:r>
            <a:r>
              <a:rPr lang="en-US" altLang="zh-CN" sz="1400" b="1" dirty="0">
                <a:latin typeface="Arial" panose="020B0604020202020204" pitchFamily="34" charset="0"/>
                <a:ea typeface="微软雅黑" panose="020B0503020204020204" pitchFamily="34" charset="-122"/>
                <a:sym typeface="Arial" panose="020B0604020202020204" pitchFamily="34" charset="0"/>
              </a:rPr>
              <a:t>OTC</a:t>
            </a:r>
            <a:r>
              <a:rPr lang="zh-CN" altLang="en-US" sz="1400" b="1" dirty="0">
                <a:latin typeface="Arial" panose="020B0604020202020204" pitchFamily="34" charset="0"/>
                <a:ea typeface="微软雅黑" panose="020B0503020204020204" pitchFamily="34" charset="-122"/>
                <a:sym typeface="Arial" panose="020B0604020202020204" pitchFamily="34" charset="0"/>
              </a:rPr>
              <a:t>药品：</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8" name="文本框 77"/>
          <p:cNvSpPr txBox="1"/>
          <p:nvPr/>
        </p:nvSpPr>
        <p:spPr>
          <a:xfrm>
            <a:off x="364409" y="5051952"/>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参照药品建议：</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9" name="文本框 78"/>
          <p:cNvSpPr txBox="1"/>
          <p:nvPr/>
        </p:nvSpPr>
        <p:spPr>
          <a:xfrm>
            <a:off x="2570311" y="1484662"/>
            <a:ext cx="4800186" cy="377026"/>
          </a:xfrm>
          <a:prstGeom prst="rect">
            <a:avLst/>
          </a:prstGeom>
          <a:noFill/>
        </p:spPr>
        <p:txBody>
          <a:bodyPr wrap="square" rtlCol="0" anchor="ctr">
            <a:spAutoFit/>
          </a:bodyPr>
          <a:lstStyle/>
          <a:p>
            <a:pP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来特莫韦片</a:t>
            </a:r>
            <a:endParaRPr lang="en-US" altLang="zh-CN" sz="1400" b="1" dirty="0">
              <a:latin typeface="Arial" panose="020B0604020202020204" pitchFamily="34" charset="0"/>
              <a:ea typeface="微软雅黑" panose="020B0503020204020204" pitchFamily="34" charset="-122"/>
              <a:sym typeface="Arial" panose="020B0604020202020204" pitchFamily="34" charset="0"/>
            </a:endParaRPr>
          </a:p>
        </p:txBody>
      </p:sp>
      <p:sp>
        <p:nvSpPr>
          <p:cNvPr id="80" name="文本框 79"/>
          <p:cNvSpPr txBox="1"/>
          <p:nvPr/>
        </p:nvSpPr>
        <p:spPr>
          <a:xfrm>
            <a:off x="2562639" y="1863621"/>
            <a:ext cx="4060392" cy="1061829"/>
          </a:xfrm>
          <a:prstGeom prst="rect">
            <a:avLst/>
          </a:prstGeom>
          <a:noFill/>
        </p:spPr>
        <p:txBody>
          <a:bodyPr wrap="square" rtlCol="0" anchor="ctr">
            <a:spAutoFit/>
          </a:bodyPr>
          <a:lstStyle/>
          <a:p>
            <a:pPr>
              <a:lnSpc>
                <a:spcPct val="150000"/>
              </a:lnSpc>
            </a:pPr>
            <a:r>
              <a:rPr lang="zh-CN" altLang="en-US" sz="1400" dirty="0">
                <a:latin typeface="Arial" panose="020B0604020202020204" pitchFamily="34" charset="0"/>
                <a:ea typeface="微软雅黑" panose="020B0503020204020204" pitchFamily="34" charset="-122"/>
                <a:sym typeface="Arial" panose="020B0604020202020204" pitchFamily="34" charset="0"/>
              </a:rPr>
              <a:t>用于接受异基因造血干细胞移植</a:t>
            </a:r>
            <a:r>
              <a:rPr lang="en-US" altLang="zh-CN" sz="1400" dirty="0">
                <a:latin typeface="Arial" panose="020B0604020202020204" pitchFamily="34" charset="0"/>
                <a:ea typeface="微软雅黑" panose="020B0503020204020204" pitchFamily="34" charset="-122"/>
                <a:sym typeface="Arial" panose="020B0604020202020204" pitchFamily="34" charset="0"/>
              </a:rPr>
              <a:t>(HSCT)</a:t>
            </a:r>
            <a:r>
              <a:rPr lang="zh-CN" altLang="en-US" sz="1400" dirty="0">
                <a:latin typeface="Arial" panose="020B0604020202020204" pitchFamily="34" charset="0"/>
                <a:ea typeface="微软雅黑" panose="020B0503020204020204" pitchFamily="34" charset="-122"/>
                <a:sym typeface="Arial" panose="020B0604020202020204" pitchFamily="34" charset="0"/>
              </a:rPr>
              <a:t>的巨细胞病毒</a:t>
            </a:r>
            <a:r>
              <a:rPr lang="en-US" altLang="zh-CN" sz="1400" dirty="0">
                <a:latin typeface="Arial" panose="020B0604020202020204" pitchFamily="34" charset="0"/>
                <a:ea typeface="微软雅黑" panose="020B0503020204020204" pitchFamily="34" charset="-122"/>
                <a:sym typeface="Arial" panose="020B0604020202020204" pitchFamily="34" charset="0"/>
              </a:rPr>
              <a:t>(CMV)</a:t>
            </a:r>
            <a:r>
              <a:rPr lang="zh-CN" altLang="en-US" sz="1400" dirty="0">
                <a:latin typeface="Arial" panose="020B0604020202020204" pitchFamily="34" charset="0"/>
                <a:ea typeface="微软雅黑" panose="020B0503020204020204" pitchFamily="34" charset="-122"/>
                <a:sym typeface="Arial" panose="020B0604020202020204" pitchFamily="34" charset="0"/>
              </a:rPr>
              <a:t>血清学阳性的成人受者</a:t>
            </a:r>
            <a:r>
              <a:rPr lang="en-US" altLang="zh-CN" sz="1400" dirty="0">
                <a:latin typeface="Arial" panose="020B0604020202020204" pitchFamily="34" charset="0"/>
                <a:ea typeface="微软雅黑" panose="020B0503020204020204" pitchFamily="34" charset="-122"/>
                <a:sym typeface="Arial" panose="020B0604020202020204" pitchFamily="34" charset="0"/>
              </a:rPr>
              <a:t>[R+]</a:t>
            </a:r>
            <a:r>
              <a:rPr lang="zh-CN" altLang="en-US" sz="1400" dirty="0">
                <a:latin typeface="Arial" panose="020B0604020202020204" pitchFamily="34" charset="0"/>
                <a:ea typeface="微软雅黑" panose="020B0503020204020204" pitchFamily="34" charset="-122"/>
                <a:sym typeface="Arial" panose="020B0604020202020204" pitchFamily="34" charset="0"/>
              </a:rPr>
              <a:t>预防巨细胞病毒感染和巨细胞病毒病。</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81" name="文本框 80"/>
          <p:cNvSpPr txBox="1"/>
          <p:nvPr/>
        </p:nvSpPr>
        <p:spPr>
          <a:xfrm>
            <a:off x="2562640" y="2904656"/>
            <a:ext cx="4800186" cy="377026"/>
          </a:xfrm>
          <a:prstGeom prst="rect">
            <a:avLst/>
          </a:prstGeom>
          <a:noFill/>
        </p:spPr>
        <p:txBody>
          <a:bodyPr wrap="square" rtlCol="0" anchor="ctr">
            <a:spAutoFit/>
          </a:bodyPr>
          <a:lstStyle/>
          <a:p>
            <a:pPr>
              <a:lnSpc>
                <a:spcPct val="150000"/>
              </a:lnSpc>
            </a:pPr>
            <a:r>
              <a:rPr lang="en-US" sz="1400" b="1" dirty="0">
                <a:latin typeface="Arial" panose="020B0604020202020204" pitchFamily="34" charset="0"/>
                <a:ea typeface="微软雅黑" panose="020B0503020204020204" pitchFamily="34" charset="-122"/>
                <a:sym typeface="Arial" panose="020B0604020202020204" pitchFamily="34" charset="0"/>
              </a:rPr>
              <a:t>XJ05</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全身用抗病毒药</a:t>
            </a:r>
            <a:r>
              <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      </a:t>
            </a:r>
          </a:p>
        </p:txBody>
      </p:sp>
      <p:sp>
        <p:nvSpPr>
          <p:cNvPr id="82" name="文本框 81"/>
          <p:cNvSpPr txBox="1"/>
          <p:nvPr/>
        </p:nvSpPr>
        <p:spPr>
          <a:xfrm>
            <a:off x="2585498" y="3917014"/>
            <a:ext cx="4495507" cy="659540"/>
          </a:xfrm>
          <a:prstGeom prst="rect">
            <a:avLst/>
          </a:prstGeom>
          <a:noFill/>
        </p:spPr>
        <p:txBody>
          <a:bodyPr wrap="square" rtlCol="0" anchor="ctr">
            <a:spAutoFit/>
          </a:bodyPr>
          <a:lstStyle/>
          <a:p>
            <a:pPr>
              <a:lnSpc>
                <a:spcPct val="150000"/>
              </a:lnSpc>
            </a:pPr>
            <a:r>
              <a:rPr lang="en-US" altLang="zh-CN" sz="1400" b="1" dirty="0">
                <a:latin typeface="Arial" panose="020B0604020202020204" pitchFamily="34" charset="0"/>
                <a:ea typeface="微软雅黑" panose="020B0503020204020204" pitchFamily="34" charset="-122"/>
                <a:sym typeface="Arial" panose="020B0604020202020204" pitchFamily="34" charset="0"/>
              </a:rPr>
              <a:t>240mg/</a:t>
            </a:r>
            <a:r>
              <a:rPr lang="zh-CN" altLang="en-US" sz="1400" b="1" dirty="0">
                <a:latin typeface="Arial" panose="020B0604020202020204" pitchFamily="34" charset="0"/>
                <a:ea typeface="微软雅黑" panose="020B0503020204020204" pitchFamily="34" charset="-122"/>
                <a:sym typeface="Arial" panose="020B0604020202020204" pitchFamily="34" charset="0"/>
              </a:rPr>
              <a:t>片</a:t>
            </a:r>
            <a:r>
              <a:rPr lang="zh-CN" altLang="en-US" sz="1400" dirty="0">
                <a:latin typeface="Arial" panose="020B0604020202020204" pitchFamily="34" charset="0"/>
                <a:ea typeface="微软雅黑" panose="020B0503020204020204" pitchFamily="34" charset="-122"/>
                <a:sym typeface="Arial" panose="020B0604020202020204" pitchFamily="34" charset="0"/>
              </a:rPr>
              <a:t>（中国上市规格）    </a:t>
            </a:r>
            <a:r>
              <a:rPr lang="en-US" altLang="zh-CN" sz="1400" dirty="0">
                <a:latin typeface="Arial" panose="020B0604020202020204" pitchFamily="34" charset="0"/>
                <a:ea typeface="微软雅黑" panose="020B0503020204020204" pitchFamily="34" charset="-122"/>
                <a:sym typeface="Arial" panose="020B0604020202020204" pitchFamily="34" charset="0"/>
              </a:rPr>
              <a:t>480mg/</a:t>
            </a:r>
            <a:r>
              <a:rPr lang="zh-CN" altLang="en-US" sz="1400" dirty="0">
                <a:latin typeface="Arial" panose="020B0604020202020204" pitchFamily="34" charset="0"/>
                <a:ea typeface="微软雅黑" panose="020B0503020204020204" pitchFamily="34" charset="-122"/>
                <a:sym typeface="Arial" panose="020B0604020202020204" pitchFamily="34" charset="0"/>
              </a:rPr>
              <a:t>片</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zh-CN" altLang="en-US" sz="1200" b="1" dirty="0">
                <a:solidFill>
                  <a:srgbClr val="00857C"/>
                </a:solidFill>
                <a:latin typeface="Arial" panose="020B0604020202020204" pitchFamily="34" charset="0"/>
                <a:ea typeface="微软雅黑" panose="020B0503020204020204" pitchFamily="34" charset="-122"/>
                <a:sym typeface="Arial" panose="020B0604020202020204" pitchFamily="34" charset="0"/>
              </a:rPr>
              <a:t>中国患者</a:t>
            </a:r>
            <a:r>
              <a:rPr lang="en-US" altLang="zh-CN" sz="1200" b="1" dirty="0">
                <a:solidFill>
                  <a:srgbClr val="00857C"/>
                </a:solidFill>
                <a:latin typeface="Arial" panose="020B0604020202020204" pitchFamily="34" charset="0"/>
                <a:ea typeface="微软雅黑" panose="020B0503020204020204" pitchFamily="34" charset="-122"/>
                <a:sym typeface="Arial" panose="020B0604020202020204" pitchFamily="34" charset="0"/>
              </a:rPr>
              <a:t>90%</a:t>
            </a:r>
            <a:r>
              <a:rPr lang="zh-CN" altLang="en-US" sz="1200" b="1" dirty="0">
                <a:solidFill>
                  <a:srgbClr val="00857C"/>
                </a:solidFill>
                <a:latin typeface="Arial" panose="020B0604020202020204" pitchFamily="34" charset="0"/>
                <a:ea typeface="微软雅黑" panose="020B0503020204020204" pitchFamily="34" charset="-122"/>
                <a:sym typeface="Arial" panose="020B0604020202020204" pitchFamily="34" charset="0"/>
              </a:rPr>
              <a:t>以上与环孢素连用，更符合中国临床预处理方案</a:t>
            </a:r>
            <a:endParaRPr lang="en-US" altLang="zh-CN" sz="1200" b="1"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sp>
        <p:nvSpPr>
          <p:cNvPr id="83" name="文本框 82"/>
          <p:cNvSpPr txBox="1"/>
          <p:nvPr/>
        </p:nvSpPr>
        <p:spPr>
          <a:xfrm>
            <a:off x="2562639" y="3433312"/>
            <a:ext cx="1171161" cy="377026"/>
          </a:xfrm>
          <a:prstGeom prst="rect">
            <a:avLst/>
          </a:prstGeom>
          <a:noFill/>
        </p:spPr>
        <p:txBody>
          <a:bodyPr wrap="square" rtlCol="0" anchor="ctr">
            <a:spAutoFit/>
          </a:bodyPr>
          <a:lstStyle/>
          <a:p>
            <a:pPr>
              <a:lnSpc>
                <a:spcPct val="150000"/>
              </a:lnSpc>
            </a:pP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血液科</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84" name="文本框 83"/>
          <p:cNvSpPr txBox="1"/>
          <p:nvPr/>
        </p:nvSpPr>
        <p:spPr>
          <a:xfrm>
            <a:off x="2570312" y="4626763"/>
            <a:ext cx="1785788" cy="377026"/>
          </a:xfrm>
          <a:prstGeom prst="rect">
            <a:avLst/>
          </a:prstGeom>
          <a:noFill/>
        </p:spPr>
        <p:txBody>
          <a:bodyPr wrap="square" rtlCol="0" anchor="ctr">
            <a:spAutoFit/>
          </a:bodyPr>
          <a:lstStyle/>
          <a:p>
            <a:pPr>
              <a:lnSpc>
                <a:spcPct val="150000"/>
              </a:lnSpc>
            </a:pPr>
            <a:r>
              <a:rPr lang="en-US" altLang="zh-CN" sz="1400" dirty="0">
                <a:latin typeface="Arial" panose="020B0604020202020204" pitchFamily="34" charset="0"/>
                <a:ea typeface="微软雅黑" panose="020B0503020204020204" pitchFamily="34" charset="-122"/>
                <a:sym typeface="Arial" panose="020B0604020202020204" pitchFamily="34" charset="0"/>
              </a:rPr>
              <a:t>2021</a:t>
            </a:r>
            <a:r>
              <a:rPr lang="zh-CN" altLang="en-US" sz="1400" dirty="0">
                <a:latin typeface="Arial" panose="020B0604020202020204" pitchFamily="34" charset="0"/>
                <a:ea typeface="微软雅黑" panose="020B0503020204020204" pitchFamily="34" charset="-122"/>
                <a:sym typeface="Arial" panose="020B0604020202020204" pitchFamily="34" charset="0"/>
              </a:rPr>
              <a:t>年</a:t>
            </a:r>
            <a:r>
              <a:rPr lang="en-US" altLang="zh-CN" sz="1400" dirty="0">
                <a:latin typeface="Arial" panose="020B0604020202020204" pitchFamily="34" charset="0"/>
                <a:ea typeface="微软雅黑" panose="020B0503020204020204" pitchFamily="34" charset="-122"/>
                <a:sym typeface="Arial" panose="020B0604020202020204" pitchFamily="34" charset="0"/>
              </a:rPr>
              <a:t>12</a:t>
            </a:r>
            <a:r>
              <a:rPr lang="zh-CN" altLang="en-US" sz="1400" dirty="0">
                <a:latin typeface="Arial" panose="020B0604020202020204" pitchFamily="34" charset="0"/>
                <a:ea typeface="微软雅黑" panose="020B0503020204020204" pitchFamily="34" charset="-122"/>
                <a:sym typeface="Arial" panose="020B0604020202020204" pitchFamily="34" charset="0"/>
              </a:rPr>
              <a:t>月</a:t>
            </a:r>
            <a:r>
              <a:rPr lang="en-US" altLang="zh-CN" sz="1400" dirty="0">
                <a:latin typeface="Arial" panose="020B0604020202020204" pitchFamily="34" charset="0"/>
                <a:ea typeface="微软雅黑" panose="020B0503020204020204" pitchFamily="34" charset="-122"/>
                <a:sym typeface="Arial" panose="020B0604020202020204" pitchFamily="34" charset="0"/>
              </a:rPr>
              <a:t>31</a:t>
            </a:r>
            <a:r>
              <a:rPr lang="zh-CN" altLang="en-US" sz="1400" dirty="0">
                <a:latin typeface="Arial" panose="020B0604020202020204" pitchFamily="34" charset="0"/>
                <a:ea typeface="微软雅黑" panose="020B0503020204020204" pitchFamily="34" charset="-122"/>
                <a:sym typeface="Arial" panose="020B0604020202020204" pitchFamily="34" charset="0"/>
              </a:rPr>
              <a:t>日</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85" name="文本框 84"/>
          <p:cNvSpPr txBox="1"/>
          <p:nvPr/>
        </p:nvSpPr>
        <p:spPr>
          <a:xfrm>
            <a:off x="2580863" y="5471189"/>
            <a:ext cx="492122" cy="377026"/>
          </a:xfrm>
          <a:prstGeom prst="rect">
            <a:avLst/>
          </a:prstGeom>
          <a:noFill/>
        </p:spPr>
        <p:txBody>
          <a:bodyPr wrap="square" rtlCol="0" anchor="ctr">
            <a:spAutoFit/>
          </a:bodyPr>
          <a:lstStyle/>
          <a:p>
            <a:pPr>
              <a:lnSpc>
                <a:spcPct val="150000"/>
              </a:lnSpc>
            </a:pPr>
            <a:r>
              <a:rPr lang="zh-CN" altLang="en-US" sz="1400" dirty="0">
                <a:latin typeface="Arial" panose="020B0604020202020204" pitchFamily="34" charset="0"/>
                <a:ea typeface="微软雅黑" panose="020B0503020204020204" pitchFamily="34" charset="-122"/>
                <a:sym typeface="Arial" panose="020B0604020202020204" pitchFamily="34" charset="0"/>
              </a:rPr>
              <a:t>否</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86" name="文本框 85"/>
          <p:cNvSpPr txBox="1"/>
          <p:nvPr/>
        </p:nvSpPr>
        <p:spPr>
          <a:xfrm>
            <a:off x="2570312" y="5051952"/>
            <a:ext cx="922188" cy="377026"/>
          </a:xfrm>
          <a:prstGeom prst="rect">
            <a:avLst/>
          </a:prstGeom>
          <a:noFill/>
        </p:spPr>
        <p:txBody>
          <a:bodyPr wrap="square" rtlCol="0" anchor="ctr">
            <a:spAutoFit/>
          </a:bodyPr>
          <a:lstStyle/>
          <a:p>
            <a:pPr>
              <a:lnSpc>
                <a:spcPct val="150000"/>
              </a:lnSpc>
            </a:pP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安慰剂</a:t>
            </a:r>
          </a:p>
        </p:txBody>
      </p:sp>
      <p:sp>
        <p:nvSpPr>
          <p:cNvPr id="88" name="矩形 87"/>
          <p:cNvSpPr/>
          <p:nvPr/>
        </p:nvSpPr>
        <p:spPr>
          <a:xfrm>
            <a:off x="7176585" y="2903800"/>
            <a:ext cx="4377690" cy="661720"/>
          </a:xfrm>
          <a:prstGeom prst="rect">
            <a:avLst/>
          </a:prstGeom>
        </p:spPr>
        <p:txBody>
          <a:bodyPr wrap="square">
            <a:spAutoFit/>
          </a:bodyPr>
          <a:lstStyle/>
          <a:p>
            <a:pPr>
              <a:spcAft>
                <a:spcPts val="600"/>
              </a:spcAft>
            </a:pPr>
            <a:r>
              <a:rPr lang="zh-CN" altLang="en-US" sz="1400" b="1" dirty="0">
                <a:latin typeface="Arial" panose="020B0604020202020204" pitchFamily="34" charset="0"/>
                <a:ea typeface="微软雅黑" panose="020B0503020204020204" pitchFamily="34" charset="-122"/>
                <a:sym typeface="Arial" panose="020B0604020202020204" pitchFamily="34" charset="0"/>
              </a:rPr>
              <a:t>目前大陆地区同通用名药品的上市情况：</a:t>
            </a:r>
            <a:r>
              <a:rPr lang="zh-CN" altLang="en-US" sz="1400" dirty="0">
                <a:latin typeface="Arial" panose="020B0604020202020204" pitchFamily="34" charset="0"/>
                <a:ea typeface="微软雅黑" panose="020B0503020204020204" pitchFamily="34" charset="-122"/>
                <a:sym typeface="Arial" panose="020B0604020202020204" pitchFamily="34" charset="0"/>
              </a:rPr>
              <a:t>共</a:t>
            </a:r>
            <a:r>
              <a:rPr lang="en-US" altLang="zh-CN" b="1" dirty="0">
                <a:solidFill>
                  <a:srgbClr val="C00000"/>
                </a:solidFill>
                <a:latin typeface="Arial" panose="020B0604020202020204" pitchFamily="34" charset="0"/>
                <a:ea typeface="微软雅黑" panose="020B0503020204020204" pitchFamily="34" charset="-122"/>
                <a:sym typeface="Arial" panose="020B0604020202020204" pitchFamily="34" charset="0"/>
              </a:rPr>
              <a:t>0</a:t>
            </a:r>
            <a:r>
              <a:rPr lang="zh-CN" altLang="en-US" sz="1400" dirty="0">
                <a:latin typeface="Arial" panose="020B0604020202020204" pitchFamily="34" charset="0"/>
                <a:ea typeface="微软雅黑" panose="020B0503020204020204" pitchFamily="34" charset="-122"/>
                <a:sym typeface="Arial" panose="020B0604020202020204" pitchFamily="34" charset="0"/>
              </a:rPr>
              <a:t>家</a:t>
            </a:r>
            <a:endParaRPr lang="en-US" altLang="zh-CN" sz="1400" dirty="0">
              <a:latin typeface="Arial" panose="020B0604020202020204" pitchFamily="34" charset="0"/>
              <a:ea typeface="微软雅黑" panose="020B0503020204020204" pitchFamily="34" charset="-122"/>
              <a:sym typeface="Arial" panose="020B0604020202020204" pitchFamily="34" charset="0"/>
            </a:endParaRPr>
          </a:p>
          <a:p>
            <a:pPr>
              <a:spcAft>
                <a:spcPts val="600"/>
              </a:spcAft>
            </a:pPr>
            <a:r>
              <a:rPr lang="zh-CN" altLang="en-US" sz="1400" b="1" dirty="0">
                <a:latin typeface="Arial" panose="020B0604020202020204" pitchFamily="34" charset="0"/>
                <a:ea typeface="微软雅黑" panose="020B0503020204020204" pitchFamily="34" charset="-122"/>
                <a:sym typeface="Arial" panose="020B0604020202020204" pitchFamily="34" charset="0"/>
              </a:rPr>
              <a:t>全球首个上市国家</a:t>
            </a:r>
            <a:r>
              <a:rPr lang="en-US" altLang="zh-CN" sz="1400" b="1" dirty="0">
                <a:latin typeface="Arial" panose="020B0604020202020204" pitchFamily="34" charset="0"/>
                <a:ea typeface="微软雅黑" panose="020B0503020204020204" pitchFamily="34" charset="-122"/>
                <a:sym typeface="Arial" panose="020B0604020202020204" pitchFamily="34" charset="0"/>
              </a:rPr>
              <a:t>/</a:t>
            </a:r>
            <a:r>
              <a:rPr lang="zh-CN" altLang="en-US" sz="1400" b="1" dirty="0">
                <a:latin typeface="Arial" panose="020B0604020202020204" pitchFamily="34" charset="0"/>
                <a:ea typeface="微软雅黑" panose="020B0503020204020204" pitchFamily="34" charset="-122"/>
                <a:sym typeface="Arial" panose="020B0604020202020204" pitchFamily="34" charset="0"/>
              </a:rPr>
              <a:t>地区及上市时间：</a:t>
            </a:r>
            <a:r>
              <a:rPr lang="en-US" altLang="zh-CN" sz="1400" dirty="0">
                <a:latin typeface="Arial" panose="020B0604020202020204" pitchFamily="34" charset="0"/>
                <a:ea typeface="微软雅黑" panose="020B0503020204020204" pitchFamily="34" charset="-122"/>
                <a:sym typeface="Arial" panose="020B0604020202020204" pitchFamily="34" charset="0"/>
              </a:rPr>
              <a:t>2017</a:t>
            </a:r>
            <a:r>
              <a:rPr lang="zh-CN" altLang="en-US" sz="1400" dirty="0">
                <a:latin typeface="Arial" panose="020B0604020202020204" pitchFamily="34" charset="0"/>
                <a:ea typeface="微软雅黑" panose="020B0503020204020204" pitchFamily="34" charset="-122"/>
                <a:sym typeface="Arial" panose="020B0604020202020204" pitchFamily="34" charset="0"/>
              </a:rPr>
              <a:t>年，美国</a:t>
            </a:r>
          </a:p>
        </p:txBody>
      </p:sp>
      <p:grpSp>
        <p:nvGrpSpPr>
          <p:cNvPr id="32" name="组合 31"/>
          <p:cNvGrpSpPr/>
          <p:nvPr/>
        </p:nvGrpSpPr>
        <p:grpSpPr>
          <a:xfrm>
            <a:off x="7318441" y="3873079"/>
            <a:ext cx="3610870" cy="2034759"/>
            <a:chOff x="-1075110" y="2350789"/>
            <a:chExt cx="6358718" cy="3733674"/>
          </a:xfrm>
        </p:grpSpPr>
        <p:sp>
          <p:nvSpPr>
            <p:cNvPr id="33" name="Freeform 9">
              <a:extLst>
                <a:ext uri="{FF2B5EF4-FFF2-40B4-BE49-F238E27FC236}">
                  <a16:creationId xmlns:a16="http://schemas.microsoft.com/office/drawing/2014/main" id="{D2AFDF46-99CB-400C-818F-5DAB0D1E4DD5}"/>
                </a:ext>
              </a:extLst>
            </p:cNvPr>
            <p:cNvSpPr>
              <a:spLocks/>
            </p:cNvSpPr>
            <p:nvPr/>
          </p:nvSpPr>
          <p:spPr bwMode="auto">
            <a:xfrm>
              <a:off x="-300811" y="3582760"/>
              <a:ext cx="3171489" cy="731838"/>
            </a:xfrm>
            <a:custGeom>
              <a:avLst/>
              <a:gdLst>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5 w 1416050"/>
                <a:gd name="connsiteY7" fmla="*/ 763588 h 793750"/>
                <a:gd name="connsiteX8" fmla="*/ 708024 w 1416050"/>
                <a:gd name="connsiteY8" fmla="*/ 793750 h 793750"/>
                <a:gd name="connsiteX9" fmla="*/ 190735 w 1416050"/>
                <a:gd name="connsiteY9" fmla="*/ 793750 h 793750"/>
                <a:gd name="connsiteX10" fmla="*/ 185737 w 1416050"/>
                <a:gd name="connsiteY10" fmla="*/ 763588 h 793750"/>
                <a:gd name="connsiteX11" fmla="*/ 185599 w 1416050"/>
                <a:gd name="connsiteY11" fmla="*/ 763588 h 793750"/>
                <a:gd name="connsiteX12" fmla="*/ 0 w 1416050"/>
                <a:gd name="connsiteY12" fmla="*/ 0 h 793750"/>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4 w 1416050"/>
                <a:gd name="connsiteY7" fmla="*/ 793750 h 793750"/>
                <a:gd name="connsiteX8" fmla="*/ 190735 w 1416050"/>
                <a:gd name="connsiteY8" fmla="*/ 793750 h 793750"/>
                <a:gd name="connsiteX9" fmla="*/ 185737 w 1416050"/>
                <a:gd name="connsiteY9" fmla="*/ 763588 h 793750"/>
                <a:gd name="connsiteX10" fmla="*/ 185599 w 1416050"/>
                <a:gd name="connsiteY10" fmla="*/ 763588 h 793750"/>
                <a:gd name="connsiteX11" fmla="*/ 0 w 1416050"/>
                <a:gd name="connsiteY11"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6050" h="793750">
                  <a:moveTo>
                    <a:pt x="0" y="0"/>
                  </a:moveTo>
                  <a:lnTo>
                    <a:pt x="708025" y="0"/>
                  </a:lnTo>
                  <a:lnTo>
                    <a:pt x="1416050" y="0"/>
                  </a:lnTo>
                  <a:cubicBezTo>
                    <a:pt x="1340436" y="233767"/>
                    <a:pt x="1275445" y="489066"/>
                    <a:pt x="1230451" y="763588"/>
                  </a:cubicBezTo>
                  <a:lnTo>
                    <a:pt x="1230312" y="763588"/>
                  </a:lnTo>
                  <a:cubicBezTo>
                    <a:pt x="1228438" y="774145"/>
                    <a:pt x="1226564" y="783947"/>
                    <a:pt x="1225314" y="793750"/>
                  </a:cubicBezTo>
                  <a:lnTo>
                    <a:pt x="708025" y="793750"/>
                  </a:lnTo>
                  <a:lnTo>
                    <a:pt x="708024" y="793750"/>
                  </a:lnTo>
                  <a:lnTo>
                    <a:pt x="190735" y="793750"/>
                  </a:lnTo>
                  <a:cubicBezTo>
                    <a:pt x="189486" y="783947"/>
                    <a:pt x="187611" y="774145"/>
                    <a:pt x="185737" y="763588"/>
                  </a:cubicBezTo>
                  <a:lnTo>
                    <a:pt x="185599" y="763588"/>
                  </a:lnTo>
                  <a:cubicBezTo>
                    <a:pt x="140605" y="489066"/>
                    <a:pt x="75614" y="233767"/>
                    <a:pt x="0" y="0"/>
                  </a:cubicBezTo>
                  <a:close/>
                </a:path>
              </a:pathLst>
            </a:custGeom>
            <a:solidFill>
              <a:srgbClr val="00857C">
                <a:alpha val="60000"/>
              </a:srgbClr>
            </a:solidFill>
            <a:ln w="12700">
              <a:noFill/>
              <a:prstDash val="solid"/>
              <a:round/>
              <a:headEnd/>
              <a:tailEnd/>
            </a:ln>
          </p:spPr>
          <p:txBody>
            <a:bodyPr vert="horz" wrap="square" lIns="121920" tIns="60960" rIns="121920" bIns="60960" numCol="1"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zh-CN" altLang="en-US" sz="1050" b="1" i="0" u="none" strike="noStrike" kern="0" cap="none" spc="0" normalizeH="0" baseline="0" noProof="0" dirty="0">
                  <a:ln>
                    <a:noFill/>
                  </a:ln>
                  <a:solidFill>
                    <a:srgbClr val="FF0000"/>
                  </a:solidFill>
                  <a:effectLst/>
                  <a:uLnTx/>
                  <a:uFillTx/>
                  <a:latin typeface="Arial" panose="020B0604020202020204" pitchFamily="34" charset="0"/>
                  <a:ea typeface="微软雅黑" panose="020B0503020204020204" pitchFamily="34" charset="-122"/>
                  <a:sym typeface="Arial" panose="020B0604020202020204" pitchFamily="34" charset="0"/>
                </a:rPr>
                <a:t>异基因</a:t>
              </a:r>
              <a:r>
                <a:rPr kumimoji="0" lang="en-US" altLang="zh-CN" sz="105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HSCT</a:t>
              </a:r>
              <a:r>
                <a:rPr kumimoji="0" lang="zh-CN" altLang="en-US" sz="105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rPr>
                <a:t>患者</a:t>
              </a:r>
              <a:r>
                <a:rPr lang="en-US" altLang="zh-CN" sz="1050" b="1" kern="0" baseline="30000" dirty="0">
                  <a:solidFill>
                    <a:srgbClr val="FFFFFF"/>
                  </a:solidFill>
                  <a:latin typeface="Arial" panose="020B0604020202020204" pitchFamily="34" charset="0"/>
                  <a:ea typeface="微软雅黑" panose="020B0503020204020204" pitchFamily="34" charset="-122"/>
                  <a:sym typeface="Arial" panose="020B0604020202020204" pitchFamily="34" charset="0"/>
                </a:rPr>
                <a:t>2</a:t>
              </a:r>
              <a:endParaRPr kumimoji="0" lang="zh-CN" altLang="en-US" sz="1050" b="1" i="1"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4" name="Freeform 9">
              <a:extLst>
                <a:ext uri="{FF2B5EF4-FFF2-40B4-BE49-F238E27FC236}">
                  <a16:creationId xmlns:a16="http://schemas.microsoft.com/office/drawing/2014/main" id="{C741FBBD-ACCB-441D-83FA-846ADAFCDDB0}"/>
                </a:ext>
              </a:extLst>
            </p:cNvPr>
            <p:cNvSpPr>
              <a:spLocks/>
            </p:cNvSpPr>
            <p:nvPr/>
          </p:nvSpPr>
          <p:spPr bwMode="auto">
            <a:xfrm>
              <a:off x="65618" y="4472843"/>
              <a:ext cx="2438630" cy="731838"/>
            </a:xfrm>
            <a:custGeom>
              <a:avLst/>
              <a:gdLst>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5 w 1416050"/>
                <a:gd name="connsiteY7" fmla="*/ 763588 h 793750"/>
                <a:gd name="connsiteX8" fmla="*/ 708024 w 1416050"/>
                <a:gd name="connsiteY8" fmla="*/ 793750 h 793750"/>
                <a:gd name="connsiteX9" fmla="*/ 190735 w 1416050"/>
                <a:gd name="connsiteY9" fmla="*/ 793750 h 793750"/>
                <a:gd name="connsiteX10" fmla="*/ 185737 w 1416050"/>
                <a:gd name="connsiteY10" fmla="*/ 763588 h 793750"/>
                <a:gd name="connsiteX11" fmla="*/ 185599 w 1416050"/>
                <a:gd name="connsiteY11" fmla="*/ 763588 h 793750"/>
                <a:gd name="connsiteX12" fmla="*/ 0 w 1416050"/>
                <a:gd name="connsiteY12" fmla="*/ 0 h 793750"/>
                <a:gd name="connsiteX0" fmla="*/ 0 w 1416050"/>
                <a:gd name="connsiteY0" fmla="*/ 0 h 793750"/>
                <a:gd name="connsiteX1" fmla="*/ 708025 w 1416050"/>
                <a:gd name="connsiteY1" fmla="*/ 0 h 793750"/>
                <a:gd name="connsiteX2" fmla="*/ 1416050 w 1416050"/>
                <a:gd name="connsiteY2" fmla="*/ 0 h 793750"/>
                <a:gd name="connsiteX3" fmla="*/ 1230451 w 1416050"/>
                <a:gd name="connsiteY3" fmla="*/ 763588 h 793750"/>
                <a:gd name="connsiteX4" fmla="*/ 1230312 w 1416050"/>
                <a:gd name="connsiteY4" fmla="*/ 763588 h 793750"/>
                <a:gd name="connsiteX5" fmla="*/ 1225314 w 1416050"/>
                <a:gd name="connsiteY5" fmla="*/ 793750 h 793750"/>
                <a:gd name="connsiteX6" fmla="*/ 708025 w 1416050"/>
                <a:gd name="connsiteY6" fmla="*/ 793750 h 793750"/>
                <a:gd name="connsiteX7" fmla="*/ 708024 w 1416050"/>
                <a:gd name="connsiteY7" fmla="*/ 793750 h 793750"/>
                <a:gd name="connsiteX8" fmla="*/ 190735 w 1416050"/>
                <a:gd name="connsiteY8" fmla="*/ 793750 h 793750"/>
                <a:gd name="connsiteX9" fmla="*/ 185737 w 1416050"/>
                <a:gd name="connsiteY9" fmla="*/ 763588 h 793750"/>
                <a:gd name="connsiteX10" fmla="*/ 185599 w 1416050"/>
                <a:gd name="connsiteY10" fmla="*/ 763588 h 793750"/>
                <a:gd name="connsiteX11" fmla="*/ 0 w 1416050"/>
                <a:gd name="connsiteY11" fmla="*/ 0 h 79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6050" h="793750">
                  <a:moveTo>
                    <a:pt x="0" y="0"/>
                  </a:moveTo>
                  <a:lnTo>
                    <a:pt x="708025" y="0"/>
                  </a:lnTo>
                  <a:lnTo>
                    <a:pt x="1416050" y="0"/>
                  </a:lnTo>
                  <a:cubicBezTo>
                    <a:pt x="1340436" y="233767"/>
                    <a:pt x="1275445" y="489066"/>
                    <a:pt x="1230451" y="763588"/>
                  </a:cubicBezTo>
                  <a:lnTo>
                    <a:pt x="1230312" y="763588"/>
                  </a:lnTo>
                  <a:cubicBezTo>
                    <a:pt x="1228438" y="774145"/>
                    <a:pt x="1226564" y="783947"/>
                    <a:pt x="1225314" y="793750"/>
                  </a:cubicBezTo>
                  <a:lnTo>
                    <a:pt x="708025" y="793750"/>
                  </a:lnTo>
                  <a:lnTo>
                    <a:pt x="708024" y="793750"/>
                  </a:lnTo>
                  <a:lnTo>
                    <a:pt x="190735" y="793750"/>
                  </a:lnTo>
                  <a:cubicBezTo>
                    <a:pt x="189486" y="783947"/>
                    <a:pt x="187611" y="774145"/>
                    <a:pt x="185737" y="763588"/>
                  </a:cubicBezTo>
                  <a:lnTo>
                    <a:pt x="185599" y="763588"/>
                  </a:lnTo>
                  <a:cubicBezTo>
                    <a:pt x="140605" y="489066"/>
                    <a:pt x="75614" y="233767"/>
                    <a:pt x="0" y="0"/>
                  </a:cubicBezTo>
                  <a:close/>
                </a:path>
              </a:pathLst>
            </a:custGeom>
            <a:solidFill>
              <a:srgbClr val="00857C">
                <a:alpha val="40000"/>
              </a:srgbClr>
            </a:solidFill>
            <a:ln w="12700">
              <a:noFill/>
              <a:prstDash val="solid"/>
              <a:round/>
              <a:headEnd/>
              <a:tailEnd/>
            </a:ln>
          </p:spPr>
          <p:txBody>
            <a:bodyPr vert="horz" wrap="square" lIns="121920" tIns="60960" rIns="121920" bIns="60960" numCol="1" anchor="ctr" anchorCtr="0" compatLnSpc="1">
              <a:prstTxWarp prst="textNoShape">
                <a:avLst/>
              </a:prstTxWarp>
            </a:bodyPr>
            <a:lstStyle/>
            <a:p>
              <a:pPr lvl="0" algn="ctr" defTabSz="1219170">
                <a:defRPr/>
              </a:pPr>
              <a:r>
                <a:rPr lang="en-US" altLang="zh-CN"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CMV</a:t>
              </a:r>
              <a:r>
                <a:rPr lang="zh-CN" altLang="en-US"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血清学阳性</a:t>
              </a:r>
              <a:endParaRPr lang="en-US" altLang="zh-CN"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endParaRPr>
            </a:p>
            <a:p>
              <a:pPr lvl="0" algn="ctr" defTabSz="1219170">
                <a:defRPr/>
              </a:pPr>
              <a:r>
                <a:rPr lang="zh-CN" altLang="en-US"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患者</a:t>
              </a:r>
              <a:r>
                <a:rPr lang="en-US" altLang="zh-CN" sz="1050" b="1" kern="0" baseline="3000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3</a:t>
              </a:r>
              <a:endParaRPr kumimoji="0" lang="zh-CN" altLang="en-US" sz="1050" b="1" i="1" u="none" strike="noStrike" kern="0" cap="none" spc="0" normalizeH="0" baseline="0" noProof="0" dirty="0">
                <a:ln>
                  <a:noFill/>
                </a:ln>
                <a:solidFill>
                  <a:schemeClr val="accent1">
                    <a:lumMod val="75000"/>
                  </a:schemeClr>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5" name="Freeform 17">
              <a:extLst>
                <a:ext uri="{FF2B5EF4-FFF2-40B4-BE49-F238E27FC236}">
                  <a16:creationId xmlns:a16="http://schemas.microsoft.com/office/drawing/2014/main" id="{B9032456-4656-40E1-8C40-C0929394387E}"/>
                </a:ext>
              </a:extLst>
            </p:cNvPr>
            <p:cNvSpPr>
              <a:spLocks/>
            </p:cNvSpPr>
            <p:nvPr/>
          </p:nvSpPr>
          <p:spPr bwMode="auto">
            <a:xfrm>
              <a:off x="-1075110" y="2687918"/>
              <a:ext cx="4720085" cy="731838"/>
            </a:xfrm>
            <a:custGeom>
              <a:avLst/>
              <a:gdLst>
                <a:gd name="connsiteX0" fmla="*/ 0 w 2184400"/>
                <a:gd name="connsiteY0" fmla="*/ 0 h 795338"/>
                <a:gd name="connsiteX1" fmla="*/ 1092200 w 2184400"/>
                <a:gd name="connsiteY1" fmla="*/ 0 h 795338"/>
                <a:gd name="connsiteX2" fmla="*/ 2184400 w 2184400"/>
                <a:gd name="connsiteY2" fmla="*/ 0 h 795338"/>
                <a:gd name="connsiteX3" fmla="*/ 1849300 w 2184400"/>
                <a:gd name="connsiteY3" fmla="*/ 763588 h 795338"/>
                <a:gd name="connsiteX4" fmla="*/ 1849437 w 2184400"/>
                <a:gd name="connsiteY4" fmla="*/ 763588 h 795338"/>
                <a:gd name="connsiteX5" fmla="*/ 1838807 w 2184400"/>
                <a:gd name="connsiteY5" fmla="*/ 795338 h 795338"/>
                <a:gd name="connsiteX6" fmla="*/ 1092200 w 2184400"/>
                <a:gd name="connsiteY6" fmla="*/ 795338 h 795338"/>
                <a:gd name="connsiteX7" fmla="*/ 1092200 w 2184400"/>
                <a:gd name="connsiteY7" fmla="*/ 763588 h 795338"/>
                <a:gd name="connsiteX8" fmla="*/ 1092199 w 2184400"/>
                <a:gd name="connsiteY8" fmla="*/ 795338 h 795338"/>
                <a:gd name="connsiteX9" fmla="*/ 345592 w 2184400"/>
                <a:gd name="connsiteY9" fmla="*/ 795338 h 795338"/>
                <a:gd name="connsiteX10" fmla="*/ 334962 w 2184400"/>
                <a:gd name="connsiteY10" fmla="*/ 763588 h 795338"/>
                <a:gd name="connsiteX11" fmla="*/ 335100 w 2184400"/>
                <a:gd name="connsiteY11" fmla="*/ 763588 h 795338"/>
                <a:gd name="connsiteX12" fmla="*/ 0 w 2184400"/>
                <a:gd name="connsiteY12" fmla="*/ 0 h 795338"/>
                <a:gd name="connsiteX0" fmla="*/ 0 w 2184400"/>
                <a:gd name="connsiteY0" fmla="*/ 0 h 795338"/>
                <a:gd name="connsiteX1" fmla="*/ 1092200 w 2184400"/>
                <a:gd name="connsiteY1" fmla="*/ 0 h 795338"/>
                <a:gd name="connsiteX2" fmla="*/ 2184400 w 2184400"/>
                <a:gd name="connsiteY2" fmla="*/ 0 h 795338"/>
                <a:gd name="connsiteX3" fmla="*/ 1849300 w 2184400"/>
                <a:gd name="connsiteY3" fmla="*/ 763588 h 795338"/>
                <a:gd name="connsiteX4" fmla="*/ 1849437 w 2184400"/>
                <a:gd name="connsiteY4" fmla="*/ 763588 h 795338"/>
                <a:gd name="connsiteX5" fmla="*/ 1838807 w 2184400"/>
                <a:gd name="connsiteY5" fmla="*/ 795338 h 795338"/>
                <a:gd name="connsiteX6" fmla="*/ 1092200 w 2184400"/>
                <a:gd name="connsiteY6" fmla="*/ 795338 h 795338"/>
                <a:gd name="connsiteX7" fmla="*/ 1092199 w 2184400"/>
                <a:gd name="connsiteY7" fmla="*/ 795338 h 795338"/>
                <a:gd name="connsiteX8" fmla="*/ 345592 w 2184400"/>
                <a:gd name="connsiteY8" fmla="*/ 795338 h 795338"/>
                <a:gd name="connsiteX9" fmla="*/ 334962 w 2184400"/>
                <a:gd name="connsiteY9" fmla="*/ 763588 h 795338"/>
                <a:gd name="connsiteX10" fmla="*/ 335100 w 2184400"/>
                <a:gd name="connsiteY10" fmla="*/ 763588 h 795338"/>
                <a:gd name="connsiteX11" fmla="*/ 0 w 2184400"/>
                <a:gd name="connsiteY11" fmla="*/ 0 h 79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4400" h="795338">
                  <a:moveTo>
                    <a:pt x="0" y="0"/>
                  </a:moveTo>
                  <a:lnTo>
                    <a:pt x="1092200" y="0"/>
                  </a:lnTo>
                  <a:lnTo>
                    <a:pt x="2184400" y="0"/>
                  </a:lnTo>
                  <a:cubicBezTo>
                    <a:pt x="2068116" y="216081"/>
                    <a:pt x="1950581" y="472917"/>
                    <a:pt x="1849300" y="763588"/>
                  </a:cubicBezTo>
                  <a:lnTo>
                    <a:pt x="1849437" y="763588"/>
                  </a:lnTo>
                  <a:cubicBezTo>
                    <a:pt x="1845685" y="774701"/>
                    <a:pt x="1841934" y="785019"/>
                    <a:pt x="1838807" y="795338"/>
                  </a:cubicBezTo>
                  <a:lnTo>
                    <a:pt x="1092200" y="795338"/>
                  </a:lnTo>
                  <a:lnTo>
                    <a:pt x="1092199" y="795338"/>
                  </a:lnTo>
                  <a:lnTo>
                    <a:pt x="345592" y="795338"/>
                  </a:lnTo>
                  <a:cubicBezTo>
                    <a:pt x="342466" y="785019"/>
                    <a:pt x="338714" y="774701"/>
                    <a:pt x="334962" y="763588"/>
                  </a:cubicBezTo>
                  <a:lnTo>
                    <a:pt x="335100" y="763588"/>
                  </a:lnTo>
                  <a:cubicBezTo>
                    <a:pt x="233820" y="472917"/>
                    <a:pt x="116285" y="216081"/>
                    <a:pt x="0" y="0"/>
                  </a:cubicBezTo>
                  <a:close/>
                </a:path>
              </a:pathLst>
            </a:custGeom>
            <a:solidFill>
              <a:srgbClr val="00857C">
                <a:alpha val="80000"/>
              </a:srgbClr>
            </a:solidFill>
            <a:ln w="12700">
              <a:noFill/>
              <a:prstDash val="solid"/>
              <a:round/>
              <a:headEnd/>
              <a:tailEnd/>
            </a:ln>
          </p:spPr>
          <p:txBody>
            <a:bodyPr vert="horz" wrap="square" lIns="121920" tIns="60960" rIns="121920" bIns="60960" numCol="1" anchor="ctr" anchorCtr="0" compatLnSpc="1">
              <a:prstTxWarp prst="textNoShape">
                <a:avLst/>
              </a:prstTxWarp>
            </a:bodyPr>
            <a:lstStyle/>
            <a:p>
              <a:pPr lvl="0" algn="ctr" defTabSz="1219170">
                <a:defRPr/>
              </a:pPr>
              <a:r>
                <a:rPr lang="zh-CN" altLang="en-US" sz="105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接受</a:t>
              </a:r>
              <a:r>
                <a:rPr lang="en-US" altLang="zh-CN" sz="105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HSCT</a:t>
              </a:r>
              <a:r>
                <a:rPr lang="zh-CN" altLang="en-US" sz="1050" b="1" kern="0" dirty="0">
                  <a:solidFill>
                    <a:srgbClr val="FFFFFF"/>
                  </a:solidFill>
                  <a:latin typeface="Arial" panose="020B0604020202020204" pitchFamily="34" charset="0"/>
                  <a:ea typeface="微软雅黑" panose="020B0503020204020204" pitchFamily="34" charset="-122"/>
                  <a:sym typeface="Arial" panose="020B0604020202020204" pitchFamily="34" charset="0"/>
                </a:rPr>
                <a:t>的患者</a:t>
              </a:r>
              <a:r>
                <a:rPr lang="en-US" altLang="zh-CN" sz="1050" b="1" kern="0" baseline="30000" dirty="0">
                  <a:solidFill>
                    <a:srgbClr val="FFFFFF"/>
                  </a:solidFill>
                  <a:latin typeface="Arial" panose="020B0604020202020204" pitchFamily="34" charset="0"/>
                  <a:ea typeface="微软雅黑" panose="020B0503020204020204" pitchFamily="34" charset="-122"/>
                  <a:sym typeface="Arial" panose="020B0604020202020204" pitchFamily="34" charset="0"/>
                </a:rPr>
                <a:t>2</a:t>
              </a:r>
              <a:endParaRPr kumimoji="0" lang="zh-CN" altLang="en-US" sz="1050" b="1" i="0" u="none" strike="noStrike" kern="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6" name="Freeform 5">
              <a:extLst>
                <a:ext uri="{FF2B5EF4-FFF2-40B4-BE49-F238E27FC236}">
                  <a16:creationId xmlns:a16="http://schemas.microsoft.com/office/drawing/2014/main" id="{90D8CEA7-0745-475B-BE1B-35E132D82B1B}"/>
                </a:ext>
              </a:extLst>
            </p:cNvPr>
            <p:cNvSpPr>
              <a:spLocks/>
            </p:cNvSpPr>
            <p:nvPr/>
          </p:nvSpPr>
          <p:spPr bwMode="auto">
            <a:xfrm>
              <a:off x="368660" y="5352625"/>
              <a:ext cx="1850033" cy="731838"/>
            </a:xfrm>
            <a:custGeom>
              <a:avLst/>
              <a:gdLst>
                <a:gd name="connsiteX0" fmla="*/ 0 w 998537"/>
                <a:gd name="connsiteY0" fmla="*/ 0 h 793810"/>
                <a:gd name="connsiteX1" fmla="*/ 498475 w 998537"/>
                <a:gd name="connsiteY1" fmla="*/ 0 h 793810"/>
                <a:gd name="connsiteX2" fmla="*/ 998537 w 998537"/>
                <a:gd name="connsiteY2" fmla="*/ 0 h 793810"/>
                <a:gd name="connsiteX3" fmla="*/ 938379 w 998537"/>
                <a:gd name="connsiteY3" fmla="*/ 712887 h 793810"/>
                <a:gd name="connsiteX4" fmla="*/ 930233 w 998537"/>
                <a:gd name="connsiteY4" fmla="*/ 763588 h 793810"/>
                <a:gd name="connsiteX5" fmla="*/ 930275 w 998537"/>
                <a:gd name="connsiteY5" fmla="*/ 763588 h 793810"/>
                <a:gd name="connsiteX6" fmla="*/ 924635 w 998537"/>
                <a:gd name="connsiteY6" fmla="*/ 772107 h 793810"/>
                <a:gd name="connsiteX7" fmla="*/ 887032 w 998537"/>
                <a:gd name="connsiteY7" fmla="*/ 793789 h 793810"/>
                <a:gd name="connsiteX8" fmla="*/ 498475 w 998537"/>
                <a:gd name="connsiteY8" fmla="*/ 793789 h 793810"/>
                <a:gd name="connsiteX9" fmla="*/ 498475 w 998537"/>
                <a:gd name="connsiteY9" fmla="*/ 763588 h 793810"/>
                <a:gd name="connsiteX10" fmla="*/ 498474 w 998537"/>
                <a:gd name="connsiteY10" fmla="*/ 793789 h 793810"/>
                <a:gd name="connsiteX11" fmla="*/ 111346 w 998537"/>
                <a:gd name="connsiteY11" fmla="*/ 793789 h 793810"/>
                <a:gd name="connsiteX12" fmla="*/ 73882 w 998537"/>
                <a:gd name="connsiteY12" fmla="*/ 772107 h 793810"/>
                <a:gd name="connsiteX13" fmla="*/ 68262 w 998537"/>
                <a:gd name="connsiteY13" fmla="*/ 763588 h 793810"/>
                <a:gd name="connsiteX14" fmla="*/ 68087 w 998537"/>
                <a:gd name="connsiteY14" fmla="*/ 763588 h 793810"/>
                <a:gd name="connsiteX15" fmla="*/ 59967 w 998537"/>
                <a:gd name="connsiteY15" fmla="*/ 713605 h 793810"/>
                <a:gd name="connsiteX16" fmla="*/ 0 w 998537"/>
                <a:gd name="connsiteY16" fmla="*/ 0 h 793810"/>
                <a:gd name="connsiteX0" fmla="*/ 0 w 998537"/>
                <a:gd name="connsiteY0" fmla="*/ 0 h 793810"/>
                <a:gd name="connsiteX1" fmla="*/ 498475 w 998537"/>
                <a:gd name="connsiteY1" fmla="*/ 0 h 793810"/>
                <a:gd name="connsiteX2" fmla="*/ 998537 w 998537"/>
                <a:gd name="connsiteY2" fmla="*/ 0 h 793810"/>
                <a:gd name="connsiteX3" fmla="*/ 938379 w 998537"/>
                <a:gd name="connsiteY3" fmla="*/ 712887 h 793810"/>
                <a:gd name="connsiteX4" fmla="*/ 930233 w 998537"/>
                <a:gd name="connsiteY4" fmla="*/ 763588 h 793810"/>
                <a:gd name="connsiteX5" fmla="*/ 930275 w 998537"/>
                <a:gd name="connsiteY5" fmla="*/ 763588 h 793810"/>
                <a:gd name="connsiteX6" fmla="*/ 924635 w 998537"/>
                <a:gd name="connsiteY6" fmla="*/ 772107 h 793810"/>
                <a:gd name="connsiteX7" fmla="*/ 887032 w 998537"/>
                <a:gd name="connsiteY7" fmla="*/ 793789 h 793810"/>
                <a:gd name="connsiteX8" fmla="*/ 498475 w 998537"/>
                <a:gd name="connsiteY8" fmla="*/ 793789 h 793810"/>
                <a:gd name="connsiteX9" fmla="*/ 498474 w 998537"/>
                <a:gd name="connsiteY9" fmla="*/ 793789 h 793810"/>
                <a:gd name="connsiteX10" fmla="*/ 111346 w 998537"/>
                <a:gd name="connsiteY10" fmla="*/ 793789 h 793810"/>
                <a:gd name="connsiteX11" fmla="*/ 73882 w 998537"/>
                <a:gd name="connsiteY11" fmla="*/ 772107 h 793810"/>
                <a:gd name="connsiteX12" fmla="*/ 68262 w 998537"/>
                <a:gd name="connsiteY12" fmla="*/ 763588 h 793810"/>
                <a:gd name="connsiteX13" fmla="*/ 68087 w 998537"/>
                <a:gd name="connsiteY13" fmla="*/ 763588 h 793810"/>
                <a:gd name="connsiteX14" fmla="*/ 59967 w 998537"/>
                <a:gd name="connsiteY14" fmla="*/ 713605 h 793810"/>
                <a:gd name="connsiteX15" fmla="*/ 0 w 998537"/>
                <a:gd name="connsiteY15" fmla="*/ 0 h 793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8537" h="793810">
                  <a:moveTo>
                    <a:pt x="0" y="0"/>
                  </a:moveTo>
                  <a:lnTo>
                    <a:pt x="498475" y="0"/>
                  </a:lnTo>
                  <a:lnTo>
                    <a:pt x="998537" y="0"/>
                  </a:lnTo>
                  <a:cubicBezTo>
                    <a:pt x="964072" y="225082"/>
                    <a:pt x="942139" y="463223"/>
                    <a:pt x="938379" y="712887"/>
                  </a:cubicBezTo>
                  <a:cubicBezTo>
                    <a:pt x="938379" y="735165"/>
                    <a:pt x="937126" y="749761"/>
                    <a:pt x="930233" y="763588"/>
                  </a:cubicBezTo>
                  <a:lnTo>
                    <a:pt x="930275" y="763588"/>
                  </a:lnTo>
                  <a:cubicBezTo>
                    <a:pt x="928395" y="765911"/>
                    <a:pt x="926515" y="769009"/>
                    <a:pt x="924635" y="772107"/>
                  </a:cubicBezTo>
                  <a:cubicBezTo>
                    <a:pt x="906476" y="795318"/>
                    <a:pt x="887066" y="793792"/>
                    <a:pt x="887032" y="793789"/>
                  </a:cubicBezTo>
                  <a:lnTo>
                    <a:pt x="498475" y="793789"/>
                  </a:lnTo>
                  <a:lnTo>
                    <a:pt x="498474" y="793789"/>
                  </a:lnTo>
                  <a:lnTo>
                    <a:pt x="111346" y="793789"/>
                  </a:lnTo>
                  <a:cubicBezTo>
                    <a:pt x="111310" y="793792"/>
                    <a:pt x="91972" y="795317"/>
                    <a:pt x="73882" y="772107"/>
                  </a:cubicBezTo>
                  <a:cubicBezTo>
                    <a:pt x="72008" y="769009"/>
                    <a:pt x="70135" y="765911"/>
                    <a:pt x="68262" y="763588"/>
                  </a:cubicBezTo>
                  <a:lnTo>
                    <a:pt x="68087" y="763588"/>
                  </a:lnTo>
                  <a:cubicBezTo>
                    <a:pt x="61216" y="750516"/>
                    <a:pt x="59967" y="735905"/>
                    <a:pt x="59967" y="713605"/>
                  </a:cubicBezTo>
                  <a:cubicBezTo>
                    <a:pt x="56219" y="463690"/>
                    <a:pt x="34356" y="225309"/>
                    <a:pt x="0" y="0"/>
                  </a:cubicBezTo>
                  <a:close/>
                </a:path>
              </a:pathLst>
            </a:custGeom>
            <a:solidFill>
              <a:srgbClr val="00857C">
                <a:alpha val="20000"/>
              </a:srgbClr>
            </a:solidFill>
            <a:ln w="12700">
              <a:noFill/>
              <a:prstDash val="solid"/>
              <a:round/>
              <a:headEnd/>
              <a:tailEnd/>
            </a:ln>
          </p:spPr>
          <p:txBody>
            <a:bodyPr vert="horz" wrap="square" lIns="91440" tIns="45720" rIns="91440" bIns="45720" numCol="1" anchor="ctr" anchorCtr="0" compatLnSpc="1">
              <a:prstTxWarp prst="textNoShape">
                <a:avLst/>
              </a:prstTxWarp>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lang="zh-CN" altLang="en-US" sz="1050" b="1" kern="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成人患者</a:t>
              </a:r>
              <a:r>
                <a:rPr lang="en-US" altLang="zh-CN" sz="1050" b="1" kern="0" baseline="30000" dirty="0">
                  <a:solidFill>
                    <a:schemeClr val="accent1">
                      <a:lumMod val="75000"/>
                    </a:schemeClr>
                  </a:solidFill>
                  <a:latin typeface="Arial" panose="020B0604020202020204" pitchFamily="34" charset="0"/>
                  <a:ea typeface="微软雅黑" panose="020B0503020204020204" pitchFamily="34" charset="-122"/>
                  <a:sym typeface="Arial" panose="020B0604020202020204" pitchFamily="34" charset="0"/>
                </a:rPr>
                <a:t>4</a:t>
              </a:r>
              <a:endParaRPr kumimoji="0" lang="zh-CN" altLang="en-US" sz="1050" b="1" i="1" u="none" strike="noStrike" kern="0" cap="none" spc="0" normalizeH="0" baseline="0" noProof="0" dirty="0">
                <a:ln>
                  <a:noFill/>
                </a:ln>
                <a:solidFill>
                  <a:schemeClr val="accent1">
                    <a:lumMod val="75000"/>
                  </a:schemeClr>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37" name="矩形 38">
              <a:extLst>
                <a:ext uri="{FF2B5EF4-FFF2-40B4-BE49-F238E27FC236}">
                  <a16:creationId xmlns:a16="http://schemas.microsoft.com/office/drawing/2014/main" id="{BCEAEB03-6043-4F14-9664-BA7304F77E74}"/>
                </a:ext>
              </a:extLst>
            </p:cNvPr>
            <p:cNvSpPr/>
            <p:nvPr/>
          </p:nvSpPr>
          <p:spPr>
            <a:xfrm>
              <a:off x="3665945" y="2350789"/>
              <a:ext cx="1617663" cy="292101"/>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021</a:t>
              </a:r>
              <a:r>
                <a:rPr kumimoji="0" lang="zh-CN" altLang="en-US" sz="10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人数）</a:t>
              </a:r>
              <a:endParaRPr kumimoji="0" lang="en-US" altLang="zh-CN" sz="1000" b="1" i="0" u="none" strike="noStrike" kern="0" cap="none" spc="0" normalizeH="0" baseline="0" noProof="0" dirty="0">
                <a:ln>
                  <a:noFill/>
                </a:ln>
                <a:solidFill>
                  <a:prstClr val="black"/>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8" name="矩形 38">
              <a:extLst>
                <a:ext uri="{FF2B5EF4-FFF2-40B4-BE49-F238E27FC236}">
                  <a16:creationId xmlns:a16="http://schemas.microsoft.com/office/drawing/2014/main" id="{CCA42C3A-6476-4D33-9A76-CB88DBF66036}"/>
                </a:ext>
              </a:extLst>
            </p:cNvPr>
            <p:cNvSpPr/>
            <p:nvPr/>
          </p:nvSpPr>
          <p:spPr>
            <a:xfrm>
              <a:off x="3861206" y="2877339"/>
              <a:ext cx="1228725" cy="430213"/>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4,757</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39" name="矩形 38">
              <a:extLst>
                <a:ext uri="{FF2B5EF4-FFF2-40B4-BE49-F238E27FC236}">
                  <a16:creationId xmlns:a16="http://schemas.microsoft.com/office/drawing/2014/main" id="{10BBE680-B0D6-4826-9DDD-AC47ACF34FDE}"/>
                </a:ext>
              </a:extLst>
            </p:cNvPr>
            <p:cNvSpPr/>
            <p:nvPr/>
          </p:nvSpPr>
          <p:spPr>
            <a:xfrm>
              <a:off x="3873118" y="3639040"/>
              <a:ext cx="1228726" cy="666240"/>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1,046 </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74.85%)</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cxnSp>
          <p:nvCxnSpPr>
            <p:cNvPr id="40" name="直接连接符 37">
              <a:extLst>
                <a:ext uri="{FF2B5EF4-FFF2-40B4-BE49-F238E27FC236}">
                  <a16:creationId xmlns:a16="http://schemas.microsoft.com/office/drawing/2014/main" id="{373DA7E0-08C4-4927-9318-454EB99A50A6}"/>
                </a:ext>
              </a:extLst>
            </p:cNvPr>
            <p:cNvCxnSpPr/>
            <p:nvPr/>
          </p:nvCxnSpPr>
          <p:spPr>
            <a:xfrm>
              <a:off x="3789769" y="2680990"/>
              <a:ext cx="1371599" cy="0"/>
            </a:xfrm>
            <a:prstGeom prst="line">
              <a:avLst/>
            </a:prstGeom>
            <a:noFill/>
            <a:ln w="9525" cap="flat" cmpd="sng" algn="ctr">
              <a:solidFill>
                <a:schemeClr val="tx1"/>
              </a:solidFill>
              <a:prstDash val="solid"/>
            </a:ln>
            <a:effectLst/>
          </p:spPr>
        </p:cxnSp>
        <p:sp>
          <p:nvSpPr>
            <p:cNvPr id="42" name="矩形 38">
              <a:extLst>
                <a:ext uri="{FF2B5EF4-FFF2-40B4-BE49-F238E27FC236}">
                  <a16:creationId xmlns:a16="http://schemas.microsoft.com/office/drawing/2014/main" id="{C32CE4D1-C2D5-48AB-A9E7-CC7F921D3421}"/>
                </a:ext>
              </a:extLst>
            </p:cNvPr>
            <p:cNvSpPr/>
            <p:nvPr/>
          </p:nvSpPr>
          <p:spPr>
            <a:xfrm>
              <a:off x="3860411" y="4566860"/>
              <a:ext cx="1228726" cy="603735"/>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050" b="1" i="0"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0,163 </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92%)</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06" name="矩形 38">
              <a:extLst>
                <a:ext uri="{FF2B5EF4-FFF2-40B4-BE49-F238E27FC236}">
                  <a16:creationId xmlns:a16="http://schemas.microsoft.com/office/drawing/2014/main" id="{C32CE4D1-C2D5-48AB-A9E7-CC7F921D3421}"/>
                </a:ext>
              </a:extLst>
            </p:cNvPr>
            <p:cNvSpPr/>
            <p:nvPr/>
          </p:nvSpPr>
          <p:spPr>
            <a:xfrm>
              <a:off x="3860411" y="5446967"/>
              <a:ext cx="1228726" cy="603735"/>
            </a:xfrm>
            <a:prstGeom prst="rect">
              <a:avLst/>
            </a:prstGeom>
            <a:noFill/>
            <a:ln w="12700" cap="flat" cmpd="sng" algn="ctr">
              <a:noFill/>
              <a:prstDash val="solid"/>
            </a:ln>
            <a:effectLst/>
          </p:spPr>
          <p:txBody>
            <a:bodyPr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0" cap="none" spc="0" normalizeH="0" baseline="0" noProof="0" dirty="0">
                  <a:ln>
                    <a:noFill/>
                  </a:ln>
                  <a:solidFill>
                    <a:srgbClr val="FF000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7,114</a:t>
              </a:r>
              <a:r>
                <a:rPr kumimoji="0" lang="en-US" altLang="zh-CN" sz="1050" b="1" i="0"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kumimoji="0" lang="en-US" altLang="zh-CN" sz="1000" b="1"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70%)</a:t>
              </a:r>
              <a:endParaRPr kumimoji="0" lang="zh-CN" altLang="en-US" sz="1000" b="0" i="1" u="none" strike="noStrike" kern="0" cap="none" spc="0" normalizeH="0" baseline="0" noProof="0" dirty="0">
                <a:ln>
                  <a:noFill/>
                </a:ln>
                <a:solidFill>
                  <a:schemeClr val="accent1"/>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sp>
        <p:nvSpPr>
          <p:cNvPr id="107" name="文本框 106"/>
          <p:cNvSpPr txBox="1"/>
          <p:nvPr/>
        </p:nvSpPr>
        <p:spPr>
          <a:xfrm>
            <a:off x="6927270" y="3641159"/>
            <a:ext cx="2306854" cy="377026"/>
          </a:xfrm>
          <a:prstGeom prst="rect">
            <a:avLst/>
          </a:prstGeom>
          <a:noFill/>
        </p:spPr>
        <p:txBody>
          <a:bodyPr wrap="square" rtlCol="0" anchor="ctr">
            <a:spAutoFit/>
          </a:bodyPr>
          <a:lstStyle/>
          <a:p>
            <a:pPr algn="r">
              <a:lnSpc>
                <a:spcPct val="150000"/>
              </a:lnSpc>
            </a:pPr>
            <a:r>
              <a:rPr lang="zh-CN" altLang="en-US" sz="1400" b="1" dirty="0">
                <a:latin typeface="Arial" panose="020B0604020202020204" pitchFamily="34" charset="0"/>
                <a:ea typeface="微软雅黑" panose="020B0503020204020204" pitchFamily="34" charset="-122"/>
                <a:sym typeface="Arial" panose="020B0604020202020204" pitchFamily="34" charset="0"/>
              </a:rPr>
              <a:t>流行病学：</a:t>
            </a:r>
            <a:endParaRPr lang="zh-CN" altLang="en-US" sz="1400" dirty="0">
              <a:latin typeface="Arial" panose="020B0604020202020204" pitchFamily="34" charset="0"/>
              <a:ea typeface="微软雅黑" panose="020B0503020204020204" pitchFamily="34" charset="-122"/>
              <a:sym typeface="Arial" panose="020B0604020202020204" pitchFamily="34" charset="0"/>
            </a:endParaRPr>
          </a:p>
        </p:txBody>
      </p:sp>
      <p:sp>
        <p:nvSpPr>
          <p:cNvPr id="7" name="矩形 6"/>
          <p:cNvSpPr/>
          <p:nvPr/>
        </p:nvSpPr>
        <p:spPr>
          <a:xfrm>
            <a:off x="552262" y="6168538"/>
            <a:ext cx="10138164" cy="707886"/>
          </a:xfrm>
          <a:prstGeom prst="rect">
            <a:avLst/>
          </a:prstGeom>
        </p:spPr>
        <p:txBody>
          <a:bodyPr wrap="square">
            <a:spAutoFit/>
          </a:bodyPr>
          <a:lstStyle/>
          <a:p>
            <a:pPr marL="228600" indent="-228600">
              <a:buFont typeface="+mj-lt"/>
              <a:buAutoNum type="arabicPeriod"/>
              <a:defRPr/>
            </a:pPr>
            <a:r>
              <a:rPr lang="zh-CN" altLang="en-US" sz="1000" dirty="0">
                <a:solidFill>
                  <a:schemeClr val="bg1">
                    <a:lumMod val="65000"/>
                  </a:schemeClr>
                </a:solidFill>
                <a:latin typeface="+mn-ea"/>
              </a:rPr>
              <a:t>普瑞明</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来特莫韦）片剂说明书</a:t>
            </a:r>
            <a:r>
              <a:rPr lang="en-US" altLang="zh-CN" sz="1000" dirty="0">
                <a:solidFill>
                  <a:schemeClr val="bg1">
                    <a:lumMod val="65000"/>
                  </a:schemeClr>
                </a:solidFill>
                <a:latin typeface="+mn-ea"/>
              </a:rPr>
              <a:t>.2021</a:t>
            </a:r>
          </a:p>
          <a:p>
            <a:pPr marL="228600" indent="-228600">
              <a:buFont typeface="+mj-lt"/>
              <a:buAutoNum type="arabicPeriod"/>
              <a:defRPr/>
            </a:pP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中华医学会第一次全国淋巴细胞疾病学术大会</a:t>
            </a:r>
            <a:r>
              <a:rPr lang="en-US" altLang="zh-CN" sz="1000" dirty="0">
                <a:solidFill>
                  <a:schemeClr val="bg1">
                    <a:lumMod val="65000"/>
                  </a:schemeClr>
                </a:solidFill>
                <a:latin typeface="+mn-ea"/>
              </a:rPr>
              <a:t>》2020</a:t>
            </a:r>
            <a:r>
              <a:rPr lang="zh-CN" altLang="en-US" sz="1000" dirty="0">
                <a:solidFill>
                  <a:schemeClr val="bg1">
                    <a:lumMod val="65000"/>
                  </a:schemeClr>
                </a:solidFill>
                <a:latin typeface="+mn-ea"/>
              </a:rPr>
              <a:t>年；</a:t>
            </a:r>
            <a:r>
              <a:rPr lang="en-US" altLang="zh-CN" sz="1000" dirty="0">
                <a:solidFill>
                  <a:schemeClr val="bg1">
                    <a:lumMod val="65000"/>
                  </a:schemeClr>
                </a:solidFill>
                <a:latin typeface="+mn-ea"/>
              </a:rPr>
              <a:t>2015~2020</a:t>
            </a:r>
            <a:r>
              <a:rPr lang="zh-CN" altLang="en-US" sz="1000" dirty="0">
                <a:solidFill>
                  <a:schemeClr val="bg1">
                    <a:lumMod val="65000"/>
                  </a:schemeClr>
                </a:solidFill>
                <a:latin typeface="+mn-ea"/>
              </a:rPr>
              <a:t>造血干细胞移植例数增长速度；</a:t>
            </a:r>
            <a:r>
              <a:rPr lang="en-US" altLang="zh-CN" sz="1000" dirty="0">
                <a:solidFill>
                  <a:schemeClr val="bg1">
                    <a:lumMod val="65000"/>
                  </a:schemeClr>
                </a:solidFill>
                <a:latin typeface="+mn-ea"/>
              </a:rPr>
              <a:t>KOL interviews</a:t>
            </a:r>
            <a:endParaRPr lang="en-US" altLang="zh-CN" sz="1000" i="1" dirty="0">
              <a:solidFill>
                <a:schemeClr val="bg1">
                  <a:lumMod val="65000"/>
                </a:schemeClr>
              </a:solidFill>
              <a:latin typeface="+mn-ea"/>
            </a:endParaRPr>
          </a:p>
          <a:p>
            <a:pPr marL="228600" indent="-228600">
              <a:buFont typeface="+mj-lt"/>
              <a:buAutoNum type="arabicPeriod"/>
              <a:defRPr/>
            </a:pPr>
            <a:r>
              <a:rPr lang="zh-CN" altLang="en-US" sz="1000" dirty="0">
                <a:solidFill>
                  <a:schemeClr val="bg1">
                    <a:lumMod val="65000"/>
                  </a:schemeClr>
                </a:solidFill>
                <a:latin typeface="+mn-ea"/>
              </a:rPr>
              <a:t>造血干细胞移植患者巨细胞病毒感染危险因素和疗效分析</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丁昊炜</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任汉云</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郭乃榄</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黄晓军</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许兰平</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张耀臣</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陆道培</a:t>
            </a:r>
            <a:r>
              <a:rPr lang="en-US" altLang="zh-CN" sz="1000" dirty="0">
                <a:solidFill>
                  <a:schemeClr val="bg1">
                    <a:lumMod val="65000"/>
                  </a:schemeClr>
                </a:solidFill>
                <a:latin typeface="+mn-ea"/>
              </a:rPr>
              <a:t>.</a:t>
            </a:r>
            <a:r>
              <a:rPr lang="zh-CN" altLang="en-US" sz="1000" dirty="0">
                <a:solidFill>
                  <a:schemeClr val="bg1">
                    <a:lumMod val="65000"/>
                  </a:schemeClr>
                </a:solidFill>
                <a:latin typeface="+mn-ea"/>
              </a:rPr>
              <a:t>北京大学学报</a:t>
            </a:r>
            <a:r>
              <a:rPr lang="en-US" altLang="zh-CN" sz="1000" dirty="0">
                <a:solidFill>
                  <a:schemeClr val="bg1">
                    <a:lumMod val="65000"/>
                  </a:schemeClr>
                </a:solidFill>
                <a:latin typeface="+mn-ea"/>
              </a:rPr>
              <a:t>2003,(06). </a:t>
            </a:r>
            <a:r>
              <a:rPr lang="zh-CN" altLang="en-US" sz="1000" dirty="0">
                <a:solidFill>
                  <a:schemeClr val="bg1">
                    <a:lumMod val="65000"/>
                  </a:schemeClr>
                </a:solidFill>
                <a:latin typeface="+mn-ea"/>
              </a:rPr>
              <a:t>；</a:t>
            </a:r>
            <a:r>
              <a:rPr lang="en-US" altLang="zh-CN" sz="1000" dirty="0">
                <a:solidFill>
                  <a:schemeClr val="bg1">
                    <a:lumMod val="65000"/>
                  </a:schemeClr>
                </a:solidFill>
                <a:latin typeface="+mn-ea"/>
              </a:rPr>
              <a:t>KOL interviews</a:t>
            </a:r>
            <a:endParaRPr lang="en-US" altLang="zh-CN" sz="1000" i="1" dirty="0">
              <a:solidFill>
                <a:schemeClr val="bg1">
                  <a:lumMod val="65000"/>
                </a:schemeClr>
              </a:solidFill>
              <a:latin typeface="+mn-ea"/>
            </a:endParaRPr>
          </a:p>
          <a:p>
            <a:pPr marL="228600" indent="-228600">
              <a:buFont typeface="+mj-lt"/>
              <a:buAutoNum type="arabicPeriod"/>
              <a:defRPr/>
            </a:pPr>
            <a:r>
              <a:rPr lang="en-US" altLang="zh-CN" sz="1000" dirty="0">
                <a:solidFill>
                  <a:schemeClr val="bg1">
                    <a:lumMod val="65000"/>
                  </a:schemeClr>
                </a:solidFill>
                <a:latin typeface="+mn-ea"/>
              </a:rPr>
              <a:t>L-P </a:t>
            </a:r>
            <a:r>
              <a:rPr lang="en-US" altLang="zh-CN" sz="1000" dirty="0" err="1">
                <a:solidFill>
                  <a:schemeClr val="bg1">
                    <a:lumMod val="65000"/>
                  </a:schemeClr>
                </a:solidFill>
                <a:latin typeface="+mn-ea"/>
              </a:rPr>
              <a:t>xu</a:t>
            </a:r>
            <a:r>
              <a:rPr lang="en-US" altLang="zh-CN" sz="1000" dirty="0">
                <a:solidFill>
                  <a:schemeClr val="bg1">
                    <a:lumMod val="65000"/>
                  </a:schemeClr>
                </a:solidFill>
                <a:latin typeface="+mn-ea"/>
              </a:rPr>
              <a:t> etc. al 2017 Bone Marrow Transplantation</a:t>
            </a:r>
            <a:endParaRPr lang="en-US" altLang="zh-CN" sz="1000" i="1" dirty="0">
              <a:solidFill>
                <a:schemeClr val="bg1">
                  <a:lumMod val="65000"/>
                </a:schemeClr>
              </a:solidFill>
              <a:latin typeface="+mn-ea"/>
            </a:endParaRPr>
          </a:p>
        </p:txBody>
      </p:sp>
    </p:spTree>
    <p:custDataLst>
      <p:tags r:id="rId1"/>
    </p:custData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圆角矩形 83"/>
          <p:cNvSpPr/>
          <p:nvPr/>
        </p:nvSpPr>
        <p:spPr>
          <a:xfrm>
            <a:off x="4368983" y="1598972"/>
            <a:ext cx="3368675" cy="4493854"/>
          </a:xfrm>
          <a:prstGeom prst="roundRect">
            <a:avLst>
              <a:gd name="adj" fmla="val 7619"/>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2" name="平行四边形 51"/>
          <p:cNvSpPr/>
          <p:nvPr/>
        </p:nvSpPr>
        <p:spPr>
          <a:xfrm>
            <a:off x="4575964" y="4584499"/>
            <a:ext cx="2833942" cy="505828"/>
          </a:xfrm>
          <a:prstGeom prst="parallelogram">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2" name="圆角矩形 21"/>
          <p:cNvSpPr/>
          <p:nvPr/>
        </p:nvSpPr>
        <p:spPr>
          <a:xfrm>
            <a:off x="636975" y="1598972"/>
            <a:ext cx="3368675" cy="4493854"/>
          </a:xfrm>
          <a:prstGeom prst="roundRect">
            <a:avLst>
              <a:gd name="adj" fmla="val 7619"/>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85" name="圆角矩形 84"/>
          <p:cNvSpPr/>
          <p:nvPr/>
        </p:nvSpPr>
        <p:spPr>
          <a:xfrm>
            <a:off x="8018998" y="1598972"/>
            <a:ext cx="3368675" cy="4493854"/>
          </a:xfrm>
          <a:prstGeom prst="roundRect">
            <a:avLst>
              <a:gd name="adj" fmla="val 7619"/>
            </a:avLst>
          </a:prstGeom>
          <a:solidFill>
            <a:srgbClr val="F2F2F2">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4" name="对象 3" hidden="1">
            <a:extLst>
              <a:ext uri="{FF2B5EF4-FFF2-40B4-BE49-F238E27FC236}">
                <a16:creationId xmlns:a16="http://schemas.microsoft.com/office/drawing/2014/main" id="{46B3B7FF-76A9-45C5-A085-FEBC5AF60A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426" imgH="426" progId="TCLayout.ActiveDocument.1">
                  <p:embed/>
                </p:oleObj>
              </mc:Choice>
              <mc:Fallback>
                <p:oleObj name="think-cell 幻灯片" r:id="rId5" imgW="426" imgH="426" progId="TCLayout.ActiveDocument.1">
                  <p:embed/>
                  <p:pic>
                    <p:nvPicPr>
                      <p:cNvPr id="4" name="对象 3" hidden="1">
                        <a:extLst>
                          <a:ext uri="{FF2B5EF4-FFF2-40B4-BE49-F238E27FC236}">
                            <a16:creationId xmlns:a16="http://schemas.microsoft.com/office/drawing/2014/main" id="{46B3B7FF-76A9-45C5-A085-FEBC5AF60A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Title 1">
            <a:extLst>
              <a:ext uri="{FF2B5EF4-FFF2-40B4-BE49-F238E27FC236}">
                <a16:creationId xmlns:a16="http://schemas.microsoft.com/office/drawing/2014/main" id="{4ACFC4B2-E412-46CF-9CD8-F1B210DCF466}"/>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1</a:t>
            </a:r>
            <a:r>
              <a:rPr lang="zh-CN" altLang="en-US" dirty="0">
                <a:latin typeface="Arial" panose="020B0604020202020204" pitchFamily="34" charset="0"/>
                <a:sym typeface="Arial" panose="020B0604020202020204" pitchFamily="34" charset="0"/>
              </a:rPr>
              <a:t> 药品基本信息</a:t>
            </a:r>
          </a:p>
        </p:txBody>
      </p:sp>
      <p:cxnSp>
        <p:nvCxnSpPr>
          <p:cNvPr id="3" name="直接连接符 2"/>
          <p:cNvCxnSpPr/>
          <p:nvPr/>
        </p:nvCxnSpPr>
        <p:spPr>
          <a:xfrm>
            <a:off x="1514676" y="1987208"/>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矩形 4"/>
          <p:cNvSpPr/>
          <p:nvPr/>
        </p:nvSpPr>
        <p:spPr>
          <a:xfrm>
            <a:off x="1670045" y="1972632"/>
            <a:ext cx="2168223" cy="700576"/>
          </a:xfrm>
          <a:prstGeom prst="rect">
            <a:avLst/>
          </a:prstGeom>
        </p:spPr>
        <p:txBody>
          <a:bodyPr wrap="square">
            <a:spAutoFit/>
          </a:bodyPr>
          <a:lstStyle/>
          <a:p>
            <a:pPr>
              <a:lnSpc>
                <a:spcPct val="150000"/>
              </a:lnSpc>
            </a:pP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CMV</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感染是</a:t>
            </a: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HSCT</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患者移植后的</a:t>
            </a: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常见并发症</a:t>
            </a:r>
            <a:endParaRPr lang="zh-CN" altLang="en-US" sz="1400" b="1" dirty="0">
              <a:latin typeface="Arial" panose="020B0604020202020204" pitchFamily="34" charset="0"/>
              <a:ea typeface="微软雅黑" panose="020B0503020204020204" pitchFamily="34" charset="-122"/>
              <a:sym typeface="Arial" panose="020B0604020202020204" pitchFamily="34" charset="0"/>
            </a:endParaRPr>
          </a:p>
        </p:txBody>
      </p:sp>
      <p:sp>
        <p:nvSpPr>
          <p:cNvPr id="33" name="矩形 32"/>
          <p:cNvSpPr/>
          <p:nvPr/>
        </p:nvSpPr>
        <p:spPr>
          <a:xfrm>
            <a:off x="1627489" y="3938591"/>
            <a:ext cx="2102332" cy="738664"/>
          </a:xfrm>
          <a:prstGeom prst="rect">
            <a:avLst/>
          </a:prstGeom>
        </p:spPr>
        <p:txBody>
          <a:bodyPr wrap="square">
            <a:spAutoFit/>
          </a:bodyPr>
          <a:lstStyle/>
          <a:p>
            <a:pPr>
              <a:lnSpc>
                <a:spcPct val="150000"/>
              </a:lnSpc>
            </a:pPr>
            <a:r>
              <a:rPr lang="zh-CN" altLang="en-US" sz="28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约</a:t>
            </a:r>
            <a:r>
              <a:rPr lang="en-US" altLang="zh-CN" sz="28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92%</a:t>
            </a:r>
            <a:r>
              <a:rPr lang="en-US" altLang="zh-CN" sz="2800" b="1" baseline="30000" dirty="0">
                <a:solidFill>
                  <a:schemeClr val="accent1"/>
                </a:solidFill>
                <a:latin typeface="Arial" panose="020B0604020202020204" pitchFamily="34" charset="0"/>
                <a:ea typeface="微软雅黑" panose="020B0503020204020204" pitchFamily="34" charset="-122"/>
                <a:sym typeface="Arial" panose="020B0604020202020204" pitchFamily="34" charset="0"/>
              </a:rPr>
              <a:t>1</a:t>
            </a:r>
            <a:endParaRPr lang="en-US" altLang="zh-CN" sz="2800" b="1" dirty="0">
              <a:solidFill>
                <a:schemeClr val="accent1"/>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53" name="直接连接符 52"/>
          <p:cNvCxnSpPr/>
          <p:nvPr/>
        </p:nvCxnSpPr>
        <p:spPr>
          <a:xfrm>
            <a:off x="1515017" y="3038780"/>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5" name="文本框 54"/>
          <p:cNvSpPr txBox="1"/>
          <p:nvPr/>
        </p:nvSpPr>
        <p:spPr>
          <a:xfrm>
            <a:off x="4408646" y="1451278"/>
            <a:ext cx="1768278" cy="338554"/>
          </a:xfrm>
          <a:prstGeom prst="rect">
            <a:avLst/>
          </a:prstGeom>
          <a:solidFill>
            <a:schemeClr val="accent1"/>
          </a:solidFill>
        </p:spPr>
        <p:txBody>
          <a:bodyPr wrap="square" rtlCol="0">
            <a:spAutoFit/>
          </a:bodyPr>
          <a:lstStyle/>
          <a:p>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2</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临床现状</a:t>
            </a:r>
          </a:p>
        </p:txBody>
      </p:sp>
      <p:sp>
        <p:nvSpPr>
          <p:cNvPr id="57" name="文本框 56"/>
          <p:cNvSpPr txBox="1"/>
          <p:nvPr/>
        </p:nvSpPr>
        <p:spPr>
          <a:xfrm>
            <a:off x="8122636" y="1451278"/>
            <a:ext cx="1768278" cy="338554"/>
          </a:xfrm>
          <a:prstGeom prst="rect">
            <a:avLst/>
          </a:prstGeom>
          <a:solidFill>
            <a:schemeClr val="accent1"/>
          </a:solidFill>
        </p:spPr>
        <p:txBody>
          <a:bodyPr wrap="square" rtlCol="0">
            <a:spAutoFit/>
          </a:bodyPr>
          <a:lstStyle/>
          <a:p>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3</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用法用量</a:t>
            </a:r>
          </a:p>
        </p:txBody>
      </p:sp>
      <p:sp>
        <p:nvSpPr>
          <p:cNvPr id="6" name="矩形 5"/>
          <p:cNvSpPr/>
          <p:nvPr/>
        </p:nvSpPr>
        <p:spPr>
          <a:xfrm>
            <a:off x="4784812" y="1923186"/>
            <a:ext cx="2784224" cy="700192"/>
          </a:xfrm>
          <a:prstGeom prst="rect">
            <a:avLst/>
          </a:prstGeom>
        </p:spPr>
        <p:txBody>
          <a:bodyPr wrap="square">
            <a:spAutoFit/>
          </a:bodyPr>
          <a:lstStyle/>
          <a:p>
            <a:pPr>
              <a:lnSpc>
                <a:spcPct val="150000"/>
              </a:lnSpc>
            </a:pPr>
            <a:r>
              <a:rPr lang="zh-CN" altLang="en-US" sz="1400" b="0" i="0" dirty="0">
                <a:solidFill>
                  <a:srgbClr val="242424"/>
                </a:solidFill>
                <a:effectLst/>
                <a:latin typeface="-apple-system"/>
              </a:rPr>
              <a:t>中国尚未获批预防治疗药物，所以仍以抢先治疗为主</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59" name="直接连接符 58"/>
          <p:cNvCxnSpPr/>
          <p:nvPr/>
        </p:nvCxnSpPr>
        <p:spPr>
          <a:xfrm>
            <a:off x="4707621" y="1937570"/>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1" name="矩形 60"/>
          <p:cNvSpPr/>
          <p:nvPr/>
        </p:nvSpPr>
        <p:spPr>
          <a:xfrm>
            <a:off x="4784812" y="2828820"/>
            <a:ext cx="2970809" cy="700192"/>
          </a:xfrm>
          <a:prstGeom prst="rect">
            <a:avLst/>
          </a:prstGeom>
        </p:spPr>
        <p:txBody>
          <a:bodyPr wrap="square">
            <a:spAutoFit/>
          </a:bodyPr>
          <a:lstStyle/>
          <a:p>
            <a:pPr>
              <a:lnSpc>
                <a:spcPct val="150000"/>
              </a:lnSpc>
            </a:pP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目录内抢先治疗用药</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主要有更昔洛韦，膦甲酸钠，</a:t>
            </a: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存在以下不足</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62" name="直接连接符 61"/>
          <p:cNvCxnSpPr/>
          <p:nvPr/>
        </p:nvCxnSpPr>
        <p:spPr>
          <a:xfrm>
            <a:off x="4707621" y="2877937"/>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平行四边形 7"/>
          <p:cNvSpPr/>
          <p:nvPr/>
        </p:nvSpPr>
        <p:spPr>
          <a:xfrm>
            <a:off x="4575963" y="3879570"/>
            <a:ext cx="2833942" cy="505828"/>
          </a:xfrm>
          <a:prstGeom prst="parallelogram">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8" name="矩形 67">
            <a:extLst>
              <a:ext uri="{FF2B5EF4-FFF2-40B4-BE49-F238E27FC236}">
                <a16:creationId xmlns:a16="http://schemas.microsoft.com/office/drawing/2014/main" id="{B331BD60-7D53-4C32-A0F8-B9B61E535009}"/>
              </a:ext>
            </a:extLst>
          </p:cNvPr>
          <p:cNvSpPr/>
          <p:nvPr/>
        </p:nvSpPr>
        <p:spPr>
          <a:xfrm>
            <a:off x="5266472" y="3969126"/>
            <a:ext cx="2155173" cy="292196"/>
          </a:xfrm>
          <a:prstGeom prst="rect">
            <a:avLst/>
          </a:prstGeom>
        </p:spPr>
        <p:txBody>
          <a:bodyPr wrap="square">
            <a:spAutoFit/>
          </a:bodyPr>
          <a:lstStyle/>
          <a:p>
            <a:pPr>
              <a:lnSpc>
                <a:spcPct val="107000"/>
              </a:lnSpc>
            </a:pPr>
            <a:r>
              <a:rPr lang="zh-CN" altLang="en-US"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无</a:t>
            </a:r>
            <a:r>
              <a:rPr lang="en-US" altLang="zh-CN"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HSCT</a:t>
            </a:r>
            <a:r>
              <a:rPr lang="zh-CN" altLang="en-US"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的</a:t>
            </a:r>
            <a:r>
              <a:rPr lang="en-US" altLang="zh-CN"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CMV</a:t>
            </a:r>
            <a:r>
              <a:rPr lang="zh-CN" altLang="en-US" sz="1300" b="1" dirty="0">
                <a:solidFill>
                  <a:srgbClr val="FF0000"/>
                </a:solidFill>
                <a:latin typeface="Arial" panose="020B0604020202020204" pitchFamily="34" charset="0"/>
                <a:ea typeface="微软雅黑" panose="020B0503020204020204" pitchFamily="34" charset="-122"/>
                <a:sym typeface="Arial" panose="020B0604020202020204" pitchFamily="34" charset="0"/>
              </a:rPr>
              <a:t>预防适应症</a:t>
            </a:r>
            <a:endParaRPr lang="en-US" altLang="zh-CN" sz="13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69" name="矩形 68">
            <a:extLst>
              <a:ext uri="{FF2B5EF4-FFF2-40B4-BE49-F238E27FC236}">
                <a16:creationId xmlns:a16="http://schemas.microsoft.com/office/drawing/2014/main" id="{B331BD60-7D53-4C32-A0F8-B9B61E535009}"/>
              </a:ext>
            </a:extLst>
          </p:cNvPr>
          <p:cNvSpPr/>
          <p:nvPr/>
        </p:nvSpPr>
        <p:spPr>
          <a:xfrm>
            <a:off x="4823544" y="4599709"/>
            <a:ext cx="2027722" cy="487569"/>
          </a:xfrm>
          <a:prstGeom prst="rect">
            <a:avLst/>
          </a:prstGeom>
        </p:spPr>
        <p:txBody>
          <a:bodyPr wrap="square">
            <a:spAutoFit/>
          </a:bodyPr>
          <a:lstStyle/>
          <a:p>
            <a:pPr>
              <a:lnSpc>
                <a:spcPct val="107000"/>
              </a:lnSpc>
            </a:pPr>
            <a:r>
              <a:rPr lang="zh-CN" altLang="en-US" sz="1200" b="1" dirty="0">
                <a:solidFill>
                  <a:srgbClr val="FF0000"/>
                </a:solidFill>
                <a:latin typeface="Arial" panose="020B0604020202020204" pitchFamily="34" charset="0"/>
                <a:ea typeface="微软雅黑" panose="020B0503020204020204" pitchFamily="34" charset="-122"/>
                <a:sym typeface="Arial" panose="020B0604020202020204" pitchFamily="34" charset="0"/>
              </a:rPr>
              <a:t>毒副作用大，如骨髓抑制、肾损伤等</a:t>
            </a:r>
            <a:endParaRPr lang="en-US" altLang="zh-CN" sz="12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72" name="矩形 71"/>
          <p:cNvSpPr/>
          <p:nvPr/>
        </p:nvSpPr>
        <p:spPr>
          <a:xfrm>
            <a:off x="8422602" y="2058728"/>
            <a:ext cx="2784224" cy="700192"/>
          </a:xfrm>
          <a:prstGeom prst="rect">
            <a:avLst/>
          </a:prstGeom>
        </p:spPr>
        <p:txBody>
          <a:bodyPr wrap="square">
            <a:spAutoFit/>
          </a:bodyPr>
          <a:lstStyle/>
          <a:p>
            <a:pPr>
              <a:lnSpc>
                <a:spcPct val="150000"/>
              </a:lnSpc>
            </a:pP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480mg </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每日一次，</a:t>
            </a:r>
            <a:r>
              <a:rPr lang="zh-CN" altLang="en-US" sz="1400" b="1" dirty="0">
                <a:solidFill>
                  <a:srgbClr val="FF0000"/>
                </a:solidFill>
                <a:latin typeface="Arial" panose="020B0604020202020204" pitchFamily="34" charset="0"/>
                <a:ea typeface="微软雅黑" panose="020B0503020204020204" pitchFamily="34" charset="-122"/>
                <a:sym typeface="Arial" panose="020B0604020202020204" pitchFamily="34" charset="0"/>
              </a:rPr>
              <a:t>如与环孢素合用，</a:t>
            </a:r>
            <a:r>
              <a:rPr lang="zh-CN" altLang="en-US" sz="1400" b="1" dirty="0">
                <a:latin typeface="Arial" panose="020B0604020202020204" pitchFamily="34" charset="0"/>
                <a:ea typeface="微软雅黑" panose="020B0503020204020204" pitchFamily="34" charset="-122"/>
                <a:sym typeface="Arial" panose="020B0604020202020204" pitchFamily="34" charset="0"/>
              </a:rPr>
              <a:t>剂量减半至</a:t>
            </a:r>
            <a:r>
              <a:rPr lang="en-US" altLang="zh-CN" sz="1400" b="1" dirty="0">
                <a:latin typeface="Arial" panose="020B0604020202020204" pitchFamily="34" charset="0"/>
                <a:ea typeface="微软雅黑" panose="020B0503020204020204" pitchFamily="34" charset="-122"/>
                <a:sym typeface="Arial" panose="020B0604020202020204" pitchFamily="34" charset="0"/>
              </a:rPr>
              <a:t>240mg</a:t>
            </a:r>
            <a:r>
              <a:rPr lang="zh-CN" altLang="en-US" sz="1400" b="1" dirty="0">
                <a:latin typeface="Arial" panose="020B0604020202020204" pitchFamily="34" charset="0"/>
                <a:ea typeface="微软雅黑" panose="020B0503020204020204" pitchFamily="34" charset="-122"/>
                <a:sym typeface="Arial" panose="020B0604020202020204" pitchFamily="34" charset="0"/>
              </a:rPr>
              <a:t>每日一次</a:t>
            </a:r>
          </a:p>
        </p:txBody>
      </p:sp>
      <p:cxnSp>
        <p:nvCxnSpPr>
          <p:cNvPr id="73" name="直接连接符 72"/>
          <p:cNvCxnSpPr/>
          <p:nvPr/>
        </p:nvCxnSpPr>
        <p:spPr>
          <a:xfrm>
            <a:off x="8345411" y="2073112"/>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4" name="矩形 73"/>
          <p:cNvSpPr/>
          <p:nvPr/>
        </p:nvSpPr>
        <p:spPr>
          <a:xfrm>
            <a:off x="8422602" y="3369853"/>
            <a:ext cx="2784224" cy="700192"/>
          </a:xfrm>
          <a:prstGeom prst="rect">
            <a:avLst/>
          </a:prstGeom>
        </p:spPr>
        <p:txBody>
          <a:bodyPr wrap="square">
            <a:spAutoFit/>
          </a:bodyPr>
          <a:lstStyle/>
          <a:p>
            <a:pPr>
              <a:lnSpc>
                <a:spcPct val="150000"/>
              </a:lnSpc>
            </a:pP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空腹或随餐整片吞服，不可分割、压碎或咀嚼</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75" name="直接连接符 74"/>
          <p:cNvCxnSpPr/>
          <p:nvPr/>
        </p:nvCxnSpPr>
        <p:spPr>
          <a:xfrm>
            <a:off x="8345411" y="3384237"/>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6" name="矩形 75"/>
          <p:cNvSpPr/>
          <p:nvPr/>
        </p:nvSpPr>
        <p:spPr>
          <a:xfrm>
            <a:off x="8458196" y="4670649"/>
            <a:ext cx="2784224" cy="700192"/>
          </a:xfrm>
          <a:prstGeom prst="rect">
            <a:avLst/>
          </a:prstGeom>
        </p:spPr>
        <p:txBody>
          <a:bodyPr wrap="square">
            <a:spAutoFit/>
          </a:bodyPr>
          <a:lstStyle/>
          <a:p>
            <a:pPr>
              <a:lnSpc>
                <a:spcPct val="150000"/>
              </a:lnSpc>
            </a:pPr>
            <a:r>
              <a:rPr lang="zh-CN" altLang="en-US" sz="1400" dirty="0">
                <a:latin typeface="Arial" panose="020B0604020202020204" pitchFamily="34" charset="0"/>
                <a:ea typeface="微软雅黑" panose="020B0503020204020204" pitchFamily="34" charset="-122"/>
                <a:sym typeface="Arial" panose="020B0604020202020204" pitchFamily="34" charset="0"/>
              </a:rPr>
              <a:t>应在行</a:t>
            </a:r>
            <a:r>
              <a:rPr lang="en-US" altLang="zh-CN" sz="1400" dirty="0">
                <a:latin typeface="Arial" panose="020B0604020202020204" pitchFamily="34" charset="0"/>
                <a:ea typeface="微软雅黑" panose="020B0503020204020204" pitchFamily="34" charset="-122"/>
                <a:sym typeface="Arial" panose="020B0604020202020204" pitchFamily="34" charset="0"/>
              </a:rPr>
              <a:t>HSCT</a:t>
            </a:r>
            <a:r>
              <a:rPr lang="zh-CN" altLang="en-US" sz="1400" dirty="0">
                <a:latin typeface="Arial" panose="020B0604020202020204" pitchFamily="34" charset="0"/>
                <a:ea typeface="微软雅黑" panose="020B0503020204020204" pitchFamily="34" charset="-122"/>
                <a:sym typeface="Arial" panose="020B0604020202020204" pitchFamily="34" charset="0"/>
              </a:rPr>
              <a:t>后（</a:t>
            </a:r>
            <a:r>
              <a:rPr lang="en-US" altLang="zh-CN" sz="1400" dirty="0">
                <a:latin typeface="Arial" panose="020B0604020202020204" pitchFamily="34" charset="0"/>
                <a:ea typeface="微软雅黑" panose="020B0503020204020204" pitchFamily="34" charset="-122"/>
                <a:sym typeface="Arial" panose="020B0604020202020204" pitchFamily="34" charset="0"/>
              </a:rPr>
              <a:t>0-28</a:t>
            </a:r>
            <a:r>
              <a:rPr lang="zh-CN" altLang="en-US" sz="1400" dirty="0">
                <a:latin typeface="Arial" panose="020B0604020202020204" pitchFamily="34" charset="0"/>
                <a:ea typeface="微软雅黑" panose="020B0503020204020204" pitchFamily="34" charset="-122"/>
                <a:sym typeface="Arial" panose="020B0604020202020204" pitchFamily="34" charset="0"/>
              </a:rPr>
              <a:t>天）开始给药，持续至移植后</a:t>
            </a:r>
            <a:r>
              <a:rPr lang="en-US" altLang="zh-CN" sz="1400" dirty="0">
                <a:latin typeface="Arial" panose="020B0604020202020204" pitchFamily="34" charset="0"/>
                <a:ea typeface="微软雅黑" panose="020B0503020204020204" pitchFamily="34" charset="-122"/>
                <a:sym typeface="Arial" panose="020B0604020202020204" pitchFamily="34" charset="0"/>
              </a:rPr>
              <a:t>100 </a:t>
            </a:r>
            <a:r>
              <a:rPr lang="zh-CN" altLang="en-US" sz="1400" dirty="0">
                <a:latin typeface="Arial" panose="020B0604020202020204" pitchFamily="34" charset="0"/>
                <a:ea typeface="微软雅黑" panose="020B0503020204020204" pitchFamily="34" charset="-122"/>
                <a:sym typeface="Arial" panose="020B0604020202020204" pitchFamily="34" charset="0"/>
              </a:rPr>
              <a:t>天</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cxnSp>
        <p:nvCxnSpPr>
          <p:cNvPr id="77" name="直接连接符 76"/>
          <p:cNvCxnSpPr/>
          <p:nvPr/>
        </p:nvCxnSpPr>
        <p:spPr>
          <a:xfrm>
            <a:off x="8381005" y="4685033"/>
            <a:ext cx="0" cy="67142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6" name="文本框 85"/>
          <p:cNvSpPr txBox="1"/>
          <p:nvPr/>
        </p:nvSpPr>
        <p:spPr>
          <a:xfrm>
            <a:off x="654993" y="1426033"/>
            <a:ext cx="1768278" cy="338554"/>
          </a:xfrm>
          <a:prstGeom prst="rect">
            <a:avLst/>
          </a:prstGeom>
          <a:solidFill>
            <a:schemeClr val="accent1"/>
          </a:solidFill>
        </p:spPr>
        <p:txBody>
          <a:bodyPr wrap="square" rtlCol="0">
            <a:spAutoFit/>
          </a:bodyPr>
          <a:lstStyle/>
          <a:p>
            <a:r>
              <a:rPr lang="en-US" altLang="zh-CN"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1</a:t>
            </a:r>
            <a:r>
              <a:rPr lang="zh-CN" altLang="en-US" sz="1600" b="1" dirty="0">
                <a:solidFill>
                  <a:schemeClr val="bg1"/>
                </a:solidFill>
                <a:latin typeface="Arial" panose="020B0604020202020204" pitchFamily="34" charset="0"/>
                <a:ea typeface="微软雅黑" panose="020B0503020204020204" pitchFamily="34" charset="-122"/>
                <a:sym typeface="Arial" panose="020B0604020202020204" pitchFamily="34" charset="0"/>
              </a:rPr>
              <a:t>、疾病基本情况</a:t>
            </a:r>
          </a:p>
        </p:txBody>
      </p:sp>
      <p:grpSp>
        <p:nvGrpSpPr>
          <p:cNvPr id="273" name="组合 272"/>
          <p:cNvGrpSpPr/>
          <p:nvPr/>
        </p:nvGrpSpPr>
        <p:grpSpPr>
          <a:xfrm>
            <a:off x="888060" y="2136686"/>
            <a:ext cx="432220" cy="432168"/>
            <a:chOff x="3990114" y="1323367"/>
            <a:chExt cx="4211773" cy="4211266"/>
          </a:xfrm>
        </p:grpSpPr>
        <p:sp>
          <p:nvSpPr>
            <p:cNvPr id="274" name="išḷíḋê">
              <a:extLst>
                <a:ext uri="{FF2B5EF4-FFF2-40B4-BE49-F238E27FC236}">
                  <a16:creationId xmlns:a16="http://schemas.microsoft.com/office/drawing/2014/main" id="{369F9145-E9DD-4FC3-8FF9-177927F95EC2}"/>
                </a:ext>
              </a:extLst>
            </p:cNvPr>
            <p:cNvSpPr/>
            <p:nvPr/>
          </p:nvSpPr>
          <p:spPr>
            <a:xfrm>
              <a:off x="3990114" y="1323367"/>
              <a:ext cx="4211773" cy="4211266"/>
            </a:xfrm>
            <a:custGeom>
              <a:avLst/>
              <a:gdLst>
                <a:gd name="connsiteX0" fmla="*/ 1578317 w 1588246"/>
                <a:gd name="connsiteY0" fmla="*/ 729448 h 1588055"/>
                <a:gd name="connsiteX1" fmla="*/ 1567363 w 1588246"/>
                <a:gd name="connsiteY1" fmla="*/ 728687 h 1588055"/>
                <a:gd name="connsiteX2" fmla="*/ 1511642 w 1588246"/>
                <a:gd name="connsiteY2" fmla="*/ 767168 h 1588055"/>
                <a:gd name="connsiteX3" fmla="*/ 1437918 w 1588246"/>
                <a:gd name="connsiteY3" fmla="*/ 753833 h 1588055"/>
                <a:gd name="connsiteX4" fmla="*/ 1414391 w 1588246"/>
                <a:gd name="connsiteY4" fmla="*/ 726210 h 1588055"/>
                <a:gd name="connsiteX5" fmla="*/ 1402295 w 1588246"/>
                <a:gd name="connsiteY5" fmla="*/ 721067 h 1588055"/>
                <a:gd name="connsiteX6" fmla="*/ 1344668 w 1588246"/>
                <a:gd name="connsiteY6" fmla="*/ 726972 h 1588055"/>
                <a:gd name="connsiteX7" fmla="*/ 1230083 w 1588246"/>
                <a:gd name="connsiteY7" fmla="*/ 450080 h 1588055"/>
                <a:gd name="connsiteX8" fmla="*/ 1243894 w 1588246"/>
                <a:gd name="connsiteY8" fmla="*/ 426173 h 1588055"/>
                <a:gd name="connsiteX9" fmla="*/ 1249323 w 1588246"/>
                <a:gd name="connsiteY9" fmla="*/ 422458 h 1588055"/>
                <a:gd name="connsiteX10" fmla="*/ 1277326 w 1588246"/>
                <a:gd name="connsiteY10" fmla="*/ 408551 h 1588055"/>
                <a:gd name="connsiteX11" fmla="*/ 1280565 w 1588246"/>
                <a:gd name="connsiteY11" fmla="*/ 395311 h 1588055"/>
                <a:gd name="connsiteX12" fmla="*/ 1282565 w 1588246"/>
                <a:gd name="connsiteY12" fmla="*/ 361307 h 1588055"/>
                <a:gd name="connsiteX13" fmla="*/ 1325237 w 1588246"/>
                <a:gd name="connsiteY13" fmla="*/ 304062 h 1588055"/>
                <a:gd name="connsiteX14" fmla="*/ 1387817 w 1588246"/>
                <a:gd name="connsiteY14" fmla="*/ 279868 h 1588055"/>
                <a:gd name="connsiteX15" fmla="*/ 1382387 w 1588246"/>
                <a:gd name="connsiteY15" fmla="*/ 266438 h 1588055"/>
                <a:gd name="connsiteX16" fmla="*/ 1303044 w 1588246"/>
                <a:gd name="connsiteY16" fmla="*/ 193953 h 1588055"/>
                <a:gd name="connsiteX17" fmla="*/ 1294757 w 1588246"/>
                <a:gd name="connsiteY17" fmla="*/ 201192 h 1588055"/>
                <a:gd name="connsiteX18" fmla="*/ 1282470 w 1588246"/>
                <a:gd name="connsiteY18" fmla="*/ 267772 h 1588055"/>
                <a:gd name="connsiteX19" fmla="*/ 1220843 w 1588246"/>
                <a:gd name="connsiteY19" fmla="*/ 310444 h 1588055"/>
                <a:gd name="connsiteX20" fmla="*/ 1184648 w 1588246"/>
                <a:gd name="connsiteY20" fmla="*/ 307491 h 1588055"/>
                <a:gd name="connsiteX21" fmla="*/ 1172456 w 1588246"/>
                <a:gd name="connsiteY21" fmla="*/ 312444 h 1588055"/>
                <a:gd name="connsiteX22" fmla="*/ 1136166 w 1588246"/>
                <a:gd name="connsiteY22" fmla="*/ 357211 h 1588055"/>
                <a:gd name="connsiteX23" fmla="*/ 859941 w 1588246"/>
                <a:gd name="connsiteY23" fmla="*/ 245674 h 1588055"/>
                <a:gd name="connsiteX24" fmla="*/ 851940 w 1588246"/>
                <a:gd name="connsiteY24" fmla="*/ 215956 h 1588055"/>
                <a:gd name="connsiteX25" fmla="*/ 853178 w 1588246"/>
                <a:gd name="connsiteY25" fmla="*/ 209479 h 1588055"/>
                <a:gd name="connsiteX26" fmla="*/ 863084 w 1588246"/>
                <a:gd name="connsiteY26" fmla="*/ 179856 h 1588055"/>
                <a:gd name="connsiteX27" fmla="*/ 856036 w 1588246"/>
                <a:gd name="connsiteY27" fmla="*/ 168235 h 1588055"/>
                <a:gd name="connsiteX28" fmla="*/ 833366 w 1588246"/>
                <a:gd name="connsiteY28" fmla="*/ 142804 h 1588055"/>
                <a:gd name="connsiteX29" fmla="*/ 823079 w 1588246"/>
                <a:gd name="connsiteY29" fmla="*/ 72128 h 1588055"/>
                <a:gd name="connsiteX30" fmla="*/ 850225 w 1588246"/>
                <a:gd name="connsiteY30" fmla="*/ 10787 h 1588055"/>
                <a:gd name="connsiteX31" fmla="*/ 836891 w 1588246"/>
                <a:gd name="connsiteY31" fmla="*/ 5072 h 1588055"/>
                <a:gd name="connsiteX32" fmla="*/ 729544 w 1588246"/>
                <a:gd name="connsiteY32" fmla="*/ 9930 h 1588055"/>
                <a:gd name="connsiteX33" fmla="*/ 728782 w 1588246"/>
                <a:gd name="connsiteY33" fmla="*/ 20884 h 1588055"/>
                <a:gd name="connsiteX34" fmla="*/ 767263 w 1588246"/>
                <a:gd name="connsiteY34" fmla="*/ 76605 h 1588055"/>
                <a:gd name="connsiteX35" fmla="*/ 753928 w 1588246"/>
                <a:gd name="connsiteY35" fmla="*/ 150328 h 1588055"/>
                <a:gd name="connsiteX36" fmla="*/ 726305 w 1588246"/>
                <a:gd name="connsiteY36" fmla="*/ 173855 h 1588055"/>
                <a:gd name="connsiteX37" fmla="*/ 721162 w 1588246"/>
                <a:gd name="connsiteY37" fmla="*/ 185952 h 1588055"/>
                <a:gd name="connsiteX38" fmla="*/ 726877 w 1588246"/>
                <a:gd name="connsiteY38" fmla="*/ 245483 h 1588055"/>
                <a:gd name="connsiteX39" fmla="*/ 726305 w 1588246"/>
                <a:gd name="connsiteY39" fmla="*/ 247674 h 1588055"/>
                <a:gd name="connsiteX40" fmla="*/ 458653 w 1588246"/>
                <a:gd name="connsiteY40" fmla="*/ 363022 h 1588055"/>
                <a:gd name="connsiteX41" fmla="*/ 426268 w 1588246"/>
                <a:gd name="connsiteY41" fmla="*/ 344258 h 1588055"/>
                <a:gd name="connsiteX42" fmla="*/ 422553 w 1588246"/>
                <a:gd name="connsiteY42" fmla="*/ 338828 h 1588055"/>
                <a:gd name="connsiteX43" fmla="*/ 408647 w 1588246"/>
                <a:gd name="connsiteY43" fmla="*/ 310825 h 1588055"/>
                <a:gd name="connsiteX44" fmla="*/ 395407 w 1588246"/>
                <a:gd name="connsiteY44" fmla="*/ 307586 h 1588055"/>
                <a:gd name="connsiteX45" fmla="*/ 361403 w 1588246"/>
                <a:gd name="connsiteY45" fmla="*/ 305586 h 1588055"/>
                <a:gd name="connsiteX46" fmla="*/ 304157 w 1588246"/>
                <a:gd name="connsiteY46" fmla="*/ 262914 h 1588055"/>
                <a:gd name="connsiteX47" fmla="*/ 279964 w 1588246"/>
                <a:gd name="connsiteY47" fmla="*/ 200335 h 1588055"/>
                <a:gd name="connsiteX48" fmla="*/ 266533 w 1588246"/>
                <a:gd name="connsiteY48" fmla="*/ 205764 h 1588055"/>
                <a:gd name="connsiteX49" fmla="*/ 194048 w 1588246"/>
                <a:gd name="connsiteY49" fmla="*/ 285107 h 1588055"/>
                <a:gd name="connsiteX50" fmla="*/ 201287 w 1588246"/>
                <a:gd name="connsiteY50" fmla="*/ 293394 h 1588055"/>
                <a:gd name="connsiteX51" fmla="*/ 267867 w 1588246"/>
                <a:gd name="connsiteY51" fmla="*/ 305681 h 1588055"/>
                <a:gd name="connsiteX52" fmla="*/ 310539 w 1588246"/>
                <a:gd name="connsiteY52" fmla="*/ 367308 h 1588055"/>
                <a:gd name="connsiteX53" fmla="*/ 307586 w 1588246"/>
                <a:gd name="connsiteY53" fmla="*/ 403503 h 1588055"/>
                <a:gd name="connsiteX54" fmla="*/ 312539 w 1588246"/>
                <a:gd name="connsiteY54" fmla="*/ 415695 h 1588055"/>
                <a:gd name="connsiteX55" fmla="*/ 358640 w 1588246"/>
                <a:gd name="connsiteY55" fmla="*/ 453795 h 1588055"/>
                <a:gd name="connsiteX56" fmla="*/ 363212 w 1588246"/>
                <a:gd name="connsiteY56" fmla="*/ 461510 h 1588055"/>
                <a:gd name="connsiteX57" fmla="*/ 257866 w 1588246"/>
                <a:gd name="connsiteY57" fmla="*/ 725067 h 1588055"/>
                <a:gd name="connsiteX58" fmla="*/ 215956 w 1588246"/>
                <a:gd name="connsiteY58" fmla="*/ 736211 h 1588055"/>
                <a:gd name="connsiteX59" fmla="*/ 209479 w 1588246"/>
                <a:gd name="connsiteY59" fmla="*/ 734973 h 1588055"/>
                <a:gd name="connsiteX60" fmla="*/ 179856 w 1588246"/>
                <a:gd name="connsiteY60" fmla="*/ 725067 h 1588055"/>
                <a:gd name="connsiteX61" fmla="*/ 168236 w 1588246"/>
                <a:gd name="connsiteY61" fmla="*/ 732116 h 1588055"/>
                <a:gd name="connsiteX62" fmla="*/ 142804 w 1588246"/>
                <a:gd name="connsiteY62" fmla="*/ 754785 h 1588055"/>
                <a:gd name="connsiteX63" fmla="*/ 72128 w 1588246"/>
                <a:gd name="connsiteY63" fmla="*/ 765072 h 1588055"/>
                <a:gd name="connsiteX64" fmla="*/ 10787 w 1588246"/>
                <a:gd name="connsiteY64" fmla="*/ 737926 h 1588055"/>
                <a:gd name="connsiteX65" fmla="*/ 5072 w 1588246"/>
                <a:gd name="connsiteY65" fmla="*/ 751261 h 1588055"/>
                <a:gd name="connsiteX66" fmla="*/ 9930 w 1588246"/>
                <a:gd name="connsiteY66" fmla="*/ 858608 h 1588055"/>
                <a:gd name="connsiteX67" fmla="*/ 20884 w 1588246"/>
                <a:gd name="connsiteY67" fmla="*/ 859370 h 1588055"/>
                <a:gd name="connsiteX68" fmla="*/ 76605 w 1588246"/>
                <a:gd name="connsiteY68" fmla="*/ 820889 h 1588055"/>
                <a:gd name="connsiteX69" fmla="*/ 150328 w 1588246"/>
                <a:gd name="connsiteY69" fmla="*/ 834223 h 1588055"/>
                <a:gd name="connsiteX70" fmla="*/ 173855 w 1588246"/>
                <a:gd name="connsiteY70" fmla="*/ 861846 h 1588055"/>
                <a:gd name="connsiteX71" fmla="*/ 185952 w 1588246"/>
                <a:gd name="connsiteY71" fmla="*/ 866990 h 1588055"/>
                <a:gd name="connsiteX72" fmla="*/ 245483 w 1588246"/>
                <a:gd name="connsiteY72" fmla="*/ 861275 h 1588055"/>
                <a:gd name="connsiteX73" fmla="*/ 259199 w 1588246"/>
                <a:gd name="connsiteY73" fmla="*/ 864894 h 1588055"/>
                <a:gd name="connsiteX74" fmla="*/ 367117 w 1588246"/>
                <a:gd name="connsiteY74" fmla="*/ 1122641 h 1588055"/>
                <a:gd name="connsiteX75" fmla="*/ 344257 w 1588246"/>
                <a:gd name="connsiteY75" fmla="*/ 1161788 h 1588055"/>
                <a:gd name="connsiteX76" fmla="*/ 338828 w 1588246"/>
                <a:gd name="connsiteY76" fmla="*/ 1165503 h 1588055"/>
                <a:gd name="connsiteX77" fmla="*/ 310825 w 1588246"/>
                <a:gd name="connsiteY77" fmla="*/ 1179409 h 1588055"/>
                <a:gd name="connsiteX78" fmla="*/ 307586 w 1588246"/>
                <a:gd name="connsiteY78" fmla="*/ 1192649 h 1588055"/>
                <a:gd name="connsiteX79" fmla="*/ 305586 w 1588246"/>
                <a:gd name="connsiteY79" fmla="*/ 1226654 h 1588055"/>
                <a:gd name="connsiteX80" fmla="*/ 262914 w 1588246"/>
                <a:gd name="connsiteY80" fmla="*/ 1283899 h 1588055"/>
                <a:gd name="connsiteX81" fmla="*/ 200335 w 1588246"/>
                <a:gd name="connsiteY81" fmla="*/ 1308092 h 1588055"/>
                <a:gd name="connsiteX82" fmla="*/ 205764 w 1588246"/>
                <a:gd name="connsiteY82" fmla="*/ 1321522 h 1588055"/>
                <a:gd name="connsiteX83" fmla="*/ 285107 w 1588246"/>
                <a:gd name="connsiteY83" fmla="*/ 1394008 h 1588055"/>
                <a:gd name="connsiteX84" fmla="*/ 293394 w 1588246"/>
                <a:gd name="connsiteY84" fmla="*/ 1386769 h 1588055"/>
                <a:gd name="connsiteX85" fmla="*/ 305681 w 1588246"/>
                <a:gd name="connsiteY85" fmla="*/ 1320189 h 1588055"/>
                <a:gd name="connsiteX86" fmla="*/ 367308 w 1588246"/>
                <a:gd name="connsiteY86" fmla="*/ 1277517 h 1588055"/>
                <a:gd name="connsiteX87" fmla="*/ 403503 w 1588246"/>
                <a:gd name="connsiteY87" fmla="*/ 1280470 h 1588055"/>
                <a:gd name="connsiteX88" fmla="*/ 415695 w 1588246"/>
                <a:gd name="connsiteY88" fmla="*/ 1275517 h 1588055"/>
                <a:gd name="connsiteX89" fmla="*/ 453795 w 1588246"/>
                <a:gd name="connsiteY89" fmla="*/ 1229416 h 1588055"/>
                <a:gd name="connsiteX90" fmla="*/ 466178 w 1588246"/>
                <a:gd name="connsiteY90" fmla="*/ 1222082 h 1588055"/>
                <a:gd name="connsiteX91" fmla="*/ 725353 w 1588246"/>
                <a:gd name="connsiteY91" fmla="*/ 1331333 h 1588055"/>
                <a:gd name="connsiteX92" fmla="*/ 736211 w 1588246"/>
                <a:gd name="connsiteY92" fmla="*/ 1372100 h 1588055"/>
                <a:gd name="connsiteX93" fmla="*/ 734973 w 1588246"/>
                <a:gd name="connsiteY93" fmla="*/ 1378577 h 1588055"/>
                <a:gd name="connsiteX94" fmla="*/ 725067 w 1588246"/>
                <a:gd name="connsiteY94" fmla="*/ 1408200 h 1588055"/>
                <a:gd name="connsiteX95" fmla="*/ 732116 w 1588246"/>
                <a:gd name="connsiteY95" fmla="*/ 1419821 h 1588055"/>
                <a:gd name="connsiteX96" fmla="*/ 754785 w 1588246"/>
                <a:gd name="connsiteY96" fmla="*/ 1445252 h 1588055"/>
                <a:gd name="connsiteX97" fmla="*/ 765072 w 1588246"/>
                <a:gd name="connsiteY97" fmla="*/ 1515928 h 1588055"/>
                <a:gd name="connsiteX98" fmla="*/ 737926 w 1588246"/>
                <a:gd name="connsiteY98" fmla="*/ 1577269 h 1588055"/>
                <a:gd name="connsiteX99" fmla="*/ 751261 w 1588246"/>
                <a:gd name="connsiteY99" fmla="*/ 1582984 h 1588055"/>
                <a:gd name="connsiteX100" fmla="*/ 858607 w 1588246"/>
                <a:gd name="connsiteY100" fmla="*/ 1578126 h 1588055"/>
                <a:gd name="connsiteX101" fmla="*/ 859370 w 1588246"/>
                <a:gd name="connsiteY101" fmla="*/ 1567172 h 1588055"/>
                <a:gd name="connsiteX102" fmla="*/ 820889 w 1588246"/>
                <a:gd name="connsiteY102" fmla="*/ 1511451 h 1588055"/>
                <a:gd name="connsiteX103" fmla="*/ 834224 w 1588246"/>
                <a:gd name="connsiteY103" fmla="*/ 1437728 h 1588055"/>
                <a:gd name="connsiteX104" fmla="*/ 861846 w 1588246"/>
                <a:gd name="connsiteY104" fmla="*/ 1414201 h 1588055"/>
                <a:gd name="connsiteX105" fmla="*/ 866990 w 1588246"/>
                <a:gd name="connsiteY105" fmla="*/ 1402104 h 1588055"/>
                <a:gd name="connsiteX106" fmla="*/ 861274 w 1588246"/>
                <a:gd name="connsiteY106" fmla="*/ 1342573 h 1588055"/>
                <a:gd name="connsiteX107" fmla="*/ 863846 w 1588246"/>
                <a:gd name="connsiteY107" fmla="*/ 1333048 h 1588055"/>
                <a:gd name="connsiteX108" fmla="*/ 1131023 w 1588246"/>
                <a:gd name="connsiteY108" fmla="*/ 1225987 h 1588055"/>
                <a:gd name="connsiteX109" fmla="*/ 1161883 w 1588246"/>
                <a:gd name="connsiteY109" fmla="*/ 1243799 h 1588055"/>
                <a:gd name="connsiteX110" fmla="*/ 1165598 w 1588246"/>
                <a:gd name="connsiteY110" fmla="*/ 1249228 h 1588055"/>
                <a:gd name="connsiteX111" fmla="*/ 1179505 w 1588246"/>
                <a:gd name="connsiteY111" fmla="*/ 1277231 h 1588055"/>
                <a:gd name="connsiteX112" fmla="*/ 1192745 w 1588246"/>
                <a:gd name="connsiteY112" fmla="*/ 1280470 h 1588055"/>
                <a:gd name="connsiteX113" fmla="*/ 1226749 w 1588246"/>
                <a:gd name="connsiteY113" fmla="*/ 1282470 h 1588055"/>
                <a:gd name="connsiteX114" fmla="*/ 1283994 w 1588246"/>
                <a:gd name="connsiteY114" fmla="*/ 1325142 h 1588055"/>
                <a:gd name="connsiteX115" fmla="*/ 1308188 w 1588246"/>
                <a:gd name="connsiteY115" fmla="*/ 1387721 h 1588055"/>
                <a:gd name="connsiteX116" fmla="*/ 1321618 w 1588246"/>
                <a:gd name="connsiteY116" fmla="*/ 1382292 h 1588055"/>
                <a:gd name="connsiteX117" fmla="*/ 1394103 w 1588246"/>
                <a:gd name="connsiteY117" fmla="*/ 1302949 h 1588055"/>
                <a:gd name="connsiteX118" fmla="*/ 1386864 w 1588246"/>
                <a:gd name="connsiteY118" fmla="*/ 1294662 h 1588055"/>
                <a:gd name="connsiteX119" fmla="*/ 1320284 w 1588246"/>
                <a:gd name="connsiteY119" fmla="*/ 1282375 h 1588055"/>
                <a:gd name="connsiteX120" fmla="*/ 1277612 w 1588246"/>
                <a:gd name="connsiteY120" fmla="*/ 1220748 h 1588055"/>
                <a:gd name="connsiteX121" fmla="*/ 1280565 w 1588246"/>
                <a:gd name="connsiteY121" fmla="*/ 1184553 h 1588055"/>
                <a:gd name="connsiteX122" fmla="*/ 1275612 w 1588246"/>
                <a:gd name="connsiteY122" fmla="*/ 1172361 h 1588055"/>
                <a:gd name="connsiteX123" fmla="*/ 1229511 w 1588246"/>
                <a:gd name="connsiteY123" fmla="*/ 1134261 h 1588055"/>
                <a:gd name="connsiteX124" fmla="*/ 1227987 w 1588246"/>
                <a:gd name="connsiteY124" fmla="*/ 1131594 h 1588055"/>
                <a:gd name="connsiteX125" fmla="*/ 1343716 w 1588246"/>
                <a:gd name="connsiteY125" fmla="*/ 859465 h 1588055"/>
                <a:gd name="connsiteX126" fmla="*/ 1372291 w 1588246"/>
                <a:gd name="connsiteY126" fmla="*/ 851750 h 1588055"/>
                <a:gd name="connsiteX127" fmla="*/ 1378768 w 1588246"/>
                <a:gd name="connsiteY127" fmla="*/ 852988 h 1588055"/>
                <a:gd name="connsiteX128" fmla="*/ 1408391 w 1588246"/>
                <a:gd name="connsiteY128" fmla="*/ 862894 h 1588055"/>
                <a:gd name="connsiteX129" fmla="*/ 1420011 w 1588246"/>
                <a:gd name="connsiteY129" fmla="*/ 855845 h 1588055"/>
                <a:gd name="connsiteX130" fmla="*/ 1445443 w 1588246"/>
                <a:gd name="connsiteY130" fmla="*/ 833176 h 1588055"/>
                <a:gd name="connsiteX131" fmla="*/ 1516118 w 1588246"/>
                <a:gd name="connsiteY131" fmla="*/ 822889 h 1588055"/>
                <a:gd name="connsiteX132" fmla="*/ 1577459 w 1588246"/>
                <a:gd name="connsiteY132" fmla="*/ 850035 h 1588055"/>
                <a:gd name="connsiteX133" fmla="*/ 1583174 w 1588246"/>
                <a:gd name="connsiteY133" fmla="*/ 836700 h 1588055"/>
                <a:gd name="connsiteX134" fmla="*/ 1578317 w 1588246"/>
                <a:gd name="connsiteY134" fmla="*/ 729448 h 158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88246" h="1588055">
                  <a:moveTo>
                    <a:pt x="1578317" y="729448"/>
                  </a:moveTo>
                  <a:cubicBezTo>
                    <a:pt x="1576031" y="724305"/>
                    <a:pt x="1569649" y="725162"/>
                    <a:pt x="1567363" y="728687"/>
                  </a:cubicBezTo>
                  <a:cubicBezTo>
                    <a:pt x="1546217" y="734687"/>
                    <a:pt x="1522786" y="747832"/>
                    <a:pt x="1511642" y="767168"/>
                  </a:cubicBezTo>
                  <a:cubicBezTo>
                    <a:pt x="1503736" y="770406"/>
                    <a:pt x="1466969" y="761548"/>
                    <a:pt x="1437918" y="753833"/>
                  </a:cubicBezTo>
                  <a:cubicBezTo>
                    <a:pt x="1427726" y="746975"/>
                    <a:pt x="1419630" y="736402"/>
                    <a:pt x="1414391" y="726210"/>
                  </a:cubicBezTo>
                  <a:cubicBezTo>
                    <a:pt x="1412296" y="722210"/>
                    <a:pt x="1406962" y="718400"/>
                    <a:pt x="1402295" y="721067"/>
                  </a:cubicBezTo>
                  <a:cubicBezTo>
                    <a:pt x="1382197" y="732306"/>
                    <a:pt x="1365528" y="729544"/>
                    <a:pt x="1344668" y="726972"/>
                  </a:cubicBezTo>
                  <a:cubicBezTo>
                    <a:pt x="1332857" y="622959"/>
                    <a:pt x="1291900" y="527900"/>
                    <a:pt x="1230083" y="450080"/>
                  </a:cubicBezTo>
                  <a:cubicBezTo>
                    <a:pt x="1234655" y="442175"/>
                    <a:pt x="1239322" y="434174"/>
                    <a:pt x="1243894" y="426173"/>
                  </a:cubicBezTo>
                  <a:cubicBezTo>
                    <a:pt x="1245704" y="424934"/>
                    <a:pt x="1247513" y="423601"/>
                    <a:pt x="1249323" y="422458"/>
                  </a:cubicBezTo>
                  <a:cubicBezTo>
                    <a:pt x="1257705" y="417409"/>
                    <a:pt x="1270945" y="416743"/>
                    <a:pt x="1277326" y="408551"/>
                  </a:cubicBezTo>
                  <a:cubicBezTo>
                    <a:pt x="1280470" y="404551"/>
                    <a:pt x="1280660" y="400264"/>
                    <a:pt x="1280565" y="395311"/>
                  </a:cubicBezTo>
                  <a:cubicBezTo>
                    <a:pt x="1280470" y="381405"/>
                    <a:pt x="1279232" y="373690"/>
                    <a:pt x="1282565" y="361307"/>
                  </a:cubicBezTo>
                  <a:cubicBezTo>
                    <a:pt x="1295710" y="340924"/>
                    <a:pt x="1309616" y="321398"/>
                    <a:pt x="1325237" y="304062"/>
                  </a:cubicBezTo>
                  <a:cubicBezTo>
                    <a:pt x="1348859" y="307777"/>
                    <a:pt x="1376577" y="299776"/>
                    <a:pt x="1387817" y="279868"/>
                  </a:cubicBezTo>
                  <a:cubicBezTo>
                    <a:pt x="1390865" y="274534"/>
                    <a:pt x="1387340" y="268819"/>
                    <a:pt x="1382387" y="266438"/>
                  </a:cubicBezTo>
                  <a:cubicBezTo>
                    <a:pt x="1360575" y="237482"/>
                    <a:pt x="1337810" y="207574"/>
                    <a:pt x="1303044" y="193953"/>
                  </a:cubicBezTo>
                  <a:cubicBezTo>
                    <a:pt x="1297805" y="191858"/>
                    <a:pt x="1293900" y="197001"/>
                    <a:pt x="1294757" y="201192"/>
                  </a:cubicBezTo>
                  <a:cubicBezTo>
                    <a:pt x="1284089" y="220337"/>
                    <a:pt x="1276850" y="246245"/>
                    <a:pt x="1282470" y="267772"/>
                  </a:cubicBezTo>
                  <a:cubicBezTo>
                    <a:pt x="1279136" y="275678"/>
                    <a:pt x="1246942" y="295394"/>
                    <a:pt x="1220843" y="310444"/>
                  </a:cubicBezTo>
                  <a:cubicBezTo>
                    <a:pt x="1208842" y="312825"/>
                    <a:pt x="1195602" y="311015"/>
                    <a:pt x="1184648" y="307491"/>
                  </a:cubicBezTo>
                  <a:cubicBezTo>
                    <a:pt x="1180362" y="306062"/>
                    <a:pt x="1173885" y="307205"/>
                    <a:pt x="1172456" y="312444"/>
                  </a:cubicBezTo>
                  <a:cubicBezTo>
                    <a:pt x="1166265" y="334542"/>
                    <a:pt x="1152549" y="344353"/>
                    <a:pt x="1136166" y="357211"/>
                  </a:cubicBezTo>
                  <a:cubicBezTo>
                    <a:pt x="1058156" y="296633"/>
                    <a:pt x="963382" y="256723"/>
                    <a:pt x="859941" y="245674"/>
                  </a:cubicBezTo>
                  <a:cubicBezTo>
                    <a:pt x="857369" y="235768"/>
                    <a:pt x="854702" y="225862"/>
                    <a:pt x="851940" y="215956"/>
                  </a:cubicBezTo>
                  <a:cubicBezTo>
                    <a:pt x="852321" y="213765"/>
                    <a:pt x="852702" y="211574"/>
                    <a:pt x="853178" y="209479"/>
                  </a:cubicBezTo>
                  <a:cubicBezTo>
                    <a:pt x="855559" y="199954"/>
                    <a:pt x="864418" y="190143"/>
                    <a:pt x="863084" y="179856"/>
                  </a:cubicBezTo>
                  <a:cubicBezTo>
                    <a:pt x="862417" y="174808"/>
                    <a:pt x="859560" y="171664"/>
                    <a:pt x="856036" y="168235"/>
                  </a:cubicBezTo>
                  <a:cubicBezTo>
                    <a:pt x="846130" y="158520"/>
                    <a:pt x="839748" y="153853"/>
                    <a:pt x="833366" y="142804"/>
                  </a:cubicBezTo>
                  <a:cubicBezTo>
                    <a:pt x="828223" y="119086"/>
                    <a:pt x="824222" y="95464"/>
                    <a:pt x="823079" y="72128"/>
                  </a:cubicBezTo>
                  <a:cubicBezTo>
                    <a:pt x="842415" y="58031"/>
                    <a:pt x="856322" y="32695"/>
                    <a:pt x="850225" y="10787"/>
                  </a:cubicBezTo>
                  <a:cubicBezTo>
                    <a:pt x="848606" y="4882"/>
                    <a:pt x="842034" y="3262"/>
                    <a:pt x="836891" y="5072"/>
                  </a:cubicBezTo>
                  <a:cubicBezTo>
                    <a:pt x="800981" y="24"/>
                    <a:pt x="763739" y="-5024"/>
                    <a:pt x="729544" y="9930"/>
                  </a:cubicBezTo>
                  <a:cubicBezTo>
                    <a:pt x="724400" y="12216"/>
                    <a:pt x="725257" y="18598"/>
                    <a:pt x="728782" y="20884"/>
                  </a:cubicBezTo>
                  <a:cubicBezTo>
                    <a:pt x="734782" y="42029"/>
                    <a:pt x="747927" y="65461"/>
                    <a:pt x="767263" y="76605"/>
                  </a:cubicBezTo>
                  <a:cubicBezTo>
                    <a:pt x="770501" y="84511"/>
                    <a:pt x="761643" y="121277"/>
                    <a:pt x="753928" y="150328"/>
                  </a:cubicBezTo>
                  <a:cubicBezTo>
                    <a:pt x="747070" y="160520"/>
                    <a:pt x="736497" y="168616"/>
                    <a:pt x="726305" y="173855"/>
                  </a:cubicBezTo>
                  <a:cubicBezTo>
                    <a:pt x="722305" y="175951"/>
                    <a:pt x="718495" y="181285"/>
                    <a:pt x="721162" y="185952"/>
                  </a:cubicBezTo>
                  <a:cubicBezTo>
                    <a:pt x="732782" y="206716"/>
                    <a:pt x="729449" y="223766"/>
                    <a:pt x="726877" y="245483"/>
                  </a:cubicBezTo>
                  <a:cubicBezTo>
                    <a:pt x="726686" y="246245"/>
                    <a:pt x="726496" y="246912"/>
                    <a:pt x="726305" y="247674"/>
                  </a:cubicBezTo>
                  <a:cubicBezTo>
                    <a:pt x="625816" y="261390"/>
                    <a:pt x="534091" y="302443"/>
                    <a:pt x="458653" y="363022"/>
                  </a:cubicBezTo>
                  <a:cubicBezTo>
                    <a:pt x="447985" y="356735"/>
                    <a:pt x="437126" y="350544"/>
                    <a:pt x="426268" y="344258"/>
                  </a:cubicBezTo>
                  <a:cubicBezTo>
                    <a:pt x="425030" y="342448"/>
                    <a:pt x="423696" y="340638"/>
                    <a:pt x="422553" y="338828"/>
                  </a:cubicBezTo>
                  <a:cubicBezTo>
                    <a:pt x="417505" y="330446"/>
                    <a:pt x="416838" y="317207"/>
                    <a:pt x="408647" y="310825"/>
                  </a:cubicBezTo>
                  <a:cubicBezTo>
                    <a:pt x="404646" y="307682"/>
                    <a:pt x="400360" y="307491"/>
                    <a:pt x="395407" y="307586"/>
                  </a:cubicBezTo>
                  <a:cubicBezTo>
                    <a:pt x="381500" y="307682"/>
                    <a:pt x="373785" y="308920"/>
                    <a:pt x="361403" y="305586"/>
                  </a:cubicBezTo>
                  <a:cubicBezTo>
                    <a:pt x="341019" y="292441"/>
                    <a:pt x="321493" y="278535"/>
                    <a:pt x="304157" y="262914"/>
                  </a:cubicBezTo>
                  <a:cubicBezTo>
                    <a:pt x="307872" y="239292"/>
                    <a:pt x="299871" y="211574"/>
                    <a:pt x="279964" y="200335"/>
                  </a:cubicBezTo>
                  <a:cubicBezTo>
                    <a:pt x="274630" y="197287"/>
                    <a:pt x="268915" y="200811"/>
                    <a:pt x="266533" y="205764"/>
                  </a:cubicBezTo>
                  <a:cubicBezTo>
                    <a:pt x="237578" y="227576"/>
                    <a:pt x="207669" y="250341"/>
                    <a:pt x="194048" y="285107"/>
                  </a:cubicBezTo>
                  <a:cubicBezTo>
                    <a:pt x="192048" y="290346"/>
                    <a:pt x="197096" y="294251"/>
                    <a:pt x="201287" y="293394"/>
                  </a:cubicBezTo>
                  <a:cubicBezTo>
                    <a:pt x="220432" y="304062"/>
                    <a:pt x="246340" y="311396"/>
                    <a:pt x="267867" y="305681"/>
                  </a:cubicBezTo>
                  <a:cubicBezTo>
                    <a:pt x="275773" y="309015"/>
                    <a:pt x="295490" y="341209"/>
                    <a:pt x="310539" y="367308"/>
                  </a:cubicBezTo>
                  <a:cubicBezTo>
                    <a:pt x="312920" y="379309"/>
                    <a:pt x="311111" y="392549"/>
                    <a:pt x="307586" y="403503"/>
                  </a:cubicBezTo>
                  <a:cubicBezTo>
                    <a:pt x="306157" y="407789"/>
                    <a:pt x="307300" y="414266"/>
                    <a:pt x="312539" y="415695"/>
                  </a:cubicBezTo>
                  <a:cubicBezTo>
                    <a:pt x="335399" y="422077"/>
                    <a:pt x="345115" y="436555"/>
                    <a:pt x="358640" y="453795"/>
                  </a:cubicBezTo>
                  <a:cubicBezTo>
                    <a:pt x="360069" y="456462"/>
                    <a:pt x="361688" y="458938"/>
                    <a:pt x="363212" y="461510"/>
                  </a:cubicBezTo>
                  <a:cubicBezTo>
                    <a:pt x="306824" y="536663"/>
                    <a:pt x="269391" y="626864"/>
                    <a:pt x="257866" y="725067"/>
                  </a:cubicBezTo>
                  <a:cubicBezTo>
                    <a:pt x="243959" y="728591"/>
                    <a:pt x="229957" y="732401"/>
                    <a:pt x="215956" y="736211"/>
                  </a:cubicBezTo>
                  <a:cubicBezTo>
                    <a:pt x="213765" y="735830"/>
                    <a:pt x="211574" y="735449"/>
                    <a:pt x="209479" y="734973"/>
                  </a:cubicBezTo>
                  <a:cubicBezTo>
                    <a:pt x="199954" y="732592"/>
                    <a:pt x="190143" y="723733"/>
                    <a:pt x="179856" y="725067"/>
                  </a:cubicBezTo>
                  <a:cubicBezTo>
                    <a:pt x="174808" y="725734"/>
                    <a:pt x="171665" y="728591"/>
                    <a:pt x="168236" y="732116"/>
                  </a:cubicBezTo>
                  <a:cubicBezTo>
                    <a:pt x="158520" y="742021"/>
                    <a:pt x="153853" y="748403"/>
                    <a:pt x="142804" y="754785"/>
                  </a:cubicBezTo>
                  <a:cubicBezTo>
                    <a:pt x="119086" y="759929"/>
                    <a:pt x="95465" y="763929"/>
                    <a:pt x="72128" y="765072"/>
                  </a:cubicBezTo>
                  <a:cubicBezTo>
                    <a:pt x="58031" y="745736"/>
                    <a:pt x="32695" y="731830"/>
                    <a:pt x="10787" y="737926"/>
                  </a:cubicBezTo>
                  <a:cubicBezTo>
                    <a:pt x="4882" y="739545"/>
                    <a:pt x="3263" y="746117"/>
                    <a:pt x="5072" y="751261"/>
                  </a:cubicBezTo>
                  <a:cubicBezTo>
                    <a:pt x="24" y="787170"/>
                    <a:pt x="-5024" y="824413"/>
                    <a:pt x="9930" y="858608"/>
                  </a:cubicBezTo>
                  <a:cubicBezTo>
                    <a:pt x="12216" y="863751"/>
                    <a:pt x="18598" y="862894"/>
                    <a:pt x="20884" y="859370"/>
                  </a:cubicBezTo>
                  <a:cubicBezTo>
                    <a:pt x="42029" y="853369"/>
                    <a:pt x="65461" y="840224"/>
                    <a:pt x="76605" y="820889"/>
                  </a:cubicBezTo>
                  <a:cubicBezTo>
                    <a:pt x="84511" y="817650"/>
                    <a:pt x="121277" y="826508"/>
                    <a:pt x="150328" y="834223"/>
                  </a:cubicBezTo>
                  <a:cubicBezTo>
                    <a:pt x="160520" y="841081"/>
                    <a:pt x="168617" y="851654"/>
                    <a:pt x="173855" y="861846"/>
                  </a:cubicBezTo>
                  <a:cubicBezTo>
                    <a:pt x="175951" y="865846"/>
                    <a:pt x="181285" y="869656"/>
                    <a:pt x="185952" y="866990"/>
                  </a:cubicBezTo>
                  <a:cubicBezTo>
                    <a:pt x="206716" y="855369"/>
                    <a:pt x="223766" y="858703"/>
                    <a:pt x="245483" y="861275"/>
                  </a:cubicBezTo>
                  <a:cubicBezTo>
                    <a:pt x="250055" y="862608"/>
                    <a:pt x="254627" y="863751"/>
                    <a:pt x="259199" y="864894"/>
                  </a:cubicBezTo>
                  <a:cubicBezTo>
                    <a:pt x="272439" y="961096"/>
                    <a:pt x="310634" y="1049203"/>
                    <a:pt x="367117" y="1122641"/>
                  </a:cubicBezTo>
                  <a:cubicBezTo>
                    <a:pt x="359402" y="1135499"/>
                    <a:pt x="351878" y="1148549"/>
                    <a:pt x="344257" y="1161788"/>
                  </a:cubicBezTo>
                  <a:cubicBezTo>
                    <a:pt x="342448" y="1163026"/>
                    <a:pt x="340638" y="1164360"/>
                    <a:pt x="338828" y="1165503"/>
                  </a:cubicBezTo>
                  <a:cubicBezTo>
                    <a:pt x="330446" y="1170551"/>
                    <a:pt x="317207" y="1171218"/>
                    <a:pt x="310825" y="1179409"/>
                  </a:cubicBezTo>
                  <a:cubicBezTo>
                    <a:pt x="307682" y="1183410"/>
                    <a:pt x="307491" y="1187696"/>
                    <a:pt x="307586" y="1192649"/>
                  </a:cubicBezTo>
                  <a:cubicBezTo>
                    <a:pt x="307682" y="1206556"/>
                    <a:pt x="308920" y="1214271"/>
                    <a:pt x="305586" y="1226654"/>
                  </a:cubicBezTo>
                  <a:cubicBezTo>
                    <a:pt x="292441" y="1247037"/>
                    <a:pt x="278535" y="1266563"/>
                    <a:pt x="262914" y="1283899"/>
                  </a:cubicBezTo>
                  <a:cubicBezTo>
                    <a:pt x="239292" y="1280184"/>
                    <a:pt x="211574" y="1288185"/>
                    <a:pt x="200335" y="1308092"/>
                  </a:cubicBezTo>
                  <a:cubicBezTo>
                    <a:pt x="197287" y="1313426"/>
                    <a:pt x="200811" y="1319141"/>
                    <a:pt x="205764" y="1321522"/>
                  </a:cubicBezTo>
                  <a:cubicBezTo>
                    <a:pt x="227576" y="1350479"/>
                    <a:pt x="250341" y="1380387"/>
                    <a:pt x="285107" y="1394008"/>
                  </a:cubicBezTo>
                  <a:cubicBezTo>
                    <a:pt x="290346" y="1396103"/>
                    <a:pt x="294251" y="1390960"/>
                    <a:pt x="293394" y="1386769"/>
                  </a:cubicBezTo>
                  <a:cubicBezTo>
                    <a:pt x="304062" y="1367624"/>
                    <a:pt x="311396" y="1341716"/>
                    <a:pt x="305681" y="1320189"/>
                  </a:cubicBezTo>
                  <a:cubicBezTo>
                    <a:pt x="309015" y="1312283"/>
                    <a:pt x="341209" y="1292567"/>
                    <a:pt x="367308" y="1277517"/>
                  </a:cubicBezTo>
                  <a:cubicBezTo>
                    <a:pt x="379309" y="1275136"/>
                    <a:pt x="392549" y="1276946"/>
                    <a:pt x="403503" y="1280470"/>
                  </a:cubicBezTo>
                  <a:cubicBezTo>
                    <a:pt x="407789" y="1281899"/>
                    <a:pt x="414266" y="1280755"/>
                    <a:pt x="415695" y="1275517"/>
                  </a:cubicBezTo>
                  <a:cubicBezTo>
                    <a:pt x="422077" y="1252657"/>
                    <a:pt x="436555" y="1242941"/>
                    <a:pt x="453795" y="1229416"/>
                  </a:cubicBezTo>
                  <a:cubicBezTo>
                    <a:pt x="457986" y="1227034"/>
                    <a:pt x="462082" y="1224558"/>
                    <a:pt x="466178" y="1222082"/>
                  </a:cubicBezTo>
                  <a:cubicBezTo>
                    <a:pt x="539901" y="1279232"/>
                    <a:pt x="628483" y="1317998"/>
                    <a:pt x="725353" y="1331333"/>
                  </a:cubicBezTo>
                  <a:cubicBezTo>
                    <a:pt x="728782" y="1344859"/>
                    <a:pt x="732497" y="1358480"/>
                    <a:pt x="736211" y="1372100"/>
                  </a:cubicBezTo>
                  <a:cubicBezTo>
                    <a:pt x="735830" y="1374291"/>
                    <a:pt x="735449" y="1376482"/>
                    <a:pt x="734973" y="1378577"/>
                  </a:cubicBezTo>
                  <a:cubicBezTo>
                    <a:pt x="732592" y="1388102"/>
                    <a:pt x="723733" y="1397913"/>
                    <a:pt x="725067" y="1408200"/>
                  </a:cubicBezTo>
                  <a:cubicBezTo>
                    <a:pt x="725734" y="1413248"/>
                    <a:pt x="728591" y="1416392"/>
                    <a:pt x="732116" y="1419821"/>
                  </a:cubicBezTo>
                  <a:cubicBezTo>
                    <a:pt x="742022" y="1429536"/>
                    <a:pt x="748403" y="1434203"/>
                    <a:pt x="754785" y="1445252"/>
                  </a:cubicBezTo>
                  <a:cubicBezTo>
                    <a:pt x="759929" y="1468970"/>
                    <a:pt x="763929" y="1492592"/>
                    <a:pt x="765072" y="1515928"/>
                  </a:cubicBezTo>
                  <a:cubicBezTo>
                    <a:pt x="745736" y="1530025"/>
                    <a:pt x="731830" y="1555361"/>
                    <a:pt x="737926" y="1577269"/>
                  </a:cubicBezTo>
                  <a:cubicBezTo>
                    <a:pt x="739545" y="1583174"/>
                    <a:pt x="746117" y="1584794"/>
                    <a:pt x="751261" y="1582984"/>
                  </a:cubicBezTo>
                  <a:cubicBezTo>
                    <a:pt x="787170" y="1588032"/>
                    <a:pt x="824413" y="1593080"/>
                    <a:pt x="858607" y="1578126"/>
                  </a:cubicBezTo>
                  <a:cubicBezTo>
                    <a:pt x="863751" y="1575840"/>
                    <a:pt x="862894" y="1569458"/>
                    <a:pt x="859370" y="1567172"/>
                  </a:cubicBezTo>
                  <a:cubicBezTo>
                    <a:pt x="853369" y="1546027"/>
                    <a:pt x="840224" y="1522595"/>
                    <a:pt x="820889" y="1511451"/>
                  </a:cubicBezTo>
                  <a:cubicBezTo>
                    <a:pt x="817650" y="1503545"/>
                    <a:pt x="826508" y="1466779"/>
                    <a:pt x="834224" y="1437728"/>
                  </a:cubicBezTo>
                  <a:cubicBezTo>
                    <a:pt x="841082" y="1427536"/>
                    <a:pt x="851654" y="1419440"/>
                    <a:pt x="861846" y="1414201"/>
                  </a:cubicBezTo>
                  <a:cubicBezTo>
                    <a:pt x="865847" y="1412105"/>
                    <a:pt x="869657" y="1406771"/>
                    <a:pt x="866990" y="1402104"/>
                  </a:cubicBezTo>
                  <a:cubicBezTo>
                    <a:pt x="855369" y="1381340"/>
                    <a:pt x="858703" y="1364290"/>
                    <a:pt x="861274" y="1342573"/>
                  </a:cubicBezTo>
                  <a:cubicBezTo>
                    <a:pt x="862227" y="1339430"/>
                    <a:pt x="862989" y="1336191"/>
                    <a:pt x="863846" y="1333048"/>
                  </a:cubicBezTo>
                  <a:cubicBezTo>
                    <a:pt x="963478" y="1321618"/>
                    <a:pt x="1055013" y="1283518"/>
                    <a:pt x="1131023" y="1225987"/>
                  </a:cubicBezTo>
                  <a:cubicBezTo>
                    <a:pt x="1141214" y="1231988"/>
                    <a:pt x="1151501" y="1237893"/>
                    <a:pt x="1161883" y="1243799"/>
                  </a:cubicBezTo>
                  <a:cubicBezTo>
                    <a:pt x="1163122" y="1245608"/>
                    <a:pt x="1164455" y="1247418"/>
                    <a:pt x="1165598" y="1249228"/>
                  </a:cubicBezTo>
                  <a:cubicBezTo>
                    <a:pt x="1170647" y="1257610"/>
                    <a:pt x="1171313" y="1270850"/>
                    <a:pt x="1179505" y="1277231"/>
                  </a:cubicBezTo>
                  <a:cubicBezTo>
                    <a:pt x="1183505" y="1280375"/>
                    <a:pt x="1187792" y="1280565"/>
                    <a:pt x="1192745" y="1280470"/>
                  </a:cubicBezTo>
                  <a:cubicBezTo>
                    <a:pt x="1206651" y="1280375"/>
                    <a:pt x="1214366" y="1279136"/>
                    <a:pt x="1226749" y="1282470"/>
                  </a:cubicBezTo>
                  <a:cubicBezTo>
                    <a:pt x="1247132" y="1295615"/>
                    <a:pt x="1266658" y="1309521"/>
                    <a:pt x="1283994" y="1325142"/>
                  </a:cubicBezTo>
                  <a:cubicBezTo>
                    <a:pt x="1280279" y="1348764"/>
                    <a:pt x="1288280" y="1376482"/>
                    <a:pt x="1308188" y="1387721"/>
                  </a:cubicBezTo>
                  <a:cubicBezTo>
                    <a:pt x="1313522" y="1390769"/>
                    <a:pt x="1319237" y="1387245"/>
                    <a:pt x="1321618" y="1382292"/>
                  </a:cubicBezTo>
                  <a:cubicBezTo>
                    <a:pt x="1350574" y="1360480"/>
                    <a:pt x="1380482" y="1337715"/>
                    <a:pt x="1394103" y="1302949"/>
                  </a:cubicBezTo>
                  <a:cubicBezTo>
                    <a:pt x="1396103" y="1297710"/>
                    <a:pt x="1391055" y="1293805"/>
                    <a:pt x="1386864" y="1294662"/>
                  </a:cubicBezTo>
                  <a:cubicBezTo>
                    <a:pt x="1367719" y="1283994"/>
                    <a:pt x="1341811" y="1276755"/>
                    <a:pt x="1320284" y="1282375"/>
                  </a:cubicBezTo>
                  <a:cubicBezTo>
                    <a:pt x="1312379" y="1279041"/>
                    <a:pt x="1292662" y="1246847"/>
                    <a:pt x="1277612" y="1220748"/>
                  </a:cubicBezTo>
                  <a:cubicBezTo>
                    <a:pt x="1275231" y="1208747"/>
                    <a:pt x="1277041" y="1195507"/>
                    <a:pt x="1280565" y="1184553"/>
                  </a:cubicBezTo>
                  <a:cubicBezTo>
                    <a:pt x="1281994" y="1180267"/>
                    <a:pt x="1280851" y="1173790"/>
                    <a:pt x="1275612" y="1172361"/>
                  </a:cubicBezTo>
                  <a:cubicBezTo>
                    <a:pt x="1252752" y="1165979"/>
                    <a:pt x="1243037" y="1151501"/>
                    <a:pt x="1229511" y="1134261"/>
                  </a:cubicBezTo>
                  <a:cubicBezTo>
                    <a:pt x="1229035" y="1133404"/>
                    <a:pt x="1228463" y="1132547"/>
                    <a:pt x="1227987" y="1131594"/>
                  </a:cubicBezTo>
                  <a:cubicBezTo>
                    <a:pt x="1289423" y="1055108"/>
                    <a:pt x="1330571" y="961668"/>
                    <a:pt x="1343716" y="859465"/>
                  </a:cubicBezTo>
                  <a:cubicBezTo>
                    <a:pt x="1353241" y="856988"/>
                    <a:pt x="1362766" y="854417"/>
                    <a:pt x="1372291" y="851750"/>
                  </a:cubicBezTo>
                  <a:cubicBezTo>
                    <a:pt x="1374482" y="852131"/>
                    <a:pt x="1376672" y="852512"/>
                    <a:pt x="1378768" y="852988"/>
                  </a:cubicBezTo>
                  <a:cubicBezTo>
                    <a:pt x="1388293" y="855369"/>
                    <a:pt x="1398104" y="864227"/>
                    <a:pt x="1408391" y="862894"/>
                  </a:cubicBezTo>
                  <a:cubicBezTo>
                    <a:pt x="1413439" y="862227"/>
                    <a:pt x="1416582" y="859370"/>
                    <a:pt x="1420011" y="855845"/>
                  </a:cubicBezTo>
                  <a:cubicBezTo>
                    <a:pt x="1429726" y="845939"/>
                    <a:pt x="1434394" y="839558"/>
                    <a:pt x="1445443" y="833176"/>
                  </a:cubicBezTo>
                  <a:cubicBezTo>
                    <a:pt x="1469160" y="828032"/>
                    <a:pt x="1492782" y="824032"/>
                    <a:pt x="1516118" y="822889"/>
                  </a:cubicBezTo>
                  <a:cubicBezTo>
                    <a:pt x="1530215" y="842225"/>
                    <a:pt x="1555552" y="856131"/>
                    <a:pt x="1577459" y="850035"/>
                  </a:cubicBezTo>
                  <a:cubicBezTo>
                    <a:pt x="1583365" y="848416"/>
                    <a:pt x="1584984" y="841844"/>
                    <a:pt x="1583174" y="836700"/>
                  </a:cubicBezTo>
                  <a:cubicBezTo>
                    <a:pt x="1588223" y="800886"/>
                    <a:pt x="1593271" y="763643"/>
                    <a:pt x="1578317" y="729448"/>
                  </a:cubicBezTo>
                  <a:close/>
                </a:path>
              </a:pathLst>
            </a:custGeom>
            <a:solidFill>
              <a:srgbClr val="97C53E"/>
            </a:solidFill>
            <a:ln w="9525" cap="flat">
              <a:noFill/>
              <a:prstDash val="solid"/>
              <a:miter/>
            </a:ln>
          </p:spPr>
          <p:txBody>
            <a:bodyPr rtlCol="0" anchor="ctr"/>
            <a:lstStyle/>
            <a:p>
              <a:endParaRPr lang="zh-CN" altLang="en-US"/>
            </a:p>
          </p:txBody>
        </p:sp>
        <p:sp>
          <p:nvSpPr>
            <p:cNvPr id="275" name="iṣḻïḋê">
              <a:extLst>
                <a:ext uri="{FF2B5EF4-FFF2-40B4-BE49-F238E27FC236}">
                  <a16:creationId xmlns:a16="http://schemas.microsoft.com/office/drawing/2014/main" id="{53298C98-9BD3-48C3-B474-62DF8D9E5E9E}"/>
                </a:ext>
              </a:extLst>
            </p:cNvPr>
            <p:cNvSpPr/>
            <p:nvPr/>
          </p:nvSpPr>
          <p:spPr>
            <a:xfrm>
              <a:off x="5258165" y="2725492"/>
              <a:ext cx="309356" cy="331307"/>
            </a:xfrm>
            <a:custGeom>
              <a:avLst/>
              <a:gdLst>
                <a:gd name="connsiteX0" fmla="*/ 112587 w 116657"/>
                <a:gd name="connsiteY0" fmla="*/ 20308 h 124935"/>
                <a:gd name="connsiteX1" fmla="*/ 73439 w 116657"/>
                <a:gd name="connsiteY1" fmla="*/ 1449 h 124935"/>
                <a:gd name="connsiteX2" fmla="*/ 65629 w 116657"/>
                <a:gd name="connsiteY2" fmla="*/ 3068 h 124935"/>
                <a:gd name="connsiteX3" fmla="*/ 58390 w 116657"/>
                <a:gd name="connsiteY3" fmla="*/ 401 h 124935"/>
                <a:gd name="connsiteX4" fmla="*/ 1 w 116657"/>
                <a:gd name="connsiteY4" fmla="*/ 92603 h 124935"/>
                <a:gd name="connsiteX5" fmla="*/ 71534 w 116657"/>
                <a:gd name="connsiteY5" fmla="*/ 110224 h 124935"/>
                <a:gd name="connsiteX6" fmla="*/ 112587 w 116657"/>
                <a:gd name="connsiteY6" fmla="*/ 20308 h 124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57" h="124935">
                  <a:moveTo>
                    <a:pt x="112587" y="20308"/>
                  </a:moveTo>
                  <a:cubicBezTo>
                    <a:pt x="105348" y="5544"/>
                    <a:pt x="89155" y="-552"/>
                    <a:pt x="73439" y="1449"/>
                  </a:cubicBezTo>
                  <a:cubicBezTo>
                    <a:pt x="70677" y="1830"/>
                    <a:pt x="68105" y="2401"/>
                    <a:pt x="65629" y="3068"/>
                  </a:cubicBezTo>
                  <a:cubicBezTo>
                    <a:pt x="64009" y="687"/>
                    <a:pt x="61247" y="-742"/>
                    <a:pt x="58390" y="401"/>
                  </a:cubicBezTo>
                  <a:cubicBezTo>
                    <a:pt x="27529" y="12974"/>
                    <a:pt x="192" y="59837"/>
                    <a:pt x="1" y="92603"/>
                  </a:cubicBezTo>
                  <a:cubicBezTo>
                    <a:pt x="-284" y="136227"/>
                    <a:pt x="47341" y="128893"/>
                    <a:pt x="71534" y="110224"/>
                  </a:cubicBezTo>
                  <a:cubicBezTo>
                    <a:pt x="95061" y="92317"/>
                    <a:pt x="128303" y="52122"/>
                    <a:pt x="112587" y="20308"/>
                  </a:cubicBezTo>
                  <a:close/>
                </a:path>
              </a:pathLst>
            </a:custGeom>
            <a:solidFill>
              <a:srgbClr val="B8D86A"/>
            </a:solidFill>
            <a:ln w="9525" cap="flat">
              <a:noFill/>
              <a:prstDash val="solid"/>
              <a:miter/>
            </a:ln>
          </p:spPr>
          <p:txBody>
            <a:bodyPr rtlCol="0" anchor="ctr"/>
            <a:lstStyle/>
            <a:p>
              <a:endParaRPr lang="zh-CN" altLang="en-US"/>
            </a:p>
          </p:txBody>
        </p:sp>
        <p:sp>
          <p:nvSpPr>
            <p:cNvPr id="276" name="îṧlîḑè">
              <a:extLst>
                <a:ext uri="{FF2B5EF4-FFF2-40B4-BE49-F238E27FC236}">
                  <a16:creationId xmlns:a16="http://schemas.microsoft.com/office/drawing/2014/main" id="{D0B72003-8029-4AC5-9CDD-FBC38990B2EE}"/>
                </a:ext>
              </a:extLst>
            </p:cNvPr>
            <p:cNvSpPr/>
            <p:nvPr/>
          </p:nvSpPr>
          <p:spPr>
            <a:xfrm>
              <a:off x="5906585" y="3350658"/>
              <a:ext cx="395137" cy="407877"/>
            </a:xfrm>
            <a:custGeom>
              <a:avLst/>
              <a:gdLst>
                <a:gd name="connsiteX0" fmla="*/ 82192 w 149005"/>
                <a:gd name="connsiteY0" fmla="*/ 2587 h 153809"/>
                <a:gd name="connsiteX1" fmla="*/ 76667 w 149005"/>
                <a:gd name="connsiteY1" fmla="*/ 5825 h 153809"/>
                <a:gd name="connsiteX2" fmla="*/ 50188 w 149005"/>
                <a:gd name="connsiteY2" fmla="*/ 13541 h 153809"/>
                <a:gd name="connsiteX3" fmla="*/ 6849 w 149005"/>
                <a:gd name="connsiteY3" fmla="*/ 58594 h 153809"/>
                <a:gd name="connsiteX4" fmla="*/ 47044 w 149005"/>
                <a:gd name="connsiteY4" fmla="*/ 152796 h 153809"/>
                <a:gd name="connsiteX5" fmla="*/ 146295 w 149005"/>
                <a:gd name="connsiteY5" fmla="*/ 82406 h 153809"/>
                <a:gd name="connsiteX6" fmla="*/ 82192 w 149005"/>
                <a:gd name="connsiteY6" fmla="*/ 2587 h 15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9005" h="153809">
                  <a:moveTo>
                    <a:pt x="82192" y="2587"/>
                  </a:moveTo>
                  <a:cubicBezTo>
                    <a:pt x="79905" y="3349"/>
                    <a:pt x="78096" y="4492"/>
                    <a:pt x="76667" y="5825"/>
                  </a:cubicBezTo>
                  <a:cubicBezTo>
                    <a:pt x="68285" y="6492"/>
                    <a:pt x="59713" y="8588"/>
                    <a:pt x="50188" y="13541"/>
                  </a:cubicBezTo>
                  <a:cubicBezTo>
                    <a:pt x="31519" y="23256"/>
                    <a:pt x="15517" y="39258"/>
                    <a:pt x="6849" y="58594"/>
                  </a:cubicBezTo>
                  <a:cubicBezTo>
                    <a:pt x="-9534" y="95170"/>
                    <a:pt x="3325" y="144890"/>
                    <a:pt x="47044" y="152796"/>
                  </a:cubicBezTo>
                  <a:cubicBezTo>
                    <a:pt x="90288" y="160607"/>
                    <a:pt x="134579" y="121935"/>
                    <a:pt x="146295" y="82406"/>
                  </a:cubicBezTo>
                  <a:cubicBezTo>
                    <a:pt x="158201" y="42020"/>
                    <a:pt x="129817" y="-12558"/>
                    <a:pt x="82192" y="2587"/>
                  </a:cubicBezTo>
                  <a:close/>
                </a:path>
              </a:pathLst>
            </a:custGeom>
            <a:solidFill>
              <a:srgbClr val="B8D86A"/>
            </a:solidFill>
            <a:ln w="9525" cap="flat">
              <a:noFill/>
              <a:prstDash val="solid"/>
              <a:miter/>
            </a:ln>
          </p:spPr>
          <p:txBody>
            <a:bodyPr rtlCol="0" anchor="ctr"/>
            <a:lstStyle/>
            <a:p>
              <a:endParaRPr lang="zh-CN" altLang="en-US"/>
            </a:p>
          </p:txBody>
        </p:sp>
        <p:sp>
          <p:nvSpPr>
            <p:cNvPr id="277" name="iśļïḓè">
              <a:extLst>
                <a:ext uri="{FF2B5EF4-FFF2-40B4-BE49-F238E27FC236}">
                  <a16:creationId xmlns:a16="http://schemas.microsoft.com/office/drawing/2014/main" id="{A377C3DB-A405-48CE-A628-EB2E78A651C6}"/>
                </a:ext>
              </a:extLst>
            </p:cNvPr>
            <p:cNvSpPr/>
            <p:nvPr/>
          </p:nvSpPr>
          <p:spPr>
            <a:xfrm>
              <a:off x="6415290" y="2539776"/>
              <a:ext cx="248979" cy="239023"/>
            </a:xfrm>
            <a:custGeom>
              <a:avLst/>
              <a:gdLst>
                <a:gd name="connsiteX0" fmla="*/ 89814 w 93889"/>
                <a:gd name="connsiteY0" fmla="*/ 24904 h 90135"/>
                <a:gd name="connsiteX1" fmla="*/ 51714 w 93889"/>
                <a:gd name="connsiteY1" fmla="*/ 1854 h 90135"/>
                <a:gd name="connsiteX2" fmla="*/ 19043 w 93889"/>
                <a:gd name="connsiteY2" fmla="*/ 6330 h 90135"/>
                <a:gd name="connsiteX3" fmla="*/ 89 w 93889"/>
                <a:gd name="connsiteY3" fmla="*/ 39477 h 90135"/>
                <a:gd name="connsiteX4" fmla="*/ 53810 w 93889"/>
                <a:gd name="connsiteY4" fmla="*/ 89484 h 90135"/>
                <a:gd name="connsiteX5" fmla="*/ 89814 w 93889"/>
                <a:gd name="connsiteY5" fmla="*/ 24904 h 9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889" h="90135">
                  <a:moveTo>
                    <a:pt x="89814" y="24904"/>
                  </a:moveTo>
                  <a:cubicBezTo>
                    <a:pt x="82956" y="10140"/>
                    <a:pt x="66859" y="1282"/>
                    <a:pt x="51714" y="1854"/>
                  </a:cubicBezTo>
                  <a:cubicBezTo>
                    <a:pt x="40474" y="-1004"/>
                    <a:pt x="29997" y="-1290"/>
                    <a:pt x="19043" y="6330"/>
                  </a:cubicBezTo>
                  <a:cubicBezTo>
                    <a:pt x="8185" y="13855"/>
                    <a:pt x="946" y="26333"/>
                    <a:pt x="89" y="39477"/>
                  </a:cubicBezTo>
                  <a:cubicBezTo>
                    <a:pt x="-1721" y="68529"/>
                    <a:pt x="24473" y="94627"/>
                    <a:pt x="53810" y="89484"/>
                  </a:cubicBezTo>
                  <a:cubicBezTo>
                    <a:pt x="83242" y="84340"/>
                    <a:pt x="102768" y="52908"/>
                    <a:pt x="89814" y="24904"/>
                  </a:cubicBezTo>
                  <a:close/>
                </a:path>
              </a:pathLst>
            </a:custGeom>
            <a:solidFill>
              <a:srgbClr val="B8D86A"/>
            </a:solidFill>
            <a:ln w="9525" cap="flat">
              <a:noFill/>
              <a:prstDash val="solid"/>
              <a:miter/>
            </a:ln>
          </p:spPr>
          <p:txBody>
            <a:bodyPr rtlCol="0" anchor="ctr"/>
            <a:lstStyle/>
            <a:p>
              <a:endParaRPr lang="zh-CN" altLang="en-US"/>
            </a:p>
          </p:txBody>
        </p:sp>
        <p:sp>
          <p:nvSpPr>
            <p:cNvPr id="278" name="íś1ïḍé">
              <a:extLst>
                <a:ext uri="{FF2B5EF4-FFF2-40B4-BE49-F238E27FC236}">
                  <a16:creationId xmlns:a16="http://schemas.microsoft.com/office/drawing/2014/main" id="{A377076F-AE28-423A-8162-78977B550A3E}"/>
                </a:ext>
              </a:extLst>
            </p:cNvPr>
            <p:cNvSpPr/>
            <p:nvPr/>
          </p:nvSpPr>
          <p:spPr>
            <a:xfrm>
              <a:off x="6838529" y="3975219"/>
              <a:ext cx="223181" cy="254163"/>
            </a:xfrm>
            <a:custGeom>
              <a:avLst/>
              <a:gdLst>
                <a:gd name="connsiteX0" fmla="*/ 64229 w 84161"/>
                <a:gd name="connsiteY0" fmla="*/ 2239 h 95844"/>
                <a:gd name="connsiteX1" fmla="*/ 47751 w 84161"/>
                <a:gd name="connsiteY1" fmla="*/ 620 h 95844"/>
                <a:gd name="connsiteX2" fmla="*/ 5174 w 84161"/>
                <a:gd name="connsiteY2" fmla="*/ 89393 h 95844"/>
                <a:gd name="connsiteX3" fmla="*/ 16223 w 84161"/>
                <a:gd name="connsiteY3" fmla="*/ 95774 h 95844"/>
                <a:gd name="connsiteX4" fmla="*/ 84041 w 84161"/>
                <a:gd name="connsiteY4" fmla="*/ 39672 h 95844"/>
                <a:gd name="connsiteX5" fmla="*/ 64229 w 84161"/>
                <a:gd name="connsiteY5" fmla="*/ 2239 h 9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161" h="95844">
                  <a:moveTo>
                    <a:pt x="64229" y="2239"/>
                  </a:moveTo>
                  <a:cubicBezTo>
                    <a:pt x="58514" y="-142"/>
                    <a:pt x="52894" y="-523"/>
                    <a:pt x="47751" y="620"/>
                  </a:cubicBezTo>
                  <a:cubicBezTo>
                    <a:pt x="8984" y="1096"/>
                    <a:pt x="-9876" y="58151"/>
                    <a:pt x="5174" y="89393"/>
                  </a:cubicBezTo>
                  <a:cubicBezTo>
                    <a:pt x="7174" y="93489"/>
                    <a:pt x="11937" y="95584"/>
                    <a:pt x="16223" y="95774"/>
                  </a:cubicBezTo>
                  <a:cubicBezTo>
                    <a:pt x="48799" y="97299"/>
                    <a:pt x="81850" y="73772"/>
                    <a:pt x="84041" y="39672"/>
                  </a:cubicBezTo>
                  <a:cubicBezTo>
                    <a:pt x="85089" y="24147"/>
                    <a:pt x="79374" y="8526"/>
                    <a:pt x="64229" y="2239"/>
                  </a:cubicBezTo>
                  <a:close/>
                </a:path>
              </a:pathLst>
            </a:custGeom>
            <a:solidFill>
              <a:srgbClr val="B8D86A"/>
            </a:solidFill>
            <a:ln w="9525" cap="flat">
              <a:noFill/>
              <a:prstDash val="solid"/>
              <a:miter/>
            </a:ln>
          </p:spPr>
          <p:txBody>
            <a:bodyPr rtlCol="0" anchor="ctr"/>
            <a:lstStyle/>
            <a:p>
              <a:endParaRPr lang="zh-CN" altLang="en-US"/>
            </a:p>
          </p:txBody>
        </p:sp>
        <p:sp>
          <p:nvSpPr>
            <p:cNvPr id="279" name="îśľïḓê">
              <a:extLst>
                <a:ext uri="{FF2B5EF4-FFF2-40B4-BE49-F238E27FC236}">
                  <a16:creationId xmlns:a16="http://schemas.microsoft.com/office/drawing/2014/main" id="{29CAE052-76E1-4612-9CC1-DD8952503E78}"/>
                </a:ext>
              </a:extLst>
            </p:cNvPr>
            <p:cNvSpPr/>
            <p:nvPr/>
          </p:nvSpPr>
          <p:spPr>
            <a:xfrm>
              <a:off x="5417753" y="4054894"/>
              <a:ext cx="267995" cy="257724"/>
            </a:xfrm>
            <a:custGeom>
              <a:avLst/>
              <a:gdLst>
                <a:gd name="connsiteX0" fmla="*/ 97270 w 101060"/>
                <a:gd name="connsiteY0" fmla="*/ 30582 h 97187"/>
                <a:gd name="connsiteX1" fmla="*/ 41454 w 101060"/>
                <a:gd name="connsiteY1" fmla="*/ 2007 h 97187"/>
                <a:gd name="connsiteX2" fmla="*/ 33262 w 101060"/>
                <a:gd name="connsiteY2" fmla="*/ 7 h 97187"/>
                <a:gd name="connsiteX3" fmla="*/ 15165 w 101060"/>
                <a:gd name="connsiteY3" fmla="*/ 7627 h 97187"/>
                <a:gd name="connsiteX4" fmla="*/ 115 w 101060"/>
                <a:gd name="connsiteY4" fmla="*/ 46870 h 97187"/>
                <a:gd name="connsiteX5" fmla="*/ 60123 w 101060"/>
                <a:gd name="connsiteY5" fmla="*/ 96019 h 97187"/>
                <a:gd name="connsiteX6" fmla="*/ 97270 w 101060"/>
                <a:gd name="connsiteY6" fmla="*/ 30582 h 9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060" h="97187">
                  <a:moveTo>
                    <a:pt x="97270" y="30582"/>
                  </a:moveTo>
                  <a:cubicBezTo>
                    <a:pt x="88221" y="10961"/>
                    <a:pt x="61361" y="-5898"/>
                    <a:pt x="41454" y="2007"/>
                  </a:cubicBezTo>
                  <a:cubicBezTo>
                    <a:pt x="39263" y="769"/>
                    <a:pt x="36691" y="-88"/>
                    <a:pt x="33262" y="7"/>
                  </a:cubicBezTo>
                  <a:cubicBezTo>
                    <a:pt x="26785" y="102"/>
                    <a:pt x="19927" y="3436"/>
                    <a:pt x="15165" y="7627"/>
                  </a:cubicBezTo>
                  <a:cubicBezTo>
                    <a:pt x="4115" y="17343"/>
                    <a:pt x="-837" y="32487"/>
                    <a:pt x="115" y="46870"/>
                  </a:cubicBezTo>
                  <a:cubicBezTo>
                    <a:pt x="2115" y="77160"/>
                    <a:pt x="28976" y="103068"/>
                    <a:pt x="60123" y="96019"/>
                  </a:cubicBezTo>
                  <a:cubicBezTo>
                    <a:pt x="88412" y="89733"/>
                    <a:pt x="110129" y="58681"/>
                    <a:pt x="97270" y="30582"/>
                  </a:cubicBezTo>
                  <a:close/>
                </a:path>
              </a:pathLst>
            </a:custGeom>
            <a:solidFill>
              <a:srgbClr val="B8D86A"/>
            </a:solidFill>
            <a:ln w="9525" cap="flat">
              <a:noFill/>
              <a:prstDash val="solid"/>
              <a:miter/>
            </a:ln>
          </p:spPr>
          <p:txBody>
            <a:bodyPr rtlCol="0" anchor="ctr"/>
            <a:lstStyle/>
            <a:p>
              <a:endParaRPr lang="zh-CN" altLang="en-US"/>
            </a:p>
          </p:txBody>
        </p:sp>
        <p:grpSp>
          <p:nvGrpSpPr>
            <p:cNvPr id="280" name="ïṥliḑè">
              <a:extLst>
                <a:ext uri="{FF2B5EF4-FFF2-40B4-BE49-F238E27FC236}">
                  <a16:creationId xmlns:a16="http://schemas.microsoft.com/office/drawing/2014/main" id="{0B953BD7-AB78-489B-9D04-80703C31286E}"/>
                </a:ext>
              </a:extLst>
            </p:cNvPr>
            <p:cNvGrpSpPr/>
            <p:nvPr/>
          </p:nvGrpSpPr>
          <p:grpSpPr>
            <a:xfrm>
              <a:off x="4078553" y="1395717"/>
              <a:ext cx="4030077" cy="4047764"/>
              <a:chOff x="5393614" y="1710231"/>
              <a:chExt cx="1519729" cy="1526399"/>
            </a:xfrm>
            <a:solidFill>
              <a:srgbClr val="8AB229"/>
            </a:solidFill>
          </p:grpSpPr>
          <p:sp>
            <p:nvSpPr>
              <p:cNvPr id="281" name="ïṧľïde">
                <a:extLst>
                  <a:ext uri="{FF2B5EF4-FFF2-40B4-BE49-F238E27FC236}">
                    <a16:creationId xmlns:a16="http://schemas.microsoft.com/office/drawing/2014/main" id="{92ED1A35-0E1B-4940-8C5E-9BDFEEAE808A}"/>
                  </a:ext>
                </a:extLst>
              </p:cNvPr>
              <p:cNvSpPr/>
              <p:nvPr/>
            </p:nvSpPr>
            <p:spPr>
              <a:xfrm>
                <a:off x="6121917" y="2053574"/>
                <a:ext cx="53003" cy="53655"/>
              </a:xfrm>
              <a:custGeom>
                <a:avLst/>
                <a:gdLst>
                  <a:gd name="connsiteX0" fmla="*/ 50187 w 53003"/>
                  <a:gd name="connsiteY0" fmla="*/ 36306 h 53655"/>
                  <a:gd name="connsiteX1" fmla="*/ 42377 w 53003"/>
                  <a:gd name="connsiteY1" fmla="*/ 4873 h 53655"/>
                  <a:gd name="connsiteX2" fmla="*/ 35519 w 53003"/>
                  <a:gd name="connsiteY2" fmla="*/ 111 h 53655"/>
                  <a:gd name="connsiteX3" fmla="*/ 31042 w 53003"/>
                  <a:gd name="connsiteY3" fmla="*/ 206 h 53655"/>
                  <a:gd name="connsiteX4" fmla="*/ 16660 w 53003"/>
                  <a:gd name="connsiteY4" fmla="*/ 3063 h 53655"/>
                  <a:gd name="connsiteX5" fmla="*/ 7420 w 53003"/>
                  <a:gd name="connsiteY5" fmla="*/ 9350 h 53655"/>
                  <a:gd name="connsiteX6" fmla="*/ 1515 w 53003"/>
                  <a:gd name="connsiteY6" fmla="*/ 37258 h 53655"/>
                  <a:gd name="connsiteX7" fmla="*/ 23803 w 53003"/>
                  <a:gd name="connsiteY7" fmla="*/ 53641 h 53655"/>
                  <a:gd name="connsiteX8" fmla="*/ 50187 w 53003"/>
                  <a:gd name="connsiteY8" fmla="*/ 36306 h 5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003" h="53655">
                    <a:moveTo>
                      <a:pt x="50187" y="36306"/>
                    </a:moveTo>
                    <a:cubicBezTo>
                      <a:pt x="56474" y="24209"/>
                      <a:pt x="51521" y="11541"/>
                      <a:pt x="42377" y="4873"/>
                    </a:cubicBezTo>
                    <a:cubicBezTo>
                      <a:pt x="41044" y="2301"/>
                      <a:pt x="38662" y="301"/>
                      <a:pt x="35519" y="111"/>
                    </a:cubicBezTo>
                    <a:cubicBezTo>
                      <a:pt x="33995" y="15"/>
                      <a:pt x="32566" y="111"/>
                      <a:pt x="31042" y="206"/>
                    </a:cubicBezTo>
                    <a:cubicBezTo>
                      <a:pt x="26375" y="-461"/>
                      <a:pt x="21422" y="492"/>
                      <a:pt x="16660" y="3063"/>
                    </a:cubicBezTo>
                    <a:cubicBezTo>
                      <a:pt x="13230" y="4492"/>
                      <a:pt x="10087" y="6397"/>
                      <a:pt x="7420" y="9350"/>
                    </a:cubicBezTo>
                    <a:cubicBezTo>
                      <a:pt x="658" y="17065"/>
                      <a:pt x="-1914" y="27447"/>
                      <a:pt x="1515" y="37258"/>
                    </a:cubicBezTo>
                    <a:cubicBezTo>
                      <a:pt x="4944" y="46783"/>
                      <a:pt x="13326" y="54022"/>
                      <a:pt x="23803" y="53641"/>
                    </a:cubicBezTo>
                    <a:cubicBezTo>
                      <a:pt x="34376" y="53355"/>
                      <a:pt x="45425" y="45450"/>
                      <a:pt x="50187" y="36306"/>
                    </a:cubicBezTo>
                    <a:close/>
                  </a:path>
                </a:pathLst>
              </a:custGeom>
              <a:solidFill>
                <a:srgbClr val="8AB229"/>
              </a:solidFill>
              <a:ln w="9525" cap="flat">
                <a:noFill/>
                <a:prstDash val="solid"/>
                <a:miter/>
              </a:ln>
            </p:spPr>
            <p:txBody>
              <a:bodyPr rtlCol="0" anchor="ctr"/>
              <a:lstStyle/>
              <a:p>
                <a:endParaRPr lang="zh-CN" altLang="en-US"/>
              </a:p>
            </p:txBody>
          </p:sp>
          <p:sp>
            <p:nvSpPr>
              <p:cNvPr id="282" name="isḷiḑê">
                <a:extLst>
                  <a:ext uri="{FF2B5EF4-FFF2-40B4-BE49-F238E27FC236}">
                    <a16:creationId xmlns:a16="http://schemas.microsoft.com/office/drawing/2014/main" id="{8BBAAB2C-4518-4557-B88C-0EE1E00D6AA7}"/>
                  </a:ext>
                </a:extLst>
              </p:cNvPr>
              <p:cNvSpPr/>
              <p:nvPr/>
            </p:nvSpPr>
            <p:spPr>
              <a:xfrm>
                <a:off x="5767104" y="2510896"/>
                <a:ext cx="92224" cy="108237"/>
              </a:xfrm>
              <a:custGeom>
                <a:avLst/>
                <a:gdLst>
                  <a:gd name="connsiteX0" fmla="*/ 51051 w 92224"/>
                  <a:gd name="connsiteY0" fmla="*/ 6752 h 108237"/>
                  <a:gd name="connsiteX1" fmla="*/ 42764 w 92224"/>
                  <a:gd name="connsiteY1" fmla="*/ 180 h 108237"/>
                  <a:gd name="connsiteX2" fmla="*/ 14761 w 92224"/>
                  <a:gd name="connsiteY2" fmla="*/ 98668 h 108237"/>
                  <a:gd name="connsiteX3" fmla="*/ 90104 w 92224"/>
                  <a:gd name="connsiteY3" fmla="*/ 31803 h 108237"/>
                  <a:gd name="connsiteX4" fmla="*/ 51051 w 92224"/>
                  <a:gd name="connsiteY4" fmla="*/ 6752 h 108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24" h="108237">
                    <a:moveTo>
                      <a:pt x="51051" y="6752"/>
                    </a:moveTo>
                    <a:cubicBezTo>
                      <a:pt x="51051" y="2847"/>
                      <a:pt x="48003" y="-868"/>
                      <a:pt x="42764" y="180"/>
                    </a:cubicBezTo>
                    <a:cubicBezTo>
                      <a:pt x="3521" y="7895"/>
                      <a:pt x="-15148" y="71331"/>
                      <a:pt x="14761" y="98668"/>
                    </a:cubicBezTo>
                    <a:cubicBezTo>
                      <a:pt x="51718" y="132482"/>
                      <a:pt x="103343" y="68664"/>
                      <a:pt x="90104" y="31803"/>
                    </a:cubicBezTo>
                    <a:cubicBezTo>
                      <a:pt x="84389" y="15705"/>
                      <a:pt x="67625" y="6847"/>
                      <a:pt x="51051" y="6752"/>
                    </a:cubicBezTo>
                    <a:close/>
                  </a:path>
                </a:pathLst>
              </a:custGeom>
              <a:solidFill>
                <a:srgbClr val="8AB229"/>
              </a:solidFill>
              <a:ln w="9525" cap="flat">
                <a:noFill/>
                <a:prstDash val="solid"/>
                <a:miter/>
              </a:ln>
            </p:spPr>
            <p:txBody>
              <a:bodyPr rtlCol="0" anchor="ctr"/>
              <a:lstStyle/>
              <a:p>
                <a:endParaRPr lang="zh-CN" altLang="en-US"/>
              </a:p>
            </p:txBody>
          </p:sp>
          <p:sp>
            <p:nvSpPr>
              <p:cNvPr id="283" name="îślíďe">
                <a:extLst>
                  <a:ext uri="{FF2B5EF4-FFF2-40B4-BE49-F238E27FC236}">
                    <a16:creationId xmlns:a16="http://schemas.microsoft.com/office/drawing/2014/main" id="{A77DCE13-8EF1-4FE4-A2F0-D780D970F805}"/>
                  </a:ext>
                </a:extLst>
              </p:cNvPr>
              <p:cNvSpPr/>
              <p:nvPr/>
            </p:nvSpPr>
            <p:spPr>
              <a:xfrm>
                <a:off x="6181714" y="2762201"/>
                <a:ext cx="94646" cy="97918"/>
              </a:xfrm>
              <a:custGeom>
                <a:avLst/>
                <a:gdLst>
                  <a:gd name="connsiteX0" fmla="*/ 62304 w 94646"/>
                  <a:gd name="connsiteY0" fmla="*/ 525 h 97918"/>
                  <a:gd name="connsiteX1" fmla="*/ 48397 w 94646"/>
                  <a:gd name="connsiteY1" fmla="*/ 715 h 97918"/>
                  <a:gd name="connsiteX2" fmla="*/ 12584 w 94646"/>
                  <a:gd name="connsiteY2" fmla="*/ 23861 h 97918"/>
                  <a:gd name="connsiteX3" fmla="*/ 3249 w 94646"/>
                  <a:gd name="connsiteY3" fmla="*/ 40625 h 97918"/>
                  <a:gd name="connsiteX4" fmla="*/ 25823 w 94646"/>
                  <a:gd name="connsiteY4" fmla="*/ 95584 h 97918"/>
                  <a:gd name="connsiteX5" fmla="*/ 28300 w 94646"/>
                  <a:gd name="connsiteY5" fmla="*/ 95680 h 97918"/>
                  <a:gd name="connsiteX6" fmla="*/ 34396 w 94646"/>
                  <a:gd name="connsiteY6" fmla="*/ 97204 h 97918"/>
                  <a:gd name="connsiteX7" fmla="*/ 62304 w 94646"/>
                  <a:gd name="connsiteY7" fmla="*/ 525 h 9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646" h="97918">
                    <a:moveTo>
                      <a:pt x="62304" y="525"/>
                    </a:moveTo>
                    <a:cubicBezTo>
                      <a:pt x="57542" y="-332"/>
                      <a:pt x="52969" y="-47"/>
                      <a:pt x="48397" y="715"/>
                    </a:cubicBezTo>
                    <a:cubicBezTo>
                      <a:pt x="35158" y="-2523"/>
                      <a:pt x="21442" y="8335"/>
                      <a:pt x="12584" y="23861"/>
                    </a:cubicBezTo>
                    <a:cubicBezTo>
                      <a:pt x="8678" y="29100"/>
                      <a:pt x="5440" y="34815"/>
                      <a:pt x="3249" y="40625"/>
                    </a:cubicBezTo>
                    <a:cubicBezTo>
                      <a:pt x="-4276" y="60247"/>
                      <a:pt x="487" y="92251"/>
                      <a:pt x="25823" y="95584"/>
                    </a:cubicBezTo>
                    <a:cubicBezTo>
                      <a:pt x="26680" y="95680"/>
                      <a:pt x="27443" y="95680"/>
                      <a:pt x="28300" y="95680"/>
                    </a:cubicBezTo>
                    <a:cubicBezTo>
                      <a:pt x="30205" y="96251"/>
                      <a:pt x="32205" y="96823"/>
                      <a:pt x="34396" y="97204"/>
                    </a:cubicBezTo>
                    <a:cubicBezTo>
                      <a:pt x="89736" y="107110"/>
                      <a:pt x="122788" y="10907"/>
                      <a:pt x="62304" y="525"/>
                    </a:cubicBezTo>
                    <a:close/>
                  </a:path>
                </a:pathLst>
              </a:custGeom>
              <a:solidFill>
                <a:srgbClr val="8AB229"/>
              </a:solidFill>
              <a:ln w="9525" cap="flat">
                <a:noFill/>
                <a:prstDash val="solid"/>
                <a:miter/>
              </a:ln>
            </p:spPr>
            <p:txBody>
              <a:bodyPr rtlCol="0" anchor="ctr"/>
              <a:lstStyle/>
              <a:p>
                <a:endParaRPr lang="zh-CN" altLang="en-US"/>
              </a:p>
            </p:txBody>
          </p:sp>
          <p:sp>
            <p:nvSpPr>
              <p:cNvPr id="284" name="ï$liḋê">
                <a:extLst>
                  <a:ext uri="{FF2B5EF4-FFF2-40B4-BE49-F238E27FC236}">
                    <a16:creationId xmlns:a16="http://schemas.microsoft.com/office/drawing/2014/main" id="{E68AE33B-652A-47B2-83FF-9F8E6A96E29A}"/>
                  </a:ext>
                </a:extLst>
              </p:cNvPr>
              <p:cNvSpPr/>
              <p:nvPr/>
            </p:nvSpPr>
            <p:spPr>
              <a:xfrm>
                <a:off x="6449797" y="2404006"/>
                <a:ext cx="101451" cy="115832"/>
              </a:xfrm>
              <a:custGeom>
                <a:avLst/>
                <a:gdLst>
                  <a:gd name="connsiteX0" fmla="*/ 62826 w 101451"/>
                  <a:gd name="connsiteY0" fmla="*/ 1723 h 115832"/>
                  <a:gd name="connsiteX1" fmla="*/ 58349 w 101451"/>
                  <a:gd name="connsiteY1" fmla="*/ 8 h 115832"/>
                  <a:gd name="connsiteX2" fmla="*/ 1294 w 101451"/>
                  <a:gd name="connsiteY2" fmla="*/ 51634 h 115832"/>
                  <a:gd name="connsiteX3" fmla="*/ 38823 w 101451"/>
                  <a:gd name="connsiteY3" fmla="*/ 115451 h 115832"/>
                  <a:gd name="connsiteX4" fmla="*/ 88353 w 101451"/>
                  <a:gd name="connsiteY4" fmla="*/ 84495 h 115832"/>
                  <a:gd name="connsiteX5" fmla="*/ 97973 w 101451"/>
                  <a:gd name="connsiteY5" fmla="*/ 25916 h 115832"/>
                  <a:gd name="connsiteX6" fmla="*/ 62826 w 101451"/>
                  <a:gd name="connsiteY6" fmla="*/ 1723 h 115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51" h="115832">
                    <a:moveTo>
                      <a:pt x="62826" y="1723"/>
                    </a:moveTo>
                    <a:cubicBezTo>
                      <a:pt x="61778" y="675"/>
                      <a:pt x="60349" y="-87"/>
                      <a:pt x="58349" y="8"/>
                    </a:cubicBezTo>
                    <a:cubicBezTo>
                      <a:pt x="26821" y="2770"/>
                      <a:pt x="7771" y="19630"/>
                      <a:pt x="1294" y="51634"/>
                    </a:cubicBezTo>
                    <a:cubicBezTo>
                      <a:pt x="-4230" y="79161"/>
                      <a:pt x="7867" y="111165"/>
                      <a:pt x="38823" y="115451"/>
                    </a:cubicBezTo>
                    <a:cubicBezTo>
                      <a:pt x="60254" y="118404"/>
                      <a:pt x="78256" y="103831"/>
                      <a:pt x="88353" y="84495"/>
                    </a:cubicBezTo>
                    <a:cubicBezTo>
                      <a:pt x="100545" y="67636"/>
                      <a:pt x="105307" y="43156"/>
                      <a:pt x="97973" y="25916"/>
                    </a:cubicBezTo>
                    <a:cubicBezTo>
                      <a:pt x="91877" y="11819"/>
                      <a:pt x="78542" y="1532"/>
                      <a:pt x="62826" y="1723"/>
                    </a:cubicBezTo>
                    <a:close/>
                  </a:path>
                </a:pathLst>
              </a:custGeom>
              <a:solidFill>
                <a:srgbClr val="8AB229"/>
              </a:solidFill>
              <a:ln w="9525" cap="flat">
                <a:noFill/>
                <a:prstDash val="solid"/>
                <a:miter/>
              </a:ln>
            </p:spPr>
            <p:txBody>
              <a:bodyPr rtlCol="0" anchor="ctr"/>
              <a:lstStyle/>
              <a:p>
                <a:endParaRPr lang="zh-CN" altLang="en-US"/>
              </a:p>
            </p:txBody>
          </p:sp>
          <p:sp>
            <p:nvSpPr>
              <p:cNvPr id="285" name="íṧ1iḑê">
                <a:extLst>
                  <a:ext uri="{FF2B5EF4-FFF2-40B4-BE49-F238E27FC236}">
                    <a16:creationId xmlns:a16="http://schemas.microsoft.com/office/drawing/2014/main" id="{6B17C2F2-DA03-4B2F-BCCB-6F1B1B497292}"/>
                  </a:ext>
                </a:extLst>
              </p:cNvPr>
              <p:cNvSpPr/>
              <p:nvPr/>
            </p:nvSpPr>
            <p:spPr>
              <a:xfrm>
                <a:off x="5590168" y="1929884"/>
                <a:ext cx="37962" cy="31243"/>
              </a:xfrm>
              <a:custGeom>
                <a:avLst/>
                <a:gdLst>
                  <a:gd name="connsiteX0" fmla="*/ 37773 w 37962"/>
                  <a:gd name="connsiteY0" fmla="*/ 5024 h 31243"/>
                  <a:gd name="connsiteX1" fmla="*/ 30916 w 37962"/>
                  <a:gd name="connsiteY1" fmla="*/ 1023 h 31243"/>
                  <a:gd name="connsiteX2" fmla="*/ 4817 w 37962"/>
                  <a:gd name="connsiteY2" fmla="*/ 17692 h 31243"/>
                  <a:gd name="connsiteX3" fmla="*/ 8436 w 37962"/>
                  <a:gd name="connsiteY3" fmla="*/ 30836 h 31243"/>
                  <a:gd name="connsiteX4" fmla="*/ 37773 w 37962"/>
                  <a:gd name="connsiteY4" fmla="*/ 5024 h 31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62" h="31243">
                    <a:moveTo>
                      <a:pt x="37773" y="5024"/>
                    </a:moveTo>
                    <a:cubicBezTo>
                      <a:pt x="39012" y="833"/>
                      <a:pt x="33868" y="-1453"/>
                      <a:pt x="30916" y="1023"/>
                    </a:cubicBezTo>
                    <a:cubicBezTo>
                      <a:pt x="22629" y="8167"/>
                      <a:pt x="15866" y="15025"/>
                      <a:pt x="4817" y="17692"/>
                    </a:cubicBezTo>
                    <a:cubicBezTo>
                      <a:pt x="-3756" y="19787"/>
                      <a:pt x="150" y="33789"/>
                      <a:pt x="8436" y="30836"/>
                    </a:cubicBezTo>
                    <a:cubicBezTo>
                      <a:pt x="20628" y="26645"/>
                      <a:pt x="33868" y="17978"/>
                      <a:pt x="37773" y="5024"/>
                    </a:cubicBezTo>
                    <a:close/>
                  </a:path>
                </a:pathLst>
              </a:custGeom>
              <a:solidFill>
                <a:srgbClr val="8AB229"/>
              </a:solidFill>
              <a:ln w="9525" cap="flat">
                <a:noFill/>
                <a:prstDash val="solid"/>
                <a:miter/>
              </a:ln>
            </p:spPr>
            <p:txBody>
              <a:bodyPr rtlCol="0" anchor="ctr"/>
              <a:lstStyle/>
              <a:p>
                <a:endParaRPr lang="zh-CN" altLang="en-US"/>
              </a:p>
            </p:txBody>
          </p:sp>
          <p:sp>
            <p:nvSpPr>
              <p:cNvPr id="286" name="išḷidê">
                <a:extLst>
                  <a:ext uri="{FF2B5EF4-FFF2-40B4-BE49-F238E27FC236}">
                    <a16:creationId xmlns:a16="http://schemas.microsoft.com/office/drawing/2014/main" id="{C7E38677-1891-485E-B726-966290C028EF}"/>
                  </a:ext>
                </a:extLst>
              </p:cNvPr>
              <p:cNvSpPr/>
              <p:nvPr/>
            </p:nvSpPr>
            <p:spPr>
              <a:xfrm>
                <a:off x="5646802" y="1976347"/>
                <a:ext cx="27433" cy="22020"/>
              </a:xfrm>
              <a:custGeom>
                <a:avLst/>
                <a:gdLst>
                  <a:gd name="connsiteX0" fmla="*/ 27335 w 27433"/>
                  <a:gd name="connsiteY0" fmla="*/ 7615 h 22020"/>
                  <a:gd name="connsiteX1" fmla="*/ 23240 w 27433"/>
                  <a:gd name="connsiteY1" fmla="*/ 471 h 22020"/>
                  <a:gd name="connsiteX2" fmla="*/ 12095 w 27433"/>
                  <a:gd name="connsiteY2" fmla="*/ 3614 h 22020"/>
                  <a:gd name="connsiteX3" fmla="*/ 3237 w 27433"/>
                  <a:gd name="connsiteY3" fmla="*/ 9234 h 22020"/>
                  <a:gd name="connsiteX4" fmla="*/ 10095 w 27433"/>
                  <a:gd name="connsiteY4" fmla="*/ 21045 h 22020"/>
                  <a:gd name="connsiteX5" fmla="*/ 19239 w 27433"/>
                  <a:gd name="connsiteY5" fmla="*/ 15806 h 22020"/>
                  <a:gd name="connsiteX6" fmla="*/ 27335 w 27433"/>
                  <a:gd name="connsiteY6" fmla="*/ 7615 h 22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33" h="22020">
                    <a:moveTo>
                      <a:pt x="27335" y="7615"/>
                    </a:moveTo>
                    <a:cubicBezTo>
                      <a:pt x="27812" y="4281"/>
                      <a:pt x="26573" y="1614"/>
                      <a:pt x="23240" y="471"/>
                    </a:cubicBezTo>
                    <a:cubicBezTo>
                      <a:pt x="18953" y="-1053"/>
                      <a:pt x="15524" y="1423"/>
                      <a:pt x="12095" y="3614"/>
                    </a:cubicBezTo>
                    <a:cubicBezTo>
                      <a:pt x="9142" y="5519"/>
                      <a:pt x="6190" y="7424"/>
                      <a:pt x="3237" y="9234"/>
                    </a:cubicBezTo>
                    <a:cubicBezTo>
                      <a:pt x="-4192" y="13901"/>
                      <a:pt x="2475" y="25426"/>
                      <a:pt x="10095" y="21045"/>
                    </a:cubicBezTo>
                    <a:cubicBezTo>
                      <a:pt x="13143" y="19330"/>
                      <a:pt x="16191" y="17521"/>
                      <a:pt x="19239" y="15806"/>
                    </a:cubicBezTo>
                    <a:cubicBezTo>
                      <a:pt x="22668" y="13901"/>
                      <a:pt x="26764" y="11901"/>
                      <a:pt x="27335" y="7615"/>
                    </a:cubicBezTo>
                    <a:close/>
                  </a:path>
                </a:pathLst>
              </a:custGeom>
              <a:solidFill>
                <a:srgbClr val="8AB229"/>
              </a:solidFill>
              <a:ln w="9525" cap="flat">
                <a:noFill/>
                <a:prstDash val="solid"/>
                <a:miter/>
              </a:ln>
            </p:spPr>
            <p:txBody>
              <a:bodyPr rtlCol="0" anchor="ctr"/>
              <a:lstStyle/>
              <a:p>
                <a:endParaRPr lang="zh-CN" altLang="en-US"/>
              </a:p>
            </p:txBody>
          </p:sp>
          <p:sp>
            <p:nvSpPr>
              <p:cNvPr id="287" name="ïṣliďè">
                <a:extLst>
                  <a:ext uri="{FF2B5EF4-FFF2-40B4-BE49-F238E27FC236}">
                    <a16:creationId xmlns:a16="http://schemas.microsoft.com/office/drawing/2014/main" id="{5F475E7C-0BDA-4EBD-8857-ACED4EC8EBA0}"/>
                  </a:ext>
                </a:extLst>
              </p:cNvPr>
              <p:cNvSpPr/>
              <p:nvPr/>
            </p:nvSpPr>
            <p:spPr>
              <a:xfrm>
                <a:off x="5692083" y="2023831"/>
                <a:ext cx="34035" cy="26537"/>
              </a:xfrm>
              <a:custGeom>
                <a:avLst/>
                <a:gdLst>
                  <a:gd name="connsiteX0" fmla="*/ 33489 w 34035"/>
                  <a:gd name="connsiteY0" fmla="*/ 5565 h 26537"/>
                  <a:gd name="connsiteX1" fmla="*/ 28346 w 34035"/>
                  <a:gd name="connsiteY1" fmla="*/ 421 h 26537"/>
                  <a:gd name="connsiteX2" fmla="*/ 3486 w 34035"/>
                  <a:gd name="connsiteY2" fmla="*/ 13852 h 26537"/>
                  <a:gd name="connsiteX3" fmla="*/ 10344 w 34035"/>
                  <a:gd name="connsiteY3" fmla="*/ 25663 h 26537"/>
                  <a:gd name="connsiteX4" fmla="*/ 33489 w 34035"/>
                  <a:gd name="connsiteY4" fmla="*/ 5565 h 26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35" h="26537">
                    <a:moveTo>
                      <a:pt x="33489" y="5565"/>
                    </a:moveTo>
                    <a:cubicBezTo>
                      <a:pt x="35490" y="2136"/>
                      <a:pt x="31585" y="-1198"/>
                      <a:pt x="28346" y="421"/>
                    </a:cubicBezTo>
                    <a:cubicBezTo>
                      <a:pt x="19869" y="4612"/>
                      <a:pt x="12249" y="10137"/>
                      <a:pt x="3486" y="13852"/>
                    </a:cubicBezTo>
                    <a:cubicBezTo>
                      <a:pt x="-4420" y="17281"/>
                      <a:pt x="2533" y="29949"/>
                      <a:pt x="10344" y="25663"/>
                    </a:cubicBezTo>
                    <a:cubicBezTo>
                      <a:pt x="19678" y="20614"/>
                      <a:pt x="28251" y="14709"/>
                      <a:pt x="33489" y="5565"/>
                    </a:cubicBezTo>
                    <a:close/>
                  </a:path>
                </a:pathLst>
              </a:custGeom>
              <a:solidFill>
                <a:srgbClr val="8AB229"/>
              </a:solidFill>
              <a:ln w="9525" cap="flat">
                <a:noFill/>
                <a:prstDash val="solid"/>
                <a:miter/>
              </a:ln>
            </p:spPr>
            <p:txBody>
              <a:bodyPr rtlCol="0" anchor="ctr"/>
              <a:lstStyle/>
              <a:p>
                <a:endParaRPr lang="zh-CN" altLang="en-US"/>
              </a:p>
            </p:txBody>
          </p:sp>
          <p:sp>
            <p:nvSpPr>
              <p:cNvPr id="288" name="ïṩļíḋè">
                <a:extLst>
                  <a:ext uri="{FF2B5EF4-FFF2-40B4-BE49-F238E27FC236}">
                    <a16:creationId xmlns:a16="http://schemas.microsoft.com/office/drawing/2014/main" id="{35D934E6-A764-4926-8DEB-CF892A080D7B}"/>
                  </a:ext>
                </a:extLst>
              </p:cNvPr>
              <p:cNvSpPr/>
              <p:nvPr/>
            </p:nvSpPr>
            <p:spPr>
              <a:xfrm>
                <a:off x="5712020" y="2072019"/>
                <a:ext cx="34317" cy="26470"/>
              </a:xfrm>
              <a:custGeom>
                <a:avLst/>
                <a:gdLst>
                  <a:gd name="connsiteX0" fmla="*/ 25268 w 34317"/>
                  <a:gd name="connsiteY0" fmla="*/ 906 h 26470"/>
                  <a:gd name="connsiteX1" fmla="*/ 3266 w 34317"/>
                  <a:gd name="connsiteY1" fmla="*/ 13574 h 26470"/>
                  <a:gd name="connsiteX2" fmla="*/ 10124 w 34317"/>
                  <a:gd name="connsiteY2" fmla="*/ 25385 h 26470"/>
                  <a:gd name="connsiteX3" fmla="*/ 31459 w 34317"/>
                  <a:gd name="connsiteY3" fmla="*/ 11574 h 26470"/>
                  <a:gd name="connsiteX4" fmla="*/ 25268 w 34317"/>
                  <a:gd name="connsiteY4" fmla="*/ 906 h 26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17" h="26470">
                    <a:moveTo>
                      <a:pt x="25268" y="906"/>
                    </a:moveTo>
                    <a:cubicBezTo>
                      <a:pt x="17934" y="5097"/>
                      <a:pt x="10600" y="9288"/>
                      <a:pt x="3266" y="13574"/>
                    </a:cubicBezTo>
                    <a:cubicBezTo>
                      <a:pt x="-4354" y="17956"/>
                      <a:pt x="2789" y="30148"/>
                      <a:pt x="10124" y="25385"/>
                    </a:cubicBezTo>
                    <a:cubicBezTo>
                      <a:pt x="17267" y="20813"/>
                      <a:pt x="24316" y="16146"/>
                      <a:pt x="31459" y="11574"/>
                    </a:cubicBezTo>
                    <a:cubicBezTo>
                      <a:pt x="38032" y="7192"/>
                      <a:pt x="32126" y="-3095"/>
                      <a:pt x="25268" y="906"/>
                    </a:cubicBezTo>
                    <a:close/>
                  </a:path>
                </a:pathLst>
              </a:custGeom>
              <a:solidFill>
                <a:srgbClr val="8AB229"/>
              </a:solidFill>
              <a:ln w="9525" cap="flat">
                <a:noFill/>
                <a:prstDash val="solid"/>
                <a:miter/>
              </a:ln>
            </p:spPr>
            <p:txBody>
              <a:bodyPr rtlCol="0" anchor="ctr"/>
              <a:lstStyle/>
              <a:p>
                <a:endParaRPr lang="zh-CN" altLang="en-US"/>
              </a:p>
            </p:txBody>
          </p:sp>
          <p:sp>
            <p:nvSpPr>
              <p:cNvPr id="289" name="ïṥļíḍè">
                <a:extLst>
                  <a:ext uri="{FF2B5EF4-FFF2-40B4-BE49-F238E27FC236}">
                    <a16:creationId xmlns:a16="http://schemas.microsoft.com/office/drawing/2014/main" id="{15E07581-D301-4B38-8857-7BB1538BC0C3}"/>
                  </a:ext>
                </a:extLst>
              </p:cNvPr>
              <p:cNvSpPr/>
              <p:nvPr/>
            </p:nvSpPr>
            <p:spPr>
              <a:xfrm>
                <a:off x="6120562" y="1710231"/>
                <a:ext cx="41957" cy="15688"/>
              </a:xfrm>
              <a:custGeom>
                <a:avLst/>
                <a:gdLst>
                  <a:gd name="connsiteX0" fmla="*/ 4870 w 41957"/>
                  <a:gd name="connsiteY0" fmla="*/ 13413 h 15688"/>
                  <a:gd name="connsiteX1" fmla="*/ 40017 w 41957"/>
                  <a:gd name="connsiteY1" fmla="*/ 13603 h 15688"/>
                  <a:gd name="connsiteX2" fmla="*/ 39255 w 41957"/>
                  <a:gd name="connsiteY2" fmla="*/ 8269 h 15688"/>
                  <a:gd name="connsiteX3" fmla="*/ 10109 w 41957"/>
                  <a:gd name="connsiteY3" fmla="*/ 935 h 15688"/>
                  <a:gd name="connsiteX4" fmla="*/ 4870 w 41957"/>
                  <a:gd name="connsiteY4" fmla="*/ 13413 h 15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57" h="15688">
                    <a:moveTo>
                      <a:pt x="4870" y="13413"/>
                    </a:moveTo>
                    <a:cubicBezTo>
                      <a:pt x="16586" y="16366"/>
                      <a:pt x="28301" y="16461"/>
                      <a:pt x="40017" y="13603"/>
                    </a:cubicBezTo>
                    <a:cubicBezTo>
                      <a:pt x="43065" y="12841"/>
                      <a:pt x="42303" y="8269"/>
                      <a:pt x="39255" y="8269"/>
                    </a:cubicBezTo>
                    <a:cubicBezTo>
                      <a:pt x="28873" y="8174"/>
                      <a:pt x="19253" y="5793"/>
                      <a:pt x="10109" y="935"/>
                    </a:cubicBezTo>
                    <a:cubicBezTo>
                      <a:pt x="1250" y="-3827"/>
                      <a:pt x="-4655" y="11032"/>
                      <a:pt x="4870" y="13413"/>
                    </a:cubicBezTo>
                    <a:close/>
                  </a:path>
                </a:pathLst>
              </a:custGeom>
              <a:solidFill>
                <a:srgbClr val="8AB229"/>
              </a:solidFill>
              <a:ln w="9525" cap="flat">
                <a:noFill/>
                <a:prstDash val="solid"/>
                <a:miter/>
              </a:ln>
            </p:spPr>
            <p:txBody>
              <a:bodyPr rtlCol="0" anchor="ctr"/>
              <a:lstStyle/>
              <a:p>
                <a:endParaRPr lang="zh-CN" altLang="en-US"/>
              </a:p>
            </p:txBody>
          </p:sp>
          <p:sp>
            <p:nvSpPr>
              <p:cNvPr id="290" name="iṥľîḍè">
                <a:extLst>
                  <a:ext uri="{FF2B5EF4-FFF2-40B4-BE49-F238E27FC236}">
                    <a16:creationId xmlns:a16="http://schemas.microsoft.com/office/drawing/2014/main" id="{11D8C6F8-57A2-4876-9BA2-9A05DAB215E9}"/>
                  </a:ext>
                </a:extLst>
              </p:cNvPr>
              <p:cNvSpPr/>
              <p:nvPr/>
            </p:nvSpPr>
            <p:spPr>
              <a:xfrm>
                <a:off x="6133465" y="1788600"/>
                <a:ext cx="26958" cy="15368"/>
              </a:xfrm>
              <a:custGeom>
                <a:avLst/>
                <a:gdLst>
                  <a:gd name="connsiteX0" fmla="*/ 16446 w 26958"/>
                  <a:gd name="connsiteY0" fmla="*/ 2956 h 15368"/>
                  <a:gd name="connsiteX1" fmla="*/ 10255 w 26958"/>
                  <a:gd name="connsiteY1" fmla="*/ 861 h 15368"/>
                  <a:gd name="connsiteX2" fmla="*/ 539 w 26958"/>
                  <a:gd name="connsiteY2" fmla="*/ 4099 h 15368"/>
                  <a:gd name="connsiteX3" fmla="*/ 4921 w 26958"/>
                  <a:gd name="connsiteY3" fmla="*/ 13339 h 15368"/>
                  <a:gd name="connsiteX4" fmla="*/ 24542 w 26958"/>
                  <a:gd name="connsiteY4" fmla="*/ 13148 h 15368"/>
                  <a:gd name="connsiteX5" fmla="*/ 23304 w 26958"/>
                  <a:gd name="connsiteY5" fmla="*/ 3814 h 15368"/>
                  <a:gd name="connsiteX6" fmla="*/ 16446 w 26958"/>
                  <a:gd name="connsiteY6" fmla="*/ 2956 h 1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958" h="15368">
                    <a:moveTo>
                      <a:pt x="16446" y="2956"/>
                    </a:moveTo>
                    <a:cubicBezTo>
                      <a:pt x="14255" y="2575"/>
                      <a:pt x="12160" y="1909"/>
                      <a:pt x="10255" y="861"/>
                    </a:cubicBezTo>
                    <a:cubicBezTo>
                      <a:pt x="6635" y="-1044"/>
                      <a:pt x="2159" y="289"/>
                      <a:pt x="539" y="4099"/>
                    </a:cubicBezTo>
                    <a:cubicBezTo>
                      <a:pt x="-1080" y="8005"/>
                      <a:pt x="1111" y="11910"/>
                      <a:pt x="4921" y="13339"/>
                    </a:cubicBezTo>
                    <a:cubicBezTo>
                      <a:pt x="10731" y="15434"/>
                      <a:pt x="19018" y="16672"/>
                      <a:pt x="24542" y="13148"/>
                    </a:cubicBezTo>
                    <a:cubicBezTo>
                      <a:pt x="28162" y="10862"/>
                      <a:pt x="27686" y="4957"/>
                      <a:pt x="23304" y="3814"/>
                    </a:cubicBezTo>
                    <a:cubicBezTo>
                      <a:pt x="21113" y="3242"/>
                      <a:pt x="18827" y="3337"/>
                      <a:pt x="16446" y="2956"/>
                    </a:cubicBezTo>
                    <a:close/>
                  </a:path>
                </a:pathLst>
              </a:custGeom>
              <a:solidFill>
                <a:srgbClr val="8AB229"/>
              </a:solidFill>
              <a:ln w="9525" cap="flat">
                <a:noFill/>
                <a:prstDash val="solid"/>
                <a:miter/>
              </a:ln>
            </p:spPr>
            <p:txBody>
              <a:bodyPr rtlCol="0" anchor="ctr"/>
              <a:lstStyle/>
              <a:p>
                <a:endParaRPr lang="zh-CN" altLang="en-US"/>
              </a:p>
            </p:txBody>
          </p:sp>
          <p:sp>
            <p:nvSpPr>
              <p:cNvPr id="291" name="ïšľîdé">
                <a:extLst>
                  <a:ext uri="{FF2B5EF4-FFF2-40B4-BE49-F238E27FC236}">
                    <a16:creationId xmlns:a16="http://schemas.microsoft.com/office/drawing/2014/main" id="{5B461A02-D6D1-4C2F-BAC6-B4341F1A2790}"/>
                  </a:ext>
                </a:extLst>
              </p:cNvPr>
              <p:cNvSpPr/>
              <p:nvPr/>
            </p:nvSpPr>
            <p:spPr>
              <a:xfrm>
                <a:off x="6114030" y="1856043"/>
                <a:ext cx="50152" cy="16113"/>
              </a:xfrm>
              <a:custGeom>
                <a:avLst/>
                <a:gdLst>
                  <a:gd name="connsiteX0" fmla="*/ 30071 w 50152"/>
                  <a:gd name="connsiteY0" fmla="*/ 15905 h 16113"/>
                  <a:gd name="connsiteX1" fmla="*/ 49407 w 50152"/>
                  <a:gd name="connsiteY1" fmla="*/ 7332 h 16113"/>
                  <a:gd name="connsiteX2" fmla="*/ 47692 w 50152"/>
                  <a:gd name="connsiteY2" fmla="*/ 3236 h 16113"/>
                  <a:gd name="connsiteX3" fmla="*/ 28642 w 50152"/>
                  <a:gd name="connsiteY3" fmla="*/ 2855 h 16113"/>
                  <a:gd name="connsiteX4" fmla="*/ 8449 w 50152"/>
                  <a:gd name="connsiteY4" fmla="*/ 284 h 16113"/>
                  <a:gd name="connsiteX5" fmla="*/ 4830 w 50152"/>
                  <a:gd name="connsiteY5" fmla="*/ 13428 h 16113"/>
                  <a:gd name="connsiteX6" fmla="*/ 30071 w 50152"/>
                  <a:gd name="connsiteY6" fmla="*/ 15905 h 1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52" h="16113">
                    <a:moveTo>
                      <a:pt x="30071" y="15905"/>
                    </a:moveTo>
                    <a:cubicBezTo>
                      <a:pt x="38358" y="15238"/>
                      <a:pt x="43120" y="12666"/>
                      <a:pt x="49407" y="7332"/>
                    </a:cubicBezTo>
                    <a:cubicBezTo>
                      <a:pt x="51121" y="5903"/>
                      <a:pt x="49597" y="3332"/>
                      <a:pt x="47692" y="3236"/>
                    </a:cubicBezTo>
                    <a:cubicBezTo>
                      <a:pt x="40929" y="2855"/>
                      <a:pt x="35405" y="2570"/>
                      <a:pt x="28642" y="2855"/>
                    </a:cubicBezTo>
                    <a:cubicBezTo>
                      <a:pt x="21784" y="3141"/>
                      <a:pt x="15117" y="2189"/>
                      <a:pt x="8449" y="284"/>
                    </a:cubicBezTo>
                    <a:cubicBezTo>
                      <a:pt x="-28" y="-2098"/>
                      <a:pt x="-3648" y="11237"/>
                      <a:pt x="4830" y="13428"/>
                    </a:cubicBezTo>
                    <a:cubicBezTo>
                      <a:pt x="13021" y="15619"/>
                      <a:pt x="21498" y="16571"/>
                      <a:pt x="30071" y="15905"/>
                    </a:cubicBezTo>
                    <a:close/>
                  </a:path>
                </a:pathLst>
              </a:custGeom>
              <a:solidFill>
                <a:srgbClr val="8AB229"/>
              </a:solidFill>
              <a:ln w="9525" cap="flat">
                <a:noFill/>
                <a:prstDash val="solid"/>
                <a:miter/>
              </a:ln>
            </p:spPr>
            <p:txBody>
              <a:bodyPr rtlCol="0" anchor="ctr"/>
              <a:lstStyle/>
              <a:p>
                <a:endParaRPr lang="zh-CN" altLang="en-US"/>
              </a:p>
            </p:txBody>
          </p:sp>
          <p:sp>
            <p:nvSpPr>
              <p:cNvPr id="292" name="íṩ1íḍè">
                <a:extLst>
                  <a:ext uri="{FF2B5EF4-FFF2-40B4-BE49-F238E27FC236}">
                    <a16:creationId xmlns:a16="http://schemas.microsoft.com/office/drawing/2014/main" id="{FA59D660-BA98-4A2C-837E-8237C139C320}"/>
                  </a:ext>
                </a:extLst>
              </p:cNvPr>
              <p:cNvSpPr/>
              <p:nvPr/>
            </p:nvSpPr>
            <p:spPr>
              <a:xfrm>
                <a:off x="6127122" y="1900611"/>
                <a:ext cx="35521" cy="15979"/>
              </a:xfrm>
              <a:custGeom>
                <a:avLst/>
                <a:gdLst>
                  <a:gd name="connsiteX0" fmla="*/ 20503 w 35521"/>
                  <a:gd name="connsiteY0" fmla="*/ 7 h 15979"/>
                  <a:gd name="connsiteX1" fmla="*/ 6692 w 35521"/>
                  <a:gd name="connsiteY1" fmla="*/ 674 h 15979"/>
                  <a:gd name="connsiteX2" fmla="*/ 4882 w 35521"/>
                  <a:gd name="connsiteY2" fmla="*/ 14104 h 15979"/>
                  <a:gd name="connsiteX3" fmla="*/ 34886 w 35521"/>
                  <a:gd name="connsiteY3" fmla="*/ 8580 h 15979"/>
                  <a:gd name="connsiteX4" fmla="*/ 33171 w 35521"/>
                  <a:gd name="connsiteY4" fmla="*/ 2008 h 15979"/>
                  <a:gd name="connsiteX5" fmla="*/ 20503 w 35521"/>
                  <a:gd name="connsiteY5" fmla="*/ 7 h 1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521" h="15979">
                    <a:moveTo>
                      <a:pt x="20503" y="7"/>
                    </a:moveTo>
                    <a:cubicBezTo>
                      <a:pt x="15931" y="-88"/>
                      <a:pt x="11359" y="769"/>
                      <a:pt x="6692" y="674"/>
                    </a:cubicBezTo>
                    <a:cubicBezTo>
                      <a:pt x="-1024" y="484"/>
                      <a:pt x="-2643" y="12199"/>
                      <a:pt x="4882" y="14104"/>
                    </a:cubicBezTo>
                    <a:cubicBezTo>
                      <a:pt x="14121" y="16390"/>
                      <a:pt x="28980" y="18391"/>
                      <a:pt x="34886" y="8580"/>
                    </a:cubicBezTo>
                    <a:cubicBezTo>
                      <a:pt x="36219" y="6389"/>
                      <a:pt x="35362" y="3341"/>
                      <a:pt x="33171" y="2008"/>
                    </a:cubicBezTo>
                    <a:cubicBezTo>
                      <a:pt x="29456" y="-88"/>
                      <a:pt x="24694" y="103"/>
                      <a:pt x="20503" y="7"/>
                    </a:cubicBezTo>
                    <a:close/>
                  </a:path>
                </a:pathLst>
              </a:custGeom>
              <a:solidFill>
                <a:srgbClr val="8AB229"/>
              </a:solidFill>
              <a:ln w="9525" cap="flat">
                <a:noFill/>
                <a:prstDash val="solid"/>
                <a:miter/>
              </a:ln>
            </p:spPr>
            <p:txBody>
              <a:bodyPr rtlCol="0" anchor="ctr"/>
              <a:lstStyle/>
              <a:p>
                <a:endParaRPr lang="zh-CN" altLang="en-US"/>
              </a:p>
            </p:txBody>
          </p:sp>
          <p:sp>
            <p:nvSpPr>
              <p:cNvPr id="293" name="ïṧľiḋê">
                <a:extLst>
                  <a:ext uri="{FF2B5EF4-FFF2-40B4-BE49-F238E27FC236}">
                    <a16:creationId xmlns:a16="http://schemas.microsoft.com/office/drawing/2014/main" id="{AEBA66E1-58FD-44E8-A41B-EA06587ED775}"/>
                  </a:ext>
                </a:extLst>
              </p:cNvPr>
              <p:cNvSpPr/>
              <p:nvPr/>
            </p:nvSpPr>
            <p:spPr>
              <a:xfrm>
                <a:off x="6657990" y="1921100"/>
                <a:ext cx="31087" cy="38746"/>
              </a:xfrm>
              <a:custGeom>
                <a:avLst/>
                <a:gdLst>
                  <a:gd name="connsiteX0" fmla="*/ 30179 w 31087"/>
                  <a:gd name="connsiteY0" fmla="*/ 32953 h 38746"/>
                  <a:gd name="connsiteX1" fmla="*/ 13606 w 31087"/>
                  <a:gd name="connsiteY1" fmla="*/ 4664 h 38746"/>
                  <a:gd name="connsiteX2" fmla="*/ 1128 w 31087"/>
                  <a:gd name="connsiteY2" fmla="*/ 9903 h 38746"/>
                  <a:gd name="connsiteX3" fmla="*/ 25321 w 31087"/>
                  <a:gd name="connsiteY3" fmla="*/ 37811 h 38746"/>
                  <a:gd name="connsiteX4" fmla="*/ 30179 w 31087"/>
                  <a:gd name="connsiteY4" fmla="*/ 32953 h 38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87" h="38746">
                    <a:moveTo>
                      <a:pt x="30179" y="32953"/>
                    </a:moveTo>
                    <a:cubicBezTo>
                      <a:pt x="23321" y="24381"/>
                      <a:pt x="17606" y="14856"/>
                      <a:pt x="13606" y="4664"/>
                    </a:cubicBezTo>
                    <a:cubicBezTo>
                      <a:pt x="9891" y="-4766"/>
                      <a:pt x="-4016" y="1711"/>
                      <a:pt x="1128" y="9903"/>
                    </a:cubicBezTo>
                    <a:cubicBezTo>
                      <a:pt x="7700" y="20476"/>
                      <a:pt x="15701" y="29905"/>
                      <a:pt x="25321" y="37811"/>
                    </a:cubicBezTo>
                    <a:cubicBezTo>
                      <a:pt x="28846" y="40669"/>
                      <a:pt x="32941" y="36382"/>
                      <a:pt x="30179" y="32953"/>
                    </a:cubicBezTo>
                    <a:close/>
                  </a:path>
                </a:pathLst>
              </a:custGeom>
              <a:solidFill>
                <a:srgbClr val="8AB229"/>
              </a:solidFill>
              <a:ln w="9525" cap="flat">
                <a:noFill/>
                <a:prstDash val="solid"/>
                <a:miter/>
              </a:ln>
            </p:spPr>
            <p:txBody>
              <a:bodyPr rtlCol="0" anchor="ctr"/>
              <a:lstStyle/>
              <a:p>
                <a:endParaRPr lang="zh-CN" altLang="en-US"/>
              </a:p>
            </p:txBody>
          </p:sp>
          <p:sp>
            <p:nvSpPr>
              <p:cNvPr id="294" name="íşļîḍe">
                <a:extLst>
                  <a:ext uri="{FF2B5EF4-FFF2-40B4-BE49-F238E27FC236}">
                    <a16:creationId xmlns:a16="http://schemas.microsoft.com/office/drawing/2014/main" id="{CD363BB9-0B93-4709-B54E-9A022C61EAA3}"/>
                  </a:ext>
                </a:extLst>
              </p:cNvPr>
              <p:cNvSpPr/>
              <p:nvPr/>
            </p:nvSpPr>
            <p:spPr>
              <a:xfrm>
                <a:off x="6613964" y="1986451"/>
                <a:ext cx="25359" cy="23038"/>
              </a:xfrm>
              <a:custGeom>
                <a:avLst/>
                <a:gdLst>
                  <a:gd name="connsiteX0" fmla="*/ 24960 w 25359"/>
                  <a:gd name="connsiteY0" fmla="*/ 19609 h 23038"/>
                  <a:gd name="connsiteX1" fmla="*/ 22769 w 25359"/>
                  <a:gd name="connsiteY1" fmla="*/ 12751 h 23038"/>
                  <a:gd name="connsiteX2" fmla="*/ 12673 w 25359"/>
                  <a:gd name="connsiteY2" fmla="*/ 3321 h 23038"/>
                  <a:gd name="connsiteX3" fmla="*/ 2672 w 25359"/>
                  <a:gd name="connsiteY3" fmla="*/ 1416 h 23038"/>
                  <a:gd name="connsiteX4" fmla="*/ 2005 w 25359"/>
                  <a:gd name="connsiteY4" fmla="*/ 11608 h 23038"/>
                  <a:gd name="connsiteX5" fmla="*/ 18578 w 25359"/>
                  <a:gd name="connsiteY5" fmla="*/ 22752 h 23038"/>
                  <a:gd name="connsiteX6" fmla="*/ 24960 w 25359"/>
                  <a:gd name="connsiteY6" fmla="*/ 19609 h 2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59" h="23038">
                    <a:moveTo>
                      <a:pt x="24960" y="19609"/>
                    </a:moveTo>
                    <a:cubicBezTo>
                      <a:pt x="25913" y="17132"/>
                      <a:pt x="25151" y="14180"/>
                      <a:pt x="22769" y="12751"/>
                    </a:cubicBezTo>
                    <a:cubicBezTo>
                      <a:pt x="18578" y="10369"/>
                      <a:pt x="15149" y="7512"/>
                      <a:pt x="12673" y="3321"/>
                    </a:cubicBezTo>
                    <a:cubicBezTo>
                      <a:pt x="10577" y="-203"/>
                      <a:pt x="5910" y="-1061"/>
                      <a:pt x="2672" y="1416"/>
                    </a:cubicBezTo>
                    <a:cubicBezTo>
                      <a:pt x="-567" y="3892"/>
                      <a:pt x="-948" y="8655"/>
                      <a:pt x="2005" y="11608"/>
                    </a:cubicBezTo>
                    <a:cubicBezTo>
                      <a:pt x="6767" y="16370"/>
                      <a:pt x="12387" y="20180"/>
                      <a:pt x="18578" y="22752"/>
                    </a:cubicBezTo>
                    <a:cubicBezTo>
                      <a:pt x="21055" y="23800"/>
                      <a:pt x="24103" y="21799"/>
                      <a:pt x="24960" y="19609"/>
                    </a:cubicBezTo>
                    <a:close/>
                  </a:path>
                </a:pathLst>
              </a:custGeom>
              <a:solidFill>
                <a:srgbClr val="8AB229"/>
              </a:solidFill>
              <a:ln w="9525" cap="flat">
                <a:noFill/>
                <a:prstDash val="solid"/>
                <a:miter/>
              </a:ln>
            </p:spPr>
            <p:txBody>
              <a:bodyPr rtlCol="0" anchor="ctr"/>
              <a:lstStyle/>
              <a:p>
                <a:endParaRPr lang="zh-CN" altLang="en-US"/>
              </a:p>
            </p:txBody>
          </p:sp>
          <p:sp>
            <p:nvSpPr>
              <p:cNvPr id="295" name="íŝļíďé">
                <a:extLst>
                  <a:ext uri="{FF2B5EF4-FFF2-40B4-BE49-F238E27FC236}">
                    <a16:creationId xmlns:a16="http://schemas.microsoft.com/office/drawing/2014/main" id="{EB90A932-CB6E-4892-81C0-333D840B359F}"/>
                  </a:ext>
                </a:extLst>
              </p:cNvPr>
              <p:cNvSpPr/>
              <p:nvPr/>
            </p:nvSpPr>
            <p:spPr>
              <a:xfrm>
                <a:off x="6546087" y="2023758"/>
                <a:ext cx="44756" cy="48751"/>
              </a:xfrm>
              <a:custGeom>
                <a:avLst/>
                <a:gdLst>
                  <a:gd name="connsiteX0" fmla="*/ 37211 w 44756"/>
                  <a:gd name="connsiteY0" fmla="*/ 47929 h 48751"/>
                  <a:gd name="connsiteX1" fmla="*/ 44260 w 44756"/>
                  <a:gd name="connsiteY1" fmla="*/ 40881 h 48751"/>
                  <a:gd name="connsiteX2" fmla="*/ 31210 w 44756"/>
                  <a:gd name="connsiteY2" fmla="*/ 19354 h 48751"/>
                  <a:gd name="connsiteX3" fmla="*/ 11970 w 44756"/>
                  <a:gd name="connsiteY3" fmla="*/ 1733 h 48751"/>
                  <a:gd name="connsiteX4" fmla="*/ 1207 w 44756"/>
                  <a:gd name="connsiteY4" fmla="*/ 10020 h 48751"/>
                  <a:gd name="connsiteX5" fmla="*/ 16923 w 44756"/>
                  <a:gd name="connsiteY5" fmla="*/ 31927 h 48751"/>
                  <a:gd name="connsiteX6" fmla="*/ 37211 w 44756"/>
                  <a:gd name="connsiteY6" fmla="*/ 47929 h 48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756" h="48751">
                    <a:moveTo>
                      <a:pt x="37211" y="47929"/>
                    </a:moveTo>
                    <a:cubicBezTo>
                      <a:pt x="41878" y="50882"/>
                      <a:pt x="46260" y="45262"/>
                      <a:pt x="44260" y="40881"/>
                    </a:cubicBezTo>
                    <a:cubicBezTo>
                      <a:pt x="40926" y="33642"/>
                      <a:pt x="36544" y="25355"/>
                      <a:pt x="31210" y="19354"/>
                    </a:cubicBezTo>
                    <a:cubicBezTo>
                      <a:pt x="25591" y="12973"/>
                      <a:pt x="18257" y="7543"/>
                      <a:pt x="11970" y="1733"/>
                    </a:cubicBezTo>
                    <a:cubicBezTo>
                      <a:pt x="6541" y="-3220"/>
                      <a:pt x="-3460" y="3352"/>
                      <a:pt x="1207" y="10020"/>
                    </a:cubicBezTo>
                    <a:cubicBezTo>
                      <a:pt x="6350" y="17164"/>
                      <a:pt x="11113" y="25260"/>
                      <a:pt x="16923" y="31927"/>
                    </a:cubicBezTo>
                    <a:cubicBezTo>
                      <a:pt x="22352" y="38119"/>
                      <a:pt x="30163" y="43643"/>
                      <a:pt x="37211" y="47929"/>
                    </a:cubicBezTo>
                    <a:close/>
                  </a:path>
                </a:pathLst>
              </a:custGeom>
              <a:solidFill>
                <a:srgbClr val="8AB229"/>
              </a:solidFill>
              <a:ln w="9525" cap="flat">
                <a:noFill/>
                <a:prstDash val="solid"/>
                <a:miter/>
              </a:ln>
            </p:spPr>
            <p:txBody>
              <a:bodyPr rtlCol="0" anchor="ctr"/>
              <a:lstStyle/>
              <a:p>
                <a:endParaRPr lang="zh-CN" altLang="en-US"/>
              </a:p>
            </p:txBody>
          </p:sp>
          <p:sp>
            <p:nvSpPr>
              <p:cNvPr id="296" name="íṡ1ïdê">
                <a:extLst>
                  <a:ext uri="{FF2B5EF4-FFF2-40B4-BE49-F238E27FC236}">
                    <a16:creationId xmlns:a16="http://schemas.microsoft.com/office/drawing/2014/main" id="{E1B58C0C-F0E7-4737-B3FD-3719FB376760}"/>
                  </a:ext>
                </a:extLst>
              </p:cNvPr>
              <p:cNvSpPr/>
              <p:nvPr/>
            </p:nvSpPr>
            <p:spPr>
              <a:xfrm>
                <a:off x="6894914" y="2443422"/>
                <a:ext cx="18428" cy="52024"/>
              </a:xfrm>
              <a:custGeom>
                <a:avLst/>
                <a:gdLst>
                  <a:gd name="connsiteX0" fmla="*/ 18330 w 18428"/>
                  <a:gd name="connsiteY0" fmla="*/ 6598 h 52024"/>
                  <a:gd name="connsiteX1" fmla="*/ 5567 w 18428"/>
                  <a:gd name="connsiteY1" fmla="*/ 3169 h 52024"/>
                  <a:gd name="connsiteX2" fmla="*/ 233 w 18428"/>
                  <a:gd name="connsiteY2" fmla="*/ 28791 h 52024"/>
                  <a:gd name="connsiteX3" fmla="*/ 9186 w 18428"/>
                  <a:gd name="connsiteY3" fmla="*/ 50889 h 52024"/>
                  <a:gd name="connsiteX4" fmla="*/ 16044 w 18428"/>
                  <a:gd name="connsiteY4" fmla="*/ 49079 h 52024"/>
                  <a:gd name="connsiteX5" fmla="*/ 17664 w 18428"/>
                  <a:gd name="connsiteY5" fmla="*/ 39840 h 52024"/>
                  <a:gd name="connsiteX6" fmla="*/ 16711 w 18428"/>
                  <a:gd name="connsiteY6" fmla="*/ 28696 h 52024"/>
                  <a:gd name="connsiteX7" fmla="*/ 18330 w 18428"/>
                  <a:gd name="connsiteY7" fmla="*/ 6598 h 5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8" h="52024">
                    <a:moveTo>
                      <a:pt x="18330" y="6598"/>
                    </a:moveTo>
                    <a:cubicBezTo>
                      <a:pt x="17854" y="-451"/>
                      <a:pt x="9663" y="-2261"/>
                      <a:pt x="5567" y="3169"/>
                    </a:cubicBezTo>
                    <a:cubicBezTo>
                      <a:pt x="42" y="10693"/>
                      <a:pt x="-434" y="19647"/>
                      <a:pt x="233" y="28791"/>
                    </a:cubicBezTo>
                    <a:cubicBezTo>
                      <a:pt x="900" y="38125"/>
                      <a:pt x="2614" y="44221"/>
                      <a:pt x="9186" y="50889"/>
                    </a:cubicBezTo>
                    <a:cubicBezTo>
                      <a:pt x="11186" y="52889"/>
                      <a:pt x="15568" y="52222"/>
                      <a:pt x="16044" y="49079"/>
                    </a:cubicBezTo>
                    <a:cubicBezTo>
                      <a:pt x="16520" y="46031"/>
                      <a:pt x="17568" y="42983"/>
                      <a:pt x="17664" y="39840"/>
                    </a:cubicBezTo>
                    <a:cubicBezTo>
                      <a:pt x="17854" y="36220"/>
                      <a:pt x="16711" y="32410"/>
                      <a:pt x="16711" y="28696"/>
                    </a:cubicBezTo>
                    <a:cubicBezTo>
                      <a:pt x="16806" y="21171"/>
                      <a:pt x="18902" y="14122"/>
                      <a:pt x="18330" y="6598"/>
                    </a:cubicBezTo>
                    <a:close/>
                  </a:path>
                </a:pathLst>
              </a:custGeom>
              <a:solidFill>
                <a:srgbClr val="8AB229"/>
              </a:solidFill>
              <a:ln w="9525" cap="flat">
                <a:noFill/>
                <a:prstDash val="solid"/>
                <a:miter/>
              </a:ln>
            </p:spPr>
            <p:txBody>
              <a:bodyPr rtlCol="0" anchor="ctr"/>
              <a:lstStyle/>
              <a:p>
                <a:endParaRPr lang="zh-CN" altLang="en-US"/>
              </a:p>
            </p:txBody>
          </p:sp>
          <p:sp>
            <p:nvSpPr>
              <p:cNvPr id="297" name="ïśľïdê">
                <a:extLst>
                  <a:ext uri="{FF2B5EF4-FFF2-40B4-BE49-F238E27FC236}">
                    <a16:creationId xmlns:a16="http://schemas.microsoft.com/office/drawing/2014/main" id="{7E4A2712-7EF3-466E-8455-43726D1E2F56}"/>
                  </a:ext>
                </a:extLst>
              </p:cNvPr>
              <p:cNvSpPr/>
              <p:nvPr/>
            </p:nvSpPr>
            <p:spPr>
              <a:xfrm>
                <a:off x="6829911" y="2466879"/>
                <a:ext cx="16812" cy="26193"/>
              </a:xfrm>
              <a:custGeom>
                <a:avLst/>
                <a:gdLst>
                  <a:gd name="connsiteX0" fmla="*/ 14944 w 16812"/>
                  <a:gd name="connsiteY0" fmla="*/ 8668 h 26193"/>
                  <a:gd name="connsiteX1" fmla="*/ 8371 w 16812"/>
                  <a:gd name="connsiteY1" fmla="*/ 0 h 26193"/>
                  <a:gd name="connsiteX2" fmla="*/ 1799 w 16812"/>
                  <a:gd name="connsiteY2" fmla="*/ 8668 h 26193"/>
                  <a:gd name="connsiteX3" fmla="*/ 942 w 16812"/>
                  <a:gd name="connsiteY3" fmla="*/ 9811 h 26193"/>
                  <a:gd name="connsiteX4" fmla="*/ 85 w 16812"/>
                  <a:gd name="connsiteY4" fmla="*/ 15050 h 26193"/>
                  <a:gd name="connsiteX5" fmla="*/ 2180 w 16812"/>
                  <a:gd name="connsiteY5" fmla="*/ 21622 h 26193"/>
                  <a:gd name="connsiteX6" fmla="*/ 14658 w 16812"/>
                  <a:gd name="connsiteY6" fmla="*/ 21622 h 26193"/>
                  <a:gd name="connsiteX7" fmla="*/ 16753 w 16812"/>
                  <a:gd name="connsiteY7" fmla="*/ 15050 h 26193"/>
                  <a:gd name="connsiteX8" fmla="*/ 16087 w 16812"/>
                  <a:gd name="connsiteY8" fmla="*/ 10287 h 26193"/>
                  <a:gd name="connsiteX9" fmla="*/ 14944 w 16812"/>
                  <a:gd name="connsiteY9" fmla="*/ 8668 h 2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12" h="26193">
                    <a:moveTo>
                      <a:pt x="14944" y="8668"/>
                    </a:moveTo>
                    <a:cubicBezTo>
                      <a:pt x="15896" y="4381"/>
                      <a:pt x="12943" y="0"/>
                      <a:pt x="8371" y="0"/>
                    </a:cubicBezTo>
                    <a:cubicBezTo>
                      <a:pt x="3799" y="0"/>
                      <a:pt x="847" y="4381"/>
                      <a:pt x="1799" y="8668"/>
                    </a:cubicBezTo>
                    <a:cubicBezTo>
                      <a:pt x="1418" y="7049"/>
                      <a:pt x="1133" y="9239"/>
                      <a:pt x="942" y="9811"/>
                    </a:cubicBezTo>
                    <a:cubicBezTo>
                      <a:pt x="275" y="11525"/>
                      <a:pt x="-201" y="13049"/>
                      <a:pt x="85" y="15050"/>
                    </a:cubicBezTo>
                    <a:cubicBezTo>
                      <a:pt x="370" y="17335"/>
                      <a:pt x="1323" y="19526"/>
                      <a:pt x="2180" y="21622"/>
                    </a:cubicBezTo>
                    <a:cubicBezTo>
                      <a:pt x="4466" y="27718"/>
                      <a:pt x="12372" y="27718"/>
                      <a:pt x="14658" y="21622"/>
                    </a:cubicBezTo>
                    <a:cubicBezTo>
                      <a:pt x="15420" y="19431"/>
                      <a:pt x="16372" y="17335"/>
                      <a:pt x="16753" y="15050"/>
                    </a:cubicBezTo>
                    <a:cubicBezTo>
                      <a:pt x="16944" y="13335"/>
                      <a:pt x="16658" y="11906"/>
                      <a:pt x="16087" y="10287"/>
                    </a:cubicBezTo>
                    <a:cubicBezTo>
                      <a:pt x="15801" y="9620"/>
                      <a:pt x="15325" y="7049"/>
                      <a:pt x="14944" y="8668"/>
                    </a:cubicBezTo>
                    <a:close/>
                  </a:path>
                </a:pathLst>
              </a:custGeom>
              <a:solidFill>
                <a:srgbClr val="8AB229"/>
              </a:solidFill>
              <a:ln w="9525" cap="flat">
                <a:noFill/>
                <a:prstDash val="solid"/>
                <a:miter/>
              </a:ln>
            </p:spPr>
            <p:txBody>
              <a:bodyPr rtlCol="0" anchor="ctr"/>
              <a:lstStyle/>
              <a:p>
                <a:endParaRPr lang="zh-CN" altLang="en-US"/>
              </a:p>
            </p:txBody>
          </p:sp>
          <p:sp>
            <p:nvSpPr>
              <p:cNvPr id="298" name="íṥ1iḍé">
                <a:extLst>
                  <a:ext uri="{FF2B5EF4-FFF2-40B4-BE49-F238E27FC236}">
                    <a16:creationId xmlns:a16="http://schemas.microsoft.com/office/drawing/2014/main" id="{D0D4320F-D839-4A2A-A007-1C2FB58B88D7}"/>
                  </a:ext>
                </a:extLst>
              </p:cNvPr>
              <p:cNvSpPr/>
              <p:nvPr/>
            </p:nvSpPr>
            <p:spPr>
              <a:xfrm>
                <a:off x="6746106" y="2447347"/>
                <a:ext cx="22182" cy="57885"/>
              </a:xfrm>
              <a:custGeom>
                <a:avLst/>
                <a:gdLst>
                  <a:gd name="connsiteX0" fmla="*/ 7595 w 22182"/>
                  <a:gd name="connsiteY0" fmla="*/ 3245 h 57885"/>
                  <a:gd name="connsiteX1" fmla="*/ 8072 w 22182"/>
                  <a:gd name="connsiteY1" fmla="*/ 56299 h 57885"/>
                  <a:gd name="connsiteX2" fmla="*/ 16644 w 22182"/>
                  <a:gd name="connsiteY2" fmla="*/ 55156 h 57885"/>
                  <a:gd name="connsiteX3" fmla="*/ 21978 w 22182"/>
                  <a:gd name="connsiteY3" fmla="*/ 31248 h 57885"/>
                  <a:gd name="connsiteX4" fmla="*/ 20073 w 22182"/>
                  <a:gd name="connsiteY4" fmla="*/ 4864 h 57885"/>
                  <a:gd name="connsiteX5" fmla="*/ 7595 w 22182"/>
                  <a:gd name="connsiteY5" fmla="*/ 3245 h 5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182" h="57885">
                    <a:moveTo>
                      <a:pt x="7595" y="3245"/>
                    </a:moveTo>
                    <a:cubicBezTo>
                      <a:pt x="-692" y="17151"/>
                      <a:pt x="-4406" y="43440"/>
                      <a:pt x="8072" y="56299"/>
                    </a:cubicBezTo>
                    <a:cubicBezTo>
                      <a:pt x="10739" y="59061"/>
                      <a:pt x="14644" y="57918"/>
                      <a:pt x="16644" y="55156"/>
                    </a:cubicBezTo>
                    <a:cubicBezTo>
                      <a:pt x="21597" y="48298"/>
                      <a:pt x="21788" y="39440"/>
                      <a:pt x="21978" y="31248"/>
                    </a:cubicBezTo>
                    <a:cubicBezTo>
                      <a:pt x="22264" y="21723"/>
                      <a:pt x="22645" y="14198"/>
                      <a:pt x="20073" y="4864"/>
                    </a:cubicBezTo>
                    <a:cubicBezTo>
                      <a:pt x="18549" y="-851"/>
                      <a:pt x="10643" y="-1708"/>
                      <a:pt x="7595" y="3245"/>
                    </a:cubicBezTo>
                    <a:close/>
                  </a:path>
                </a:pathLst>
              </a:custGeom>
              <a:solidFill>
                <a:srgbClr val="8AB229"/>
              </a:solidFill>
              <a:ln w="9525" cap="flat">
                <a:noFill/>
                <a:prstDash val="solid"/>
                <a:miter/>
              </a:ln>
            </p:spPr>
            <p:txBody>
              <a:bodyPr rtlCol="0" anchor="ctr"/>
              <a:lstStyle/>
              <a:p>
                <a:endParaRPr lang="zh-CN" altLang="en-US"/>
              </a:p>
            </p:txBody>
          </p:sp>
          <p:sp>
            <p:nvSpPr>
              <p:cNvPr id="299" name="i$ľîḋé">
                <a:extLst>
                  <a:ext uri="{FF2B5EF4-FFF2-40B4-BE49-F238E27FC236}">
                    <a16:creationId xmlns:a16="http://schemas.microsoft.com/office/drawing/2014/main" id="{BC4F62ED-C340-462B-9A72-39C7B4771D29}"/>
                  </a:ext>
                </a:extLst>
              </p:cNvPr>
              <p:cNvSpPr/>
              <p:nvPr/>
            </p:nvSpPr>
            <p:spPr>
              <a:xfrm>
                <a:off x="6681346" y="2983788"/>
                <a:ext cx="32936" cy="35724"/>
              </a:xfrm>
              <a:custGeom>
                <a:avLst/>
                <a:gdLst>
                  <a:gd name="connsiteX0" fmla="*/ 22634 w 32936"/>
                  <a:gd name="connsiteY0" fmla="*/ 775 h 35724"/>
                  <a:gd name="connsiteX1" fmla="*/ 537 w 32936"/>
                  <a:gd name="connsiteY1" fmla="*/ 32589 h 35724"/>
                  <a:gd name="connsiteX2" fmla="*/ 7966 w 32936"/>
                  <a:gd name="connsiteY2" fmla="*/ 34589 h 35724"/>
                  <a:gd name="connsiteX3" fmla="*/ 17967 w 32936"/>
                  <a:gd name="connsiteY3" fmla="*/ 22397 h 35724"/>
                  <a:gd name="connsiteX4" fmla="*/ 29492 w 32936"/>
                  <a:gd name="connsiteY4" fmla="*/ 12586 h 35724"/>
                  <a:gd name="connsiteX5" fmla="*/ 22634 w 32936"/>
                  <a:gd name="connsiteY5" fmla="*/ 775 h 3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936" h="35724">
                    <a:moveTo>
                      <a:pt x="22634" y="775"/>
                    </a:moveTo>
                    <a:cubicBezTo>
                      <a:pt x="11586" y="6109"/>
                      <a:pt x="-2988" y="18682"/>
                      <a:pt x="537" y="32589"/>
                    </a:cubicBezTo>
                    <a:cubicBezTo>
                      <a:pt x="1394" y="36113"/>
                      <a:pt x="5490" y="36494"/>
                      <a:pt x="7966" y="34589"/>
                    </a:cubicBezTo>
                    <a:cubicBezTo>
                      <a:pt x="11871" y="31541"/>
                      <a:pt x="15015" y="26303"/>
                      <a:pt x="17967" y="22397"/>
                    </a:cubicBezTo>
                    <a:cubicBezTo>
                      <a:pt x="21015" y="18301"/>
                      <a:pt x="25016" y="15063"/>
                      <a:pt x="29492" y="12586"/>
                    </a:cubicBezTo>
                    <a:cubicBezTo>
                      <a:pt x="37303" y="8205"/>
                      <a:pt x="30445" y="-3035"/>
                      <a:pt x="22634" y="775"/>
                    </a:cubicBezTo>
                    <a:close/>
                  </a:path>
                </a:pathLst>
              </a:custGeom>
              <a:solidFill>
                <a:srgbClr val="8AB229"/>
              </a:solidFill>
              <a:ln w="9525" cap="flat">
                <a:noFill/>
                <a:prstDash val="solid"/>
                <a:miter/>
              </a:ln>
            </p:spPr>
            <p:txBody>
              <a:bodyPr rtlCol="0" anchor="ctr"/>
              <a:lstStyle/>
              <a:p>
                <a:endParaRPr lang="zh-CN" altLang="en-US"/>
              </a:p>
            </p:txBody>
          </p:sp>
          <p:sp>
            <p:nvSpPr>
              <p:cNvPr id="300" name="îṡľíḋè">
                <a:extLst>
                  <a:ext uri="{FF2B5EF4-FFF2-40B4-BE49-F238E27FC236}">
                    <a16:creationId xmlns:a16="http://schemas.microsoft.com/office/drawing/2014/main" id="{AB2423FE-F2EF-418F-858A-A1276365B886}"/>
                  </a:ext>
                </a:extLst>
              </p:cNvPr>
              <p:cNvSpPr/>
              <p:nvPr/>
            </p:nvSpPr>
            <p:spPr>
              <a:xfrm>
                <a:off x="6630404" y="2949563"/>
                <a:ext cx="22721" cy="24861"/>
              </a:xfrm>
              <a:custGeom>
                <a:avLst/>
                <a:gdLst>
                  <a:gd name="connsiteX0" fmla="*/ 12711 w 22721"/>
                  <a:gd name="connsiteY0" fmla="*/ 900 h 24861"/>
                  <a:gd name="connsiteX1" fmla="*/ 10997 w 22721"/>
                  <a:gd name="connsiteY1" fmla="*/ 1186 h 24861"/>
                  <a:gd name="connsiteX2" fmla="*/ 4996 w 22721"/>
                  <a:gd name="connsiteY2" fmla="*/ 6139 h 24861"/>
                  <a:gd name="connsiteX3" fmla="*/ 1281 w 22721"/>
                  <a:gd name="connsiteY3" fmla="*/ 11949 h 24861"/>
                  <a:gd name="connsiteX4" fmla="*/ 14711 w 22721"/>
                  <a:gd name="connsiteY4" fmla="*/ 22332 h 24861"/>
                  <a:gd name="connsiteX5" fmla="*/ 19379 w 22721"/>
                  <a:gd name="connsiteY5" fmla="*/ 17283 h 24861"/>
                  <a:gd name="connsiteX6" fmla="*/ 22617 w 22721"/>
                  <a:gd name="connsiteY6" fmla="*/ 10140 h 24861"/>
                  <a:gd name="connsiteX7" fmla="*/ 22427 w 22721"/>
                  <a:gd name="connsiteY7" fmla="*/ 8616 h 24861"/>
                  <a:gd name="connsiteX8" fmla="*/ 12711 w 22721"/>
                  <a:gd name="connsiteY8" fmla="*/ 900 h 24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721" h="24861">
                    <a:moveTo>
                      <a:pt x="12711" y="900"/>
                    </a:moveTo>
                    <a:cubicBezTo>
                      <a:pt x="12140" y="900"/>
                      <a:pt x="11663" y="996"/>
                      <a:pt x="10997" y="1186"/>
                    </a:cubicBezTo>
                    <a:cubicBezTo>
                      <a:pt x="8139" y="1948"/>
                      <a:pt x="6615" y="3853"/>
                      <a:pt x="4996" y="6139"/>
                    </a:cubicBezTo>
                    <a:cubicBezTo>
                      <a:pt x="3662" y="8044"/>
                      <a:pt x="2519" y="10044"/>
                      <a:pt x="1281" y="11949"/>
                    </a:cubicBezTo>
                    <a:cubicBezTo>
                      <a:pt x="-3958" y="20046"/>
                      <a:pt x="8139" y="29475"/>
                      <a:pt x="14711" y="22332"/>
                    </a:cubicBezTo>
                    <a:cubicBezTo>
                      <a:pt x="16235" y="20617"/>
                      <a:pt x="17855" y="18998"/>
                      <a:pt x="19379" y="17283"/>
                    </a:cubicBezTo>
                    <a:cubicBezTo>
                      <a:pt x="21284" y="15188"/>
                      <a:pt x="22617" y="13092"/>
                      <a:pt x="22617" y="10140"/>
                    </a:cubicBezTo>
                    <a:cubicBezTo>
                      <a:pt x="22617" y="9568"/>
                      <a:pt x="22522" y="9092"/>
                      <a:pt x="22427" y="8616"/>
                    </a:cubicBezTo>
                    <a:cubicBezTo>
                      <a:pt x="24141" y="2710"/>
                      <a:pt x="18045" y="-2052"/>
                      <a:pt x="12711" y="900"/>
                    </a:cubicBezTo>
                    <a:close/>
                  </a:path>
                </a:pathLst>
              </a:custGeom>
              <a:solidFill>
                <a:srgbClr val="8AB229"/>
              </a:solidFill>
              <a:ln w="9525" cap="flat">
                <a:noFill/>
                <a:prstDash val="solid"/>
                <a:miter/>
              </a:ln>
            </p:spPr>
            <p:txBody>
              <a:bodyPr rtlCol="0" anchor="ctr"/>
              <a:lstStyle/>
              <a:p>
                <a:endParaRPr lang="zh-CN" altLang="en-US"/>
              </a:p>
            </p:txBody>
          </p:sp>
          <p:sp>
            <p:nvSpPr>
              <p:cNvPr id="301" name="işļîďe">
                <a:extLst>
                  <a:ext uri="{FF2B5EF4-FFF2-40B4-BE49-F238E27FC236}">
                    <a16:creationId xmlns:a16="http://schemas.microsoft.com/office/drawing/2014/main" id="{3E3891E9-8695-4B27-AA4D-BEC065632D32}"/>
                  </a:ext>
                </a:extLst>
              </p:cNvPr>
              <p:cNvSpPr/>
              <p:nvPr/>
            </p:nvSpPr>
            <p:spPr>
              <a:xfrm>
                <a:off x="6564253" y="2873470"/>
                <a:ext cx="41973" cy="46201"/>
              </a:xfrm>
              <a:custGeom>
                <a:avLst/>
                <a:gdLst>
                  <a:gd name="connsiteX0" fmla="*/ 31427 w 41973"/>
                  <a:gd name="connsiteY0" fmla="*/ 984 h 46201"/>
                  <a:gd name="connsiteX1" fmla="*/ 662 w 41973"/>
                  <a:gd name="connsiteY1" fmla="*/ 35940 h 46201"/>
                  <a:gd name="connsiteX2" fmla="*/ 11425 w 41973"/>
                  <a:gd name="connsiteY2" fmla="*/ 44227 h 46201"/>
                  <a:gd name="connsiteX3" fmla="*/ 40857 w 41973"/>
                  <a:gd name="connsiteY3" fmla="*/ 10318 h 46201"/>
                  <a:gd name="connsiteX4" fmla="*/ 31427 w 41973"/>
                  <a:gd name="connsiteY4" fmla="*/ 984 h 462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73" h="46201">
                    <a:moveTo>
                      <a:pt x="31427" y="984"/>
                    </a:moveTo>
                    <a:cubicBezTo>
                      <a:pt x="18474" y="9937"/>
                      <a:pt x="6948" y="21367"/>
                      <a:pt x="662" y="35940"/>
                    </a:cubicBezTo>
                    <a:cubicBezTo>
                      <a:pt x="-2291" y="42893"/>
                      <a:pt x="5234" y="49656"/>
                      <a:pt x="11425" y="44227"/>
                    </a:cubicBezTo>
                    <a:cubicBezTo>
                      <a:pt x="22665" y="34321"/>
                      <a:pt x="31809" y="22224"/>
                      <a:pt x="40857" y="10318"/>
                    </a:cubicBezTo>
                    <a:cubicBezTo>
                      <a:pt x="44953" y="4889"/>
                      <a:pt x="36857" y="-2731"/>
                      <a:pt x="31427" y="984"/>
                    </a:cubicBezTo>
                    <a:close/>
                  </a:path>
                </a:pathLst>
              </a:custGeom>
              <a:solidFill>
                <a:srgbClr val="8AB229"/>
              </a:solidFill>
              <a:ln w="9525" cap="flat">
                <a:noFill/>
                <a:prstDash val="solid"/>
                <a:miter/>
              </a:ln>
            </p:spPr>
            <p:txBody>
              <a:bodyPr rtlCol="0" anchor="ctr"/>
              <a:lstStyle/>
              <a:p>
                <a:endParaRPr lang="zh-CN" altLang="en-US"/>
              </a:p>
            </p:txBody>
          </p:sp>
          <p:sp>
            <p:nvSpPr>
              <p:cNvPr id="302" name="išḷíḋê">
                <a:extLst>
                  <a:ext uri="{FF2B5EF4-FFF2-40B4-BE49-F238E27FC236}">
                    <a16:creationId xmlns:a16="http://schemas.microsoft.com/office/drawing/2014/main" id="{8495B9B7-2763-42D9-84BF-35E77FCC39A0}"/>
                  </a:ext>
                </a:extLst>
              </p:cNvPr>
              <p:cNvSpPr/>
              <p:nvPr/>
            </p:nvSpPr>
            <p:spPr>
              <a:xfrm>
                <a:off x="6140412" y="3216655"/>
                <a:ext cx="34597" cy="19975"/>
              </a:xfrm>
              <a:custGeom>
                <a:avLst/>
                <a:gdLst>
                  <a:gd name="connsiteX0" fmla="*/ 31407 w 34597"/>
                  <a:gd name="connsiteY0" fmla="*/ 3842 h 19975"/>
                  <a:gd name="connsiteX1" fmla="*/ 4166 w 34597"/>
                  <a:gd name="connsiteY1" fmla="*/ 4032 h 19975"/>
                  <a:gd name="connsiteX2" fmla="*/ 1784 w 34597"/>
                  <a:gd name="connsiteY2" fmla="*/ 16605 h 19975"/>
                  <a:gd name="connsiteX3" fmla="*/ 14548 w 34597"/>
                  <a:gd name="connsiteY3" fmla="*/ 17463 h 19975"/>
                  <a:gd name="connsiteX4" fmla="*/ 24549 w 34597"/>
                  <a:gd name="connsiteY4" fmla="*/ 15653 h 19975"/>
                  <a:gd name="connsiteX5" fmla="*/ 31407 w 34597"/>
                  <a:gd name="connsiteY5" fmla="*/ 3842 h 1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597" h="19975">
                    <a:moveTo>
                      <a:pt x="31407" y="3842"/>
                    </a:moveTo>
                    <a:cubicBezTo>
                      <a:pt x="23216" y="-1683"/>
                      <a:pt x="12452" y="-921"/>
                      <a:pt x="4166" y="4032"/>
                    </a:cubicBezTo>
                    <a:cubicBezTo>
                      <a:pt x="-216" y="6604"/>
                      <a:pt x="-1359" y="12510"/>
                      <a:pt x="1784" y="16605"/>
                    </a:cubicBezTo>
                    <a:cubicBezTo>
                      <a:pt x="4642" y="20320"/>
                      <a:pt x="11119" y="21463"/>
                      <a:pt x="14548" y="17463"/>
                    </a:cubicBezTo>
                    <a:cubicBezTo>
                      <a:pt x="17119" y="14510"/>
                      <a:pt x="21025" y="13843"/>
                      <a:pt x="24549" y="15653"/>
                    </a:cubicBezTo>
                    <a:cubicBezTo>
                      <a:pt x="32359" y="19653"/>
                      <a:pt x="38646" y="8795"/>
                      <a:pt x="31407" y="3842"/>
                    </a:cubicBezTo>
                    <a:close/>
                  </a:path>
                </a:pathLst>
              </a:custGeom>
              <a:solidFill>
                <a:srgbClr val="8AB229"/>
              </a:solidFill>
              <a:ln w="9525" cap="flat">
                <a:noFill/>
                <a:prstDash val="solid"/>
                <a:miter/>
              </a:ln>
            </p:spPr>
            <p:txBody>
              <a:bodyPr rtlCol="0" anchor="ctr"/>
              <a:lstStyle/>
              <a:p>
                <a:endParaRPr lang="zh-CN" altLang="en-US"/>
              </a:p>
            </p:txBody>
          </p:sp>
          <p:sp>
            <p:nvSpPr>
              <p:cNvPr id="303" name="îṡḷîḋê">
                <a:extLst>
                  <a:ext uri="{FF2B5EF4-FFF2-40B4-BE49-F238E27FC236}">
                    <a16:creationId xmlns:a16="http://schemas.microsoft.com/office/drawing/2014/main" id="{29E58E48-A5E5-4339-A384-0C1824C94D7D}"/>
                  </a:ext>
                </a:extLst>
              </p:cNvPr>
              <p:cNvSpPr/>
              <p:nvPr/>
            </p:nvSpPr>
            <p:spPr>
              <a:xfrm>
                <a:off x="6142466" y="3117426"/>
                <a:ext cx="30636" cy="19472"/>
              </a:xfrm>
              <a:custGeom>
                <a:avLst/>
                <a:gdLst>
                  <a:gd name="connsiteX0" fmla="*/ 16874 w 30636"/>
                  <a:gd name="connsiteY0" fmla="*/ 17727 h 19472"/>
                  <a:gd name="connsiteX1" fmla="*/ 19446 w 30636"/>
                  <a:gd name="connsiteY1" fmla="*/ 15632 h 19472"/>
                  <a:gd name="connsiteX2" fmla="*/ 23923 w 30636"/>
                  <a:gd name="connsiteY2" fmla="*/ 15632 h 19472"/>
                  <a:gd name="connsiteX3" fmla="*/ 30590 w 30636"/>
                  <a:gd name="connsiteY3" fmla="*/ 9726 h 19472"/>
                  <a:gd name="connsiteX4" fmla="*/ 25733 w 30636"/>
                  <a:gd name="connsiteY4" fmla="*/ 2201 h 19472"/>
                  <a:gd name="connsiteX5" fmla="*/ 18494 w 30636"/>
                  <a:gd name="connsiteY5" fmla="*/ 677 h 19472"/>
                  <a:gd name="connsiteX6" fmla="*/ 12112 w 30636"/>
                  <a:gd name="connsiteY6" fmla="*/ 11 h 19472"/>
                  <a:gd name="connsiteX7" fmla="*/ 15 w 30636"/>
                  <a:gd name="connsiteY7" fmla="*/ 12869 h 19472"/>
                  <a:gd name="connsiteX8" fmla="*/ 4778 w 30636"/>
                  <a:gd name="connsiteY8" fmla="*/ 19156 h 19472"/>
                  <a:gd name="connsiteX9" fmla="*/ 16874 w 30636"/>
                  <a:gd name="connsiteY9" fmla="*/ 17727 h 19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36" h="19472">
                    <a:moveTo>
                      <a:pt x="16874" y="17727"/>
                    </a:moveTo>
                    <a:cubicBezTo>
                      <a:pt x="17827" y="17156"/>
                      <a:pt x="18684" y="16394"/>
                      <a:pt x="19446" y="15632"/>
                    </a:cubicBezTo>
                    <a:cubicBezTo>
                      <a:pt x="20589" y="15917"/>
                      <a:pt x="22685" y="15536"/>
                      <a:pt x="23923" y="15632"/>
                    </a:cubicBezTo>
                    <a:cubicBezTo>
                      <a:pt x="27257" y="16013"/>
                      <a:pt x="30305" y="12774"/>
                      <a:pt x="30590" y="9726"/>
                    </a:cubicBezTo>
                    <a:cubicBezTo>
                      <a:pt x="30971" y="6202"/>
                      <a:pt x="28971" y="3440"/>
                      <a:pt x="25733" y="2201"/>
                    </a:cubicBezTo>
                    <a:cubicBezTo>
                      <a:pt x="23351" y="1344"/>
                      <a:pt x="20970" y="868"/>
                      <a:pt x="18494" y="677"/>
                    </a:cubicBezTo>
                    <a:cubicBezTo>
                      <a:pt x="16303" y="487"/>
                      <a:pt x="14493" y="-85"/>
                      <a:pt x="12112" y="11"/>
                    </a:cubicBezTo>
                    <a:cubicBezTo>
                      <a:pt x="6492" y="106"/>
                      <a:pt x="-366" y="6964"/>
                      <a:pt x="15" y="12869"/>
                    </a:cubicBezTo>
                    <a:cubicBezTo>
                      <a:pt x="206" y="15727"/>
                      <a:pt x="1920" y="18299"/>
                      <a:pt x="4778" y="19156"/>
                    </a:cubicBezTo>
                    <a:cubicBezTo>
                      <a:pt x="7635" y="19918"/>
                      <a:pt x="14112" y="19251"/>
                      <a:pt x="16874" y="17727"/>
                    </a:cubicBezTo>
                    <a:close/>
                  </a:path>
                </a:pathLst>
              </a:custGeom>
              <a:solidFill>
                <a:srgbClr val="8AB229"/>
              </a:solidFill>
              <a:ln w="9525" cap="flat">
                <a:noFill/>
                <a:prstDash val="solid"/>
                <a:miter/>
              </a:ln>
            </p:spPr>
            <p:txBody>
              <a:bodyPr rtlCol="0" anchor="ctr"/>
              <a:lstStyle/>
              <a:p>
                <a:endParaRPr lang="zh-CN" altLang="en-US"/>
              </a:p>
            </p:txBody>
          </p:sp>
          <p:sp>
            <p:nvSpPr>
              <p:cNvPr id="304" name="i$liḋé">
                <a:extLst>
                  <a:ext uri="{FF2B5EF4-FFF2-40B4-BE49-F238E27FC236}">
                    <a16:creationId xmlns:a16="http://schemas.microsoft.com/office/drawing/2014/main" id="{96B005B1-6C1E-4048-98AF-22B0BC1B2555}"/>
                  </a:ext>
                </a:extLst>
              </p:cNvPr>
              <p:cNvSpPr/>
              <p:nvPr/>
            </p:nvSpPr>
            <p:spPr>
              <a:xfrm>
                <a:off x="6142161" y="3048679"/>
                <a:ext cx="43955" cy="22527"/>
              </a:xfrm>
              <a:custGeom>
                <a:avLst/>
                <a:gdLst>
                  <a:gd name="connsiteX0" fmla="*/ 37278 w 43955"/>
                  <a:gd name="connsiteY0" fmla="*/ 2654 h 22527"/>
                  <a:gd name="connsiteX1" fmla="*/ 21371 w 43955"/>
                  <a:gd name="connsiteY1" fmla="*/ 82 h 22527"/>
                  <a:gd name="connsiteX2" fmla="*/ 4416 w 43955"/>
                  <a:gd name="connsiteY2" fmla="*/ 4178 h 22527"/>
                  <a:gd name="connsiteX3" fmla="*/ 6607 w 43955"/>
                  <a:gd name="connsiteY3" fmla="*/ 21037 h 22527"/>
                  <a:gd name="connsiteX4" fmla="*/ 39087 w 43955"/>
                  <a:gd name="connsiteY4" fmla="*/ 16084 h 22527"/>
                  <a:gd name="connsiteX5" fmla="*/ 37278 w 43955"/>
                  <a:gd name="connsiteY5" fmla="*/ 2654 h 22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955" h="22527">
                    <a:moveTo>
                      <a:pt x="37278" y="2654"/>
                    </a:moveTo>
                    <a:cubicBezTo>
                      <a:pt x="31944" y="2083"/>
                      <a:pt x="26705" y="559"/>
                      <a:pt x="21371" y="82"/>
                    </a:cubicBezTo>
                    <a:cubicBezTo>
                      <a:pt x="15846" y="-394"/>
                      <a:pt x="9179" y="1225"/>
                      <a:pt x="4416" y="4178"/>
                    </a:cubicBezTo>
                    <a:cubicBezTo>
                      <a:pt x="-2727" y="8560"/>
                      <a:pt x="-632" y="18275"/>
                      <a:pt x="6607" y="21037"/>
                    </a:cubicBezTo>
                    <a:cubicBezTo>
                      <a:pt x="18037" y="25324"/>
                      <a:pt x="28324" y="19323"/>
                      <a:pt x="39087" y="16084"/>
                    </a:cubicBezTo>
                    <a:cubicBezTo>
                      <a:pt x="46803" y="13798"/>
                      <a:pt x="44707" y="3416"/>
                      <a:pt x="37278" y="2654"/>
                    </a:cubicBezTo>
                    <a:close/>
                  </a:path>
                </a:pathLst>
              </a:custGeom>
              <a:solidFill>
                <a:srgbClr val="8AB229"/>
              </a:solidFill>
              <a:ln w="9525" cap="flat">
                <a:noFill/>
                <a:prstDash val="solid"/>
                <a:miter/>
              </a:ln>
            </p:spPr>
            <p:txBody>
              <a:bodyPr rtlCol="0" anchor="ctr"/>
              <a:lstStyle/>
              <a:p>
                <a:endParaRPr lang="zh-CN" altLang="en-US"/>
              </a:p>
            </p:txBody>
          </p:sp>
          <p:sp>
            <p:nvSpPr>
              <p:cNvPr id="305" name="iṧ1îḋé">
                <a:extLst>
                  <a:ext uri="{FF2B5EF4-FFF2-40B4-BE49-F238E27FC236}">
                    <a16:creationId xmlns:a16="http://schemas.microsoft.com/office/drawing/2014/main" id="{C3BC982F-0268-47C7-87F9-7CA49D9BD038}"/>
                  </a:ext>
                </a:extLst>
              </p:cNvPr>
              <p:cNvSpPr/>
              <p:nvPr/>
            </p:nvSpPr>
            <p:spPr>
              <a:xfrm>
                <a:off x="5600795" y="2997653"/>
                <a:ext cx="31599" cy="22247"/>
              </a:xfrm>
              <a:custGeom>
                <a:avLst/>
                <a:gdLst>
                  <a:gd name="connsiteX0" fmla="*/ 23050 w 31599"/>
                  <a:gd name="connsiteY0" fmla="*/ 4436 h 22247"/>
                  <a:gd name="connsiteX1" fmla="*/ 6858 w 31599"/>
                  <a:gd name="connsiteY1" fmla="*/ 55 h 22247"/>
                  <a:gd name="connsiteX2" fmla="*/ 0 w 31599"/>
                  <a:gd name="connsiteY2" fmla="*/ 6913 h 22247"/>
                  <a:gd name="connsiteX3" fmla="*/ 6858 w 31599"/>
                  <a:gd name="connsiteY3" fmla="*/ 13771 h 22247"/>
                  <a:gd name="connsiteX4" fmla="*/ 16573 w 31599"/>
                  <a:gd name="connsiteY4" fmla="*/ 15485 h 22247"/>
                  <a:gd name="connsiteX5" fmla="*/ 25337 w 31599"/>
                  <a:gd name="connsiteY5" fmla="*/ 22058 h 22247"/>
                  <a:gd name="connsiteX6" fmla="*/ 31242 w 31599"/>
                  <a:gd name="connsiteY6" fmla="*/ 18724 h 22247"/>
                  <a:gd name="connsiteX7" fmla="*/ 23050 w 31599"/>
                  <a:gd name="connsiteY7" fmla="*/ 4436 h 2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99" h="22247">
                    <a:moveTo>
                      <a:pt x="23050" y="4436"/>
                    </a:moveTo>
                    <a:cubicBezTo>
                      <a:pt x="18288" y="1293"/>
                      <a:pt x="12478" y="-326"/>
                      <a:pt x="6858" y="55"/>
                    </a:cubicBezTo>
                    <a:cubicBezTo>
                      <a:pt x="3143" y="341"/>
                      <a:pt x="0" y="3008"/>
                      <a:pt x="0" y="6913"/>
                    </a:cubicBezTo>
                    <a:cubicBezTo>
                      <a:pt x="0" y="10247"/>
                      <a:pt x="3143" y="14247"/>
                      <a:pt x="6858" y="13771"/>
                    </a:cubicBezTo>
                    <a:cubicBezTo>
                      <a:pt x="10382" y="13295"/>
                      <a:pt x="13525" y="13676"/>
                      <a:pt x="16573" y="15485"/>
                    </a:cubicBezTo>
                    <a:cubicBezTo>
                      <a:pt x="19907" y="17486"/>
                      <a:pt x="21431" y="20915"/>
                      <a:pt x="25337" y="22058"/>
                    </a:cubicBezTo>
                    <a:cubicBezTo>
                      <a:pt x="27908" y="22820"/>
                      <a:pt x="30480" y="21200"/>
                      <a:pt x="31242" y="18724"/>
                    </a:cubicBezTo>
                    <a:cubicBezTo>
                      <a:pt x="33052" y="12628"/>
                      <a:pt x="27622" y="7484"/>
                      <a:pt x="23050" y="4436"/>
                    </a:cubicBezTo>
                    <a:close/>
                  </a:path>
                </a:pathLst>
              </a:custGeom>
              <a:solidFill>
                <a:srgbClr val="8AB229"/>
              </a:solidFill>
              <a:ln w="9525" cap="flat">
                <a:noFill/>
                <a:prstDash val="solid"/>
                <a:miter/>
              </a:ln>
            </p:spPr>
            <p:txBody>
              <a:bodyPr rtlCol="0" anchor="ctr"/>
              <a:lstStyle/>
              <a:p>
                <a:endParaRPr lang="zh-CN" altLang="en-US"/>
              </a:p>
            </p:txBody>
          </p:sp>
          <p:sp>
            <p:nvSpPr>
              <p:cNvPr id="306" name="îṩḻïḓe">
                <a:extLst>
                  <a:ext uri="{FF2B5EF4-FFF2-40B4-BE49-F238E27FC236}">
                    <a16:creationId xmlns:a16="http://schemas.microsoft.com/office/drawing/2014/main" id="{795AB2D3-C0E7-4939-A220-F5DE52B35113}"/>
                  </a:ext>
                </a:extLst>
              </p:cNvPr>
              <p:cNvSpPr/>
              <p:nvPr/>
            </p:nvSpPr>
            <p:spPr>
              <a:xfrm>
                <a:off x="5668255" y="2944391"/>
                <a:ext cx="24313" cy="21767"/>
              </a:xfrm>
              <a:custGeom>
                <a:avLst/>
                <a:gdLst>
                  <a:gd name="connsiteX0" fmla="*/ 13788 w 24313"/>
                  <a:gd name="connsiteY0" fmla="*/ 357 h 21767"/>
                  <a:gd name="connsiteX1" fmla="*/ 3310 w 24313"/>
                  <a:gd name="connsiteY1" fmla="*/ 1596 h 21767"/>
                  <a:gd name="connsiteX2" fmla="*/ 72 w 24313"/>
                  <a:gd name="connsiteY2" fmla="*/ 8358 h 21767"/>
                  <a:gd name="connsiteX3" fmla="*/ 4453 w 24313"/>
                  <a:gd name="connsiteY3" fmla="*/ 13692 h 21767"/>
                  <a:gd name="connsiteX4" fmla="*/ 4549 w 24313"/>
                  <a:gd name="connsiteY4" fmla="*/ 13788 h 21767"/>
                  <a:gd name="connsiteX5" fmla="*/ 4549 w 24313"/>
                  <a:gd name="connsiteY5" fmla="*/ 13788 h 21767"/>
                  <a:gd name="connsiteX6" fmla="*/ 4549 w 24313"/>
                  <a:gd name="connsiteY6" fmla="*/ 13788 h 21767"/>
                  <a:gd name="connsiteX7" fmla="*/ 4453 w 24313"/>
                  <a:gd name="connsiteY7" fmla="*/ 13788 h 21767"/>
                  <a:gd name="connsiteX8" fmla="*/ 4549 w 24313"/>
                  <a:gd name="connsiteY8" fmla="*/ 13788 h 21767"/>
                  <a:gd name="connsiteX9" fmla="*/ 4739 w 24313"/>
                  <a:gd name="connsiteY9" fmla="*/ 14073 h 21767"/>
                  <a:gd name="connsiteX10" fmla="*/ 5406 w 24313"/>
                  <a:gd name="connsiteY10" fmla="*/ 15026 h 21767"/>
                  <a:gd name="connsiteX11" fmla="*/ 5787 w 24313"/>
                  <a:gd name="connsiteY11" fmla="*/ 15597 h 21767"/>
                  <a:gd name="connsiteX12" fmla="*/ 5882 w 24313"/>
                  <a:gd name="connsiteY12" fmla="*/ 15693 h 21767"/>
                  <a:gd name="connsiteX13" fmla="*/ 5787 w 24313"/>
                  <a:gd name="connsiteY13" fmla="*/ 15407 h 21767"/>
                  <a:gd name="connsiteX14" fmla="*/ 6263 w 24313"/>
                  <a:gd name="connsiteY14" fmla="*/ 16074 h 21767"/>
                  <a:gd name="connsiteX15" fmla="*/ 18455 w 24313"/>
                  <a:gd name="connsiteY15" fmla="*/ 21027 h 21767"/>
                  <a:gd name="connsiteX16" fmla="*/ 23027 w 24313"/>
                  <a:gd name="connsiteY16" fmla="*/ 7501 h 21767"/>
                  <a:gd name="connsiteX17" fmla="*/ 13788 w 24313"/>
                  <a:gd name="connsiteY17" fmla="*/ 357 h 2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313" h="21767">
                    <a:moveTo>
                      <a:pt x="13788" y="357"/>
                    </a:moveTo>
                    <a:cubicBezTo>
                      <a:pt x="10073" y="-405"/>
                      <a:pt x="6739" y="72"/>
                      <a:pt x="3310" y="1596"/>
                    </a:cubicBezTo>
                    <a:cubicBezTo>
                      <a:pt x="834" y="2739"/>
                      <a:pt x="-309" y="5977"/>
                      <a:pt x="72" y="8358"/>
                    </a:cubicBezTo>
                    <a:cubicBezTo>
                      <a:pt x="453" y="10930"/>
                      <a:pt x="2167" y="12740"/>
                      <a:pt x="4453" y="13692"/>
                    </a:cubicBezTo>
                    <a:cubicBezTo>
                      <a:pt x="4453" y="13692"/>
                      <a:pt x="4453" y="13788"/>
                      <a:pt x="4549" y="13788"/>
                    </a:cubicBezTo>
                    <a:cubicBezTo>
                      <a:pt x="4358" y="13692"/>
                      <a:pt x="4358" y="13692"/>
                      <a:pt x="4549" y="13788"/>
                    </a:cubicBezTo>
                    <a:cubicBezTo>
                      <a:pt x="4549" y="13788"/>
                      <a:pt x="4549" y="13788"/>
                      <a:pt x="4549" y="13788"/>
                    </a:cubicBezTo>
                    <a:cubicBezTo>
                      <a:pt x="4549" y="13788"/>
                      <a:pt x="4453" y="13788"/>
                      <a:pt x="4453" y="13788"/>
                    </a:cubicBezTo>
                    <a:cubicBezTo>
                      <a:pt x="4453" y="13788"/>
                      <a:pt x="4549" y="13788"/>
                      <a:pt x="4549" y="13788"/>
                    </a:cubicBezTo>
                    <a:cubicBezTo>
                      <a:pt x="4644" y="13883"/>
                      <a:pt x="4644" y="13978"/>
                      <a:pt x="4739" y="14073"/>
                    </a:cubicBezTo>
                    <a:cubicBezTo>
                      <a:pt x="4739" y="14169"/>
                      <a:pt x="5120" y="14550"/>
                      <a:pt x="5406" y="15026"/>
                    </a:cubicBezTo>
                    <a:cubicBezTo>
                      <a:pt x="5406" y="15121"/>
                      <a:pt x="5692" y="15407"/>
                      <a:pt x="5787" y="15597"/>
                    </a:cubicBezTo>
                    <a:cubicBezTo>
                      <a:pt x="5787" y="15597"/>
                      <a:pt x="5787" y="15693"/>
                      <a:pt x="5882" y="15693"/>
                    </a:cubicBezTo>
                    <a:cubicBezTo>
                      <a:pt x="5882" y="15597"/>
                      <a:pt x="5787" y="15502"/>
                      <a:pt x="5787" y="15407"/>
                    </a:cubicBezTo>
                    <a:cubicBezTo>
                      <a:pt x="6073" y="15693"/>
                      <a:pt x="6263" y="15978"/>
                      <a:pt x="6263" y="16074"/>
                    </a:cubicBezTo>
                    <a:cubicBezTo>
                      <a:pt x="8549" y="20550"/>
                      <a:pt x="13311" y="23122"/>
                      <a:pt x="18455" y="21027"/>
                    </a:cubicBezTo>
                    <a:cubicBezTo>
                      <a:pt x="23599" y="18836"/>
                      <a:pt x="25980" y="12454"/>
                      <a:pt x="23027" y="7501"/>
                    </a:cubicBezTo>
                    <a:cubicBezTo>
                      <a:pt x="20836" y="4167"/>
                      <a:pt x="17788" y="1215"/>
                      <a:pt x="13788" y="357"/>
                    </a:cubicBezTo>
                    <a:close/>
                  </a:path>
                </a:pathLst>
              </a:custGeom>
              <a:solidFill>
                <a:srgbClr val="8AB229"/>
              </a:solidFill>
              <a:ln w="9525" cap="flat">
                <a:noFill/>
                <a:prstDash val="solid"/>
                <a:miter/>
              </a:ln>
            </p:spPr>
            <p:txBody>
              <a:bodyPr rtlCol="0" anchor="ctr"/>
              <a:lstStyle/>
              <a:p>
                <a:endParaRPr lang="zh-CN" altLang="en-US"/>
              </a:p>
            </p:txBody>
          </p:sp>
          <p:sp>
            <p:nvSpPr>
              <p:cNvPr id="307" name="íṧļïďé">
                <a:extLst>
                  <a:ext uri="{FF2B5EF4-FFF2-40B4-BE49-F238E27FC236}">
                    <a16:creationId xmlns:a16="http://schemas.microsoft.com/office/drawing/2014/main" id="{1CB849DE-C8B1-4570-B65B-D3AE8A1C742C}"/>
                  </a:ext>
                </a:extLst>
              </p:cNvPr>
              <p:cNvSpPr/>
              <p:nvPr/>
            </p:nvSpPr>
            <p:spPr>
              <a:xfrm>
                <a:off x="5674042" y="2960274"/>
                <a:ext cx="251" cy="590"/>
              </a:xfrm>
              <a:custGeom>
                <a:avLst/>
                <a:gdLst>
                  <a:gd name="connsiteX0" fmla="*/ 0 w 251"/>
                  <a:gd name="connsiteY0" fmla="*/ 0 h 590"/>
                  <a:gd name="connsiteX1" fmla="*/ 0 w 251"/>
                  <a:gd name="connsiteY1" fmla="*/ 0 h 590"/>
                  <a:gd name="connsiteX2" fmla="*/ 0 w 251"/>
                  <a:gd name="connsiteY2" fmla="*/ 0 h 590"/>
                </a:gdLst>
                <a:ahLst/>
                <a:cxnLst>
                  <a:cxn ang="0">
                    <a:pos x="connsiteX0" y="connsiteY0"/>
                  </a:cxn>
                  <a:cxn ang="0">
                    <a:pos x="connsiteX1" y="connsiteY1"/>
                  </a:cxn>
                  <a:cxn ang="0">
                    <a:pos x="connsiteX2" y="connsiteY2"/>
                  </a:cxn>
                </a:cxnLst>
                <a:rect l="l" t="t" r="r" b="b"/>
                <a:pathLst>
                  <a:path w="251" h="590">
                    <a:moveTo>
                      <a:pt x="0" y="0"/>
                    </a:moveTo>
                    <a:cubicBezTo>
                      <a:pt x="381" y="1048"/>
                      <a:pt x="286" y="476"/>
                      <a:pt x="0" y="0"/>
                    </a:cubicBezTo>
                    <a:lnTo>
                      <a:pt x="0" y="0"/>
                    </a:lnTo>
                    <a:close/>
                  </a:path>
                </a:pathLst>
              </a:custGeom>
              <a:solidFill>
                <a:srgbClr val="8AB229"/>
              </a:solidFill>
              <a:ln w="9525" cap="flat">
                <a:noFill/>
                <a:prstDash val="solid"/>
                <a:miter/>
              </a:ln>
            </p:spPr>
            <p:txBody>
              <a:bodyPr rtlCol="0" anchor="ctr"/>
              <a:lstStyle/>
              <a:p>
                <a:endParaRPr lang="zh-CN" altLang="en-US"/>
              </a:p>
            </p:txBody>
          </p:sp>
          <p:sp>
            <p:nvSpPr>
              <p:cNvPr id="308" name="îṣḻídê">
                <a:extLst>
                  <a:ext uri="{FF2B5EF4-FFF2-40B4-BE49-F238E27FC236}">
                    <a16:creationId xmlns:a16="http://schemas.microsoft.com/office/drawing/2014/main" id="{E6A3DA12-06DA-46DE-B91C-02C6DCE74AC5}"/>
                  </a:ext>
                </a:extLst>
              </p:cNvPr>
              <p:cNvSpPr/>
              <p:nvPr/>
            </p:nvSpPr>
            <p:spPr>
              <a:xfrm>
                <a:off x="5703188" y="2884264"/>
                <a:ext cx="42882" cy="28956"/>
              </a:xfrm>
              <a:custGeom>
                <a:avLst/>
                <a:gdLst>
                  <a:gd name="connsiteX0" fmla="*/ 6573 w 42882"/>
                  <a:gd name="connsiteY0" fmla="*/ 1 h 28956"/>
                  <a:gd name="connsiteX1" fmla="*/ 6573 w 42882"/>
                  <a:gd name="connsiteY1" fmla="*/ 13622 h 28956"/>
                  <a:gd name="connsiteX2" fmla="*/ 22956 w 42882"/>
                  <a:gd name="connsiteY2" fmla="*/ 16669 h 28956"/>
                  <a:gd name="connsiteX3" fmla="*/ 35243 w 42882"/>
                  <a:gd name="connsiteY3" fmla="*/ 27909 h 28956"/>
                  <a:gd name="connsiteX4" fmla="*/ 42863 w 42882"/>
                  <a:gd name="connsiteY4" fmla="*/ 24766 h 28956"/>
                  <a:gd name="connsiteX5" fmla="*/ 6573 w 42882"/>
                  <a:gd name="connsiteY5" fmla="*/ 1 h 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82" h="28956">
                    <a:moveTo>
                      <a:pt x="6573" y="1"/>
                    </a:moveTo>
                    <a:cubicBezTo>
                      <a:pt x="-2286" y="1"/>
                      <a:pt x="-2095" y="14479"/>
                      <a:pt x="6573" y="13622"/>
                    </a:cubicBezTo>
                    <a:cubicBezTo>
                      <a:pt x="12287" y="13050"/>
                      <a:pt x="17812" y="13907"/>
                      <a:pt x="22956" y="16669"/>
                    </a:cubicBezTo>
                    <a:cubicBezTo>
                      <a:pt x="28290" y="19527"/>
                      <a:pt x="30766" y="24290"/>
                      <a:pt x="35243" y="27909"/>
                    </a:cubicBezTo>
                    <a:cubicBezTo>
                      <a:pt x="37910" y="30005"/>
                      <a:pt x="43244" y="28957"/>
                      <a:pt x="42863" y="24766"/>
                    </a:cubicBezTo>
                    <a:cubicBezTo>
                      <a:pt x="41243" y="9049"/>
                      <a:pt x="20289" y="-94"/>
                      <a:pt x="6573" y="1"/>
                    </a:cubicBezTo>
                    <a:close/>
                  </a:path>
                </a:pathLst>
              </a:custGeom>
              <a:solidFill>
                <a:srgbClr val="8AB229"/>
              </a:solidFill>
              <a:ln w="9525" cap="flat">
                <a:noFill/>
                <a:prstDash val="solid"/>
                <a:miter/>
              </a:ln>
            </p:spPr>
            <p:txBody>
              <a:bodyPr rtlCol="0" anchor="ctr"/>
              <a:lstStyle/>
              <a:p>
                <a:endParaRPr lang="zh-CN" altLang="en-US"/>
              </a:p>
            </p:txBody>
          </p:sp>
          <p:sp>
            <p:nvSpPr>
              <p:cNvPr id="309" name="îs1íḋe">
                <a:extLst>
                  <a:ext uri="{FF2B5EF4-FFF2-40B4-BE49-F238E27FC236}">
                    <a16:creationId xmlns:a16="http://schemas.microsoft.com/office/drawing/2014/main" id="{1BE7C607-00EC-4FCF-9118-0790F1667274}"/>
                  </a:ext>
                </a:extLst>
              </p:cNvPr>
              <p:cNvSpPr/>
              <p:nvPr/>
            </p:nvSpPr>
            <p:spPr>
              <a:xfrm>
                <a:off x="5393614" y="2451223"/>
                <a:ext cx="20325" cy="55374"/>
              </a:xfrm>
              <a:custGeom>
                <a:avLst/>
                <a:gdLst>
                  <a:gd name="connsiteX0" fmla="*/ 1822 w 20325"/>
                  <a:gd name="connsiteY0" fmla="*/ 8608 h 55374"/>
                  <a:gd name="connsiteX1" fmla="*/ 393 w 20325"/>
                  <a:gd name="connsiteY1" fmla="*/ 46517 h 55374"/>
                  <a:gd name="connsiteX2" fmla="*/ 13538 w 20325"/>
                  <a:gd name="connsiteY2" fmla="*/ 52042 h 55374"/>
                  <a:gd name="connsiteX3" fmla="*/ 14395 w 20325"/>
                  <a:gd name="connsiteY3" fmla="*/ 3274 h 55374"/>
                  <a:gd name="connsiteX4" fmla="*/ 1822 w 20325"/>
                  <a:gd name="connsiteY4" fmla="*/ 8608 h 553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25" h="55374">
                    <a:moveTo>
                      <a:pt x="1822" y="8608"/>
                    </a:moveTo>
                    <a:cubicBezTo>
                      <a:pt x="6108" y="21181"/>
                      <a:pt x="4489" y="34135"/>
                      <a:pt x="393" y="46517"/>
                    </a:cubicBezTo>
                    <a:cubicBezTo>
                      <a:pt x="-2274" y="54423"/>
                      <a:pt x="9347" y="58805"/>
                      <a:pt x="13538" y="52042"/>
                    </a:cubicBezTo>
                    <a:cubicBezTo>
                      <a:pt x="23063" y="36707"/>
                      <a:pt x="21824" y="19276"/>
                      <a:pt x="14395" y="3274"/>
                    </a:cubicBezTo>
                    <a:cubicBezTo>
                      <a:pt x="10966" y="-3584"/>
                      <a:pt x="-750" y="1369"/>
                      <a:pt x="1822" y="8608"/>
                    </a:cubicBezTo>
                    <a:close/>
                  </a:path>
                </a:pathLst>
              </a:custGeom>
              <a:solidFill>
                <a:srgbClr val="8AB229"/>
              </a:solidFill>
              <a:ln w="9525" cap="flat">
                <a:noFill/>
                <a:prstDash val="solid"/>
                <a:miter/>
              </a:ln>
            </p:spPr>
            <p:txBody>
              <a:bodyPr rtlCol="0" anchor="ctr"/>
              <a:lstStyle/>
              <a:p>
                <a:endParaRPr lang="zh-CN" altLang="en-US"/>
              </a:p>
            </p:txBody>
          </p:sp>
          <p:sp>
            <p:nvSpPr>
              <p:cNvPr id="310" name="i$ļïḋe">
                <a:extLst>
                  <a:ext uri="{FF2B5EF4-FFF2-40B4-BE49-F238E27FC236}">
                    <a16:creationId xmlns:a16="http://schemas.microsoft.com/office/drawing/2014/main" id="{FAA38738-AF69-4875-956B-F434E169F434}"/>
                  </a:ext>
                </a:extLst>
              </p:cNvPr>
              <p:cNvSpPr/>
              <p:nvPr/>
            </p:nvSpPr>
            <p:spPr>
              <a:xfrm>
                <a:off x="5459584" y="2466865"/>
                <a:ext cx="17651" cy="28589"/>
              </a:xfrm>
              <a:custGeom>
                <a:avLst/>
                <a:gdLst>
                  <a:gd name="connsiteX0" fmla="*/ 2622 w 17651"/>
                  <a:gd name="connsiteY0" fmla="*/ 1443 h 28589"/>
                  <a:gd name="connsiteX1" fmla="*/ 1955 w 17651"/>
                  <a:gd name="connsiteY1" fmla="*/ 11635 h 28589"/>
                  <a:gd name="connsiteX2" fmla="*/ 4527 w 17651"/>
                  <a:gd name="connsiteY2" fmla="*/ 22113 h 28589"/>
                  <a:gd name="connsiteX3" fmla="*/ 11004 w 17651"/>
                  <a:gd name="connsiteY3" fmla="*/ 28590 h 28589"/>
                  <a:gd name="connsiteX4" fmla="*/ 17481 w 17651"/>
                  <a:gd name="connsiteY4" fmla="*/ 22113 h 28589"/>
                  <a:gd name="connsiteX5" fmla="*/ 12623 w 17651"/>
                  <a:gd name="connsiteY5" fmla="*/ 3444 h 28589"/>
                  <a:gd name="connsiteX6" fmla="*/ 2622 w 17651"/>
                  <a:gd name="connsiteY6" fmla="*/ 1443 h 2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51" h="28589">
                    <a:moveTo>
                      <a:pt x="2622" y="1443"/>
                    </a:moveTo>
                    <a:cubicBezTo>
                      <a:pt x="-903" y="4110"/>
                      <a:pt x="-617" y="8397"/>
                      <a:pt x="1955" y="11635"/>
                    </a:cubicBezTo>
                    <a:cubicBezTo>
                      <a:pt x="4241" y="14588"/>
                      <a:pt x="4812" y="18398"/>
                      <a:pt x="4527" y="22113"/>
                    </a:cubicBezTo>
                    <a:cubicBezTo>
                      <a:pt x="4241" y="25637"/>
                      <a:pt x="7670" y="28590"/>
                      <a:pt x="11004" y="28590"/>
                    </a:cubicBezTo>
                    <a:cubicBezTo>
                      <a:pt x="14814" y="28590"/>
                      <a:pt x="17100" y="25637"/>
                      <a:pt x="17481" y="22113"/>
                    </a:cubicBezTo>
                    <a:cubicBezTo>
                      <a:pt x="18243" y="15636"/>
                      <a:pt x="16433" y="8778"/>
                      <a:pt x="12623" y="3444"/>
                    </a:cubicBezTo>
                    <a:cubicBezTo>
                      <a:pt x="10242" y="15"/>
                      <a:pt x="6051" y="-1224"/>
                      <a:pt x="2622" y="1443"/>
                    </a:cubicBezTo>
                    <a:close/>
                  </a:path>
                </a:pathLst>
              </a:custGeom>
              <a:solidFill>
                <a:srgbClr val="8AB229"/>
              </a:solidFill>
              <a:ln w="9525" cap="flat">
                <a:noFill/>
                <a:prstDash val="solid"/>
                <a:miter/>
              </a:ln>
            </p:spPr>
            <p:txBody>
              <a:bodyPr rtlCol="0" anchor="ctr"/>
              <a:lstStyle/>
              <a:p>
                <a:endParaRPr lang="zh-CN" altLang="en-US"/>
              </a:p>
            </p:txBody>
          </p:sp>
          <p:sp>
            <p:nvSpPr>
              <p:cNvPr id="311" name="iṣḷiďé">
                <a:extLst>
                  <a:ext uri="{FF2B5EF4-FFF2-40B4-BE49-F238E27FC236}">
                    <a16:creationId xmlns:a16="http://schemas.microsoft.com/office/drawing/2014/main" id="{93E5761C-B481-4FAB-8120-CC45FCAE7DEA}"/>
                  </a:ext>
                </a:extLst>
              </p:cNvPr>
              <p:cNvSpPr/>
              <p:nvPr/>
            </p:nvSpPr>
            <p:spPr>
              <a:xfrm>
                <a:off x="5536701" y="2444127"/>
                <a:ext cx="25349" cy="62522"/>
              </a:xfrm>
              <a:custGeom>
                <a:avLst/>
                <a:gdLst>
                  <a:gd name="connsiteX0" fmla="*/ 10183 w 25349"/>
                  <a:gd name="connsiteY0" fmla="*/ 1130 h 62522"/>
                  <a:gd name="connsiteX1" fmla="*/ 181 w 25349"/>
                  <a:gd name="connsiteY1" fmla="*/ 8846 h 62522"/>
                  <a:gd name="connsiteX2" fmla="*/ 4944 w 25349"/>
                  <a:gd name="connsiteY2" fmla="*/ 33611 h 62522"/>
                  <a:gd name="connsiteX3" fmla="*/ 2658 w 25349"/>
                  <a:gd name="connsiteY3" fmla="*/ 57233 h 62522"/>
                  <a:gd name="connsiteX4" fmla="*/ 11516 w 25349"/>
                  <a:gd name="connsiteY4" fmla="*/ 62281 h 62522"/>
                  <a:gd name="connsiteX5" fmla="*/ 25232 w 25349"/>
                  <a:gd name="connsiteY5" fmla="*/ 32182 h 62522"/>
                  <a:gd name="connsiteX6" fmla="*/ 10183 w 25349"/>
                  <a:gd name="connsiteY6" fmla="*/ 1130 h 6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49" h="62522">
                    <a:moveTo>
                      <a:pt x="10183" y="1130"/>
                    </a:moveTo>
                    <a:cubicBezTo>
                      <a:pt x="5134" y="-2584"/>
                      <a:pt x="-1152" y="3607"/>
                      <a:pt x="181" y="8846"/>
                    </a:cubicBezTo>
                    <a:cubicBezTo>
                      <a:pt x="2277" y="16942"/>
                      <a:pt x="5420" y="25133"/>
                      <a:pt x="4944" y="33611"/>
                    </a:cubicBezTo>
                    <a:cubicBezTo>
                      <a:pt x="4468" y="41231"/>
                      <a:pt x="86" y="49994"/>
                      <a:pt x="2658" y="57233"/>
                    </a:cubicBezTo>
                    <a:cubicBezTo>
                      <a:pt x="3991" y="60852"/>
                      <a:pt x="7516" y="63329"/>
                      <a:pt x="11516" y="62281"/>
                    </a:cubicBezTo>
                    <a:cubicBezTo>
                      <a:pt x="23232" y="59042"/>
                      <a:pt x="25994" y="42659"/>
                      <a:pt x="25232" y="32182"/>
                    </a:cubicBezTo>
                    <a:cubicBezTo>
                      <a:pt x="24185" y="19704"/>
                      <a:pt x="20470" y="8846"/>
                      <a:pt x="10183" y="1130"/>
                    </a:cubicBezTo>
                    <a:close/>
                  </a:path>
                </a:pathLst>
              </a:custGeom>
              <a:solidFill>
                <a:srgbClr val="8AB229"/>
              </a:solidFill>
              <a:ln w="9525" cap="flat">
                <a:noFill/>
                <a:prstDash val="solid"/>
                <a:miter/>
              </a:ln>
            </p:spPr>
            <p:txBody>
              <a:bodyPr rtlCol="0" anchor="ctr"/>
              <a:lstStyle/>
              <a:p>
                <a:endParaRPr lang="zh-CN" altLang="en-US"/>
              </a:p>
            </p:txBody>
          </p:sp>
          <p:sp>
            <p:nvSpPr>
              <p:cNvPr id="312" name="ïṥļîḍè">
                <a:extLst>
                  <a:ext uri="{FF2B5EF4-FFF2-40B4-BE49-F238E27FC236}">
                    <a16:creationId xmlns:a16="http://schemas.microsoft.com/office/drawing/2014/main" id="{19A94391-2EF3-4DBB-8C11-8491F64D1D0F}"/>
                  </a:ext>
                </a:extLst>
              </p:cNvPr>
              <p:cNvSpPr/>
              <p:nvPr/>
            </p:nvSpPr>
            <p:spPr>
              <a:xfrm>
                <a:off x="5574354" y="2449748"/>
                <a:ext cx="15880" cy="42191"/>
              </a:xfrm>
              <a:custGeom>
                <a:avLst/>
                <a:gdLst>
                  <a:gd name="connsiteX0" fmla="*/ 343 w 15880"/>
                  <a:gd name="connsiteY0" fmla="*/ 8463 h 42191"/>
                  <a:gd name="connsiteX1" fmla="*/ 3010 w 15880"/>
                  <a:gd name="connsiteY1" fmla="*/ 22941 h 42191"/>
                  <a:gd name="connsiteX2" fmla="*/ 2248 w 15880"/>
                  <a:gd name="connsiteY2" fmla="*/ 37134 h 42191"/>
                  <a:gd name="connsiteX3" fmla="*/ 11773 w 15880"/>
                  <a:gd name="connsiteY3" fmla="*/ 39705 h 42191"/>
                  <a:gd name="connsiteX4" fmla="*/ 13487 w 15880"/>
                  <a:gd name="connsiteY4" fmla="*/ 4844 h 42191"/>
                  <a:gd name="connsiteX5" fmla="*/ 343 w 15880"/>
                  <a:gd name="connsiteY5" fmla="*/ 8463 h 4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880" h="42191">
                    <a:moveTo>
                      <a:pt x="343" y="8463"/>
                    </a:moveTo>
                    <a:cubicBezTo>
                      <a:pt x="1867" y="13226"/>
                      <a:pt x="2914" y="17893"/>
                      <a:pt x="3010" y="22941"/>
                    </a:cubicBezTo>
                    <a:cubicBezTo>
                      <a:pt x="3105" y="27704"/>
                      <a:pt x="1867" y="32466"/>
                      <a:pt x="2248" y="37134"/>
                    </a:cubicBezTo>
                    <a:cubicBezTo>
                      <a:pt x="2629" y="42182"/>
                      <a:pt x="8915" y="44182"/>
                      <a:pt x="11773" y="39705"/>
                    </a:cubicBezTo>
                    <a:cubicBezTo>
                      <a:pt x="17869" y="30276"/>
                      <a:pt x="16059" y="15131"/>
                      <a:pt x="13487" y="4844"/>
                    </a:cubicBezTo>
                    <a:cubicBezTo>
                      <a:pt x="11392" y="-3729"/>
                      <a:pt x="-2324" y="81"/>
                      <a:pt x="343" y="8463"/>
                    </a:cubicBezTo>
                    <a:close/>
                  </a:path>
                </a:pathLst>
              </a:custGeom>
              <a:solidFill>
                <a:srgbClr val="8AB229"/>
              </a:solidFill>
              <a:ln w="9525" cap="flat">
                <a:noFill/>
                <a:prstDash val="solid"/>
                <a:miter/>
              </a:ln>
            </p:spPr>
            <p:txBody>
              <a:bodyPr rtlCol="0" anchor="ctr"/>
              <a:lstStyle/>
              <a:p>
                <a:endParaRPr lang="zh-CN" altLang="en-US"/>
              </a:p>
            </p:txBody>
          </p:sp>
        </p:grpSp>
      </p:grpSp>
      <p:grpSp>
        <p:nvGrpSpPr>
          <p:cNvPr id="313" name="组合 312"/>
          <p:cNvGrpSpPr/>
          <p:nvPr/>
        </p:nvGrpSpPr>
        <p:grpSpPr>
          <a:xfrm>
            <a:off x="888060" y="3184321"/>
            <a:ext cx="432220" cy="416500"/>
            <a:chOff x="4962897" y="2337107"/>
            <a:chExt cx="2266207" cy="2183786"/>
          </a:xfrm>
        </p:grpSpPr>
        <p:grpSp>
          <p:nvGrpSpPr>
            <p:cNvPr id="314" name="îsḷïḋê">
              <a:extLst>
                <a:ext uri="{FF2B5EF4-FFF2-40B4-BE49-F238E27FC236}">
                  <a16:creationId xmlns:a16="http://schemas.microsoft.com/office/drawing/2014/main" id="{011DAE2B-C6E9-4CE2-86B2-F5E011BCB4EC}"/>
                </a:ext>
              </a:extLst>
            </p:cNvPr>
            <p:cNvGrpSpPr/>
            <p:nvPr/>
          </p:nvGrpSpPr>
          <p:grpSpPr>
            <a:xfrm>
              <a:off x="6047380" y="4062158"/>
              <a:ext cx="458735" cy="458735"/>
              <a:chOff x="7559325" y="4371117"/>
              <a:chExt cx="241744" cy="241744"/>
            </a:xfrm>
          </p:grpSpPr>
          <p:sp>
            <p:nvSpPr>
              <p:cNvPr id="348" name="íSľîḓé">
                <a:extLst>
                  <a:ext uri="{FF2B5EF4-FFF2-40B4-BE49-F238E27FC236}">
                    <a16:creationId xmlns:a16="http://schemas.microsoft.com/office/drawing/2014/main" id="{9814C8A6-41E1-496E-B50F-6FD6555FC619}"/>
                  </a:ext>
                </a:extLst>
              </p:cNvPr>
              <p:cNvSpPr/>
              <p:nvPr/>
            </p:nvSpPr>
            <p:spPr>
              <a:xfrm>
                <a:off x="7568850" y="4380642"/>
                <a:ext cx="222507" cy="222694"/>
              </a:xfrm>
              <a:custGeom>
                <a:avLst/>
                <a:gdLst>
                  <a:gd name="connsiteX0" fmla="*/ 205454 w 222507"/>
                  <a:gd name="connsiteY0" fmla="*/ 94107 h 222694"/>
                  <a:gd name="connsiteX1" fmla="*/ 177355 w 222507"/>
                  <a:gd name="connsiteY1" fmla="*/ 94107 h 222694"/>
                  <a:gd name="connsiteX2" fmla="*/ 170212 w 222507"/>
                  <a:gd name="connsiteY2" fmla="*/ 76962 h 222694"/>
                  <a:gd name="connsiteX3" fmla="*/ 190119 w 222507"/>
                  <a:gd name="connsiteY3" fmla="*/ 57055 h 222694"/>
                  <a:gd name="connsiteX4" fmla="*/ 190119 w 222507"/>
                  <a:gd name="connsiteY4" fmla="*/ 32575 h 222694"/>
                  <a:gd name="connsiteX5" fmla="*/ 165640 w 222507"/>
                  <a:gd name="connsiteY5" fmla="*/ 32575 h 222694"/>
                  <a:gd name="connsiteX6" fmla="*/ 145732 w 222507"/>
                  <a:gd name="connsiteY6" fmla="*/ 52483 h 222694"/>
                  <a:gd name="connsiteX7" fmla="*/ 128588 w 222507"/>
                  <a:gd name="connsiteY7" fmla="*/ 45339 h 222694"/>
                  <a:gd name="connsiteX8" fmla="*/ 128588 w 222507"/>
                  <a:gd name="connsiteY8" fmla="*/ 17240 h 222694"/>
                  <a:gd name="connsiteX9" fmla="*/ 111347 w 222507"/>
                  <a:gd name="connsiteY9" fmla="*/ 0 h 222694"/>
                  <a:gd name="connsiteX10" fmla="*/ 94107 w 222507"/>
                  <a:gd name="connsiteY10" fmla="*/ 17240 h 222694"/>
                  <a:gd name="connsiteX11" fmla="*/ 94107 w 222507"/>
                  <a:gd name="connsiteY11" fmla="*/ 45339 h 222694"/>
                  <a:gd name="connsiteX12" fmla="*/ 76962 w 222507"/>
                  <a:gd name="connsiteY12" fmla="*/ 52483 h 222694"/>
                  <a:gd name="connsiteX13" fmla="*/ 57055 w 222507"/>
                  <a:gd name="connsiteY13" fmla="*/ 32575 h 222694"/>
                  <a:gd name="connsiteX14" fmla="*/ 32575 w 222507"/>
                  <a:gd name="connsiteY14" fmla="*/ 32575 h 222694"/>
                  <a:gd name="connsiteX15" fmla="*/ 32575 w 222507"/>
                  <a:gd name="connsiteY15" fmla="*/ 57055 h 222694"/>
                  <a:gd name="connsiteX16" fmla="*/ 52483 w 222507"/>
                  <a:gd name="connsiteY16" fmla="*/ 76962 h 222694"/>
                  <a:gd name="connsiteX17" fmla="*/ 45339 w 222507"/>
                  <a:gd name="connsiteY17" fmla="*/ 94107 h 222694"/>
                  <a:gd name="connsiteX18" fmla="*/ 17240 w 222507"/>
                  <a:gd name="connsiteY18" fmla="*/ 94107 h 222694"/>
                  <a:gd name="connsiteX19" fmla="*/ 0 w 222507"/>
                  <a:gd name="connsiteY19" fmla="*/ 111347 h 222694"/>
                  <a:gd name="connsiteX20" fmla="*/ 17240 w 222507"/>
                  <a:gd name="connsiteY20" fmla="*/ 128588 h 222694"/>
                  <a:gd name="connsiteX21" fmla="*/ 45339 w 222507"/>
                  <a:gd name="connsiteY21" fmla="*/ 128588 h 222694"/>
                  <a:gd name="connsiteX22" fmla="*/ 52483 w 222507"/>
                  <a:gd name="connsiteY22" fmla="*/ 145733 h 222694"/>
                  <a:gd name="connsiteX23" fmla="*/ 32575 w 222507"/>
                  <a:gd name="connsiteY23" fmla="*/ 165640 h 222694"/>
                  <a:gd name="connsiteX24" fmla="*/ 32575 w 222507"/>
                  <a:gd name="connsiteY24" fmla="*/ 190119 h 222694"/>
                  <a:gd name="connsiteX25" fmla="*/ 44767 w 222507"/>
                  <a:gd name="connsiteY25" fmla="*/ 195167 h 222694"/>
                  <a:gd name="connsiteX26" fmla="*/ 56959 w 222507"/>
                  <a:gd name="connsiteY26" fmla="*/ 190119 h 222694"/>
                  <a:gd name="connsiteX27" fmla="*/ 76867 w 222507"/>
                  <a:gd name="connsiteY27" fmla="*/ 170212 h 222694"/>
                  <a:gd name="connsiteX28" fmla="*/ 94012 w 222507"/>
                  <a:gd name="connsiteY28" fmla="*/ 177355 h 222694"/>
                  <a:gd name="connsiteX29" fmla="*/ 94012 w 222507"/>
                  <a:gd name="connsiteY29" fmla="*/ 205454 h 222694"/>
                  <a:gd name="connsiteX30" fmla="*/ 111252 w 222507"/>
                  <a:gd name="connsiteY30" fmla="*/ 222694 h 222694"/>
                  <a:gd name="connsiteX31" fmla="*/ 128492 w 222507"/>
                  <a:gd name="connsiteY31" fmla="*/ 205454 h 222694"/>
                  <a:gd name="connsiteX32" fmla="*/ 128492 w 222507"/>
                  <a:gd name="connsiteY32" fmla="*/ 177355 h 222694"/>
                  <a:gd name="connsiteX33" fmla="*/ 145637 w 222507"/>
                  <a:gd name="connsiteY33" fmla="*/ 170212 h 222694"/>
                  <a:gd name="connsiteX34" fmla="*/ 165545 w 222507"/>
                  <a:gd name="connsiteY34" fmla="*/ 190119 h 222694"/>
                  <a:gd name="connsiteX35" fmla="*/ 177737 w 222507"/>
                  <a:gd name="connsiteY35" fmla="*/ 195167 h 222694"/>
                  <a:gd name="connsiteX36" fmla="*/ 189929 w 222507"/>
                  <a:gd name="connsiteY36" fmla="*/ 190119 h 222694"/>
                  <a:gd name="connsiteX37" fmla="*/ 189929 w 222507"/>
                  <a:gd name="connsiteY37" fmla="*/ 165640 h 222694"/>
                  <a:gd name="connsiteX38" fmla="*/ 170021 w 222507"/>
                  <a:gd name="connsiteY38" fmla="*/ 145733 h 222694"/>
                  <a:gd name="connsiteX39" fmla="*/ 177165 w 222507"/>
                  <a:gd name="connsiteY39" fmla="*/ 128588 h 222694"/>
                  <a:gd name="connsiteX40" fmla="*/ 205264 w 222507"/>
                  <a:gd name="connsiteY40" fmla="*/ 128588 h 222694"/>
                  <a:gd name="connsiteX41" fmla="*/ 222504 w 222507"/>
                  <a:gd name="connsiteY41" fmla="*/ 111347 h 222694"/>
                  <a:gd name="connsiteX42" fmla="*/ 205454 w 222507"/>
                  <a:gd name="connsiteY42" fmla="*/ 94107 h 2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507" h="222694">
                    <a:moveTo>
                      <a:pt x="205454" y="94107"/>
                    </a:moveTo>
                    <a:lnTo>
                      <a:pt x="177355" y="94107"/>
                    </a:lnTo>
                    <a:cubicBezTo>
                      <a:pt x="175736" y="88011"/>
                      <a:pt x="173355" y="82296"/>
                      <a:pt x="170212" y="76962"/>
                    </a:cubicBezTo>
                    <a:lnTo>
                      <a:pt x="190119" y="57055"/>
                    </a:lnTo>
                    <a:cubicBezTo>
                      <a:pt x="196882" y="50292"/>
                      <a:pt x="196882" y="39338"/>
                      <a:pt x="190119" y="32575"/>
                    </a:cubicBezTo>
                    <a:cubicBezTo>
                      <a:pt x="183356" y="25813"/>
                      <a:pt x="172403" y="25813"/>
                      <a:pt x="165640" y="32575"/>
                    </a:cubicBezTo>
                    <a:lnTo>
                      <a:pt x="145732" y="52483"/>
                    </a:lnTo>
                    <a:cubicBezTo>
                      <a:pt x="140398" y="49339"/>
                      <a:pt x="134683" y="46958"/>
                      <a:pt x="128588" y="45339"/>
                    </a:cubicBezTo>
                    <a:lnTo>
                      <a:pt x="128588" y="17240"/>
                    </a:lnTo>
                    <a:cubicBezTo>
                      <a:pt x="128588" y="7715"/>
                      <a:pt x="120872" y="0"/>
                      <a:pt x="111347" y="0"/>
                    </a:cubicBezTo>
                    <a:cubicBezTo>
                      <a:pt x="101822" y="0"/>
                      <a:pt x="94107" y="7715"/>
                      <a:pt x="94107" y="17240"/>
                    </a:cubicBezTo>
                    <a:lnTo>
                      <a:pt x="94107" y="45339"/>
                    </a:lnTo>
                    <a:cubicBezTo>
                      <a:pt x="88011" y="46958"/>
                      <a:pt x="82296" y="49339"/>
                      <a:pt x="76962" y="52483"/>
                    </a:cubicBezTo>
                    <a:lnTo>
                      <a:pt x="57055" y="32575"/>
                    </a:lnTo>
                    <a:cubicBezTo>
                      <a:pt x="50292" y="25813"/>
                      <a:pt x="39338" y="25813"/>
                      <a:pt x="32575" y="32575"/>
                    </a:cubicBezTo>
                    <a:cubicBezTo>
                      <a:pt x="25813" y="39338"/>
                      <a:pt x="25813" y="50292"/>
                      <a:pt x="32575" y="57055"/>
                    </a:cubicBezTo>
                    <a:lnTo>
                      <a:pt x="52483" y="76962"/>
                    </a:lnTo>
                    <a:cubicBezTo>
                      <a:pt x="49339" y="82296"/>
                      <a:pt x="46958" y="88011"/>
                      <a:pt x="45339" y="94107"/>
                    </a:cubicBezTo>
                    <a:lnTo>
                      <a:pt x="17240" y="94107"/>
                    </a:lnTo>
                    <a:cubicBezTo>
                      <a:pt x="7715" y="94107"/>
                      <a:pt x="0" y="101822"/>
                      <a:pt x="0" y="111347"/>
                    </a:cubicBezTo>
                    <a:cubicBezTo>
                      <a:pt x="0" y="120872"/>
                      <a:pt x="7715" y="128588"/>
                      <a:pt x="17240" y="128588"/>
                    </a:cubicBezTo>
                    <a:lnTo>
                      <a:pt x="45339" y="128588"/>
                    </a:lnTo>
                    <a:cubicBezTo>
                      <a:pt x="46958" y="134684"/>
                      <a:pt x="49339" y="140398"/>
                      <a:pt x="52483" y="145733"/>
                    </a:cubicBezTo>
                    <a:lnTo>
                      <a:pt x="32575" y="165640"/>
                    </a:lnTo>
                    <a:cubicBezTo>
                      <a:pt x="25813" y="172402"/>
                      <a:pt x="25813" y="183356"/>
                      <a:pt x="32575" y="190119"/>
                    </a:cubicBezTo>
                    <a:cubicBezTo>
                      <a:pt x="35909" y="193453"/>
                      <a:pt x="40386" y="195167"/>
                      <a:pt x="44767" y="195167"/>
                    </a:cubicBezTo>
                    <a:cubicBezTo>
                      <a:pt x="49149" y="195167"/>
                      <a:pt x="53626" y="193453"/>
                      <a:pt x="56959" y="190119"/>
                    </a:cubicBezTo>
                    <a:lnTo>
                      <a:pt x="76867" y="170212"/>
                    </a:lnTo>
                    <a:cubicBezTo>
                      <a:pt x="82201" y="173355"/>
                      <a:pt x="87916" y="175736"/>
                      <a:pt x="94012" y="177355"/>
                    </a:cubicBezTo>
                    <a:lnTo>
                      <a:pt x="94012" y="205454"/>
                    </a:lnTo>
                    <a:cubicBezTo>
                      <a:pt x="94012" y="214979"/>
                      <a:pt x="101727" y="222694"/>
                      <a:pt x="111252" y="222694"/>
                    </a:cubicBezTo>
                    <a:cubicBezTo>
                      <a:pt x="120777" y="222694"/>
                      <a:pt x="128492" y="214979"/>
                      <a:pt x="128492" y="205454"/>
                    </a:cubicBezTo>
                    <a:lnTo>
                      <a:pt x="128492" y="177355"/>
                    </a:lnTo>
                    <a:cubicBezTo>
                      <a:pt x="134588" y="175736"/>
                      <a:pt x="140303" y="173355"/>
                      <a:pt x="145637" y="170212"/>
                    </a:cubicBezTo>
                    <a:lnTo>
                      <a:pt x="165545" y="190119"/>
                    </a:lnTo>
                    <a:cubicBezTo>
                      <a:pt x="168878" y="193453"/>
                      <a:pt x="173355" y="195167"/>
                      <a:pt x="177737" y="195167"/>
                    </a:cubicBezTo>
                    <a:cubicBezTo>
                      <a:pt x="182118" y="195167"/>
                      <a:pt x="186595" y="193453"/>
                      <a:pt x="189929" y="190119"/>
                    </a:cubicBezTo>
                    <a:cubicBezTo>
                      <a:pt x="196691" y="183356"/>
                      <a:pt x="196691" y="172402"/>
                      <a:pt x="189929" y="165640"/>
                    </a:cubicBezTo>
                    <a:lnTo>
                      <a:pt x="170021" y="145733"/>
                    </a:lnTo>
                    <a:cubicBezTo>
                      <a:pt x="173164" y="140398"/>
                      <a:pt x="175546" y="134684"/>
                      <a:pt x="177165" y="128588"/>
                    </a:cubicBezTo>
                    <a:lnTo>
                      <a:pt x="205264" y="128588"/>
                    </a:lnTo>
                    <a:cubicBezTo>
                      <a:pt x="214789" y="128588"/>
                      <a:pt x="222504" y="120872"/>
                      <a:pt x="222504" y="111347"/>
                    </a:cubicBezTo>
                    <a:cubicBezTo>
                      <a:pt x="222695" y="101822"/>
                      <a:pt x="214979" y="94107"/>
                      <a:pt x="205454" y="94107"/>
                    </a:cubicBezTo>
                    <a:close/>
                  </a:path>
                </a:pathLst>
              </a:custGeom>
              <a:solidFill>
                <a:srgbClr val="F2B867"/>
              </a:solidFill>
              <a:ln w="9525" cap="flat">
                <a:noFill/>
                <a:prstDash val="solid"/>
                <a:miter/>
              </a:ln>
            </p:spPr>
            <p:txBody>
              <a:bodyPr rtlCol="0" anchor="ctr"/>
              <a:lstStyle/>
              <a:p>
                <a:endParaRPr lang="en-GB"/>
              </a:p>
            </p:txBody>
          </p:sp>
          <p:sp>
            <p:nvSpPr>
              <p:cNvPr id="349" name="íṧļíďé">
                <a:extLst>
                  <a:ext uri="{FF2B5EF4-FFF2-40B4-BE49-F238E27FC236}">
                    <a16:creationId xmlns:a16="http://schemas.microsoft.com/office/drawing/2014/main" id="{F720AD02-DBC0-4CAB-9DE4-0060A3AEABBF}"/>
                  </a:ext>
                </a:extLst>
              </p:cNvPr>
              <p:cNvSpPr/>
              <p:nvPr/>
            </p:nvSpPr>
            <p:spPr>
              <a:xfrm>
                <a:off x="7559325" y="4371117"/>
                <a:ext cx="241744" cy="241744"/>
              </a:xfrm>
              <a:custGeom>
                <a:avLst/>
                <a:gdLst>
                  <a:gd name="connsiteX0" fmla="*/ 120872 w 241744"/>
                  <a:gd name="connsiteY0" fmla="*/ 241744 h 241744"/>
                  <a:gd name="connsiteX1" fmla="*/ 94012 w 241744"/>
                  <a:gd name="connsiteY1" fmla="*/ 214979 h 241744"/>
                  <a:gd name="connsiteX2" fmla="*/ 94012 w 241744"/>
                  <a:gd name="connsiteY2" fmla="*/ 193834 h 241744"/>
                  <a:gd name="connsiteX3" fmla="*/ 88202 w 241744"/>
                  <a:gd name="connsiteY3" fmla="*/ 191452 h 241744"/>
                  <a:gd name="connsiteX4" fmla="*/ 73247 w 241744"/>
                  <a:gd name="connsiteY4" fmla="*/ 206407 h 241744"/>
                  <a:gd name="connsiteX5" fmla="*/ 35338 w 241744"/>
                  <a:gd name="connsiteY5" fmla="*/ 206407 h 241744"/>
                  <a:gd name="connsiteX6" fmla="*/ 35338 w 241744"/>
                  <a:gd name="connsiteY6" fmla="*/ 168497 h 241744"/>
                  <a:gd name="connsiteX7" fmla="*/ 50292 w 241744"/>
                  <a:gd name="connsiteY7" fmla="*/ 153543 h 241744"/>
                  <a:gd name="connsiteX8" fmla="*/ 47911 w 241744"/>
                  <a:gd name="connsiteY8" fmla="*/ 147733 h 241744"/>
                  <a:gd name="connsiteX9" fmla="*/ 26765 w 241744"/>
                  <a:gd name="connsiteY9" fmla="*/ 147733 h 241744"/>
                  <a:gd name="connsiteX10" fmla="*/ 0 w 241744"/>
                  <a:gd name="connsiteY10" fmla="*/ 120872 h 241744"/>
                  <a:gd name="connsiteX11" fmla="*/ 26765 w 241744"/>
                  <a:gd name="connsiteY11" fmla="*/ 94107 h 241744"/>
                  <a:gd name="connsiteX12" fmla="*/ 47911 w 241744"/>
                  <a:gd name="connsiteY12" fmla="*/ 94107 h 241744"/>
                  <a:gd name="connsiteX13" fmla="*/ 50292 w 241744"/>
                  <a:gd name="connsiteY13" fmla="*/ 88297 h 241744"/>
                  <a:gd name="connsiteX14" fmla="*/ 35338 w 241744"/>
                  <a:gd name="connsiteY14" fmla="*/ 73342 h 241744"/>
                  <a:gd name="connsiteX15" fmla="*/ 35338 w 241744"/>
                  <a:gd name="connsiteY15" fmla="*/ 35433 h 241744"/>
                  <a:gd name="connsiteX16" fmla="*/ 73247 w 241744"/>
                  <a:gd name="connsiteY16" fmla="*/ 35433 h 241744"/>
                  <a:gd name="connsiteX17" fmla="*/ 88202 w 241744"/>
                  <a:gd name="connsiteY17" fmla="*/ 50387 h 241744"/>
                  <a:gd name="connsiteX18" fmla="*/ 94012 w 241744"/>
                  <a:gd name="connsiteY18" fmla="*/ 48006 h 241744"/>
                  <a:gd name="connsiteX19" fmla="*/ 94012 w 241744"/>
                  <a:gd name="connsiteY19" fmla="*/ 26860 h 241744"/>
                  <a:gd name="connsiteX20" fmla="*/ 120872 w 241744"/>
                  <a:gd name="connsiteY20" fmla="*/ 0 h 241744"/>
                  <a:gd name="connsiteX21" fmla="*/ 147638 w 241744"/>
                  <a:gd name="connsiteY21" fmla="*/ 26860 h 241744"/>
                  <a:gd name="connsiteX22" fmla="*/ 147638 w 241744"/>
                  <a:gd name="connsiteY22" fmla="*/ 48006 h 241744"/>
                  <a:gd name="connsiteX23" fmla="*/ 153448 w 241744"/>
                  <a:gd name="connsiteY23" fmla="*/ 50387 h 241744"/>
                  <a:gd name="connsiteX24" fmla="*/ 168402 w 241744"/>
                  <a:gd name="connsiteY24" fmla="*/ 35433 h 241744"/>
                  <a:gd name="connsiteX25" fmla="*/ 206312 w 241744"/>
                  <a:gd name="connsiteY25" fmla="*/ 35433 h 241744"/>
                  <a:gd name="connsiteX26" fmla="*/ 206312 w 241744"/>
                  <a:gd name="connsiteY26" fmla="*/ 73342 h 241744"/>
                  <a:gd name="connsiteX27" fmla="*/ 191357 w 241744"/>
                  <a:gd name="connsiteY27" fmla="*/ 88297 h 241744"/>
                  <a:gd name="connsiteX28" fmla="*/ 193738 w 241744"/>
                  <a:gd name="connsiteY28" fmla="*/ 94107 h 241744"/>
                  <a:gd name="connsiteX29" fmla="*/ 214884 w 241744"/>
                  <a:gd name="connsiteY29" fmla="*/ 94107 h 241744"/>
                  <a:gd name="connsiteX30" fmla="*/ 241745 w 241744"/>
                  <a:gd name="connsiteY30" fmla="*/ 120872 h 241744"/>
                  <a:gd name="connsiteX31" fmla="*/ 214884 w 241744"/>
                  <a:gd name="connsiteY31" fmla="*/ 147733 h 241744"/>
                  <a:gd name="connsiteX32" fmla="*/ 193738 w 241744"/>
                  <a:gd name="connsiteY32" fmla="*/ 147733 h 241744"/>
                  <a:gd name="connsiteX33" fmla="*/ 191357 w 241744"/>
                  <a:gd name="connsiteY33" fmla="*/ 153543 h 241744"/>
                  <a:gd name="connsiteX34" fmla="*/ 206312 w 241744"/>
                  <a:gd name="connsiteY34" fmla="*/ 168497 h 241744"/>
                  <a:gd name="connsiteX35" fmla="*/ 206312 w 241744"/>
                  <a:gd name="connsiteY35" fmla="*/ 206407 h 241744"/>
                  <a:gd name="connsiteX36" fmla="*/ 168402 w 241744"/>
                  <a:gd name="connsiteY36" fmla="*/ 206407 h 241744"/>
                  <a:gd name="connsiteX37" fmla="*/ 153448 w 241744"/>
                  <a:gd name="connsiteY37" fmla="*/ 191452 h 241744"/>
                  <a:gd name="connsiteX38" fmla="*/ 147638 w 241744"/>
                  <a:gd name="connsiteY38" fmla="*/ 193834 h 241744"/>
                  <a:gd name="connsiteX39" fmla="*/ 147638 w 241744"/>
                  <a:gd name="connsiteY39" fmla="*/ 214979 h 241744"/>
                  <a:gd name="connsiteX40" fmla="*/ 120872 w 241744"/>
                  <a:gd name="connsiteY40" fmla="*/ 241744 h 241744"/>
                  <a:gd name="connsiteX41" fmla="*/ 84963 w 241744"/>
                  <a:gd name="connsiteY41" fmla="*/ 167830 h 241744"/>
                  <a:gd name="connsiteX42" fmla="*/ 91345 w 241744"/>
                  <a:gd name="connsiteY42" fmla="*/ 171545 h 241744"/>
                  <a:gd name="connsiteX43" fmla="*/ 106013 w 241744"/>
                  <a:gd name="connsiteY43" fmla="*/ 177641 h 241744"/>
                  <a:gd name="connsiteX44" fmla="*/ 113157 w 241744"/>
                  <a:gd name="connsiteY44" fmla="*/ 179546 h 241744"/>
                  <a:gd name="connsiteX45" fmla="*/ 113157 w 241744"/>
                  <a:gd name="connsiteY45" fmla="*/ 214979 h 241744"/>
                  <a:gd name="connsiteX46" fmla="*/ 120967 w 241744"/>
                  <a:gd name="connsiteY46" fmla="*/ 222694 h 241744"/>
                  <a:gd name="connsiteX47" fmla="*/ 128683 w 241744"/>
                  <a:gd name="connsiteY47" fmla="*/ 214979 h 241744"/>
                  <a:gd name="connsiteX48" fmla="*/ 128683 w 241744"/>
                  <a:gd name="connsiteY48" fmla="*/ 179546 h 241744"/>
                  <a:gd name="connsiteX49" fmla="*/ 135827 w 241744"/>
                  <a:gd name="connsiteY49" fmla="*/ 177641 h 241744"/>
                  <a:gd name="connsiteX50" fmla="*/ 150495 w 241744"/>
                  <a:gd name="connsiteY50" fmla="*/ 171545 h 241744"/>
                  <a:gd name="connsiteX51" fmla="*/ 156877 w 241744"/>
                  <a:gd name="connsiteY51" fmla="*/ 167830 h 241744"/>
                  <a:gd name="connsiteX52" fmla="*/ 181928 w 241744"/>
                  <a:gd name="connsiteY52" fmla="*/ 192881 h 241744"/>
                  <a:gd name="connsiteX53" fmla="*/ 192881 w 241744"/>
                  <a:gd name="connsiteY53" fmla="*/ 192881 h 241744"/>
                  <a:gd name="connsiteX54" fmla="*/ 192881 w 241744"/>
                  <a:gd name="connsiteY54" fmla="*/ 181927 h 241744"/>
                  <a:gd name="connsiteX55" fmla="*/ 167830 w 241744"/>
                  <a:gd name="connsiteY55" fmla="*/ 156877 h 241744"/>
                  <a:gd name="connsiteX56" fmla="*/ 171545 w 241744"/>
                  <a:gd name="connsiteY56" fmla="*/ 150495 h 241744"/>
                  <a:gd name="connsiteX57" fmla="*/ 177641 w 241744"/>
                  <a:gd name="connsiteY57" fmla="*/ 135826 h 241744"/>
                  <a:gd name="connsiteX58" fmla="*/ 179546 w 241744"/>
                  <a:gd name="connsiteY58" fmla="*/ 128683 h 241744"/>
                  <a:gd name="connsiteX59" fmla="*/ 214979 w 241744"/>
                  <a:gd name="connsiteY59" fmla="*/ 128683 h 241744"/>
                  <a:gd name="connsiteX60" fmla="*/ 222790 w 241744"/>
                  <a:gd name="connsiteY60" fmla="*/ 120872 h 241744"/>
                  <a:gd name="connsiteX61" fmla="*/ 214979 w 241744"/>
                  <a:gd name="connsiteY61" fmla="*/ 113157 h 241744"/>
                  <a:gd name="connsiteX62" fmla="*/ 179546 w 241744"/>
                  <a:gd name="connsiteY62" fmla="*/ 113157 h 241744"/>
                  <a:gd name="connsiteX63" fmla="*/ 177641 w 241744"/>
                  <a:gd name="connsiteY63" fmla="*/ 106013 h 241744"/>
                  <a:gd name="connsiteX64" fmla="*/ 171545 w 241744"/>
                  <a:gd name="connsiteY64" fmla="*/ 91345 h 241744"/>
                  <a:gd name="connsiteX65" fmla="*/ 167830 w 241744"/>
                  <a:gd name="connsiteY65" fmla="*/ 84963 h 241744"/>
                  <a:gd name="connsiteX66" fmla="*/ 192881 w 241744"/>
                  <a:gd name="connsiteY66" fmla="*/ 59912 h 241744"/>
                  <a:gd name="connsiteX67" fmla="*/ 192881 w 241744"/>
                  <a:gd name="connsiteY67" fmla="*/ 48958 h 241744"/>
                  <a:gd name="connsiteX68" fmla="*/ 181928 w 241744"/>
                  <a:gd name="connsiteY68" fmla="*/ 48958 h 241744"/>
                  <a:gd name="connsiteX69" fmla="*/ 156877 w 241744"/>
                  <a:gd name="connsiteY69" fmla="*/ 74009 h 241744"/>
                  <a:gd name="connsiteX70" fmla="*/ 150495 w 241744"/>
                  <a:gd name="connsiteY70" fmla="*/ 70294 h 241744"/>
                  <a:gd name="connsiteX71" fmla="*/ 135827 w 241744"/>
                  <a:gd name="connsiteY71" fmla="*/ 64198 h 241744"/>
                  <a:gd name="connsiteX72" fmla="*/ 128683 w 241744"/>
                  <a:gd name="connsiteY72" fmla="*/ 62293 h 241744"/>
                  <a:gd name="connsiteX73" fmla="*/ 128683 w 241744"/>
                  <a:gd name="connsiteY73" fmla="*/ 26860 h 241744"/>
                  <a:gd name="connsiteX74" fmla="*/ 120967 w 241744"/>
                  <a:gd name="connsiteY74" fmla="*/ 19050 h 241744"/>
                  <a:gd name="connsiteX75" fmla="*/ 113157 w 241744"/>
                  <a:gd name="connsiteY75" fmla="*/ 26860 h 241744"/>
                  <a:gd name="connsiteX76" fmla="*/ 113157 w 241744"/>
                  <a:gd name="connsiteY76" fmla="*/ 62293 h 241744"/>
                  <a:gd name="connsiteX77" fmla="*/ 106013 w 241744"/>
                  <a:gd name="connsiteY77" fmla="*/ 64198 h 241744"/>
                  <a:gd name="connsiteX78" fmla="*/ 91345 w 241744"/>
                  <a:gd name="connsiteY78" fmla="*/ 70294 h 241744"/>
                  <a:gd name="connsiteX79" fmla="*/ 84963 w 241744"/>
                  <a:gd name="connsiteY79" fmla="*/ 74009 h 241744"/>
                  <a:gd name="connsiteX80" fmla="*/ 59912 w 241744"/>
                  <a:gd name="connsiteY80" fmla="*/ 48958 h 241744"/>
                  <a:gd name="connsiteX81" fmla="*/ 48958 w 241744"/>
                  <a:gd name="connsiteY81" fmla="*/ 48958 h 241744"/>
                  <a:gd name="connsiteX82" fmla="*/ 48958 w 241744"/>
                  <a:gd name="connsiteY82" fmla="*/ 59912 h 241744"/>
                  <a:gd name="connsiteX83" fmla="*/ 74009 w 241744"/>
                  <a:gd name="connsiteY83" fmla="*/ 84963 h 241744"/>
                  <a:gd name="connsiteX84" fmla="*/ 70295 w 241744"/>
                  <a:gd name="connsiteY84" fmla="*/ 91345 h 241744"/>
                  <a:gd name="connsiteX85" fmla="*/ 64198 w 241744"/>
                  <a:gd name="connsiteY85" fmla="*/ 106108 h 241744"/>
                  <a:gd name="connsiteX86" fmla="*/ 62294 w 241744"/>
                  <a:gd name="connsiteY86" fmla="*/ 113252 h 241744"/>
                  <a:gd name="connsiteX87" fmla="*/ 26861 w 241744"/>
                  <a:gd name="connsiteY87" fmla="*/ 113252 h 241744"/>
                  <a:gd name="connsiteX88" fmla="*/ 19145 w 241744"/>
                  <a:gd name="connsiteY88" fmla="*/ 120967 h 241744"/>
                  <a:gd name="connsiteX89" fmla="*/ 26861 w 241744"/>
                  <a:gd name="connsiteY89" fmla="*/ 128778 h 241744"/>
                  <a:gd name="connsiteX90" fmla="*/ 62294 w 241744"/>
                  <a:gd name="connsiteY90" fmla="*/ 128778 h 241744"/>
                  <a:gd name="connsiteX91" fmla="*/ 64198 w 241744"/>
                  <a:gd name="connsiteY91" fmla="*/ 135922 h 241744"/>
                  <a:gd name="connsiteX92" fmla="*/ 70295 w 241744"/>
                  <a:gd name="connsiteY92" fmla="*/ 150685 h 241744"/>
                  <a:gd name="connsiteX93" fmla="*/ 74009 w 241744"/>
                  <a:gd name="connsiteY93" fmla="*/ 157067 h 241744"/>
                  <a:gd name="connsiteX94" fmla="*/ 48958 w 241744"/>
                  <a:gd name="connsiteY94" fmla="*/ 182118 h 241744"/>
                  <a:gd name="connsiteX95" fmla="*/ 48958 w 241744"/>
                  <a:gd name="connsiteY95" fmla="*/ 193072 h 241744"/>
                  <a:gd name="connsiteX96" fmla="*/ 59912 w 241744"/>
                  <a:gd name="connsiteY96" fmla="*/ 193072 h 241744"/>
                  <a:gd name="connsiteX97" fmla="*/ 84963 w 241744"/>
                  <a:gd name="connsiteY97" fmla="*/ 167830 h 24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744" h="241744">
                    <a:moveTo>
                      <a:pt x="120872" y="241744"/>
                    </a:moveTo>
                    <a:cubicBezTo>
                      <a:pt x="106108" y="241744"/>
                      <a:pt x="94012" y="229743"/>
                      <a:pt x="94012" y="214979"/>
                    </a:cubicBezTo>
                    <a:lnTo>
                      <a:pt x="94012" y="193834"/>
                    </a:lnTo>
                    <a:cubicBezTo>
                      <a:pt x="92012" y="193072"/>
                      <a:pt x="90106" y="192310"/>
                      <a:pt x="88202" y="191452"/>
                    </a:cubicBezTo>
                    <a:lnTo>
                      <a:pt x="73247" y="206407"/>
                    </a:lnTo>
                    <a:cubicBezTo>
                      <a:pt x="63151" y="216503"/>
                      <a:pt x="45434" y="216503"/>
                      <a:pt x="35338" y="206407"/>
                    </a:cubicBezTo>
                    <a:cubicBezTo>
                      <a:pt x="24860" y="195929"/>
                      <a:pt x="24860" y="178975"/>
                      <a:pt x="35338" y="168497"/>
                    </a:cubicBezTo>
                    <a:lnTo>
                      <a:pt x="50292" y="153543"/>
                    </a:lnTo>
                    <a:cubicBezTo>
                      <a:pt x="49435" y="151638"/>
                      <a:pt x="48578" y="149733"/>
                      <a:pt x="47911" y="147733"/>
                    </a:cubicBezTo>
                    <a:lnTo>
                      <a:pt x="26765" y="147733"/>
                    </a:lnTo>
                    <a:cubicBezTo>
                      <a:pt x="12002" y="147733"/>
                      <a:pt x="0" y="135731"/>
                      <a:pt x="0" y="120872"/>
                    </a:cubicBezTo>
                    <a:cubicBezTo>
                      <a:pt x="0" y="106108"/>
                      <a:pt x="12002" y="94107"/>
                      <a:pt x="26765" y="94107"/>
                    </a:cubicBezTo>
                    <a:lnTo>
                      <a:pt x="47911" y="94107"/>
                    </a:lnTo>
                    <a:cubicBezTo>
                      <a:pt x="48673" y="92107"/>
                      <a:pt x="49435" y="90202"/>
                      <a:pt x="50292" y="88297"/>
                    </a:cubicBezTo>
                    <a:lnTo>
                      <a:pt x="35338" y="73342"/>
                    </a:lnTo>
                    <a:cubicBezTo>
                      <a:pt x="24860" y="62865"/>
                      <a:pt x="24860" y="45910"/>
                      <a:pt x="35338" y="35433"/>
                    </a:cubicBezTo>
                    <a:cubicBezTo>
                      <a:pt x="45815" y="24955"/>
                      <a:pt x="62770" y="24955"/>
                      <a:pt x="73247" y="35433"/>
                    </a:cubicBezTo>
                    <a:lnTo>
                      <a:pt x="88202" y="50387"/>
                    </a:lnTo>
                    <a:cubicBezTo>
                      <a:pt x="90106" y="49530"/>
                      <a:pt x="92012" y="48673"/>
                      <a:pt x="94012" y="48006"/>
                    </a:cubicBezTo>
                    <a:lnTo>
                      <a:pt x="94012" y="26860"/>
                    </a:lnTo>
                    <a:cubicBezTo>
                      <a:pt x="94012" y="12097"/>
                      <a:pt x="106013" y="0"/>
                      <a:pt x="120872" y="0"/>
                    </a:cubicBezTo>
                    <a:cubicBezTo>
                      <a:pt x="135636" y="0"/>
                      <a:pt x="147638" y="12001"/>
                      <a:pt x="147638" y="26860"/>
                    </a:cubicBezTo>
                    <a:lnTo>
                      <a:pt x="147638" y="48006"/>
                    </a:lnTo>
                    <a:cubicBezTo>
                      <a:pt x="149638" y="48768"/>
                      <a:pt x="151543" y="49530"/>
                      <a:pt x="153448" y="50387"/>
                    </a:cubicBezTo>
                    <a:lnTo>
                      <a:pt x="168402" y="35433"/>
                    </a:lnTo>
                    <a:cubicBezTo>
                      <a:pt x="178879" y="24955"/>
                      <a:pt x="195834" y="24955"/>
                      <a:pt x="206312" y="35433"/>
                    </a:cubicBezTo>
                    <a:cubicBezTo>
                      <a:pt x="216789" y="45910"/>
                      <a:pt x="216789" y="62865"/>
                      <a:pt x="206312" y="73342"/>
                    </a:cubicBezTo>
                    <a:lnTo>
                      <a:pt x="191357" y="88297"/>
                    </a:lnTo>
                    <a:cubicBezTo>
                      <a:pt x="192214" y="90202"/>
                      <a:pt x="193072" y="92107"/>
                      <a:pt x="193738" y="94107"/>
                    </a:cubicBezTo>
                    <a:lnTo>
                      <a:pt x="214884" y="94107"/>
                    </a:lnTo>
                    <a:cubicBezTo>
                      <a:pt x="229648" y="94107"/>
                      <a:pt x="241745" y="106108"/>
                      <a:pt x="241745" y="120872"/>
                    </a:cubicBezTo>
                    <a:cubicBezTo>
                      <a:pt x="241745" y="135636"/>
                      <a:pt x="229743" y="147733"/>
                      <a:pt x="214884" y="147733"/>
                    </a:cubicBezTo>
                    <a:lnTo>
                      <a:pt x="193738" y="147733"/>
                    </a:lnTo>
                    <a:cubicBezTo>
                      <a:pt x="192977" y="149733"/>
                      <a:pt x="192214" y="151638"/>
                      <a:pt x="191357" y="153543"/>
                    </a:cubicBezTo>
                    <a:lnTo>
                      <a:pt x="206312" y="168497"/>
                    </a:lnTo>
                    <a:cubicBezTo>
                      <a:pt x="216789" y="178975"/>
                      <a:pt x="216789" y="195929"/>
                      <a:pt x="206312" y="206407"/>
                    </a:cubicBezTo>
                    <a:cubicBezTo>
                      <a:pt x="196215" y="216503"/>
                      <a:pt x="178498" y="216503"/>
                      <a:pt x="168402" y="206407"/>
                    </a:cubicBezTo>
                    <a:lnTo>
                      <a:pt x="153448" y="191452"/>
                    </a:lnTo>
                    <a:cubicBezTo>
                      <a:pt x="151543" y="192310"/>
                      <a:pt x="149638" y="193167"/>
                      <a:pt x="147638" y="193834"/>
                    </a:cubicBezTo>
                    <a:lnTo>
                      <a:pt x="147638" y="214979"/>
                    </a:lnTo>
                    <a:cubicBezTo>
                      <a:pt x="147733" y="229743"/>
                      <a:pt x="135731" y="241744"/>
                      <a:pt x="120872" y="241744"/>
                    </a:cubicBezTo>
                    <a:close/>
                    <a:moveTo>
                      <a:pt x="84963" y="167830"/>
                    </a:moveTo>
                    <a:lnTo>
                      <a:pt x="91345" y="171545"/>
                    </a:lnTo>
                    <a:cubicBezTo>
                      <a:pt x="95917" y="174212"/>
                      <a:pt x="100870" y="176308"/>
                      <a:pt x="106013" y="177641"/>
                    </a:cubicBezTo>
                    <a:lnTo>
                      <a:pt x="113157" y="179546"/>
                    </a:lnTo>
                    <a:lnTo>
                      <a:pt x="113157" y="214979"/>
                    </a:lnTo>
                    <a:cubicBezTo>
                      <a:pt x="113157" y="219265"/>
                      <a:pt x="116681" y="222694"/>
                      <a:pt x="120967" y="222694"/>
                    </a:cubicBezTo>
                    <a:cubicBezTo>
                      <a:pt x="125254" y="222694"/>
                      <a:pt x="128683" y="219170"/>
                      <a:pt x="128683" y="214979"/>
                    </a:cubicBezTo>
                    <a:lnTo>
                      <a:pt x="128683" y="179546"/>
                    </a:lnTo>
                    <a:lnTo>
                      <a:pt x="135827" y="177641"/>
                    </a:lnTo>
                    <a:cubicBezTo>
                      <a:pt x="140970" y="176308"/>
                      <a:pt x="145923" y="174212"/>
                      <a:pt x="150495" y="171545"/>
                    </a:cubicBezTo>
                    <a:lnTo>
                      <a:pt x="156877" y="167830"/>
                    </a:lnTo>
                    <a:lnTo>
                      <a:pt x="181928" y="192881"/>
                    </a:lnTo>
                    <a:cubicBezTo>
                      <a:pt x="184880" y="195834"/>
                      <a:pt x="190024" y="195834"/>
                      <a:pt x="192881" y="192881"/>
                    </a:cubicBezTo>
                    <a:cubicBezTo>
                      <a:pt x="195929" y="189833"/>
                      <a:pt x="195929" y="184975"/>
                      <a:pt x="192881" y="181927"/>
                    </a:cubicBezTo>
                    <a:lnTo>
                      <a:pt x="167830" y="156877"/>
                    </a:lnTo>
                    <a:lnTo>
                      <a:pt x="171545" y="150495"/>
                    </a:lnTo>
                    <a:cubicBezTo>
                      <a:pt x="174212" y="145923"/>
                      <a:pt x="176308" y="140970"/>
                      <a:pt x="177641" y="135826"/>
                    </a:cubicBezTo>
                    <a:lnTo>
                      <a:pt x="179546" y="128683"/>
                    </a:lnTo>
                    <a:lnTo>
                      <a:pt x="214979" y="128683"/>
                    </a:lnTo>
                    <a:cubicBezTo>
                      <a:pt x="219265" y="128683"/>
                      <a:pt x="222790" y="125158"/>
                      <a:pt x="222790" y="120872"/>
                    </a:cubicBezTo>
                    <a:cubicBezTo>
                      <a:pt x="222790" y="116586"/>
                      <a:pt x="219265" y="113157"/>
                      <a:pt x="214979" y="113157"/>
                    </a:cubicBezTo>
                    <a:lnTo>
                      <a:pt x="179546" y="113157"/>
                    </a:lnTo>
                    <a:lnTo>
                      <a:pt x="177641" y="106013"/>
                    </a:lnTo>
                    <a:cubicBezTo>
                      <a:pt x="176308" y="100870"/>
                      <a:pt x="174212" y="95917"/>
                      <a:pt x="171545" y="91345"/>
                    </a:cubicBezTo>
                    <a:lnTo>
                      <a:pt x="167830" y="84963"/>
                    </a:lnTo>
                    <a:lnTo>
                      <a:pt x="192881" y="59912"/>
                    </a:lnTo>
                    <a:cubicBezTo>
                      <a:pt x="195929" y="56864"/>
                      <a:pt x="195929" y="52006"/>
                      <a:pt x="192881" y="48958"/>
                    </a:cubicBezTo>
                    <a:cubicBezTo>
                      <a:pt x="189833" y="45910"/>
                      <a:pt x="184975" y="45910"/>
                      <a:pt x="181928" y="48958"/>
                    </a:cubicBezTo>
                    <a:lnTo>
                      <a:pt x="156877" y="74009"/>
                    </a:lnTo>
                    <a:lnTo>
                      <a:pt x="150495" y="70294"/>
                    </a:lnTo>
                    <a:cubicBezTo>
                      <a:pt x="145923" y="67627"/>
                      <a:pt x="140970" y="65532"/>
                      <a:pt x="135827" y="64198"/>
                    </a:cubicBezTo>
                    <a:lnTo>
                      <a:pt x="128683" y="62293"/>
                    </a:lnTo>
                    <a:lnTo>
                      <a:pt x="128683" y="26860"/>
                    </a:lnTo>
                    <a:cubicBezTo>
                      <a:pt x="128683" y="22574"/>
                      <a:pt x="125158" y="19050"/>
                      <a:pt x="120967" y="19050"/>
                    </a:cubicBezTo>
                    <a:cubicBezTo>
                      <a:pt x="116777" y="19050"/>
                      <a:pt x="113157" y="22574"/>
                      <a:pt x="113157" y="26860"/>
                    </a:cubicBezTo>
                    <a:lnTo>
                      <a:pt x="113157" y="62293"/>
                    </a:lnTo>
                    <a:lnTo>
                      <a:pt x="106013" y="64198"/>
                    </a:lnTo>
                    <a:cubicBezTo>
                      <a:pt x="100870" y="65532"/>
                      <a:pt x="95917" y="67627"/>
                      <a:pt x="91345" y="70294"/>
                    </a:cubicBezTo>
                    <a:lnTo>
                      <a:pt x="84963" y="74009"/>
                    </a:lnTo>
                    <a:lnTo>
                      <a:pt x="59912" y="48958"/>
                    </a:lnTo>
                    <a:cubicBezTo>
                      <a:pt x="56864" y="45910"/>
                      <a:pt x="52006" y="45910"/>
                      <a:pt x="48958" y="48958"/>
                    </a:cubicBezTo>
                    <a:cubicBezTo>
                      <a:pt x="45911" y="52006"/>
                      <a:pt x="45911" y="56864"/>
                      <a:pt x="48958" y="59912"/>
                    </a:cubicBezTo>
                    <a:lnTo>
                      <a:pt x="74009" y="84963"/>
                    </a:lnTo>
                    <a:lnTo>
                      <a:pt x="70295" y="91345"/>
                    </a:lnTo>
                    <a:cubicBezTo>
                      <a:pt x="67628" y="95917"/>
                      <a:pt x="65532" y="100870"/>
                      <a:pt x="64198" y="106108"/>
                    </a:cubicBezTo>
                    <a:lnTo>
                      <a:pt x="62294" y="113252"/>
                    </a:lnTo>
                    <a:lnTo>
                      <a:pt x="26861" y="113252"/>
                    </a:lnTo>
                    <a:cubicBezTo>
                      <a:pt x="22574" y="113252"/>
                      <a:pt x="19145" y="116776"/>
                      <a:pt x="19145" y="120967"/>
                    </a:cubicBezTo>
                    <a:cubicBezTo>
                      <a:pt x="19145" y="125158"/>
                      <a:pt x="22670" y="128778"/>
                      <a:pt x="26861" y="128778"/>
                    </a:cubicBezTo>
                    <a:lnTo>
                      <a:pt x="62294" y="128778"/>
                    </a:lnTo>
                    <a:lnTo>
                      <a:pt x="64198" y="135922"/>
                    </a:lnTo>
                    <a:cubicBezTo>
                      <a:pt x="65532" y="141065"/>
                      <a:pt x="67628" y="146113"/>
                      <a:pt x="70295" y="150685"/>
                    </a:cubicBezTo>
                    <a:lnTo>
                      <a:pt x="74009" y="157067"/>
                    </a:lnTo>
                    <a:lnTo>
                      <a:pt x="48958" y="182118"/>
                    </a:lnTo>
                    <a:cubicBezTo>
                      <a:pt x="45911" y="185166"/>
                      <a:pt x="45911" y="190024"/>
                      <a:pt x="48958" y="193072"/>
                    </a:cubicBezTo>
                    <a:cubicBezTo>
                      <a:pt x="51911" y="196025"/>
                      <a:pt x="57055" y="196025"/>
                      <a:pt x="59912" y="193072"/>
                    </a:cubicBezTo>
                    <a:lnTo>
                      <a:pt x="84963" y="167830"/>
                    </a:lnTo>
                    <a:close/>
                  </a:path>
                </a:pathLst>
              </a:custGeom>
              <a:solidFill>
                <a:srgbClr val="540005"/>
              </a:solidFill>
              <a:ln w="9525" cap="flat">
                <a:noFill/>
                <a:prstDash val="solid"/>
                <a:miter/>
              </a:ln>
            </p:spPr>
            <p:txBody>
              <a:bodyPr rtlCol="0" anchor="ctr"/>
              <a:lstStyle/>
              <a:p>
                <a:endParaRPr lang="en-GB"/>
              </a:p>
            </p:txBody>
          </p:sp>
        </p:grpSp>
        <p:grpSp>
          <p:nvGrpSpPr>
            <p:cNvPr id="315" name="iṩľiďê">
              <a:extLst>
                <a:ext uri="{FF2B5EF4-FFF2-40B4-BE49-F238E27FC236}">
                  <a16:creationId xmlns:a16="http://schemas.microsoft.com/office/drawing/2014/main" id="{D49A8EED-C434-473D-AF26-BE68DD89DC8E}"/>
                </a:ext>
              </a:extLst>
            </p:cNvPr>
            <p:cNvGrpSpPr/>
            <p:nvPr/>
          </p:nvGrpSpPr>
          <p:grpSpPr>
            <a:xfrm>
              <a:off x="4962897" y="2580031"/>
              <a:ext cx="458735" cy="458735"/>
              <a:chOff x="6987825" y="3590067"/>
              <a:chExt cx="241744" cy="241744"/>
            </a:xfrm>
          </p:grpSpPr>
          <p:sp>
            <p:nvSpPr>
              <p:cNvPr id="346" name="iSḻidê">
                <a:extLst>
                  <a:ext uri="{FF2B5EF4-FFF2-40B4-BE49-F238E27FC236}">
                    <a16:creationId xmlns:a16="http://schemas.microsoft.com/office/drawing/2014/main" id="{6CF07E3E-1984-47D1-92BB-1270645A2D8E}"/>
                  </a:ext>
                </a:extLst>
              </p:cNvPr>
              <p:cNvSpPr/>
              <p:nvPr/>
            </p:nvSpPr>
            <p:spPr>
              <a:xfrm>
                <a:off x="6997350" y="3599592"/>
                <a:ext cx="222507" cy="222694"/>
              </a:xfrm>
              <a:custGeom>
                <a:avLst/>
                <a:gdLst>
                  <a:gd name="connsiteX0" fmla="*/ 205454 w 222507"/>
                  <a:gd name="connsiteY0" fmla="*/ 94107 h 222694"/>
                  <a:gd name="connsiteX1" fmla="*/ 177355 w 222507"/>
                  <a:gd name="connsiteY1" fmla="*/ 94107 h 222694"/>
                  <a:gd name="connsiteX2" fmla="*/ 170212 w 222507"/>
                  <a:gd name="connsiteY2" fmla="*/ 76962 h 222694"/>
                  <a:gd name="connsiteX3" fmla="*/ 190119 w 222507"/>
                  <a:gd name="connsiteY3" fmla="*/ 57055 h 222694"/>
                  <a:gd name="connsiteX4" fmla="*/ 190119 w 222507"/>
                  <a:gd name="connsiteY4" fmla="*/ 32575 h 222694"/>
                  <a:gd name="connsiteX5" fmla="*/ 165640 w 222507"/>
                  <a:gd name="connsiteY5" fmla="*/ 32575 h 222694"/>
                  <a:gd name="connsiteX6" fmla="*/ 145732 w 222507"/>
                  <a:gd name="connsiteY6" fmla="*/ 52483 h 222694"/>
                  <a:gd name="connsiteX7" fmla="*/ 128588 w 222507"/>
                  <a:gd name="connsiteY7" fmla="*/ 45339 h 222694"/>
                  <a:gd name="connsiteX8" fmla="*/ 128588 w 222507"/>
                  <a:gd name="connsiteY8" fmla="*/ 17240 h 222694"/>
                  <a:gd name="connsiteX9" fmla="*/ 111347 w 222507"/>
                  <a:gd name="connsiteY9" fmla="*/ 0 h 222694"/>
                  <a:gd name="connsiteX10" fmla="*/ 94107 w 222507"/>
                  <a:gd name="connsiteY10" fmla="*/ 17240 h 222694"/>
                  <a:gd name="connsiteX11" fmla="*/ 94107 w 222507"/>
                  <a:gd name="connsiteY11" fmla="*/ 45339 h 222694"/>
                  <a:gd name="connsiteX12" fmla="*/ 76962 w 222507"/>
                  <a:gd name="connsiteY12" fmla="*/ 52483 h 222694"/>
                  <a:gd name="connsiteX13" fmla="*/ 57055 w 222507"/>
                  <a:gd name="connsiteY13" fmla="*/ 32575 h 222694"/>
                  <a:gd name="connsiteX14" fmla="*/ 32575 w 222507"/>
                  <a:gd name="connsiteY14" fmla="*/ 32575 h 222694"/>
                  <a:gd name="connsiteX15" fmla="*/ 32575 w 222507"/>
                  <a:gd name="connsiteY15" fmla="*/ 57055 h 222694"/>
                  <a:gd name="connsiteX16" fmla="*/ 52483 w 222507"/>
                  <a:gd name="connsiteY16" fmla="*/ 76962 h 222694"/>
                  <a:gd name="connsiteX17" fmla="*/ 45339 w 222507"/>
                  <a:gd name="connsiteY17" fmla="*/ 94107 h 222694"/>
                  <a:gd name="connsiteX18" fmla="*/ 17240 w 222507"/>
                  <a:gd name="connsiteY18" fmla="*/ 94107 h 222694"/>
                  <a:gd name="connsiteX19" fmla="*/ 0 w 222507"/>
                  <a:gd name="connsiteY19" fmla="*/ 111347 h 222694"/>
                  <a:gd name="connsiteX20" fmla="*/ 17240 w 222507"/>
                  <a:gd name="connsiteY20" fmla="*/ 128588 h 222694"/>
                  <a:gd name="connsiteX21" fmla="*/ 45339 w 222507"/>
                  <a:gd name="connsiteY21" fmla="*/ 128588 h 222694"/>
                  <a:gd name="connsiteX22" fmla="*/ 52483 w 222507"/>
                  <a:gd name="connsiteY22" fmla="*/ 145733 h 222694"/>
                  <a:gd name="connsiteX23" fmla="*/ 32575 w 222507"/>
                  <a:gd name="connsiteY23" fmla="*/ 165640 h 222694"/>
                  <a:gd name="connsiteX24" fmla="*/ 32575 w 222507"/>
                  <a:gd name="connsiteY24" fmla="*/ 190119 h 222694"/>
                  <a:gd name="connsiteX25" fmla="*/ 44767 w 222507"/>
                  <a:gd name="connsiteY25" fmla="*/ 195167 h 222694"/>
                  <a:gd name="connsiteX26" fmla="*/ 56959 w 222507"/>
                  <a:gd name="connsiteY26" fmla="*/ 190119 h 222694"/>
                  <a:gd name="connsiteX27" fmla="*/ 76867 w 222507"/>
                  <a:gd name="connsiteY27" fmla="*/ 170212 h 222694"/>
                  <a:gd name="connsiteX28" fmla="*/ 94012 w 222507"/>
                  <a:gd name="connsiteY28" fmla="*/ 177355 h 222694"/>
                  <a:gd name="connsiteX29" fmla="*/ 94012 w 222507"/>
                  <a:gd name="connsiteY29" fmla="*/ 205454 h 222694"/>
                  <a:gd name="connsiteX30" fmla="*/ 111252 w 222507"/>
                  <a:gd name="connsiteY30" fmla="*/ 222694 h 222694"/>
                  <a:gd name="connsiteX31" fmla="*/ 128492 w 222507"/>
                  <a:gd name="connsiteY31" fmla="*/ 205454 h 222694"/>
                  <a:gd name="connsiteX32" fmla="*/ 128492 w 222507"/>
                  <a:gd name="connsiteY32" fmla="*/ 177355 h 222694"/>
                  <a:gd name="connsiteX33" fmla="*/ 145637 w 222507"/>
                  <a:gd name="connsiteY33" fmla="*/ 170212 h 222694"/>
                  <a:gd name="connsiteX34" fmla="*/ 165545 w 222507"/>
                  <a:gd name="connsiteY34" fmla="*/ 190119 h 222694"/>
                  <a:gd name="connsiteX35" fmla="*/ 177737 w 222507"/>
                  <a:gd name="connsiteY35" fmla="*/ 195167 h 222694"/>
                  <a:gd name="connsiteX36" fmla="*/ 189929 w 222507"/>
                  <a:gd name="connsiteY36" fmla="*/ 190119 h 222694"/>
                  <a:gd name="connsiteX37" fmla="*/ 189929 w 222507"/>
                  <a:gd name="connsiteY37" fmla="*/ 165640 h 222694"/>
                  <a:gd name="connsiteX38" fmla="*/ 170021 w 222507"/>
                  <a:gd name="connsiteY38" fmla="*/ 145733 h 222694"/>
                  <a:gd name="connsiteX39" fmla="*/ 177165 w 222507"/>
                  <a:gd name="connsiteY39" fmla="*/ 128588 h 222694"/>
                  <a:gd name="connsiteX40" fmla="*/ 205264 w 222507"/>
                  <a:gd name="connsiteY40" fmla="*/ 128588 h 222694"/>
                  <a:gd name="connsiteX41" fmla="*/ 222504 w 222507"/>
                  <a:gd name="connsiteY41" fmla="*/ 111347 h 222694"/>
                  <a:gd name="connsiteX42" fmla="*/ 205454 w 222507"/>
                  <a:gd name="connsiteY42" fmla="*/ 94107 h 2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507" h="222694">
                    <a:moveTo>
                      <a:pt x="205454" y="94107"/>
                    </a:moveTo>
                    <a:lnTo>
                      <a:pt x="177355" y="94107"/>
                    </a:lnTo>
                    <a:cubicBezTo>
                      <a:pt x="175736" y="88011"/>
                      <a:pt x="173355" y="82296"/>
                      <a:pt x="170212" y="76962"/>
                    </a:cubicBezTo>
                    <a:lnTo>
                      <a:pt x="190119" y="57055"/>
                    </a:lnTo>
                    <a:cubicBezTo>
                      <a:pt x="196882" y="50292"/>
                      <a:pt x="196882" y="39338"/>
                      <a:pt x="190119" y="32575"/>
                    </a:cubicBezTo>
                    <a:cubicBezTo>
                      <a:pt x="183356" y="25813"/>
                      <a:pt x="172403" y="25813"/>
                      <a:pt x="165640" y="32575"/>
                    </a:cubicBezTo>
                    <a:lnTo>
                      <a:pt x="145732" y="52483"/>
                    </a:lnTo>
                    <a:cubicBezTo>
                      <a:pt x="140398" y="49339"/>
                      <a:pt x="134683" y="46958"/>
                      <a:pt x="128588" y="45339"/>
                    </a:cubicBezTo>
                    <a:lnTo>
                      <a:pt x="128588" y="17240"/>
                    </a:lnTo>
                    <a:cubicBezTo>
                      <a:pt x="128588" y="7715"/>
                      <a:pt x="120872" y="0"/>
                      <a:pt x="111347" y="0"/>
                    </a:cubicBezTo>
                    <a:cubicBezTo>
                      <a:pt x="101822" y="0"/>
                      <a:pt x="94107" y="7715"/>
                      <a:pt x="94107" y="17240"/>
                    </a:cubicBezTo>
                    <a:lnTo>
                      <a:pt x="94107" y="45339"/>
                    </a:lnTo>
                    <a:cubicBezTo>
                      <a:pt x="88011" y="46958"/>
                      <a:pt x="82296" y="49339"/>
                      <a:pt x="76962" y="52483"/>
                    </a:cubicBezTo>
                    <a:lnTo>
                      <a:pt x="57055" y="32575"/>
                    </a:lnTo>
                    <a:cubicBezTo>
                      <a:pt x="50292" y="25813"/>
                      <a:pt x="39338" y="25813"/>
                      <a:pt x="32575" y="32575"/>
                    </a:cubicBezTo>
                    <a:cubicBezTo>
                      <a:pt x="25813" y="39338"/>
                      <a:pt x="25813" y="50292"/>
                      <a:pt x="32575" y="57055"/>
                    </a:cubicBezTo>
                    <a:lnTo>
                      <a:pt x="52483" y="76962"/>
                    </a:lnTo>
                    <a:cubicBezTo>
                      <a:pt x="49339" y="82296"/>
                      <a:pt x="46958" y="88011"/>
                      <a:pt x="45339" y="94107"/>
                    </a:cubicBezTo>
                    <a:lnTo>
                      <a:pt x="17240" y="94107"/>
                    </a:lnTo>
                    <a:cubicBezTo>
                      <a:pt x="7715" y="94107"/>
                      <a:pt x="0" y="101822"/>
                      <a:pt x="0" y="111347"/>
                    </a:cubicBezTo>
                    <a:cubicBezTo>
                      <a:pt x="0" y="120872"/>
                      <a:pt x="7715" y="128588"/>
                      <a:pt x="17240" y="128588"/>
                    </a:cubicBezTo>
                    <a:lnTo>
                      <a:pt x="45339" y="128588"/>
                    </a:lnTo>
                    <a:cubicBezTo>
                      <a:pt x="46958" y="134684"/>
                      <a:pt x="49339" y="140398"/>
                      <a:pt x="52483" y="145733"/>
                    </a:cubicBezTo>
                    <a:lnTo>
                      <a:pt x="32575" y="165640"/>
                    </a:lnTo>
                    <a:cubicBezTo>
                      <a:pt x="25813" y="172402"/>
                      <a:pt x="25813" y="183356"/>
                      <a:pt x="32575" y="190119"/>
                    </a:cubicBezTo>
                    <a:cubicBezTo>
                      <a:pt x="35909" y="193453"/>
                      <a:pt x="40386" y="195167"/>
                      <a:pt x="44767" y="195167"/>
                    </a:cubicBezTo>
                    <a:cubicBezTo>
                      <a:pt x="49149" y="195167"/>
                      <a:pt x="53626" y="193453"/>
                      <a:pt x="56959" y="190119"/>
                    </a:cubicBezTo>
                    <a:lnTo>
                      <a:pt x="76867" y="170212"/>
                    </a:lnTo>
                    <a:cubicBezTo>
                      <a:pt x="82201" y="173355"/>
                      <a:pt x="87916" y="175736"/>
                      <a:pt x="94012" y="177355"/>
                    </a:cubicBezTo>
                    <a:lnTo>
                      <a:pt x="94012" y="205454"/>
                    </a:lnTo>
                    <a:cubicBezTo>
                      <a:pt x="94012" y="214979"/>
                      <a:pt x="101727" y="222694"/>
                      <a:pt x="111252" y="222694"/>
                    </a:cubicBezTo>
                    <a:cubicBezTo>
                      <a:pt x="120777" y="222694"/>
                      <a:pt x="128492" y="214979"/>
                      <a:pt x="128492" y="205454"/>
                    </a:cubicBezTo>
                    <a:lnTo>
                      <a:pt x="128492" y="177355"/>
                    </a:lnTo>
                    <a:cubicBezTo>
                      <a:pt x="134588" y="175736"/>
                      <a:pt x="140303" y="173355"/>
                      <a:pt x="145637" y="170212"/>
                    </a:cubicBezTo>
                    <a:lnTo>
                      <a:pt x="165545" y="190119"/>
                    </a:lnTo>
                    <a:cubicBezTo>
                      <a:pt x="168878" y="193453"/>
                      <a:pt x="173355" y="195167"/>
                      <a:pt x="177737" y="195167"/>
                    </a:cubicBezTo>
                    <a:cubicBezTo>
                      <a:pt x="182118" y="195167"/>
                      <a:pt x="186595" y="193453"/>
                      <a:pt x="189929" y="190119"/>
                    </a:cubicBezTo>
                    <a:cubicBezTo>
                      <a:pt x="196691" y="183356"/>
                      <a:pt x="196691" y="172402"/>
                      <a:pt x="189929" y="165640"/>
                    </a:cubicBezTo>
                    <a:lnTo>
                      <a:pt x="170021" y="145733"/>
                    </a:lnTo>
                    <a:cubicBezTo>
                      <a:pt x="173164" y="140398"/>
                      <a:pt x="175546" y="134684"/>
                      <a:pt x="177165" y="128588"/>
                    </a:cubicBezTo>
                    <a:lnTo>
                      <a:pt x="205264" y="128588"/>
                    </a:lnTo>
                    <a:cubicBezTo>
                      <a:pt x="214789" y="128588"/>
                      <a:pt x="222504" y="120872"/>
                      <a:pt x="222504" y="111347"/>
                    </a:cubicBezTo>
                    <a:cubicBezTo>
                      <a:pt x="222695" y="101822"/>
                      <a:pt x="214979" y="94107"/>
                      <a:pt x="205454" y="94107"/>
                    </a:cubicBezTo>
                    <a:close/>
                  </a:path>
                </a:pathLst>
              </a:custGeom>
              <a:solidFill>
                <a:srgbClr val="F2B867"/>
              </a:solidFill>
              <a:ln w="9525" cap="flat">
                <a:noFill/>
                <a:prstDash val="solid"/>
                <a:miter/>
              </a:ln>
            </p:spPr>
            <p:txBody>
              <a:bodyPr rtlCol="0" anchor="ctr"/>
              <a:lstStyle/>
              <a:p>
                <a:endParaRPr lang="en-GB"/>
              </a:p>
            </p:txBody>
          </p:sp>
          <p:sp>
            <p:nvSpPr>
              <p:cNvPr id="347" name="íşliḓe">
                <a:extLst>
                  <a:ext uri="{FF2B5EF4-FFF2-40B4-BE49-F238E27FC236}">
                    <a16:creationId xmlns:a16="http://schemas.microsoft.com/office/drawing/2014/main" id="{D70D3185-D73A-45AA-911F-67CE8AAA08F4}"/>
                  </a:ext>
                </a:extLst>
              </p:cNvPr>
              <p:cNvSpPr/>
              <p:nvPr/>
            </p:nvSpPr>
            <p:spPr>
              <a:xfrm>
                <a:off x="6987825" y="3590067"/>
                <a:ext cx="241744" cy="241744"/>
              </a:xfrm>
              <a:custGeom>
                <a:avLst/>
                <a:gdLst>
                  <a:gd name="connsiteX0" fmla="*/ 120872 w 241744"/>
                  <a:gd name="connsiteY0" fmla="*/ 241744 h 241744"/>
                  <a:gd name="connsiteX1" fmla="*/ 94012 w 241744"/>
                  <a:gd name="connsiteY1" fmla="*/ 214979 h 241744"/>
                  <a:gd name="connsiteX2" fmla="*/ 94012 w 241744"/>
                  <a:gd name="connsiteY2" fmla="*/ 193834 h 241744"/>
                  <a:gd name="connsiteX3" fmla="*/ 88202 w 241744"/>
                  <a:gd name="connsiteY3" fmla="*/ 191452 h 241744"/>
                  <a:gd name="connsiteX4" fmla="*/ 73247 w 241744"/>
                  <a:gd name="connsiteY4" fmla="*/ 206407 h 241744"/>
                  <a:gd name="connsiteX5" fmla="*/ 35338 w 241744"/>
                  <a:gd name="connsiteY5" fmla="*/ 206407 h 241744"/>
                  <a:gd name="connsiteX6" fmla="*/ 35338 w 241744"/>
                  <a:gd name="connsiteY6" fmla="*/ 168497 h 241744"/>
                  <a:gd name="connsiteX7" fmla="*/ 50292 w 241744"/>
                  <a:gd name="connsiteY7" fmla="*/ 153543 h 241744"/>
                  <a:gd name="connsiteX8" fmla="*/ 47911 w 241744"/>
                  <a:gd name="connsiteY8" fmla="*/ 147733 h 241744"/>
                  <a:gd name="connsiteX9" fmla="*/ 26765 w 241744"/>
                  <a:gd name="connsiteY9" fmla="*/ 147733 h 241744"/>
                  <a:gd name="connsiteX10" fmla="*/ 0 w 241744"/>
                  <a:gd name="connsiteY10" fmla="*/ 120872 h 241744"/>
                  <a:gd name="connsiteX11" fmla="*/ 26765 w 241744"/>
                  <a:gd name="connsiteY11" fmla="*/ 94107 h 241744"/>
                  <a:gd name="connsiteX12" fmla="*/ 47911 w 241744"/>
                  <a:gd name="connsiteY12" fmla="*/ 94107 h 241744"/>
                  <a:gd name="connsiteX13" fmla="*/ 50292 w 241744"/>
                  <a:gd name="connsiteY13" fmla="*/ 88297 h 241744"/>
                  <a:gd name="connsiteX14" fmla="*/ 35338 w 241744"/>
                  <a:gd name="connsiteY14" fmla="*/ 73342 h 241744"/>
                  <a:gd name="connsiteX15" fmla="*/ 35338 w 241744"/>
                  <a:gd name="connsiteY15" fmla="*/ 35433 h 241744"/>
                  <a:gd name="connsiteX16" fmla="*/ 73247 w 241744"/>
                  <a:gd name="connsiteY16" fmla="*/ 35433 h 241744"/>
                  <a:gd name="connsiteX17" fmla="*/ 88202 w 241744"/>
                  <a:gd name="connsiteY17" fmla="*/ 50387 h 241744"/>
                  <a:gd name="connsiteX18" fmla="*/ 94012 w 241744"/>
                  <a:gd name="connsiteY18" fmla="*/ 48006 h 241744"/>
                  <a:gd name="connsiteX19" fmla="*/ 94012 w 241744"/>
                  <a:gd name="connsiteY19" fmla="*/ 26860 h 241744"/>
                  <a:gd name="connsiteX20" fmla="*/ 120872 w 241744"/>
                  <a:gd name="connsiteY20" fmla="*/ 0 h 241744"/>
                  <a:gd name="connsiteX21" fmla="*/ 147638 w 241744"/>
                  <a:gd name="connsiteY21" fmla="*/ 26860 h 241744"/>
                  <a:gd name="connsiteX22" fmla="*/ 147638 w 241744"/>
                  <a:gd name="connsiteY22" fmla="*/ 48006 h 241744"/>
                  <a:gd name="connsiteX23" fmla="*/ 153448 w 241744"/>
                  <a:gd name="connsiteY23" fmla="*/ 50387 h 241744"/>
                  <a:gd name="connsiteX24" fmla="*/ 168402 w 241744"/>
                  <a:gd name="connsiteY24" fmla="*/ 35433 h 241744"/>
                  <a:gd name="connsiteX25" fmla="*/ 206312 w 241744"/>
                  <a:gd name="connsiteY25" fmla="*/ 35433 h 241744"/>
                  <a:gd name="connsiteX26" fmla="*/ 206312 w 241744"/>
                  <a:gd name="connsiteY26" fmla="*/ 73342 h 241744"/>
                  <a:gd name="connsiteX27" fmla="*/ 191357 w 241744"/>
                  <a:gd name="connsiteY27" fmla="*/ 88297 h 241744"/>
                  <a:gd name="connsiteX28" fmla="*/ 193738 w 241744"/>
                  <a:gd name="connsiteY28" fmla="*/ 94107 h 241744"/>
                  <a:gd name="connsiteX29" fmla="*/ 214884 w 241744"/>
                  <a:gd name="connsiteY29" fmla="*/ 94107 h 241744"/>
                  <a:gd name="connsiteX30" fmla="*/ 241745 w 241744"/>
                  <a:gd name="connsiteY30" fmla="*/ 120872 h 241744"/>
                  <a:gd name="connsiteX31" fmla="*/ 214884 w 241744"/>
                  <a:gd name="connsiteY31" fmla="*/ 147733 h 241744"/>
                  <a:gd name="connsiteX32" fmla="*/ 193738 w 241744"/>
                  <a:gd name="connsiteY32" fmla="*/ 147733 h 241744"/>
                  <a:gd name="connsiteX33" fmla="*/ 191357 w 241744"/>
                  <a:gd name="connsiteY33" fmla="*/ 153543 h 241744"/>
                  <a:gd name="connsiteX34" fmla="*/ 206312 w 241744"/>
                  <a:gd name="connsiteY34" fmla="*/ 168497 h 241744"/>
                  <a:gd name="connsiteX35" fmla="*/ 206312 w 241744"/>
                  <a:gd name="connsiteY35" fmla="*/ 206407 h 241744"/>
                  <a:gd name="connsiteX36" fmla="*/ 168402 w 241744"/>
                  <a:gd name="connsiteY36" fmla="*/ 206407 h 241744"/>
                  <a:gd name="connsiteX37" fmla="*/ 153448 w 241744"/>
                  <a:gd name="connsiteY37" fmla="*/ 191452 h 241744"/>
                  <a:gd name="connsiteX38" fmla="*/ 147638 w 241744"/>
                  <a:gd name="connsiteY38" fmla="*/ 193834 h 241744"/>
                  <a:gd name="connsiteX39" fmla="*/ 147638 w 241744"/>
                  <a:gd name="connsiteY39" fmla="*/ 214979 h 241744"/>
                  <a:gd name="connsiteX40" fmla="*/ 120872 w 241744"/>
                  <a:gd name="connsiteY40" fmla="*/ 241744 h 241744"/>
                  <a:gd name="connsiteX41" fmla="*/ 84963 w 241744"/>
                  <a:gd name="connsiteY41" fmla="*/ 167830 h 241744"/>
                  <a:gd name="connsiteX42" fmla="*/ 91345 w 241744"/>
                  <a:gd name="connsiteY42" fmla="*/ 171545 h 241744"/>
                  <a:gd name="connsiteX43" fmla="*/ 106013 w 241744"/>
                  <a:gd name="connsiteY43" fmla="*/ 177641 h 241744"/>
                  <a:gd name="connsiteX44" fmla="*/ 113157 w 241744"/>
                  <a:gd name="connsiteY44" fmla="*/ 179546 h 241744"/>
                  <a:gd name="connsiteX45" fmla="*/ 113157 w 241744"/>
                  <a:gd name="connsiteY45" fmla="*/ 214979 h 241744"/>
                  <a:gd name="connsiteX46" fmla="*/ 120967 w 241744"/>
                  <a:gd name="connsiteY46" fmla="*/ 222694 h 241744"/>
                  <a:gd name="connsiteX47" fmla="*/ 128683 w 241744"/>
                  <a:gd name="connsiteY47" fmla="*/ 214979 h 241744"/>
                  <a:gd name="connsiteX48" fmla="*/ 128683 w 241744"/>
                  <a:gd name="connsiteY48" fmla="*/ 179546 h 241744"/>
                  <a:gd name="connsiteX49" fmla="*/ 135827 w 241744"/>
                  <a:gd name="connsiteY49" fmla="*/ 177641 h 241744"/>
                  <a:gd name="connsiteX50" fmla="*/ 150495 w 241744"/>
                  <a:gd name="connsiteY50" fmla="*/ 171545 h 241744"/>
                  <a:gd name="connsiteX51" fmla="*/ 156877 w 241744"/>
                  <a:gd name="connsiteY51" fmla="*/ 167830 h 241744"/>
                  <a:gd name="connsiteX52" fmla="*/ 181928 w 241744"/>
                  <a:gd name="connsiteY52" fmla="*/ 192881 h 241744"/>
                  <a:gd name="connsiteX53" fmla="*/ 192881 w 241744"/>
                  <a:gd name="connsiteY53" fmla="*/ 192881 h 241744"/>
                  <a:gd name="connsiteX54" fmla="*/ 192881 w 241744"/>
                  <a:gd name="connsiteY54" fmla="*/ 181927 h 241744"/>
                  <a:gd name="connsiteX55" fmla="*/ 167830 w 241744"/>
                  <a:gd name="connsiteY55" fmla="*/ 156877 h 241744"/>
                  <a:gd name="connsiteX56" fmla="*/ 171545 w 241744"/>
                  <a:gd name="connsiteY56" fmla="*/ 150495 h 241744"/>
                  <a:gd name="connsiteX57" fmla="*/ 177641 w 241744"/>
                  <a:gd name="connsiteY57" fmla="*/ 135826 h 241744"/>
                  <a:gd name="connsiteX58" fmla="*/ 179546 w 241744"/>
                  <a:gd name="connsiteY58" fmla="*/ 128683 h 241744"/>
                  <a:gd name="connsiteX59" fmla="*/ 214979 w 241744"/>
                  <a:gd name="connsiteY59" fmla="*/ 128683 h 241744"/>
                  <a:gd name="connsiteX60" fmla="*/ 222790 w 241744"/>
                  <a:gd name="connsiteY60" fmla="*/ 120872 h 241744"/>
                  <a:gd name="connsiteX61" fmla="*/ 214979 w 241744"/>
                  <a:gd name="connsiteY61" fmla="*/ 113157 h 241744"/>
                  <a:gd name="connsiteX62" fmla="*/ 179546 w 241744"/>
                  <a:gd name="connsiteY62" fmla="*/ 113157 h 241744"/>
                  <a:gd name="connsiteX63" fmla="*/ 177641 w 241744"/>
                  <a:gd name="connsiteY63" fmla="*/ 106013 h 241744"/>
                  <a:gd name="connsiteX64" fmla="*/ 171545 w 241744"/>
                  <a:gd name="connsiteY64" fmla="*/ 91345 h 241744"/>
                  <a:gd name="connsiteX65" fmla="*/ 167830 w 241744"/>
                  <a:gd name="connsiteY65" fmla="*/ 84963 h 241744"/>
                  <a:gd name="connsiteX66" fmla="*/ 192881 w 241744"/>
                  <a:gd name="connsiteY66" fmla="*/ 59912 h 241744"/>
                  <a:gd name="connsiteX67" fmla="*/ 192881 w 241744"/>
                  <a:gd name="connsiteY67" fmla="*/ 48958 h 241744"/>
                  <a:gd name="connsiteX68" fmla="*/ 181928 w 241744"/>
                  <a:gd name="connsiteY68" fmla="*/ 48958 h 241744"/>
                  <a:gd name="connsiteX69" fmla="*/ 156877 w 241744"/>
                  <a:gd name="connsiteY69" fmla="*/ 74009 h 241744"/>
                  <a:gd name="connsiteX70" fmla="*/ 150495 w 241744"/>
                  <a:gd name="connsiteY70" fmla="*/ 70294 h 241744"/>
                  <a:gd name="connsiteX71" fmla="*/ 135827 w 241744"/>
                  <a:gd name="connsiteY71" fmla="*/ 64198 h 241744"/>
                  <a:gd name="connsiteX72" fmla="*/ 128683 w 241744"/>
                  <a:gd name="connsiteY72" fmla="*/ 62293 h 241744"/>
                  <a:gd name="connsiteX73" fmla="*/ 128683 w 241744"/>
                  <a:gd name="connsiteY73" fmla="*/ 26860 h 241744"/>
                  <a:gd name="connsiteX74" fmla="*/ 120967 w 241744"/>
                  <a:gd name="connsiteY74" fmla="*/ 19050 h 241744"/>
                  <a:gd name="connsiteX75" fmla="*/ 113157 w 241744"/>
                  <a:gd name="connsiteY75" fmla="*/ 26860 h 241744"/>
                  <a:gd name="connsiteX76" fmla="*/ 113157 w 241744"/>
                  <a:gd name="connsiteY76" fmla="*/ 62293 h 241744"/>
                  <a:gd name="connsiteX77" fmla="*/ 106013 w 241744"/>
                  <a:gd name="connsiteY77" fmla="*/ 64198 h 241744"/>
                  <a:gd name="connsiteX78" fmla="*/ 91345 w 241744"/>
                  <a:gd name="connsiteY78" fmla="*/ 70294 h 241744"/>
                  <a:gd name="connsiteX79" fmla="*/ 84963 w 241744"/>
                  <a:gd name="connsiteY79" fmla="*/ 74009 h 241744"/>
                  <a:gd name="connsiteX80" fmla="*/ 59912 w 241744"/>
                  <a:gd name="connsiteY80" fmla="*/ 48958 h 241744"/>
                  <a:gd name="connsiteX81" fmla="*/ 48958 w 241744"/>
                  <a:gd name="connsiteY81" fmla="*/ 48958 h 241744"/>
                  <a:gd name="connsiteX82" fmla="*/ 48958 w 241744"/>
                  <a:gd name="connsiteY82" fmla="*/ 59912 h 241744"/>
                  <a:gd name="connsiteX83" fmla="*/ 74009 w 241744"/>
                  <a:gd name="connsiteY83" fmla="*/ 84963 h 241744"/>
                  <a:gd name="connsiteX84" fmla="*/ 70295 w 241744"/>
                  <a:gd name="connsiteY84" fmla="*/ 91345 h 241744"/>
                  <a:gd name="connsiteX85" fmla="*/ 64198 w 241744"/>
                  <a:gd name="connsiteY85" fmla="*/ 106108 h 241744"/>
                  <a:gd name="connsiteX86" fmla="*/ 62294 w 241744"/>
                  <a:gd name="connsiteY86" fmla="*/ 113252 h 241744"/>
                  <a:gd name="connsiteX87" fmla="*/ 26861 w 241744"/>
                  <a:gd name="connsiteY87" fmla="*/ 113252 h 241744"/>
                  <a:gd name="connsiteX88" fmla="*/ 19145 w 241744"/>
                  <a:gd name="connsiteY88" fmla="*/ 120967 h 241744"/>
                  <a:gd name="connsiteX89" fmla="*/ 26861 w 241744"/>
                  <a:gd name="connsiteY89" fmla="*/ 128778 h 241744"/>
                  <a:gd name="connsiteX90" fmla="*/ 62294 w 241744"/>
                  <a:gd name="connsiteY90" fmla="*/ 128778 h 241744"/>
                  <a:gd name="connsiteX91" fmla="*/ 64198 w 241744"/>
                  <a:gd name="connsiteY91" fmla="*/ 135922 h 241744"/>
                  <a:gd name="connsiteX92" fmla="*/ 70295 w 241744"/>
                  <a:gd name="connsiteY92" fmla="*/ 150685 h 241744"/>
                  <a:gd name="connsiteX93" fmla="*/ 74009 w 241744"/>
                  <a:gd name="connsiteY93" fmla="*/ 157067 h 241744"/>
                  <a:gd name="connsiteX94" fmla="*/ 48958 w 241744"/>
                  <a:gd name="connsiteY94" fmla="*/ 182118 h 241744"/>
                  <a:gd name="connsiteX95" fmla="*/ 48958 w 241744"/>
                  <a:gd name="connsiteY95" fmla="*/ 193072 h 241744"/>
                  <a:gd name="connsiteX96" fmla="*/ 59912 w 241744"/>
                  <a:gd name="connsiteY96" fmla="*/ 193072 h 241744"/>
                  <a:gd name="connsiteX97" fmla="*/ 84963 w 241744"/>
                  <a:gd name="connsiteY97" fmla="*/ 167830 h 24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744" h="241744">
                    <a:moveTo>
                      <a:pt x="120872" y="241744"/>
                    </a:moveTo>
                    <a:cubicBezTo>
                      <a:pt x="106108" y="241744"/>
                      <a:pt x="94012" y="229743"/>
                      <a:pt x="94012" y="214979"/>
                    </a:cubicBezTo>
                    <a:lnTo>
                      <a:pt x="94012" y="193834"/>
                    </a:lnTo>
                    <a:cubicBezTo>
                      <a:pt x="92012" y="193072"/>
                      <a:pt x="90106" y="192310"/>
                      <a:pt x="88202" y="191452"/>
                    </a:cubicBezTo>
                    <a:lnTo>
                      <a:pt x="73247" y="206407"/>
                    </a:lnTo>
                    <a:cubicBezTo>
                      <a:pt x="63151" y="216503"/>
                      <a:pt x="45434" y="216503"/>
                      <a:pt x="35338" y="206407"/>
                    </a:cubicBezTo>
                    <a:cubicBezTo>
                      <a:pt x="24860" y="195929"/>
                      <a:pt x="24860" y="178975"/>
                      <a:pt x="35338" y="168497"/>
                    </a:cubicBezTo>
                    <a:lnTo>
                      <a:pt x="50292" y="153543"/>
                    </a:lnTo>
                    <a:cubicBezTo>
                      <a:pt x="49435" y="151638"/>
                      <a:pt x="48578" y="149733"/>
                      <a:pt x="47911" y="147733"/>
                    </a:cubicBezTo>
                    <a:lnTo>
                      <a:pt x="26765" y="147733"/>
                    </a:lnTo>
                    <a:cubicBezTo>
                      <a:pt x="12002" y="147733"/>
                      <a:pt x="0" y="135731"/>
                      <a:pt x="0" y="120872"/>
                    </a:cubicBezTo>
                    <a:cubicBezTo>
                      <a:pt x="0" y="106108"/>
                      <a:pt x="12002" y="94107"/>
                      <a:pt x="26765" y="94107"/>
                    </a:cubicBezTo>
                    <a:lnTo>
                      <a:pt x="47911" y="94107"/>
                    </a:lnTo>
                    <a:cubicBezTo>
                      <a:pt x="48673" y="92107"/>
                      <a:pt x="49435" y="90202"/>
                      <a:pt x="50292" y="88297"/>
                    </a:cubicBezTo>
                    <a:lnTo>
                      <a:pt x="35338" y="73342"/>
                    </a:lnTo>
                    <a:cubicBezTo>
                      <a:pt x="24860" y="62865"/>
                      <a:pt x="24860" y="45910"/>
                      <a:pt x="35338" y="35433"/>
                    </a:cubicBezTo>
                    <a:cubicBezTo>
                      <a:pt x="45815" y="24955"/>
                      <a:pt x="62770" y="24955"/>
                      <a:pt x="73247" y="35433"/>
                    </a:cubicBezTo>
                    <a:lnTo>
                      <a:pt x="88202" y="50387"/>
                    </a:lnTo>
                    <a:cubicBezTo>
                      <a:pt x="90106" y="49530"/>
                      <a:pt x="92012" y="48673"/>
                      <a:pt x="94012" y="48006"/>
                    </a:cubicBezTo>
                    <a:lnTo>
                      <a:pt x="94012" y="26860"/>
                    </a:lnTo>
                    <a:cubicBezTo>
                      <a:pt x="94012" y="12097"/>
                      <a:pt x="106013" y="0"/>
                      <a:pt x="120872" y="0"/>
                    </a:cubicBezTo>
                    <a:cubicBezTo>
                      <a:pt x="135636" y="0"/>
                      <a:pt x="147638" y="12001"/>
                      <a:pt x="147638" y="26860"/>
                    </a:cubicBezTo>
                    <a:lnTo>
                      <a:pt x="147638" y="48006"/>
                    </a:lnTo>
                    <a:cubicBezTo>
                      <a:pt x="149638" y="48768"/>
                      <a:pt x="151543" y="49530"/>
                      <a:pt x="153448" y="50387"/>
                    </a:cubicBezTo>
                    <a:lnTo>
                      <a:pt x="168402" y="35433"/>
                    </a:lnTo>
                    <a:cubicBezTo>
                      <a:pt x="178879" y="24955"/>
                      <a:pt x="195834" y="24955"/>
                      <a:pt x="206312" y="35433"/>
                    </a:cubicBezTo>
                    <a:cubicBezTo>
                      <a:pt x="216789" y="45910"/>
                      <a:pt x="216789" y="62865"/>
                      <a:pt x="206312" y="73342"/>
                    </a:cubicBezTo>
                    <a:lnTo>
                      <a:pt x="191357" y="88297"/>
                    </a:lnTo>
                    <a:cubicBezTo>
                      <a:pt x="192214" y="90202"/>
                      <a:pt x="193072" y="92107"/>
                      <a:pt x="193738" y="94107"/>
                    </a:cubicBezTo>
                    <a:lnTo>
                      <a:pt x="214884" y="94107"/>
                    </a:lnTo>
                    <a:cubicBezTo>
                      <a:pt x="229648" y="94107"/>
                      <a:pt x="241745" y="106108"/>
                      <a:pt x="241745" y="120872"/>
                    </a:cubicBezTo>
                    <a:cubicBezTo>
                      <a:pt x="241745" y="135636"/>
                      <a:pt x="229743" y="147733"/>
                      <a:pt x="214884" y="147733"/>
                    </a:cubicBezTo>
                    <a:lnTo>
                      <a:pt x="193738" y="147733"/>
                    </a:lnTo>
                    <a:cubicBezTo>
                      <a:pt x="192977" y="149733"/>
                      <a:pt x="192214" y="151638"/>
                      <a:pt x="191357" y="153543"/>
                    </a:cubicBezTo>
                    <a:lnTo>
                      <a:pt x="206312" y="168497"/>
                    </a:lnTo>
                    <a:cubicBezTo>
                      <a:pt x="216789" y="178975"/>
                      <a:pt x="216789" y="195929"/>
                      <a:pt x="206312" y="206407"/>
                    </a:cubicBezTo>
                    <a:cubicBezTo>
                      <a:pt x="196215" y="216503"/>
                      <a:pt x="178498" y="216503"/>
                      <a:pt x="168402" y="206407"/>
                    </a:cubicBezTo>
                    <a:lnTo>
                      <a:pt x="153448" y="191452"/>
                    </a:lnTo>
                    <a:cubicBezTo>
                      <a:pt x="151543" y="192310"/>
                      <a:pt x="149638" y="193167"/>
                      <a:pt x="147638" y="193834"/>
                    </a:cubicBezTo>
                    <a:lnTo>
                      <a:pt x="147638" y="214979"/>
                    </a:lnTo>
                    <a:cubicBezTo>
                      <a:pt x="147733" y="229743"/>
                      <a:pt x="135731" y="241744"/>
                      <a:pt x="120872" y="241744"/>
                    </a:cubicBezTo>
                    <a:close/>
                    <a:moveTo>
                      <a:pt x="84963" y="167830"/>
                    </a:moveTo>
                    <a:lnTo>
                      <a:pt x="91345" y="171545"/>
                    </a:lnTo>
                    <a:cubicBezTo>
                      <a:pt x="95917" y="174212"/>
                      <a:pt x="100870" y="176308"/>
                      <a:pt x="106013" y="177641"/>
                    </a:cubicBezTo>
                    <a:lnTo>
                      <a:pt x="113157" y="179546"/>
                    </a:lnTo>
                    <a:lnTo>
                      <a:pt x="113157" y="214979"/>
                    </a:lnTo>
                    <a:cubicBezTo>
                      <a:pt x="113157" y="219265"/>
                      <a:pt x="116681" y="222694"/>
                      <a:pt x="120967" y="222694"/>
                    </a:cubicBezTo>
                    <a:cubicBezTo>
                      <a:pt x="125254" y="222694"/>
                      <a:pt x="128683" y="219170"/>
                      <a:pt x="128683" y="214979"/>
                    </a:cubicBezTo>
                    <a:lnTo>
                      <a:pt x="128683" y="179546"/>
                    </a:lnTo>
                    <a:lnTo>
                      <a:pt x="135827" y="177641"/>
                    </a:lnTo>
                    <a:cubicBezTo>
                      <a:pt x="140970" y="176308"/>
                      <a:pt x="145923" y="174212"/>
                      <a:pt x="150495" y="171545"/>
                    </a:cubicBezTo>
                    <a:lnTo>
                      <a:pt x="156877" y="167830"/>
                    </a:lnTo>
                    <a:lnTo>
                      <a:pt x="181928" y="192881"/>
                    </a:lnTo>
                    <a:cubicBezTo>
                      <a:pt x="184880" y="195834"/>
                      <a:pt x="190024" y="195834"/>
                      <a:pt x="192881" y="192881"/>
                    </a:cubicBezTo>
                    <a:cubicBezTo>
                      <a:pt x="195929" y="189833"/>
                      <a:pt x="195929" y="184975"/>
                      <a:pt x="192881" y="181927"/>
                    </a:cubicBezTo>
                    <a:lnTo>
                      <a:pt x="167830" y="156877"/>
                    </a:lnTo>
                    <a:lnTo>
                      <a:pt x="171545" y="150495"/>
                    </a:lnTo>
                    <a:cubicBezTo>
                      <a:pt x="174212" y="145923"/>
                      <a:pt x="176308" y="140970"/>
                      <a:pt x="177641" y="135826"/>
                    </a:cubicBezTo>
                    <a:lnTo>
                      <a:pt x="179546" y="128683"/>
                    </a:lnTo>
                    <a:lnTo>
                      <a:pt x="214979" y="128683"/>
                    </a:lnTo>
                    <a:cubicBezTo>
                      <a:pt x="219265" y="128683"/>
                      <a:pt x="222790" y="125158"/>
                      <a:pt x="222790" y="120872"/>
                    </a:cubicBezTo>
                    <a:cubicBezTo>
                      <a:pt x="222790" y="116586"/>
                      <a:pt x="219265" y="113157"/>
                      <a:pt x="214979" y="113157"/>
                    </a:cubicBezTo>
                    <a:lnTo>
                      <a:pt x="179546" y="113157"/>
                    </a:lnTo>
                    <a:lnTo>
                      <a:pt x="177641" y="106013"/>
                    </a:lnTo>
                    <a:cubicBezTo>
                      <a:pt x="176308" y="100870"/>
                      <a:pt x="174212" y="95917"/>
                      <a:pt x="171545" y="91345"/>
                    </a:cubicBezTo>
                    <a:lnTo>
                      <a:pt x="167830" y="84963"/>
                    </a:lnTo>
                    <a:lnTo>
                      <a:pt x="192881" y="59912"/>
                    </a:lnTo>
                    <a:cubicBezTo>
                      <a:pt x="195929" y="56864"/>
                      <a:pt x="195929" y="52006"/>
                      <a:pt x="192881" y="48958"/>
                    </a:cubicBezTo>
                    <a:cubicBezTo>
                      <a:pt x="189833" y="45910"/>
                      <a:pt x="184975" y="45910"/>
                      <a:pt x="181928" y="48958"/>
                    </a:cubicBezTo>
                    <a:lnTo>
                      <a:pt x="156877" y="74009"/>
                    </a:lnTo>
                    <a:lnTo>
                      <a:pt x="150495" y="70294"/>
                    </a:lnTo>
                    <a:cubicBezTo>
                      <a:pt x="145923" y="67627"/>
                      <a:pt x="140970" y="65532"/>
                      <a:pt x="135827" y="64198"/>
                    </a:cubicBezTo>
                    <a:lnTo>
                      <a:pt x="128683" y="62293"/>
                    </a:lnTo>
                    <a:lnTo>
                      <a:pt x="128683" y="26860"/>
                    </a:lnTo>
                    <a:cubicBezTo>
                      <a:pt x="128683" y="22574"/>
                      <a:pt x="125158" y="19050"/>
                      <a:pt x="120967" y="19050"/>
                    </a:cubicBezTo>
                    <a:cubicBezTo>
                      <a:pt x="116777" y="19050"/>
                      <a:pt x="113157" y="22574"/>
                      <a:pt x="113157" y="26860"/>
                    </a:cubicBezTo>
                    <a:lnTo>
                      <a:pt x="113157" y="62293"/>
                    </a:lnTo>
                    <a:lnTo>
                      <a:pt x="106013" y="64198"/>
                    </a:lnTo>
                    <a:cubicBezTo>
                      <a:pt x="100870" y="65532"/>
                      <a:pt x="95917" y="67627"/>
                      <a:pt x="91345" y="70294"/>
                    </a:cubicBezTo>
                    <a:lnTo>
                      <a:pt x="84963" y="74009"/>
                    </a:lnTo>
                    <a:lnTo>
                      <a:pt x="59912" y="48958"/>
                    </a:lnTo>
                    <a:cubicBezTo>
                      <a:pt x="56864" y="45910"/>
                      <a:pt x="52006" y="45910"/>
                      <a:pt x="48958" y="48958"/>
                    </a:cubicBezTo>
                    <a:cubicBezTo>
                      <a:pt x="45911" y="52006"/>
                      <a:pt x="45911" y="56864"/>
                      <a:pt x="48958" y="59912"/>
                    </a:cubicBezTo>
                    <a:lnTo>
                      <a:pt x="74009" y="84963"/>
                    </a:lnTo>
                    <a:lnTo>
                      <a:pt x="70295" y="91345"/>
                    </a:lnTo>
                    <a:cubicBezTo>
                      <a:pt x="67628" y="95917"/>
                      <a:pt x="65532" y="100870"/>
                      <a:pt x="64198" y="106108"/>
                    </a:cubicBezTo>
                    <a:lnTo>
                      <a:pt x="62294" y="113252"/>
                    </a:lnTo>
                    <a:lnTo>
                      <a:pt x="26861" y="113252"/>
                    </a:lnTo>
                    <a:cubicBezTo>
                      <a:pt x="22574" y="113252"/>
                      <a:pt x="19145" y="116776"/>
                      <a:pt x="19145" y="120967"/>
                    </a:cubicBezTo>
                    <a:cubicBezTo>
                      <a:pt x="19145" y="125158"/>
                      <a:pt x="22670" y="128778"/>
                      <a:pt x="26861" y="128778"/>
                    </a:cubicBezTo>
                    <a:lnTo>
                      <a:pt x="62294" y="128778"/>
                    </a:lnTo>
                    <a:lnTo>
                      <a:pt x="64198" y="135922"/>
                    </a:lnTo>
                    <a:cubicBezTo>
                      <a:pt x="65532" y="141065"/>
                      <a:pt x="67628" y="146113"/>
                      <a:pt x="70295" y="150685"/>
                    </a:cubicBezTo>
                    <a:lnTo>
                      <a:pt x="74009" y="157067"/>
                    </a:lnTo>
                    <a:lnTo>
                      <a:pt x="48958" y="182118"/>
                    </a:lnTo>
                    <a:cubicBezTo>
                      <a:pt x="45911" y="185166"/>
                      <a:pt x="45911" y="190024"/>
                      <a:pt x="48958" y="193072"/>
                    </a:cubicBezTo>
                    <a:cubicBezTo>
                      <a:pt x="51911" y="196025"/>
                      <a:pt x="57055" y="196025"/>
                      <a:pt x="59912" y="193072"/>
                    </a:cubicBezTo>
                    <a:lnTo>
                      <a:pt x="84963" y="167830"/>
                    </a:lnTo>
                    <a:close/>
                  </a:path>
                </a:pathLst>
              </a:custGeom>
              <a:solidFill>
                <a:srgbClr val="540005"/>
              </a:solidFill>
              <a:ln w="9525" cap="flat">
                <a:noFill/>
                <a:prstDash val="solid"/>
                <a:miter/>
              </a:ln>
            </p:spPr>
            <p:txBody>
              <a:bodyPr rtlCol="0" anchor="ctr"/>
              <a:lstStyle/>
              <a:p>
                <a:endParaRPr lang="en-GB"/>
              </a:p>
            </p:txBody>
          </p:sp>
        </p:grpSp>
        <p:sp>
          <p:nvSpPr>
            <p:cNvPr id="316" name="iṡļíḋè">
              <a:extLst>
                <a:ext uri="{FF2B5EF4-FFF2-40B4-BE49-F238E27FC236}">
                  <a16:creationId xmlns:a16="http://schemas.microsoft.com/office/drawing/2014/main" id="{7A6CF75C-3380-40E0-867F-6E8D5DCE28BC}"/>
                </a:ext>
              </a:extLst>
            </p:cNvPr>
            <p:cNvSpPr/>
            <p:nvPr/>
          </p:nvSpPr>
          <p:spPr>
            <a:xfrm>
              <a:off x="5225162" y="2756459"/>
              <a:ext cx="893794" cy="1288164"/>
            </a:xfrm>
            <a:custGeom>
              <a:avLst/>
              <a:gdLst>
                <a:gd name="connsiteX0" fmla="*/ 471011 w 471011"/>
                <a:gd name="connsiteY0" fmla="*/ 132387 h 678836"/>
                <a:gd name="connsiteX1" fmla="*/ 471011 w 471011"/>
                <a:gd name="connsiteY1" fmla="*/ 449093 h 678836"/>
                <a:gd name="connsiteX2" fmla="*/ 403765 w 471011"/>
                <a:gd name="connsiteY2" fmla="*/ 611590 h 678836"/>
                <a:gd name="connsiteX3" fmla="*/ 403765 w 471011"/>
                <a:gd name="connsiteY3" fmla="*/ 611590 h 678836"/>
                <a:gd name="connsiteX4" fmla="*/ 241268 w 471011"/>
                <a:gd name="connsiteY4" fmla="*/ 678836 h 678836"/>
                <a:gd name="connsiteX5" fmla="*/ 132397 w 471011"/>
                <a:gd name="connsiteY5" fmla="*/ 678836 h 678836"/>
                <a:gd name="connsiteX6" fmla="*/ 0 w 471011"/>
                <a:gd name="connsiteY6" fmla="*/ 546439 h 678836"/>
                <a:gd name="connsiteX7" fmla="*/ 0 w 471011"/>
                <a:gd name="connsiteY7" fmla="*/ 546439 h 678836"/>
                <a:gd name="connsiteX8" fmla="*/ 74581 w 471011"/>
                <a:gd name="connsiteY8" fmla="*/ 295169 h 678836"/>
                <a:gd name="connsiteX9" fmla="*/ 227552 w 471011"/>
                <a:gd name="connsiteY9" fmla="*/ 60188 h 678836"/>
                <a:gd name="connsiteX10" fmla="*/ 393573 w 471011"/>
                <a:gd name="connsiteY10" fmla="*/ 11991 h 678836"/>
                <a:gd name="connsiteX11" fmla="*/ 393573 w 471011"/>
                <a:gd name="connsiteY11" fmla="*/ 11991 h 678836"/>
                <a:gd name="connsiteX12" fmla="*/ 471011 w 471011"/>
                <a:gd name="connsiteY12" fmla="*/ 132387 h 6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1011" h="678836">
                  <a:moveTo>
                    <a:pt x="471011" y="132387"/>
                  </a:moveTo>
                  <a:lnTo>
                    <a:pt x="471011" y="449093"/>
                  </a:lnTo>
                  <a:cubicBezTo>
                    <a:pt x="471011" y="510053"/>
                    <a:pt x="446818" y="568442"/>
                    <a:pt x="403765" y="611590"/>
                  </a:cubicBezTo>
                  <a:lnTo>
                    <a:pt x="403765" y="611590"/>
                  </a:lnTo>
                  <a:cubicBezTo>
                    <a:pt x="360712" y="654643"/>
                    <a:pt x="302228" y="678836"/>
                    <a:pt x="241268" y="678836"/>
                  </a:cubicBezTo>
                  <a:lnTo>
                    <a:pt x="132397" y="678836"/>
                  </a:lnTo>
                  <a:cubicBezTo>
                    <a:pt x="59245" y="678836"/>
                    <a:pt x="0" y="619496"/>
                    <a:pt x="0" y="546439"/>
                  </a:cubicBezTo>
                  <a:lnTo>
                    <a:pt x="0" y="546439"/>
                  </a:lnTo>
                  <a:cubicBezTo>
                    <a:pt x="0" y="457190"/>
                    <a:pt x="25908" y="369940"/>
                    <a:pt x="74581" y="295169"/>
                  </a:cubicBezTo>
                  <a:lnTo>
                    <a:pt x="227552" y="60188"/>
                  </a:lnTo>
                  <a:cubicBezTo>
                    <a:pt x="263366" y="5228"/>
                    <a:pt x="333946" y="-15250"/>
                    <a:pt x="393573" y="11991"/>
                  </a:cubicBezTo>
                  <a:lnTo>
                    <a:pt x="393573" y="11991"/>
                  </a:lnTo>
                  <a:cubicBezTo>
                    <a:pt x="440817" y="33518"/>
                    <a:pt x="471011" y="80571"/>
                    <a:pt x="471011" y="132387"/>
                  </a:cubicBezTo>
                  <a:close/>
                </a:path>
              </a:pathLst>
            </a:custGeom>
            <a:solidFill>
              <a:srgbClr val="FDB4BD"/>
            </a:solidFill>
            <a:ln w="9525" cap="flat">
              <a:noFill/>
              <a:prstDash val="solid"/>
              <a:miter/>
            </a:ln>
          </p:spPr>
          <p:txBody>
            <a:bodyPr rtlCol="0" anchor="ctr"/>
            <a:lstStyle/>
            <a:p>
              <a:endParaRPr lang="en-GB"/>
            </a:p>
          </p:txBody>
        </p:sp>
        <p:sp>
          <p:nvSpPr>
            <p:cNvPr id="317" name="íṡļîḓê">
              <a:extLst>
                <a:ext uri="{FF2B5EF4-FFF2-40B4-BE49-F238E27FC236}">
                  <a16:creationId xmlns:a16="http://schemas.microsoft.com/office/drawing/2014/main" id="{37177109-4EA5-4AE3-B47F-444A58571F7D}"/>
                </a:ext>
              </a:extLst>
            </p:cNvPr>
            <p:cNvSpPr/>
            <p:nvPr/>
          </p:nvSpPr>
          <p:spPr>
            <a:xfrm>
              <a:off x="6295728" y="2756459"/>
              <a:ext cx="893794" cy="1288164"/>
            </a:xfrm>
            <a:custGeom>
              <a:avLst/>
              <a:gdLst>
                <a:gd name="connsiteX0" fmla="*/ 0 w 471011"/>
                <a:gd name="connsiteY0" fmla="*/ 132387 h 678836"/>
                <a:gd name="connsiteX1" fmla="*/ 0 w 471011"/>
                <a:gd name="connsiteY1" fmla="*/ 449093 h 678836"/>
                <a:gd name="connsiteX2" fmla="*/ 67246 w 471011"/>
                <a:gd name="connsiteY2" fmla="*/ 611590 h 678836"/>
                <a:gd name="connsiteX3" fmla="*/ 67246 w 471011"/>
                <a:gd name="connsiteY3" fmla="*/ 611590 h 678836"/>
                <a:gd name="connsiteX4" fmla="*/ 229743 w 471011"/>
                <a:gd name="connsiteY4" fmla="*/ 678836 h 678836"/>
                <a:gd name="connsiteX5" fmla="*/ 338614 w 471011"/>
                <a:gd name="connsiteY5" fmla="*/ 678836 h 678836"/>
                <a:gd name="connsiteX6" fmla="*/ 471011 w 471011"/>
                <a:gd name="connsiteY6" fmla="*/ 546439 h 678836"/>
                <a:gd name="connsiteX7" fmla="*/ 471011 w 471011"/>
                <a:gd name="connsiteY7" fmla="*/ 546439 h 678836"/>
                <a:gd name="connsiteX8" fmla="*/ 396430 w 471011"/>
                <a:gd name="connsiteY8" fmla="*/ 295169 h 678836"/>
                <a:gd name="connsiteX9" fmla="*/ 243459 w 471011"/>
                <a:gd name="connsiteY9" fmla="*/ 60188 h 678836"/>
                <a:gd name="connsiteX10" fmla="*/ 77438 w 471011"/>
                <a:gd name="connsiteY10" fmla="*/ 11991 h 678836"/>
                <a:gd name="connsiteX11" fmla="*/ 77438 w 471011"/>
                <a:gd name="connsiteY11" fmla="*/ 11991 h 678836"/>
                <a:gd name="connsiteX12" fmla="*/ 0 w 471011"/>
                <a:gd name="connsiteY12" fmla="*/ 132387 h 67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1011" h="678836">
                  <a:moveTo>
                    <a:pt x="0" y="132387"/>
                  </a:moveTo>
                  <a:lnTo>
                    <a:pt x="0" y="449093"/>
                  </a:lnTo>
                  <a:cubicBezTo>
                    <a:pt x="0" y="510053"/>
                    <a:pt x="24194" y="568442"/>
                    <a:pt x="67246" y="611590"/>
                  </a:cubicBezTo>
                  <a:lnTo>
                    <a:pt x="67246" y="611590"/>
                  </a:lnTo>
                  <a:cubicBezTo>
                    <a:pt x="110300" y="654643"/>
                    <a:pt x="168783" y="678836"/>
                    <a:pt x="229743" y="678836"/>
                  </a:cubicBezTo>
                  <a:lnTo>
                    <a:pt x="338614" y="678836"/>
                  </a:lnTo>
                  <a:cubicBezTo>
                    <a:pt x="411766" y="678836"/>
                    <a:pt x="471011" y="619496"/>
                    <a:pt x="471011" y="546439"/>
                  </a:cubicBezTo>
                  <a:lnTo>
                    <a:pt x="471011" y="546439"/>
                  </a:lnTo>
                  <a:cubicBezTo>
                    <a:pt x="471011" y="457190"/>
                    <a:pt x="445103" y="369940"/>
                    <a:pt x="396430" y="295169"/>
                  </a:cubicBezTo>
                  <a:lnTo>
                    <a:pt x="243459" y="60188"/>
                  </a:lnTo>
                  <a:cubicBezTo>
                    <a:pt x="207645" y="5228"/>
                    <a:pt x="137065" y="-15250"/>
                    <a:pt x="77438" y="11991"/>
                  </a:cubicBezTo>
                  <a:lnTo>
                    <a:pt x="77438" y="11991"/>
                  </a:lnTo>
                  <a:cubicBezTo>
                    <a:pt x="30289" y="33518"/>
                    <a:pt x="0" y="80571"/>
                    <a:pt x="0" y="132387"/>
                  </a:cubicBezTo>
                  <a:close/>
                </a:path>
              </a:pathLst>
            </a:custGeom>
            <a:solidFill>
              <a:srgbClr val="FDB4BD"/>
            </a:solidFill>
            <a:ln w="9525" cap="flat">
              <a:noFill/>
              <a:prstDash val="solid"/>
              <a:miter/>
            </a:ln>
          </p:spPr>
          <p:txBody>
            <a:bodyPr rtlCol="0" anchor="ctr"/>
            <a:lstStyle/>
            <a:p>
              <a:endParaRPr lang="en-GB"/>
            </a:p>
          </p:txBody>
        </p:sp>
        <p:sp>
          <p:nvSpPr>
            <p:cNvPr id="318" name="íṡļîḓè">
              <a:extLst>
                <a:ext uri="{FF2B5EF4-FFF2-40B4-BE49-F238E27FC236}">
                  <a16:creationId xmlns:a16="http://schemas.microsoft.com/office/drawing/2014/main" id="{1C2091B4-0BF1-42DE-8F78-E6F71A26F03F}"/>
                </a:ext>
              </a:extLst>
            </p:cNvPr>
            <p:cNvSpPr/>
            <p:nvPr/>
          </p:nvSpPr>
          <p:spPr>
            <a:xfrm>
              <a:off x="5287881" y="2769815"/>
              <a:ext cx="831075" cy="1274989"/>
            </a:xfrm>
            <a:custGeom>
              <a:avLst/>
              <a:gdLst>
                <a:gd name="connsiteX0" fmla="*/ 360617 w 437959"/>
                <a:gd name="connsiteY0" fmla="*/ 4953 h 671893"/>
                <a:gd name="connsiteX1" fmla="*/ 347949 w 437959"/>
                <a:gd name="connsiteY1" fmla="*/ 0 h 671893"/>
                <a:gd name="connsiteX2" fmla="*/ 380810 w 437959"/>
                <a:gd name="connsiteY2" fmla="*/ 87344 h 671893"/>
                <a:gd name="connsiteX3" fmla="*/ 380810 w 437959"/>
                <a:gd name="connsiteY3" fmla="*/ 404050 h 671893"/>
                <a:gd name="connsiteX4" fmla="*/ 313563 w 437959"/>
                <a:gd name="connsiteY4" fmla="*/ 566547 h 671893"/>
                <a:gd name="connsiteX5" fmla="*/ 151067 w 437959"/>
                <a:gd name="connsiteY5" fmla="*/ 633793 h 671893"/>
                <a:gd name="connsiteX6" fmla="*/ 42196 w 437959"/>
                <a:gd name="connsiteY6" fmla="*/ 633793 h 671893"/>
                <a:gd name="connsiteX7" fmla="*/ 0 w 437959"/>
                <a:gd name="connsiteY7" fmla="*/ 626840 h 671893"/>
                <a:gd name="connsiteX8" fmla="*/ 99346 w 437959"/>
                <a:gd name="connsiteY8" fmla="*/ 671893 h 671893"/>
                <a:gd name="connsiteX9" fmla="*/ 208217 w 437959"/>
                <a:gd name="connsiteY9" fmla="*/ 671893 h 671893"/>
                <a:gd name="connsiteX10" fmla="*/ 370713 w 437959"/>
                <a:gd name="connsiteY10" fmla="*/ 604647 h 671893"/>
                <a:gd name="connsiteX11" fmla="*/ 437960 w 437959"/>
                <a:gd name="connsiteY11" fmla="*/ 442150 h 671893"/>
                <a:gd name="connsiteX12" fmla="*/ 437960 w 437959"/>
                <a:gd name="connsiteY12" fmla="*/ 125444 h 671893"/>
                <a:gd name="connsiteX13" fmla="*/ 360617 w 437959"/>
                <a:gd name="connsiteY13" fmla="*/ 4953 h 67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7959" h="671893">
                  <a:moveTo>
                    <a:pt x="360617" y="4953"/>
                  </a:moveTo>
                  <a:cubicBezTo>
                    <a:pt x="356426" y="3048"/>
                    <a:pt x="352235" y="1429"/>
                    <a:pt x="347949" y="0"/>
                  </a:cubicBezTo>
                  <a:cubicBezTo>
                    <a:pt x="368713" y="23717"/>
                    <a:pt x="380810" y="54578"/>
                    <a:pt x="380810" y="87344"/>
                  </a:cubicBezTo>
                  <a:lnTo>
                    <a:pt x="380810" y="404050"/>
                  </a:lnTo>
                  <a:cubicBezTo>
                    <a:pt x="380810" y="465010"/>
                    <a:pt x="356616" y="523399"/>
                    <a:pt x="313563" y="566547"/>
                  </a:cubicBezTo>
                  <a:cubicBezTo>
                    <a:pt x="270510" y="609695"/>
                    <a:pt x="212027" y="633793"/>
                    <a:pt x="151067" y="633793"/>
                  </a:cubicBezTo>
                  <a:lnTo>
                    <a:pt x="42196" y="633793"/>
                  </a:lnTo>
                  <a:cubicBezTo>
                    <a:pt x="27432" y="633793"/>
                    <a:pt x="13240" y="631222"/>
                    <a:pt x="0" y="626840"/>
                  </a:cubicBezTo>
                  <a:cubicBezTo>
                    <a:pt x="24289" y="654463"/>
                    <a:pt x="59722" y="671893"/>
                    <a:pt x="99346" y="671893"/>
                  </a:cubicBezTo>
                  <a:lnTo>
                    <a:pt x="208217" y="671893"/>
                  </a:lnTo>
                  <a:cubicBezTo>
                    <a:pt x="269177" y="671893"/>
                    <a:pt x="327565" y="647700"/>
                    <a:pt x="370713" y="604647"/>
                  </a:cubicBezTo>
                  <a:cubicBezTo>
                    <a:pt x="413861" y="561594"/>
                    <a:pt x="437960" y="503110"/>
                    <a:pt x="437960" y="442150"/>
                  </a:cubicBezTo>
                  <a:lnTo>
                    <a:pt x="437960" y="125444"/>
                  </a:lnTo>
                  <a:cubicBezTo>
                    <a:pt x="437960" y="73533"/>
                    <a:pt x="407766" y="26479"/>
                    <a:pt x="360617" y="4953"/>
                  </a:cubicBezTo>
                  <a:close/>
                </a:path>
              </a:pathLst>
            </a:custGeom>
            <a:solidFill>
              <a:srgbClr val="F28491"/>
            </a:solidFill>
            <a:ln w="9525" cap="flat">
              <a:noFill/>
              <a:prstDash val="solid"/>
              <a:miter/>
            </a:ln>
          </p:spPr>
          <p:txBody>
            <a:bodyPr rtlCol="0" anchor="ctr"/>
            <a:lstStyle/>
            <a:p>
              <a:endParaRPr lang="en-GB"/>
            </a:p>
          </p:txBody>
        </p:sp>
        <p:sp>
          <p:nvSpPr>
            <p:cNvPr id="319" name="îṡlïḓè">
              <a:extLst>
                <a:ext uri="{FF2B5EF4-FFF2-40B4-BE49-F238E27FC236}">
                  <a16:creationId xmlns:a16="http://schemas.microsoft.com/office/drawing/2014/main" id="{5EA29CB7-6632-4C13-BFC9-DD6DEA1B857A}"/>
                </a:ext>
              </a:extLst>
            </p:cNvPr>
            <p:cNvSpPr/>
            <p:nvPr/>
          </p:nvSpPr>
          <p:spPr>
            <a:xfrm>
              <a:off x="6456411" y="2776141"/>
              <a:ext cx="751183" cy="1274629"/>
            </a:xfrm>
            <a:custGeom>
              <a:avLst/>
              <a:gdLst>
                <a:gd name="connsiteX0" fmla="*/ 321278 w 395858"/>
                <a:gd name="connsiteY0" fmla="*/ 288036 h 671703"/>
                <a:gd name="connsiteX1" fmla="*/ 168307 w 395858"/>
                <a:gd name="connsiteY1" fmla="*/ 53054 h 671703"/>
                <a:gd name="connsiteX2" fmla="*/ 99631 w 395858"/>
                <a:gd name="connsiteY2" fmla="*/ 0 h 671703"/>
                <a:gd name="connsiteX3" fmla="*/ 111157 w 395858"/>
                <a:gd name="connsiteY3" fmla="*/ 14954 h 671703"/>
                <a:gd name="connsiteX4" fmla="*/ 264128 w 395858"/>
                <a:gd name="connsiteY4" fmla="*/ 249936 h 671703"/>
                <a:gd name="connsiteX5" fmla="*/ 338709 w 395858"/>
                <a:gd name="connsiteY5" fmla="*/ 501206 h 671703"/>
                <a:gd name="connsiteX6" fmla="*/ 206312 w 395858"/>
                <a:gd name="connsiteY6" fmla="*/ 633603 h 671703"/>
                <a:gd name="connsiteX7" fmla="*/ 97441 w 395858"/>
                <a:gd name="connsiteY7" fmla="*/ 633603 h 671703"/>
                <a:gd name="connsiteX8" fmla="*/ 0 w 395858"/>
                <a:gd name="connsiteY8" fmla="*/ 611886 h 671703"/>
                <a:gd name="connsiteX9" fmla="*/ 154591 w 395858"/>
                <a:gd name="connsiteY9" fmla="*/ 671703 h 671703"/>
                <a:gd name="connsiteX10" fmla="*/ 263462 w 395858"/>
                <a:gd name="connsiteY10" fmla="*/ 671703 h 671703"/>
                <a:gd name="connsiteX11" fmla="*/ 395859 w 395858"/>
                <a:gd name="connsiteY11" fmla="*/ 539306 h 671703"/>
                <a:gd name="connsiteX12" fmla="*/ 321278 w 395858"/>
                <a:gd name="connsiteY12" fmla="*/ 288036 h 67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5858" h="671703">
                  <a:moveTo>
                    <a:pt x="321278" y="288036"/>
                  </a:moveTo>
                  <a:lnTo>
                    <a:pt x="168307" y="53054"/>
                  </a:lnTo>
                  <a:cubicBezTo>
                    <a:pt x="151543" y="27242"/>
                    <a:pt x="127063" y="9239"/>
                    <a:pt x="99631" y="0"/>
                  </a:cubicBezTo>
                  <a:cubicBezTo>
                    <a:pt x="103727" y="4667"/>
                    <a:pt x="107632" y="9620"/>
                    <a:pt x="111157" y="14954"/>
                  </a:cubicBezTo>
                  <a:lnTo>
                    <a:pt x="264128" y="249936"/>
                  </a:lnTo>
                  <a:cubicBezTo>
                    <a:pt x="312801" y="324707"/>
                    <a:pt x="338709" y="411956"/>
                    <a:pt x="338709" y="501206"/>
                  </a:cubicBezTo>
                  <a:cubicBezTo>
                    <a:pt x="338709" y="574358"/>
                    <a:pt x="279368" y="633603"/>
                    <a:pt x="206312" y="633603"/>
                  </a:cubicBezTo>
                  <a:lnTo>
                    <a:pt x="97441" y="633603"/>
                  </a:lnTo>
                  <a:cubicBezTo>
                    <a:pt x="63437" y="633603"/>
                    <a:pt x="30194" y="626078"/>
                    <a:pt x="0" y="611886"/>
                  </a:cubicBezTo>
                  <a:cubicBezTo>
                    <a:pt x="42196" y="650272"/>
                    <a:pt x="97250" y="671703"/>
                    <a:pt x="154591" y="671703"/>
                  </a:cubicBezTo>
                  <a:lnTo>
                    <a:pt x="263462" y="671703"/>
                  </a:lnTo>
                  <a:cubicBezTo>
                    <a:pt x="336613" y="671703"/>
                    <a:pt x="395859" y="612362"/>
                    <a:pt x="395859" y="539306"/>
                  </a:cubicBezTo>
                  <a:cubicBezTo>
                    <a:pt x="395859" y="450152"/>
                    <a:pt x="369951" y="362807"/>
                    <a:pt x="321278" y="288036"/>
                  </a:cubicBezTo>
                  <a:close/>
                </a:path>
              </a:pathLst>
            </a:custGeom>
            <a:solidFill>
              <a:srgbClr val="F28491"/>
            </a:solidFill>
            <a:ln w="9525" cap="flat">
              <a:noFill/>
              <a:prstDash val="solid"/>
              <a:miter/>
            </a:ln>
          </p:spPr>
          <p:txBody>
            <a:bodyPr rtlCol="0" anchor="ctr"/>
            <a:lstStyle/>
            <a:p>
              <a:endParaRPr lang="en-GB"/>
            </a:p>
          </p:txBody>
        </p:sp>
        <p:sp>
          <p:nvSpPr>
            <p:cNvPr id="320" name="iṡḻîḋê">
              <a:extLst>
                <a:ext uri="{FF2B5EF4-FFF2-40B4-BE49-F238E27FC236}">
                  <a16:creationId xmlns:a16="http://schemas.microsoft.com/office/drawing/2014/main" id="{E4A47223-0508-4196-84FA-9E3E22F3C19C}"/>
                </a:ext>
              </a:extLst>
            </p:cNvPr>
            <p:cNvSpPr/>
            <p:nvPr/>
          </p:nvSpPr>
          <p:spPr>
            <a:xfrm>
              <a:off x="5942493" y="2524767"/>
              <a:ext cx="529695" cy="269863"/>
            </a:xfrm>
            <a:custGeom>
              <a:avLst/>
              <a:gdLst>
                <a:gd name="connsiteX0" fmla="*/ 9553 w 279138"/>
                <a:gd name="connsiteY0" fmla="*/ 142184 h 142212"/>
                <a:gd name="connsiteX1" fmla="*/ 2600 w 279138"/>
                <a:gd name="connsiteY1" fmla="*/ 139232 h 142212"/>
                <a:gd name="connsiteX2" fmla="*/ 2981 w 279138"/>
                <a:gd name="connsiteY2" fmla="*/ 125801 h 142212"/>
                <a:gd name="connsiteX3" fmla="*/ 132997 w 279138"/>
                <a:gd name="connsiteY3" fmla="*/ 2643 h 142212"/>
                <a:gd name="connsiteX4" fmla="*/ 146142 w 279138"/>
                <a:gd name="connsiteY4" fmla="*/ 2643 h 142212"/>
                <a:gd name="connsiteX5" fmla="*/ 276158 w 279138"/>
                <a:gd name="connsiteY5" fmla="*/ 125801 h 142212"/>
                <a:gd name="connsiteX6" fmla="*/ 276539 w 279138"/>
                <a:gd name="connsiteY6" fmla="*/ 139232 h 142212"/>
                <a:gd name="connsiteX7" fmla="*/ 263109 w 279138"/>
                <a:gd name="connsiteY7" fmla="*/ 139613 h 142212"/>
                <a:gd name="connsiteX8" fmla="*/ 139664 w 279138"/>
                <a:gd name="connsiteY8" fmla="*/ 22646 h 142212"/>
                <a:gd name="connsiteX9" fmla="*/ 16125 w 279138"/>
                <a:gd name="connsiteY9" fmla="*/ 139517 h 142212"/>
                <a:gd name="connsiteX10" fmla="*/ 9553 w 279138"/>
                <a:gd name="connsiteY10" fmla="*/ 142184 h 14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9138" h="142212">
                  <a:moveTo>
                    <a:pt x="9553" y="142184"/>
                  </a:moveTo>
                  <a:cubicBezTo>
                    <a:pt x="7077" y="142184"/>
                    <a:pt x="4505" y="141232"/>
                    <a:pt x="2600" y="139232"/>
                  </a:cubicBezTo>
                  <a:cubicBezTo>
                    <a:pt x="-1020" y="135422"/>
                    <a:pt x="-829" y="129421"/>
                    <a:pt x="2981" y="125801"/>
                  </a:cubicBezTo>
                  <a:lnTo>
                    <a:pt x="132997" y="2643"/>
                  </a:lnTo>
                  <a:cubicBezTo>
                    <a:pt x="136617" y="-881"/>
                    <a:pt x="142427" y="-881"/>
                    <a:pt x="146142" y="2643"/>
                  </a:cubicBezTo>
                  <a:lnTo>
                    <a:pt x="276158" y="125801"/>
                  </a:lnTo>
                  <a:cubicBezTo>
                    <a:pt x="279968" y="129421"/>
                    <a:pt x="280158" y="135422"/>
                    <a:pt x="276539" y="139232"/>
                  </a:cubicBezTo>
                  <a:cubicBezTo>
                    <a:pt x="272919" y="143042"/>
                    <a:pt x="266919" y="143232"/>
                    <a:pt x="263109" y="139613"/>
                  </a:cubicBezTo>
                  <a:lnTo>
                    <a:pt x="139664" y="22646"/>
                  </a:lnTo>
                  <a:lnTo>
                    <a:pt x="16125" y="139517"/>
                  </a:lnTo>
                  <a:cubicBezTo>
                    <a:pt x="14315" y="141327"/>
                    <a:pt x="11934" y="142184"/>
                    <a:pt x="9553" y="142184"/>
                  </a:cubicBezTo>
                  <a:close/>
                </a:path>
              </a:pathLst>
            </a:custGeom>
            <a:solidFill>
              <a:srgbClr val="540005"/>
            </a:solidFill>
            <a:ln w="9525" cap="flat">
              <a:noFill/>
              <a:prstDash val="solid"/>
              <a:miter/>
            </a:ln>
          </p:spPr>
          <p:txBody>
            <a:bodyPr rtlCol="0" anchor="ctr"/>
            <a:lstStyle/>
            <a:p>
              <a:endParaRPr lang="en-GB"/>
            </a:p>
          </p:txBody>
        </p:sp>
        <p:grpSp>
          <p:nvGrpSpPr>
            <p:cNvPr id="321" name="íś1îḋé">
              <a:extLst>
                <a:ext uri="{FF2B5EF4-FFF2-40B4-BE49-F238E27FC236}">
                  <a16:creationId xmlns:a16="http://schemas.microsoft.com/office/drawing/2014/main" id="{447B830B-F859-48C1-AB95-24D669FB0BD1}"/>
                </a:ext>
              </a:extLst>
            </p:cNvPr>
            <p:cNvGrpSpPr/>
            <p:nvPr/>
          </p:nvGrpSpPr>
          <p:grpSpPr>
            <a:xfrm>
              <a:off x="6189268" y="2337107"/>
              <a:ext cx="36149" cy="223764"/>
              <a:chOff x="7634097" y="3462051"/>
              <a:chExt cx="19050" cy="117919"/>
            </a:xfrm>
            <a:solidFill>
              <a:srgbClr val="540005"/>
            </a:solidFill>
          </p:grpSpPr>
          <p:sp>
            <p:nvSpPr>
              <p:cNvPr id="344" name="ïṣliḓé">
                <a:extLst>
                  <a:ext uri="{FF2B5EF4-FFF2-40B4-BE49-F238E27FC236}">
                    <a16:creationId xmlns:a16="http://schemas.microsoft.com/office/drawing/2014/main" id="{F04DCA61-DB2F-496C-B973-14EC0F265964}"/>
                  </a:ext>
                </a:extLst>
              </p:cNvPr>
              <p:cNvSpPr/>
              <p:nvPr/>
            </p:nvSpPr>
            <p:spPr>
              <a:xfrm>
                <a:off x="7643622" y="3471576"/>
                <a:ext cx="9525" cy="98869"/>
              </a:xfrm>
              <a:custGeom>
                <a:avLst/>
                <a:gdLst>
                  <a:gd name="connsiteX0" fmla="*/ 0 w 9525"/>
                  <a:gd name="connsiteY0" fmla="*/ 98870 h 98869"/>
                  <a:gd name="connsiteX1" fmla="*/ 0 w 9525"/>
                  <a:gd name="connsiteY1" fmla="*/ 0 h 98869"/>
                </a:gdLst>
                <a:ahLst/>
                <a:cxnLst>
                  <a:cxn ang="0">
                    <a:pos x="connsiteX0" y="connsiteY0"/>
                  </a:cxn>
                  <a:cxn ang="0">
                    <a:pos x="connsiteX1" y="connsiteY1"/>
                  </a:cxn>
                </a:cxnLst>
                <a:rect l="l" t="t" r="r" b="b"/>
                <a:pathLst>
                  <a:path w="9525" h="98869">
                    <a:moveTo>
                      <a:pt x="0" y="98870"/>
                    </a:moveTo>
                    <a:lnTo>
                      <a:pt x="0" y="0"/>
                    </a:lnTo>
                  </a:path>
                </a:pathLst>
              </a:custGeom>
              <a:ln w="9525" cap="flat">
                <a:noFill/>
                <a:prstDash val="solid"/>
                <a:miter/>
              </a:ln>
            </p:spPr>
            <p:txBody>
              <a:bodyPr rtlCol="0" anchor="ctr"/>
              <a:lstStyle/>
              <a:p>
                <a:endParaRPr lang="en-GB"/>
              </a:p>
            </p:txBody>
          </p:sp>
          <p:sp>
            <p:nvSpPr>
              <p:cNvPr id="345" name="iṡlïḓé">
                <a:extLst>
                  <a:ext uri="{FF2B5EF4-FFF2-40B4-BE49-F238E27FC236}">
                    <a16:creationId xmlns:a16="http://schemas.microsoft.com/office/drawing/2014/main" id="{CF6E9102-97E7-49B7-8703-AAD975067CCA}"/>
                  </a:ext>
                </a:extLst>
              </p:cNvPr>
              <p:cNvSpPr/>
              <p:nvPr/>
            </p:nvSpPr>
            <p:spPr>
              <a:xfrm>
                <a:off x="7634097" y="3462051"/>
                <a:ext cx="19050" cy="117919"/>
              </a:xfrm>
              <a:custGeom>
                <a:avLst/>
                <a:gdLst>
                  <a:gd name="connsiteX0" fmla="*/ 9525 w 19050"/>
                  <a:gd name="connsiteY0" fmla="*/ 117920 h 117919"/>
                  <a:gd name="connsiteX1" fmla="*/ 0 w 19050"/>
                  <a:gd name="connsiteY1" fmla="*/ 108395 h 117919"/>
                  <a:gd name="connsiteX2" fmla="*/ 0 w 19050"/>
                  <a:gd name="connsiteY2" fmla="*/ 9525 h 117919"/>
                  <a:gd name="connsiteX3" fmla="*/ 9525 w 19050"/>
                  <a:gd name="connsiteY3" fmla="*/ 0 h 117919"/>
                  <a:gd name="connsiteX4" fmla="*/ 19050 w 19050"/>
                  <a:gd name="connsiteY4" fmla="*/ 9525 h 117919"/>
                  <a:gd name="connsiteX5" fmla="*/ 19050 w 19050"/>
                  <a:gd name="connsiteY5" fmla="*/ 108395 h 117919"/>
                  <a:gd name="connsiteX6" fmla="*/ 9525 w 19050"/>
                  <a:gd name="connsiteY6" fmla="*/ 117920 h 11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050" h="117919">
                    <a:moveTo>
                      <a:pt x="9525" y="117920"/>
                    </a:moveTo>
                    <a:cubicBezTo>
                      <a:pt x="4286" y="117920"/>
                      <a:pt x="0" y="113633"/>
                      <a:pt x="0" y="108395"/>
                    </a:cubicBezTo>
                    <a:lnTo>
                      <a:pt x="0" y="9525"/>
                    </a:lnTo>
                    <a:cubicBezTo>
                      <a:pt x="0" y="4286"/>
                      <a:pt x="4286" y="0"/>
                      <a:pt x="9525" y="0"/>
                    </a:cubicBezTo>
                    <a:cubicBezTo>
                      <a:pt x="14764" y="0"/>
                      <a:pt x="19050" y="4286"/>
                      <a:pt x="19050" y="9525"/>
                    </a:cubicBezTo>
                    <a:lnTo>
                      <a:pt x="19050" y="108395"/>
                    </a:lnTo>
                    <a:cubicBezTo>
                      <a:pt x="19050" y="113633"/>
                      <a:pt x="14764" y="117920"/>
                      <a:pt x="9525" y="117920"/>
                    </a:cubicBezTo>
                    <a:close/>
                  </a:path>
                </a:pathLst>
              </a:custGeom>
              <a:solidFill>
                <a:srgbClr val="540005"/>
              </a:solidFill>
              <a:ln w="9525" cap="flat">
                <a:noFill/>
                <a:prstDash val="solid"/>
                <a:miter/>
              </a:ln>
            </p:spPr>
            <p:txBody>
              <a:bodyPr rtlCol="0" anchor="ctr"/>
              <a:lstStyle/>
              <a:p>
                <a:endParaRPr lang="en-GB"/>
              </a:p>
            </p:txBody>
          </p:sp>
        </p:grpSp>
        <p:grpSp>
          <p:nvGrpSpPr>
            <p:cNvPr id="322" name="iš1ïḍè">
              <a:extLst>
                <a:ext uri="{FF2B5EF4-FFF2-40B4-BE49-F238E27FC236}">
                  <a16:creationId xmlns:a16="http://schemas.microsoft.com/office/drawing/2014/main" id="{A7557791-84AD-4384-A4FB-A1B102BF7008}"/>
                </a:ext>
              </a:extLst>
            </p:cNvPr>
            <p:cNvGrpSpPr/>
            <p:nvPr/>
          </p:nvGrpSpPr>
          <p:grpSpPr>
            <a:xfrm>
              <a:off x="6439223" y="3578015"/>
              <a:ext cx="352938" cy="316629"/>
              <a:chOff x="7765818" y="4115984"/>
              <a:chExt cx="185991" cy="166857"/>
            </a:xfrm>
            <a:solidFill>
              <a:srgbClr val="F28491"/>
            </a:solidFill>
          </p:grpSpPr>
          <p:sp>
            <p:nvSpPr>
              <p:cNvPr id="341" name="ïsḷíḍê">
                <a:extLst>
                  <a:ext uri="{FF2B5EF4-FFF2-40B4-BE49-F238E27FC236}">
                    <a16:creationId xmlns:a16="http://schemas.microsoft.com/office/drawing/2014/main" id="{9F23C017-4759-45BA-8428-E5523BFC5413}"/>
                  </a:ext>
                </a:extLst>
              </p:cNvPr>
              <p:cNvSpPr/>
              <p:nvPr/>
            </p:nvSpPr>
            <p:spPr>
              <a:xfrm>
                <a:off x="7765818" y="4136887"/>
                <a:ext cx="78790" cy="78720"/>
              </a:xfrm>
              <a:custGeom>
                <a:avLst/>
                <a:gdLst>
                  <a:gd name="connsiteX0" fmla="*/ 64113 w 78790"/>
                  <a:gd name="connsiteY0" fmla="*/ 70018 h 78720"/>
                  <a:gd name="connsiteX1" fmla="*/ 70018 w 78790"/>
                  <a:gd name="connsiteY1" fmla="*/ 14678 h 78720"/>
                  <a:gd name="connsiteX2" fmla="*/ 14678 w 78790"/>
                  <a:gd name="connsiteY2" fmla="*/ 8773 h 78720"/>
                  <a:gd name="connsiteX3" fmla="*/ 8773 w 78790"/>
                  <a:gd name="connsiteY3" fmla="*/ 64113 h 78720"/>
                  <a:gd name="connsiteX4" fmla="*/ 64113 w 78790"/>
                  <a:gd name="connsiteY4" fmla="*/ 70018 h 787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0" h="78720">
                    <a:moveTo>
                      <a:pt x="64113" y="70018"/>
                    </a:moveTo>
                    <a:cubicBezTo>
                      <a:pt x="81067" y="56398"/>
                      <a:pt x="83734" y="31537"/>
                      <a:pt x="70018" y="14678"/>
                    </a:cubicBezTo>
                    <a:cubicBezTo>
                      <a:pt x="56398" y="-2276"/>
                      <a:pt x="31537" y="-4943"/>
                      <a:pt x="14678" y="8773"/>
                    </a:cubicBezTo>
                    <a:cubicBezTo>
                      <a:pt x="-2276" y="22393"/>
                      <a:pt x="-4943" y="47254"/>
                      <a:pt x="8773" y="64113"/>
                    </a:cubicBezTo>
                    <a:cubicBezTo>
                      <a:pt x="22393" y="80972"/>
                      <a:pt x="47158" y="83639"/>
                      <a:pt x="64113" y="70018"/>
                    </a:cubicBezTo>
                    <a:close/>
                  </a:path>
                </a:pathLst>
              </a:custGeom>
              <a:solidFill>
                <a:srgbClr val="F28491"/>
              </a:solidFill>
              <a:ln w="9525" cap="flat">
                <a:noFill/>
                <a:prstDash val="solid"/>
                <a:miter/>
              </a:ln>
            </p:spPr>
            <p:txBody>
              <a:bodyPr rtlCol="0" anchor="ctr"/>
              <a:lstStyle/>
              <a:p>
                <a:endParaRPr lang="en-GB"/>
              </a:p>
            </p:txBody>
          </p:sp>
          <p:sp>
            <p:nvSpPr>
              <p:cNvPr id="342" name="íšlïḋé">
                <a:extLst>
                  <a:ext uri="{FF2B5EF4-FFF2-40B4-BE49-F238E27FC236}">
                    <a16:creationId xmlns:a16="http://schemas.microsoft.com/office/drawing/2014/main" id="{96B2A821-E249-45EC-BF8F-06801F38E495}"/>
                  </a:ext>
                </a:extLst>
              </p:cNvPr>
              <p:cNvSpPr/>
              <p:nvPr/>
            </p:nvSpPr>
            <p:spPr>
              <a:xfrm>
                <a:off x="7889661" y="4225107"/>
                <a:ext cx="57704" cy="57734"/>
              </a:xfrm>
              <a:custGeom>
                <a:avLst/>
                <a:gdLst>
                  <a:gd name="connsiteX0" fmla="*/ 46950 w 57704"/>
                  <a:gd name="connsiteY0" fmla="*/ 51331 h 57734"/>
                  <a:gd name="connsiteX1" fmla="*/ 51331 w 57704"/>
                  <a:gd name="connsiteY1" fmla="*/ 10755 h 57734"/>
                  <a:gd name="connsiteX2" fmla="*/ 10755 w 57704"/>
                  <a:gd name="connsiteY2" fmla="*/ 6373 h 57734"/>
                  <a:gd name="connsiteX3" fmla="*/ 6373 w 57704"/>
                  <a:gd name="connsiteY3" fmla="*/ 46950 h 57734"/>
                  <a:gd name="connsiteX4" fmla="*/ 46950 w 57704"/>
                  <a:gd name="connsiteY4" fmla="*/ 51331 h 57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04" h="57734">
                    <a:moveTo>
                      <a:pt x="46950" y="51331"/>
                    </a:moveTo>
                    <a:cubicBezTo>
                      <a:pt x="59332" y="41330"/>
                      <a:pt x="61332" y="23137"/>
                      <a:pt x="51331" y="10755"/>
                    </a:cubicBezTo>
                    <a:cubicBezTo>
                      <a:pt x="41330" y="-1628"/>
                      <a:pt x="23137" y="-3628"/>
                      <a:pt x="10755" y="6373"/>
                    </a:cubicBezTo>
                    <a:cubicBezTo>
                      <a:pt x="-1628" y="16374"/>
                      <a:pt x="-3628" y="34567"/>
                      <a:pt x="6373" y="46950"/>
                    </a:cubicBezTo>
                    <a:cubicBezTo>
                      <a:pt x="16470" y="59427"/>
                      <a:pt x="34567" y="61332"/>
                      <a:pt x="46950" y="51331"/>
                    </a:cubicBezTo>
                    <a:close/>
                  </a:path>
                </a:pathLst>
              </a:custGeom>
              <a:solidFill>
                <a:srgbClr val="F28491"/>
              </a:solidFill>
              <a:ln w="9525" cap="flat">
                <a:noFill/>
                <a:prstDash val="solid"/>
                <a:miter/>
              </a:ln>
            </p:spPr>
            <p:txBody>
              <a:bodyPr rtlCol="0" anchor="ctr"/>
              <a:lstStyle/>
              <a:p>
                <a:endParaRPr lang="en-GB"/>
              </a:p>
            </p:txBody>
          </p:sp>
          <p:sp>
            <p:nvSpPr>
              <p:cNvPr id="343" name="ïŝliḑe">
                <a:extLst>
                  <a:ext uri="{FF2B5EF4-FFF2-40B4-BE49-F238E27FC236}">
                    <a16:creationId xmlns:a16="http://schemas.microsoft.com/office/drawing/2014/main" id="{BAB1A448-E55B-4F51-811F-E823D2610435}"/>
                  </a:ext>
                </a:extLst>
              </p:cNvPr>
              <p:cNvSpPr/>
              <p:nvPr/>
            </p:nvSpPr>
            <p:spPr>
              <a:xfrm>
                <a:off x="7908077" y="4115984"/>
                <a:ext cx="43731" cy="43731"/>
              </a:xfrm>
              <a:custGeom>
                <a:avLst/>
                <a:gdLst>
                  <a:gd name="connsiteX0" fmla="*/ 35582 w 43731"/>
                  <a:gd name="connsiteY0" fmla="*/ 38916 h 43731"/>
                  <a:gd name="connsiteX1" fmla="*/ 38916 w 43731"/>
                  <a:gd name="connsiteY1" fmla="*/ 8150 h 43731"/>
                  <a:gd name="connsiteX2" fmla="*/ 8150 w 43731"/>
                  <a:gd name="connsiteY2" fmla="*/ 4816 h 43731"/>
                  <a:gd name="connsiteX3" fmla="*/ 4816 w 43731"/>
                  <a:gd name="connsiteY3" fmla="*/ 35582 h 43731"/>
                  <a:gd name="connsiteX4" fmla="*/ 35582 w 43731"/>
                  <a:gd name="connsiteY4" fmla="*/ 38916 h 43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31" h="43731">
                    <a:moveTo>
                      <a:pt x="35582" y="38916"/>
                    </a:moveTo>
                    <a:cubicBezTo>
                      <a:pt x="45012" y="31296"/>
                      <a:pt x="46440" y="17580"/>
                      <a:pt x="38916" y="8150"/>
                    </a:cubicBezTo>
                    <a:cubicBezTo>
                      <a:pt x="31296" y="-1280"/>
                      <a:pt x="17580" y="-2709"/>
                      <a:pt x="8150" y="4816"/>
                    </a:cubicBezTo>
                    <a:cubicBezTo>
                      <a:pt x="-1280" y="12341"/>
                      <a:pt x="-2709" y="26152"/>
                      <a:pt x="4816" y="35582"/>
                    </a:cubicBezTo>
                    <a:cubicBezTo>
                      <a:pt x="12436" y="45012"/>
                      <a:pt x="26152" y="46440"/>
                      <a:pt x="35582" y="38916"/>
                    </a:cubicBezTo>
                    <a:close/>
                  </a:path>
                </a:pathLst>
              </a:custGeom>
              <a:solidFill>
                <a:srgbClr val="F28491"/>
              </a:solidFill>
              <a:ln w="9525" cap="flat">
                <a:noFill/>
                <a:prstDash val="solid"/>
                <a:miter/>
              </a:ln>
            </p:spPr>
            <p:txBody>
              <a:bodyPr rtlCol="0" anchor="ctr"/>
              <a:lstStyle/>
              <a:p>
                <a:endParaRPr lang="en-GB"/>
              </a:p>
            </p:txBody>
          </p:sp>
        </p:grpSp>
        <p:grpSp>
          <p:nvGrpSpPr>
            <p:cNvPr id="323" name="iṥļîḓè">
              <a:extLst>
                <a:ext uri="{FF2B5EF4-FFF2-40B4-BE49-F238E27FC236}">
                  <a16:creationId xmlns:a16="http://schemas.microsoft.com/office/drawing/2014/main" id="{53426C57-3FD5-47AF-973A-67AA64A3F169}"/>
                </a:ext>
              </a:extLst>
            </p:cNvPr>
            <p:cNvGrpSpPr/>
            <p:nvPr/>
          </p:nvGrpSpPr>
          <p:grpSpPr>
            <a:xfrm>
              <a:off x="6730967" y="2528156"/>
              <a:ext cx="131944" cy="131944"/>
              <a:chOff x="7919561" y="3562730"/>
              <a:chExt cx="69532" cy="69532"/>
            </a:xfrm>
          </p:grpSpPr>
          <p:sp>
            <p:nvSpPr>
              <p:cNvPr id="339" name="iSḷiḍè">
                <a:extLst>
                  <a:ext uri="{FF2B5EF4-FFF2-40B4-BE49-F238E27FC236}">
                    <a16:creationId xmlns:a16="http://schemas.microsoft.com/office/drawing/2014/main" id="{08F20A89-8FF1-4AB2-9E47-AF338B13EF77}"/>
                  </a:ext>
                </a:extLst>
              </p:cNvPr>
              <p:cNvSpPr/>
              <p:nvPr/>
            </p:nvSpPr>
            <p:spPr>
              <a:xfrm>
                <a:off x="7929086" y="3572160"/>
                <a:ext cx="50482" cy="50483"/>
              </a:xfrm>
              <a:custGeom>
                <a:avLst/>
                <a:gdLst>
                  <a:gd name="connsiteX0" fmla="*/ 50482 w 50482"/>
                  <a:gd name="connsiteY0" fmla="*/ 25241 h 50483"/>
                  <a:gd name="connsiteX1" fmla="*/ 25241 w 50482"/>
                  <a:gd name="connsiteY1" fmla="*/ 0 h 50483"/>
                  <a:gd name="connsiteX2" fmla="*/ 0 w 50482"/>
                  <a:gd name="connsiteY2" fmla="*/ 25241 h 50483"/>
                  <a:gd name="connsiteX3" fmla="*/ 25241 w 50482"/>
                  <a:gd name="connsiteY3" fmla="*/ 50483 h 50483"/>
                  <a:gd name="connsiteX4" fmla="*/ 50482 w 50482"/>
                  <a:gd name="connsiteY4" fmla="*/ 25241 h 504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82" h="50483">
                    <a:moveTo>
                      <a:pt x="50482" y="25241"/>
                    </a:moveTo>
                    <a:cubicBezTo>
                      <a:pt x="50482" y="11240"/>
                      <a:pt x="39148" y="0"/>
                      <a:pt x="25241" y="0"/>
                    </a:cubicBezTo>
                    <a:cubicBezTo>
                      <a:pt x="11239" y="0"/>
                      <a:pt x="0" y="11335"/>
                      <a:pt x="0" y="25241"/>
                    </a:cubicBezTo>
                    <a:cubicBezTo>
                      <a:pt x="0" y="39243"/>
                      <a:pt x="11335" y="50483"/>
                      <a:pt x="25241" y="50483"/>
                    </a:cubicBezTo>
                    <a:cubicBezTo>
                      <a:pt x="39243" y="50578"/>
                      <a:pt x="50482" y="39243"/>
                      <a:pt x="50482" y="25241"/>
                    </a:cubicBezTo>
                    <a:close/>
                  </a:path>
                </a:pathLst>
              </a:custGeom>
              <a:solidFill>
                <a:srgbClr val="FD6983"/>
              </a:solidFill>
              <a:ln w="9525" cap="flat">
                <a:noFill/>
                <a:prstDash val="solid"/>
                <a:miter/>
              </a:ln>
            </p:spPr>
            <p:txBody>
              <a:bodyPr rtlCol="0" anchor="ctr"/>
              <a:lstStyle/>
              <a:p>
                <a:endParaRPr lang="en-GB"/>
              </a:p>
            </p:txBody>
          </p:sp>
          <p:sp>
            <p:nvSpPr>
              <p:cNvPr id="340" name="ïṩḻïḓe">
                <a:extLst>
                  <a:ext uri="{FF2B5EF4-FFF2-40B4-BE49-F238E27FC236}">
                    <a16:creationId xmlns:a16="http://schemas.microsoft.com/office/drawing/2014/main" id="{E9C970B1-2C84-49D8-8E73-539BE6275326}"/>
                  </a:ext>
                </a:extLst>
              </p:cNvPr>
              <p:cNvSpPr/>
              <p:nvPr/>
            </p:nvSpPr>
            <p:spPr>
              <a:xfrm>
                <a:off x="7919561" y="3562730"/>
                <a:ext cx="69532" cy="69532"/>
              </a:xfrm>
              <a:custGeom>
                <a:avLst/>
                <a:gdLst>
                  <a:gd name="connsiteX0" fmla="*/ 34766 w 69532"/>
                  <a:gd name="connsiteY0" fmla="*/ 69533 h 69532"/>
                  <a:gd name="connsiteX1" fmla="*/ 0 w 69532"/>
                  <a:gd name="connsiteY1" fmla="*/ 34766 h 69532"/>
                  <a:gd name="connsiteX2" fmla="*/ 34766 w 69532"/>
                  <a:gd name="connsiteY2" fmla="*/ 0 h 69532"/>
                  <a:gd name="connsiteX3" fmla="*/ 69532 w 69532"/>
                  <a:gd name="connsiteY3" fmla="*/ 34766 h 69532"/>
                  <a:gd name="connsiteX4" fmla="*/ 34766 w 69532"/>
                  <a:gd name="connsiteY4" fmla="*/ 69533 h 69532"/>
                  <a:gd name="connsiteX5" fmla="*/ 34766 w 69532"/>
                  <a:gd name="connsiteY5" fmla="*/ 18955 h 69532"/>
                  <a:gd name="connsiteX6" fmla="*/ 19050 w 69532"/>
                  <a:gd name="connsiteY6" fmla="*/ 34671 h 69532"/>
                  <a:gd name="connsiteX7" fmla="*/ 34766 w 69532"/>
                  <a:gd name="connsiteY7" fmla="*/ 50387 h 69532"/>
                  <a:gd name="connsiteX8" fmla="*/ 50482 w 69532"/>
                  <a:gd name="connsiteY8" fmla="*/ 34671 h 69532"/>
                  <a:gd name="connsiteX9" fmla="*/ 34766 w 69532"/>
                  <a:gd name="connsiteY9" fmla="*/ 18955 h 6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532" h="69532">
                    <a:moveTo>
                      <a:pt x="34766" y="69533"/>
                    </a:moveTo>
                    <a:cubicBezTo>
                      <a:pt x="15621" y="69533"/>
                      <a:pt x="0" y="53912"/>
                      <a:pt x="0" y="34766"/>
                    </a:cubicBezTo>
                    <a:cubicBezTo>
                      <a:pt x="0" y="15621"/>
                      <a:pt x="15621" y="0"/>
                      <a:pt x="34766" y="0"/>
                    </a:cubicBezTo>
                    <a:cubicBezTo>
                      <a:pt x="53911" y="0"/>
                      <a:pt x="69532" y="15621"/>
                      <a:pt x="69532" y="34766"/>
                    </a:cubicBezTo>
                    <a:cubicBezTo>
                      <a:pt x="69532" y="53912"/>
                      <a:pt x="53911" y="69533"/>
                      <a:pt x="34766" y="69533"/>
                    </a:cubicBezTo>
                    <a:close/>
                    <a:moveTo>
                      <a:pt x="34766" y="18955"/>
                    </a:moveTo>
                    <a:cubicBezTo>
                      <a:pt x="26098" y="18955"/>
                      <a:pt x="19050" y="26003"/>
                      <a:pt x="19050" y="34671"/>
                    </a:cubicBezTo>
                    <a:cubicBezTo>
                      <a:pt x="19050" y="43339"/>
                      <a:pt x="26098" y="50387"/>
                      <a:pt x="34766" y="50387"/>
                    </a:cubicBezTo>
                    <a:cubicBezTo>
                      <a:pt x="43434" y="50387"/>
                      <a:pt x="50482" y="43339"/>
                      <a:pt x="50482" y="34671"/>
                    </a:cubicBezTo>
                    <a:cubicBezTo>
                      <a:pt x="50482" y="26003"/>
                      <a:pt x="43434" y="18955"/>
                      <a:pt x="34766" y="18955"/>
                    </a:cubicBezTo>
                    <a:close/>
                  </a:path>
                </a:pathLst>
              </a:custGeom>
              <a:solidFill>
                <a:srgbClr val="540005"/>
              </a:solidFill>
              <a:ln w="9525" cap="flat">
                <a:noFill/>
                <a:prstDash val="solid"/>
                <a:miter/>
              </a:ln>
            </p:spPr>
            <p:txBody>
              <a:bodyPr rtlCol="0" anchor="ctr"/>
              <a:lstStyle/>
              <a:p>
                <a:endParaRPr lang="en-GB"/>
              </a:p>
            </p:txBody>
          </p:sp>
        </p:grpSp>
        <p:sp>
          <p:nvSpPr>
            <p:cNvPr id="324" name="ïṣlîḓê">
              <a:extLst>
                <a:ext uri="{FF2B5EF4-FFF2-40B4-BE49-F238E27FC236}">
                  <a16:creationId xmlns:a16="http://schemas.microsoft.com/office/drawing/2014/main" id="{66825DD7-8D60-4322-BCFC-F525F9619831}"/>
                </a:ext>
              </a:extLst>
            </p:cNvPr>
            <p:cNvSpPr/>
            <p:nvPr/>
          </p:nvSpPr>
          <p:spPr>
            <a:xfrm>
              <a:off x="5225162" y="3689276"/>
              <a:ext cx="555253" cy="355168"/>
            </a:xfrm>
            <a:custGeom>
              <a:avLst/>
              <a:gdLst>
                <a:gd name="connsiteX0" fmla="*/ 112014 w 292607"/>
                <a:gd name="connsiteY0" fmla="*/ 0 h 187166"/>
                <a:gd name="connsiteX1" fmla="*/ 286 w 292607"/>
                <a:gd name="connsiteY1" fmla="*/ 38957 h 187166"/>
                <a:gd name="connsiteX2" fmla="*/ 0 w 292607"/>
                <a:gd name="connsiteY2" fmla="*/ 54769 h 187166"/>
                <a:gd name="connsiteX3" fmla="*/ 132397 w 292607"/>
                <a:gd name="connsiteY3" fmla="*/ 187166 h 187166"/>
                <a:gd name="connsiteX4" fmla="*/ 241268 w 292607"/>
                <a:gd name="connsiteY4" fmla="*/ 187166 h 187166"/>
                <a:gd name="connsiteX5" fmla="*/ 292608 w 292607"/>
                <a:gd name="connsiteY5" fmla="*/ 181261 h 187166"/>
                <a:gd name="connsiteX6" fmla="*/ 292608 w 292607"/>
                <a:gd name="connsiteY6" fmla="*/ 180499 h 187166"/>
                <a:gd name="connsiteX7" fmla="*/ 112014 w 292607"/>
                <a:gd name="connsiteY7" fmla="*/ 0 h 187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607" h="187166">
                  <a:moveTo>
                    <a:pt x="112014" y="0"/>
                  </a:moveTo>
                  <a:cubicBezTo>
                    <a:pt x="69818" y="0"/>
                    <a:pt x="31051" y="14669"/>
                    <a:pt x="286" y="38957"/>
                  </a:cubicBezTo>
                  <a:cubicBezTo>
                    <a:pt x="95" y="44196"/>
                    <a:pt x="0" y="49530"/>
                    <a:pt x="0" y="54769"/>
                  </a:cubicBezTo>
                  <a:cubicBezTo>
                    <a:pt x="0" y="127921"/>
                    <a:pt x="59341" y="187166"/>
                    <a:pt x="132397" y="187166"/>
                  </a:cubicBezTo>
                  <a:lnTo>
                    <a:pt x="241268" y="187166"/>
                  </a:lnTo>
                  <a:cubicBezTo>
                    <a:pt x="258699" y="187166"/>
                    <a:pt x="275844" y="185166"/>
                    <a:pt x="292608" y="181261"/>
                  </a:cubicBezTo>
                  <a:cubicBezTo>
                    <a:pt x="292608" y="180975"/>
                    <a:pt x="292608" y="180784"/>
                    <a:pt x="292608" y="180499"/>
                  </a:cubicBezTo>
                  <a:cubicBezTo>
                    <a:pt x="292608" y="81058"/>
                    <a:pt x="211550" y="0"/>
                    <a:pt x="112014" y="0"/>
                  </a:cubicBezTo>
                  <a:close/>
                </a:path>
              </a:pathLst>
            </a:custGeom>
            <a:solidFill>
              <a:srgbClr val="F28491"/>
            </a:solidFill>
            <a:ln w="9525" cap="flat">
              <a:noFill/>
              <a:prstDash val="solid"/>
              <a:miter/>
            </a:ln>
          </p:spPr>
          <p:txBody>
            <a:bodyPr rtlCol="0" anchor="ctr"/>
            <a:lstStyle/>
            <a:p>
              <a:endParaRPr lang="en-GB"/>
            </a:p>
          </p:txBody>
        </p:sp>
        <p:sp>
          <p:nvSpPr>
            <p:cNvPr id="325" name="íślîḋê">
              <a:extLst>
                <a:ext uri="{FF2B5EF4-FFF2-40B4-BE49-F238E27FC236}">
                  <a16:creationId xmlns:a16="http://schemas.microsoft.com/office/drawing/2014/main" id="{63C935B4-2326-4F7C-AA5F-C17C9AA9B42D}"/>
                </a:ext>
              </a:extLst>
            </p:cNvPr>
            <p:cNvSpPr/>
            <p:nvPr/>
          </p:nvSpPr>
          <p:spPr>
            <a:xfrm>
              <a:off x="6734401" y="2931221"/>
              <a:ext cx="327151" cy="432710"/>
            </a:xfrm>
            <a:custGeom>
              <a:avLst/>
              <a:gdLst>
                <a:gd name="connsiteX0" fmla="*/ 172402 w 172402"/>
                <a:gd name="connsiteY0" fmla="*/ 214408 h 228029"/>
                <a:gd name="connsiteX1" fmla="*/ 165259 w 172402"/>
                <a:gd name="connsiteY1" fmla="*/ 202978 h 228029"/>
                <a:gd name="connsiteX2" fmla="*/ 33051 w 172402"/>
                <a:gd name="connsiteY2" fmla="*/ 0 h 228029"/>
                <a:gd name="connsiteX3" fmla="*/ 33338 w 172402"/>
                <a:gd name="connsiteY3" fmla="*/ 44101 h 228029"/>
                <a:gd name="connsiteX4" fmla="*/ 0 w 172402"/>
                <a:gd name="connsiteY4" fmla="*/ 88202 h 228029"/>
                <a:gd name="connsiteX5" fmla="*/ 33338 w 172402"/>
                <a:gd name="connsiteY5" fmla="*/ 132302 h 228029"/>
                <a:gd name="connsiteX6" fmla="*/ 40957 w 172402"/>
                <a:gd name="connsiteY6" fmla="*/ 187071 h 228029"/>
                <a:gd name="connsiteX7" fmla="*/ 73342 w 172402"/>
                <a:gd name="connsiteY7" fmla="*/ 200501 h 228029"/>
                <a:gd name="connsiteX8" fmla="*/ 95726 w 172402"/>
                <a:gd name="connsiteY8" fmla="*/ 194691 h 228029"/>
                <a:gd name="connsiteX9" fmla="*/ 139827 w 172402"/>
                <a:gd name="connsiteY9" fmla="*/ 228029 h 228029"/>
                <a:gd name="connsiteX10" fmla="*/ 172402 w 172402"/>
                <a:gd name="connsiteY10" fmla="*/ 214408 h 228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02" h="228029">
                  <a:moveTo>
                    <a:pt x="172402" y="214408"/>
                  </a:moveTo>
                  <a:cubicBezTo>
                    <a:pt x="170021" y="210598"/>
                    <a:pt x="167735" y="206788"/>
                    <a:pt x="165259" y="202978"/>
                  </a:cubicBezTo>
                  <a:lnTo>
                    <a:pt x="33051" y="0"/>
                  </a:lnTo>
                  <a:cubicBezTo>
                    <a:pt x="25622" y="13716"/>
                    <a:pt x="25717" y="30480"/>
                    <a:pt x="33338" y="44101"/>
                  </a:cubicBezTo>
                  <a:cubicBezTo>
                    <a:pt x="14097" y="49530"/>
                    <a:pt x="0" y="67246"/>
                    <a:pt x="0" y="88202"/>
                  </a:cubicBezTo>
                  <a:cubicBezTo>
                    <a:pt x="0" y="109157"/>
                    <a:pt x="14097" y="126873"/>
                    <a:pt x="33338" y="132302"/>
                  </a:cubicBezTo>
                  <a:cubicBezTo>
                    <a:pt x="23622" y="149733"/>
                    <a:pt x="26098" y="172307"/>
                    <a:pt x="40957" y="187071"/>
                  </a:cubicBezTo>
                  <a:cubicBezTo>
                    <a:pt x="49625" y="195739"/>
                    <a:pt x="61150" y="200501"/>
                    <a:pt x="73342" y="200501"/>
                  </a:cubicBezTo>
                  <a:cubicBezTo>
                    <a:pt x="81343" y="200501"/>
                    <a:pt x="88963" y="198501"/>
                    <a:pt x="95726" y="194691"/>
                  </a:cubicBezTo>
                  <a:cubicBezTo>
                    <a:pt x="101155" y="213932"/>
                    <a:pt x="118872" y="228029"/>
                    <a:pt x="139827" y="228029"/>
                  </a:cubicBezTo>
                  <a:cubicBezTo>
                    <a:pt x="152590" y="228124"/>
                    <a:pt x="164116" y="222885"/>
                    <a:pt x="172402" y="214408"/>
                  </a:cubicBezTo>
                  <a:close/>
                </a:path>
              </a:pathLst>
            </a:custGeom>
            <a:solidFill>
              <a:srgbClr val="F28491"/>
            </a:solidFill>
            <a:ln w="9525" cap="flat">
              <a:noFill/>
              <a:prstDash val="solid"/>
              <a:miter/>
            </a:ln>
          </p:spPr>
          <p:txBody>
            <a:bodyPr rtlCol="0" anchor="ctr"/>
            <a:lstStyle/>
            <a:p>
              <a:endParaRPr lang="en-GB"/>
            </a:p>
          </p:txBody>
        </p:sp>
        <p:sp>
          <p:nvSpPr>
            <p:cNvPr id="326" name="îslïďê">
              <a:extLst>
                <a:ext uri="{FF2B5EF4-FFF2-40B4-BE49-F238E27FC236}">
                  <a16:creationId xmlns:a16="http://schemas.microsoft.com/office/drawing/2014/main" id="{79FF5656-219D-4CEF-9B57-4C424C353E5D}"/>
                </a:ext>
              </a:extLst>
            </p:cNvPr>
            <p:cNvSpPr/>
            <p:nvPr/>
          </p:nvSpPr>
          <p:spPr>
            <a:xfrm>
              <a:off x="6277653" y="2738569"/>
              <a:ext cx="929944" cy="1324130"/>
            </a:xfrm>
            <a:custGeom>
              <a:avLst/>
              <a:gdLst>
                <a:gd name="connsiteX0" fmla="*/ 348139 w 490061"/>
                <a:gd name="connsiteY0" fmla="*/ 697790 h 697789"/>
                <a:gd name="connsiteX1" fmla="*/ 239268 w 490061"/>
                <a:gd name="connsiteY1" fmla="*/ 697790 h 697789"/>
                <a:gd name="connsiteX2" fmla="*/ 70104 w 490061"/>
                <a:gd name="connsiteY2" fmla="*/ 627686 h 697789"/>
                <a:gd name="connsiteX3" fmla="*/ 0 w 490061"/>
                <a:gd name="connsiteY3" fmla="*/ 458522 h 697789"/>
                <a:gd name="connsiteX4" fmla="*/ 0 w 490061"/>
                <a:gd name="connsiteY4" fmla="*/ 141815 h 697789"/>
                <a:gd name="connsiteX5" fmla="*/ 82963 w 490061"/>
                <a:gd name="connsiteY5" fmla="*/ 12656 h 697789"/>
                <a:gd name="connsiteX6" fmla="*/ 260985 w 490061"/>
                <a:gd name="connsiteY6" fmla="*/ 64282 h 697789"/>
                <a:gd name="connsiteX7" fmla="*/ 413956 w 490061"/>
                <a:gd name="connsiteY7" fmla="*/ 299264 h 697789"/>
                <a:gd name="connsiteX8" fmla="*/ 490061 w 490061"/>
                <a:gd name="connsiteY8" fmla="*/ 555772 h 697789"/>
                <a:gd name="connsiteX9" fmla="*/ 348139 w 490061"/>
                <a:gd name="connsiteY9" fmla="*/ 697790 h 697789"/>
                <a:gd name="connsiteX10" fmla="*/ 141446 w 490061"/>
                <a:gd name="connsiteY10" fmla="*/ 19038 h 697789"/>
                <a:gd name="connsiteX11" fmla="*/ 90869 w 490061"/>
                <a:gd name="connsiteY11" fmla="*/ 29992 h 697789"/>
                <a:gd name="connsiteX12" fmla="*/ 19050 w 490061"/>
                <a:gd name="connsiteY12" fmla="*/ 141815 h 697789"/>
                <a:gd name="connsiteX13" fmla="*/ 19050 w 490061"/>
                <a:gd name="connsiteY13" fmla="*/ 458522 h 697789"/>
                <a:gd name="connsiteX14" fmla="*/ 83534 w 490061"/>
                <a:gd name="connsiteY14" fmla="*/ 614255 h 697789"/>
                <a:gd name="connsiteX15" fmla="*/ 239268 w 490061"/>
                <a:gd name="connsiteY15" fmla="*/ 678740 h 697789"/>
                <a:gd name="connsiteX16" fmla="*/ 348139 w 490061"/>
                <a:gd name="connsiteY16" fmla="*/ 678740 h 697789"/>
                <a:gd name="connsiteX17" fmla="*/ 471106 w 490061"/>
                <a:gd name="connsiteY17" fmla="*/ 555867 h 697789"/>
                <a:gd name="connsiteX18" fmla="*/ 398050 w 490061"/>
                <a:gd name="connsiteY18" fmla="*/ 309836 h 697789"/>
                <a:gd name="connsiteX19" fmla="*/ 245078 w 490061"/>
                <a:gd name="connsiteY19" fmla="*/ 74854 h 697789"/>
                <a:gd name="connsiteX20" fmla="*/ 141446 w 490061"/>
                <a:gd name="connsiteY20" fmla="*/ 19038 h 697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0061" h="697789">
                  <a:moveTo>
                    <a:pt x="348139" y="697790"/>
                  </a:moveTo>
                  <a:lnTo>
                    <a:pt x="239268" y="697790"/>
                  </a:lnTo>
                  <a:cubicBezTo>
                    <a:pt x="175355" y="697790"/>
                    <a:pt x="115253" y="672929"/>
                    <a:pt x="70104" y="627686"/>
                  </a:cubicBezTo>
                  <a:cubicBezTo>
                    <a:pt x="24955" y="582537"/>
                    <a:pt x="0" y="522434"/>
                    <a:pt x="0" y="458522"/>
                  </a:cubicBezTo>
                  <a:lnTo>
                    <a:pt x="0" y="141815"/>
                  </a:lnTo>
                  <a:cubicBezTo>
                    <a:pt x="0" y="86380"/>
                    <a:pt x="32576" y="35707"/>
                    <a:pt x="82963" y="12656"/>
                  </a:cubicBezTo>
                  <a:cubicBezTo>
                    <a:pt x="146399" y="-16300"/>
                    <a:pt x="222885" y="5894"/>
                    <a:pt x="260985" y="64282"/>
                  </a:cubicBezTo>
                  <a:lnTo>
                    <a:pt x="413956" y="299264"/>
                  </a:lnTo>
                  <a:cubicBezTo>
                    <a:pt x="463772" y="375749"/>
                    <a:pt x="490061" y="464427"/>
                    <a:pt x="490061" y="555772"/>
                  </a:cubicBezTo>
                  <a:cubicBezTo>
                    <a:pt x="490061" y="634067"/>
                    <a:pt x="426434" y="697790"/>
                    <a:pt x="348139" y="697790"/>
                  </a:cubicBezTo>
                  <a:close/>
                  <a:moveTo>
                    <a:pt x="141446" y="19038"/>
                  </a:moveTo>
                  <a:cubicBezTo>
                    <a:pt x="124396" y="19038"/>
                    <a:pt x="107156" y="22562"/>
                    <a:pt x="90869" y="29992"/>
                  </a:cubicBezTo>
                  <a:cubicBezTo>
                    <a:pt x="47244" y="49899"/>
                    <a:pt x="19050" y="93809"/>
                    <a:pt x="19050" y="141815"/>
                  </a:cubicBezTo>
                  <a:lnTo>
                    <a:pt x="19050" y="458522"/>
                  </a:lnTo>
                  <a:cubicBezTo>
                    <a:pt x="19050" y="517291"/>
                    <a:pt x="42005" y="572631"/>
                    <a:pt x="83534" y="614255"/>
                  </a:cubicBezTo>
                  <a:cubicBezTo>
                    <a:pt x="125159" y="655880"/>
                    <a:pt x="180404" y="678740"/>
                    <a:pt x="239268" y="678740"/>
                  </a:cubicBezTo>
                  <a:lnTo>
                    <a:pt x="348139" y="678740"/>
                  </a:lnTo>
                  <a:cubicBezTo>
                    <a:pt x="415957" y="678740"/>
                    <a:pt x="471106" y="623590"/>
                    <a:pt x="471106" y="555867"/>
                  </a:cubicBezTo>
                  <a:cubicBezTo>
                    <a:pt x="471106" y="468237"/>
                    <a:pt x="445865" y="383179"/>
                    <a:pt x="398050" y="309836"/>
                  </a:cubicBezTo>
                  <a:lnTo>
                    <a:pt x="245078" y="74854"/>
                  </a:lnTo>
                  <a:cubicBezTo>
                    <a:pt x="221837" y="39136"/>
                    <a:pt x="182118" y="19038"/>
                    <a:pt x="141446" y="19038"/>
                  </a:cubicBezTo>
                  <a:close/>
                </a:path>
              </a:pathLst>
            </a:custGeom>
            <a:solidFill>
              <a:srgbClr val="540005"/>
            </a:solidFill>
            <a:ln w="9525" cap="flat">
              <a:noFill/>
              <a:prstDash val="solid"/>
              <a:miter/>
            </a:ln>
          </p:spPr>
          <p:txBody>
            <a:bodyPr rtlCol="0" anchor="ctr"/>
            <a:lstStyle/>
            <a:p>
              <a:endParaRPr lang="en-GB"/>
            </a:p>
          </p:txBody>
        </p:sp>
        <p:grpSp>
          <p:nvGrpSpPr>
            <p:cNvPr id="327" name="îslíḍè">
              <a:extLst>
                <a:ext uri="{FF2B5EF4-FFF2-40B4-BE49-F238E27FC236}">
                  <a16:creationId xmlns:a16="http://schemas.microsoft.com/office/drawing/2014/main" id="{9A467856-6D55-4652-97CE-9ABEA2332A61}"/>
                </a:ext>
              </a:extLst>
            </p:cNvPr>
            <p:cNvGrpSpPr/>
            <p:nvPr/>
          </p:nvGrpSpPr>
          <p:grpSpPr>
            <a:xfrm>
              <a:off x="6770369" y="2869227"/>
              <a:ext cx="458735" cy="458735"/>
              <a:chOff x="7940325" y="3742467"/>
              <a:chExt cx="241744" cy="241744"/>
            </a:xfrm>
          </p:grpSpPr>
          <p:sp>
            <p:nvSpPr>
              <p:cNvPr id="337" name="iśļïdê">
                <a:extLst>
                  <a:ext uri="{FF2B5EF4-FFF2-40B4-BE49-F238E27FC236}">
                    <a16:creationId xmlns:a16="http://schemas.microsoft.com/office/drawing/2014/main" id="{EC7CF1B8-DAA0-44DA-BA77-80F78BE174C3}"/>
                  </a:ext>
                </a:extLst>
              </p:cNvPr>
              <p:cNvSpPr/>
              <p:nvPr/>
            </p:nvSpPr>
            <p:spPr>
              <a:xfrm>
                <a:off x="7949850" y="3751992"/>
                <a:ext cx="222507" cy="222694"/>
              </a:xfrm>
              <a:custGeom>
                <a:avLst/>
                <a:gdLst>
                  <a:gd name="connsiteX0" fmla="*/ 205454 w 222507"/>
                  <a:gd name="connsiteY0" fmla="*/ 94107 h 222694"/>
                  <a:gd name="connsiteX1" fmla="*/ 177355 w 222507"/>
                  <a:gd name="connsiteY1" fmla="*/ 94107 h 222694"/>
                  <a:gd name="connsiteX2" fmla="*/ 170212 w 222507"/>
                  <a:gd name="connsiteY2" fmla="*/ 76962 h 222694"/>
                  <a:gd name="connsiteX3" fmla="*/ 190119 w 222507"/>
                  <a:gd name="connsiteY3" fmla="*/ 57055 h 222694"/>
                  <a:gd name="connsiteX4" fmla="*/ 190119 w 222507"/>
                  <a:gd name="connsiteY4" fmla="*/ 32575 h 222694"/>
                  <a:gd name="connsiteX5" fmla="*/ 165640 w 222507"/>
                  <a:gd name="connsiteY5" fmla="*/ 32575 h 222694"/>
                  <a:gd name="connsiteX6" fmla="*/ 145732 w 222507"/>
                  <a:gd name="connsiteY6" fmla="*/ 52483 h 222694"/>
                  <a:gd name="connsiteX7" fmla="*/ 128588 w 222507"/>
                  <a:gd name="connsiteY7" fmla="*/ 45339 h 222694"/>
                  <a:gd name="connsiteX8" fmla="*/ 128588 w 222507"/>
                  <a:gd name="connsiteY8" fmla="*/ 17240 h 222694"/>
                  <a:gd name="connsiteX9" fmla="*/ 111347 w 222507"/>
                  <a:gd name="connsiteY9" fmla="*/ 0 h 222694"/>
                  <a:gd name="connsiteX10" fmla="*/ 94107 w 222507"/>
                  <a:gd name="connsiteY10" fmla="*/ 17240 h 222694"/>
                  <a:gd name="connsiteX11" fmla="*/ 94107 w 222507"/>
                  <a:gd name="connsiteY11" fmla="*/ 45339 h 222694"/>
                  <a:gd name="connsiteX12" fmla="*/ 76962 w 222507"/>
                  <a:gd name="connsiteY12" fmla="*/ 52483 h 222694"/>
                  <a:gd name="connsiteX13" fmla="*/ 57055 w 222507"/>
                  <a:gd name="connsiteY13" fmla="*/ 32575 h 222694"/>
                  <a:gd name="connsiteX14" fmla="*/ 32575 w 222507"/>
                  <a:gd name="connsiteY14" fmla="*/ 32575 h 222694"/>
                  <a:gd name="connsiteX15" fmla="*/ 32575 w 222507"/>
                  <a:gd name="connsiteY15" fmla="*/ 57055 h 222694"/>
                  <a:gd name="connsiteX16" fmla="*/ 52483 w 222507"/>
                  <a:gd name="connsiteY16" fmla="*/ 76962 h 222694"/>
                  <a:gd name="connsiteX17" fmla="*/ 45339 w 222507"/>
                  <a:gd name="connsiteY17" fmla="*/ 94107 h 222694"/>
                  <a:gd name="connsiteX18" fmla="*/ 17240 w 222507"/>
                  <a:gd name="connsiteY18" fmla="*/ 94107 h 222694"/>
                  <a:gd name="connsiteX19" fmla="*/ 0 w 222507"/>
                  <a:gd name="connsiteY19" fmla="*/ 111347 h 222694"/>
                  <a:gd name="connsiteX20" fmla="*/ 17240 w 222507"/>
                  <a:gd name="connsiteY20" fmla="*/ 128588 h 222694"/>
                  <a:gd name="connsiteX21" fmla="*/ 45339 w 222507"/>
                  <a:gd name="connsiteY21" fmla="*/ 128588 h 222694"/>
                  <a:gd name="connsiteX22" fmla="*/ 52483 w 222507"/>
                  <a:gd name="connsiteY22" fmla="*/ 145733 h 222694"/>
                  <a:gd name="connsiteX23" fmla="*/ 32575 w 222507"/>
                  <a:gd name="connsiteY23" fmla="*/ 165640 h 222694"/>
                  <a:gd name="connsiteX24" fmla="*/ 32575 w 222507"/>
                  <a:gd name="connsiteY24" fmla="*/ 190119 h 222694"/>
                  <a:gd name="connsiteX25" fmla="*/ 44767 w 222507"/>
                  <a:gd name="connsiteY25" fmla="*/ 195167 h 222694"/>
                  <a:gd name="connsiteX26" fmla="*/ 56959 w 222507"/>
                  <a:gd name="connsiteY26" fmla="*/ 190119 h 222694"/>
                  <a:gd name="connsiteX27" fmla="*/ 76867 w 222507"/>
                  <a:gd name="connsiteY27" fmla="*/ 170212 h 222694"/>
                  <a:gd name="connsiteX28" fmla="*/ 94012 w 222507"/>
                  <a:gd name="connsiteY28" fmla="*/ 177355 h 222694"/>
                  <a:gd name="connsiteX29" fmla="*/ 94012 w 222507"/>
                  <a:gd name="connsiteY29" fmla="*/ 205454 h 222694"/>
                  <a:gd name="connsiteX30" fmla="*/ 111252 w 222507"/>
                  <a:gd name="connsiteY30" fmla="*/ 222694 h 222694"/>
                  <a:gd name="connsiteX31" fmla="*/ 128492 w 222507"/>
                  <a:gd name="connsiteY31" fmla="*/ 205454 h 222694"/>
                  <a:gd name="connsiteX32" fmla="*/ 128492 w 222507"/>
                  <a:gd name="connsiteY32" fmla="*/ 177355 h 222694"/>
                  <a:gd name="connsiteX33" fmla="*/ 145637 w 222507"/>
                  <a:gd name="connsiteY33" fmla="*/ 170212 h 222694"/>
                  <a:gd name="connsiteX34" fmla="*/ 165545 w 222507"/>
                  <a:gd name="connsiteY34" fmla="*/ 190119 h 222694"/>
                  <a:gd name="connsiteX35" fmla="*/ 177737 w 222507"/>
                  <a:gd name="connsiteY35" fmla="*/ 195167 h 222694"/>
                  <a:gd name="connsiteX36" fmla="*/ 189929 w 222507"/>
                  <a:gd name="connsiteY36" fmla="*/ 190119 h 222694"/>
                  <a:gd name="connsiteX37" fmla="*/ 189929 w 222507"/>
                  <a:gd name="connsiteY37" fmla="*/ 165640 h 222694"/>
                  <a:gd name="connsiteX38" fmla="*/ 170021 w 222507"/>
                  <a:gd name="connsiteY38" fmla="*/ 145733 h 222694"/>
                  <a:gd name="connsiteX39" fmla="*/ 177165 w 222507"/>
                  <a:gd name="connsiteY39" fmla="*/ 128588 h 222694"/>
                  <a:gd name="connsiteX40" fmla="*/ 205264 w 222507"/>
                  <a:gd name="connsiteY40" fmla="*/ 128588 h 222694"/>
                  <a:gd name="connsiteX41" fmla="*/ 222504 w 222507"/>
                  <a:gd name="connsiteY41" fmla="*/ 111347 h 222694"/>
                  <a:gd name="connsiteX42" fmla="*/ 205454 w 222507"/>
                  <a:gd name="connsiteY42" fmla="*/ 94107 h 22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2507" h="222694">
                    <a:moveTo>
                      <a:pt x="205454" y="94107"/>
                    </a:moveTo>
                    <a:lnTo>
                      <a:pt x="177355" y="94107"/>
                    </a:lnTo>
                    <a:cubicBezTo>
                      <a:pt x="175736" y="88011"/>
                      <a:pt x="173355" y="82296"/>
                      <a:pt x="170212" y="76962"/>
                    </a:cubicBezTo>
                    <a:lnTo>
                      <a:pt x="190119" y="57055"/>
                    </a:lnTo>
                    <a:cubicBezTo>
                      <a:pt x="196882" y="50292"/>
                      <a:pt x="196882" y="39338"/>
                      <a:pt x="190119" y="32575"/>
                    </a:cubicBezTo>
                    <a:cubicBezTo>
                      <a:pt x="183356" y="25813"/>
                      <a:pt x="172403" y="25813"/>
                      <a:pt x="165640" y="32575"/>
                    </a:cubicBezTo>
                    <a:lnTo>
                      <a:pt x="145732" y="52483"/>
                    </a:lnTo>
                    <a:cubicBezTo>
                      <a:pt x="140398" y="49339"/>
                      <a:pt x="134683" y="46958"/>
                      <a:pt x="128588" y="45339"/>
                    </a:cubicBezTo>
                    <a:lnTo>
                      <a:pt x="128588" y="17240"/>
                    </a:lnTo>
                    <a:cubicBezTo>
                      <a:pt x="128588" y="7715"/>
                      <a:pt x="120872" y="0"/>
                      <a:pt x="111347" y="0"/>
                    </a:cubicBezTo>
                    <a:cubicBezTo>
                      <a:pt x="101822" y="0"/>
                      <a:pt x="94107" y="7715"/>
                      <a:pt x="94107" y="17240"/>
                    </a:cubicBezTo>
                    <a:lnTo>
                      <a:pt x="94107" y="45339"/>
                    </a:lnTo>
                    <a:cubicBezTo>
                      <a:pt x="88011" y="46958"/>
                      <a:pt x="82296" y="49339"/>
                      <a:pt x="76962" y="52483"/>
                    </a:cubicBezTo>
                    <a:lnTo>
                      <a:pt x="57055" y="32575"/>
                    </a:lnTo>
                    <a:cubicBezTo>
                      <a:pt x="50292" y="25813"/>
                      <a:pt x="39338" y="25813"/>
                      <a:pt x="32575" y="32575"/>
                    </a:cubicBezTo>
                    <a:cubicBezTo>
                      <a:pt x="25813" y="39338"/>
                      <a:pt x="25813" y="50292"/>
                      <a:pt x="32575" y="57055"/>
                    </a:cubicBezTo>
                    <a:lnTo>
                      <a:pt x="52483" y="76962"/>
                    </a:lnTo>
                    <a:cubicBezTo>
                      <a:pt x="49339" y="82296"/>
                      <a:pt x="46958" y="88011"/>
                      <a:pt x="45339" y="94107"/>
                    </a:cubicBezTo>
                    <a:lnTo>
                      <a:pt x="17240" y="94107"/>
                    </a:lnTo>
                    <a:cubicBezTo>
                      <a:pt x="7715" y="94107"/>
                      <a:pt x="0" y="101822"/>
                      <a:pt x="0" y="111347"/>
                    </a:cubicBezTo>
                    <a:cubicBezTo>
                      <a:pt x="0" y="120872"/>
                      <a:pt x="7715" y="128588"/>
                      <a:pt x="17240" y="128588"/>
                    </a:cubicBezTo>
                    <a:lnTo>
                      <a:pt x="45339" y="128588"/>
                    </a:lnTo>
                    <a:cubicBezTo>
                      <a:pt x="46958" y="134684"/>
                      <a:pt x="49339" y="140398"/>
                      <a:pt x="52483" y="145733"/>
                    </a:cubicBezTo>
                    <a:lnTo>
                      <a:pt x="32575" y="165640"/>
                    </a:lnTo>
                    <a:cubicBezTo>
                      <a:pt x="25813" y="172402"/>
                      <a:pt x="25813" y="183356"/>
                      <a:pt x="32575" y="190119"/>
                    </a:cubicBezTo>
                    <a:cubicBezTo>
                      <a:pt x="35909" y="193453"/>
                      <a:pt x="40386" y="195167"/>
                      <a:pt x="44767" y="195167"/>
                    </a:cubicBezTo>
                    <a:cubicBezTo>
                      <a:pt x="49149" y="195167"/>
                      <a:pt x="53626" y="193453"/>
                      <a:pt x="56959" y="190119"/>
                    </a:cubicBezTo>
                    <a:lnTo>
                      <a:pt x="76867" y="170212"/>
                    </a:lnTo>
                    <a:cubicBezTo>
                      <a:pt x="82201" y="173355"/>
                      <a:pt x="87916" y="175736"/>
                      <a:pt x="94012" y="177355"/>
                    </a:cubicBezTo>
                    <a:lnTo>
                      <a:pt x="94012" y="205454"/>
                    </a:lnTo>
                    <a:cubicBezTo>
                      <a:pt x="94012" y="214979"/>
                      <a:pt x="101727" y="222694"/>
                      <a:pt x="111252" y="222694"/>
                    </a:cubicBezTo>
                    <a:cubicBezTo>
                      <a:pt x="120777" y="222694"/>
                      <a:pt x="128492" y="214979"/>
                      <a:pt x="128492" y="205454"/>
                    </a:cubicBezTo>
                    <a:lnTo>
                      <a:pt x="128492" y="177355"/>
                    </a:lnTo>
                    <a:cubicBezTo>
                      <a:pt x="134588" y="175736"/>
                      <a:pt x="140303" y="173355"/>
                      <a:pt x="145637" y="170212"/>
                    </a:cubicBezTo>
                    <a:lnTo>
                      <a:pt x="165545" y="190119"/>
                    </a:lnTo>
                    <a:cubicBezTo>
                      <a:pt x="168878" y="193453"/>
                      <a:pt x="173355" y="195167"/>
                      <a:pt x="177737" y="195167"/>
                    </a:cubicBezTo>
                    <a:cubicBezTo>
                      <a:pt x="182118" y="195167"/>
                      <a:pt x="186595" y="193453"/>
                      <a:pt x="189929" y="190119"/>
                    </a:cubicBezTo>
                    <a:cubicBezTo>
                      <a:pt x="196691" y="183356"/>
                      <a:pt x="196691" y="172402"/>
                      <a:pt x="189929" y="165640"/>
                    </a:cubicBezTo>
                    <a:lnTo>
                      <a:pt x="170021" y="145733"/>
                    </a:lnTo>
                    <a:cubicBezTo>
                      <a:pt x="173164" y="140398"/>
                      <a:pt x="175546" y="134684"/>
                      <a:pt x="177165" y="128588"/>
                    </a:cubicBezTo>
                    <a:lnTo>
                      <a:pt x="205264" y="128588"/>
                    </a:lnTo>
                    <a:cubicBezTo>
                      <a:pt x="214789" y="128588"/>
                      <a:pt x="222504" y="120872"/>
                      <a:pt x="222504" y="111347"/>
                    </a:cubicBezTo>
                    <a:cubicBezTo>
                      <a:pt x="222695" y="101822"/>
                      <a:pt x="214979" y="94107"/>
                      <a:pt x="205454" y="94107"/>
                    </a:cubicBezTo>
                    <a:close/>
                  </a:path>
                </a:pathLst>
              </a:custGeom>
              <a:solidFill>
                <a:srgbClr val="F2B867"/>
              </a:solidFill>
              <a:ln w="9525" cap="flat">
                <a:noFill/>
                <a:prstDash val="solid"/>
                <a:miter/>
              </a:ln>
            </p:spPr>
            <p:txBody>
              <a:bodyPr rtlCol="0" anchor="ctr"/>
              <a:lstStyle/>
              <a:p>
                <a:endParaRPr lang="en-GB"/>
              </a:p>
            </p:txBody>
          </p:sp>
          <p:sp>
            <p:nvSpPr>
              <p:cNvPr id="338" name="îş1idê">
                <a:extLst>
                  <a:ext uri="{FF2B5EF4-FFF2-40B4-BE49-F238E27FC236}">
                    <a16:creationId xmlns:a16="http://schemas.microsoft.com/office/drawing/2014/main" id="{4A85884A-814E-425B-971F-676AF5ADF44B}"/>
                  </a:ext>
                </a:extLst>
              </p:cNvPr>
              <p:cNvSpPr/>
              <p:nvPr/>
            </p:nvSpPr>
            <p:spPr>
              <a:xfrm>
                <a:off x="7940325" y="3742467"/>
                <a:ext cx="241744" cy="241744"/>
              </a:xfrm>
              <a:custGeom>
                <a:avLst/>
                <a:gdLst>
                  <a:gd name="connsiteX0" fmla="*/ 120872 w 241744"/>
                  <a:gd name="connsiteY0" fmla="*/ 241744 h 241744"/>
                  <a:gd name="connsiteX1" fmla="*/ 94012 w 241744"/>
                  <a:gd name="connsiteY1" fmla="*/ 214979 h 241744"/>
                  <a:gd name="connsiteX2" fmla="*/ 94012 w 241744"/>
                  <a:gd name="connsiteY2" fmla="*/ 193834 h 241744"/>
                  <a:gd name="connsiteX3" fmla="*/ 88202 w 241744"/>
                  <a:gd name="connsiteY3" fmla="*/ 191452 h 241744"/>
                  <a:gd name="connsiteX4" fmla="*/ 73247 w 241744"/>
                  <a:gd name="connsiteY4" fmla="*/ 206407 h 241744"/>
                  <a:gd name="connsiteX5" fmla="*/ 35338 w 241744"/>
                  <a:gd name="connsiteY5" fmla="*/ 206407 h 241744"/>
                  <a:gd name="connsiteX6" fmla="*/ 35338 w 241744"/>
                  <a:gd name="connsiteY6" fmla="*/ 168497 h 241744"/>
                  <a:gd name="connsiteX7" fmla="*/ 50292 w 241744"/>
                  <a:gd name="connsiteY7" fmla="*/ 153543 h 241744"/>
                  <a:gd name="connsiteX8" fmla="*/ 47911 w 241744"/>
                  <a:gd name="connsiteY8" fmla="*/ 147733 h 241744"/>
                  <a:gd name="connsiteX9" fmla="*/ 26765 w 241744"/>
                  <a:gd name="connsiteY9" fmla="*/ 147733 h 241744"/>
                  <a:gd name="connsiteX10" fmla="*/ 0 w 241744"/>
                  <a:gd name="connsiteY10" fmla="*/ 120872 h 241744"/>
                  <a:gd name="connsiteX11" fmla="*/ 26765 w 241744"/>
                  <a:gd name="connsiteY11" fmla="*/ 94107 h 241744"/>
                  <a:gd name="connsiteX12" fmla="*/ 47911 w 241744"/>
                  <a:gd name="connsiteY12" fmla="*/ 94107 h 241744"/>
                  <a:gd name="connsiteX13" fmla="*/ 50292 w 241744"/>
                  <a:gd name="connsiteY13" fmla="*/ 88297 h 241744"/>
                  <a:gd name="connsiteX14" fmla="*/ 35338 w 241744"/>
                  <a:gd name="connsiteY14" fmla="*/ 73342 h 241744"/>
                  <a:gd name="connsiteX15" fmla="*/ 35338 w 241744"/>
                  <a:gd name="connsiteY15" fmla="*/ 35433 h 241744"/>
                  <a:gd name="connsiteX16" fmla="*/ 73247 w 241744"/>
                  <a:gd name="connsiteY16" fmla="*/ 35433 h 241744"/>
                  <a:gd name="connsiteX17" fmla="*/ 88202 w 241744"/>
                  <a:gd name="connsiteY17" fmla="*/ 50387 h 241744"/>
                  <a:gd name="connsiteX18" fmla="*/ 94012 w 241744"/>
                  <a:gd name="connsiteY18" fmla="*/ 48006 h 241744"/>
                  <a:gd name="connsiteX19" fmla="*/ 94012 w 241744"/>
                  <a:gd name="connsiteY19" fmla="*/ 26860 h 241744"/>
                  <a:gd name="connsiteX20" fmla="*/ 120872 w 241744"/>
                  <a:gd name="connsiteY20" fmla="*/ 0 h 241744"/>
                  <a:gd name="connsiteX21" fmla="*/ 147638 w 241744"/>
                  <a:gd name="connsiteY21" fmla="*/ 26860 h 241744"/>
                  <a:gd name="connsiteX22" fmla="*/ 147638 w 241744"/>
                  <a:gd name="connsiteY22" fmla="*/ 48006 h 241744"/>
                  <a:gd name="connsiteX23" fmla="*/ 153448 w 241744"/>
                  <a:gd name="connsiteY23" fmla="*/ 50387 h 241744"/>
                  <a:gd name="connsiteX24" fmla="*/ 168402 w 241744"/>
                  <a:gd name="connsiteY24" fmla="*/ 35433 h 241744"/>
                  <a:gd name="connsiteX25" fmla="*/ 206312 w 241744"/>
                  <a:gd name="connsiteY25" fmla="*/ 35433 h 241744"/>
                  <a:gd name="connsiteX26" fmla="*/ 206312 w 241744"/>
                  <a:gd name="connsiteY26" fmla="*/ 73342 h 241744"/>
                  <a:gd name="connsiteX27" fmla="*/ 191357 w 241744"/>
                  <a:gd name="connsiteY27" fmla="*/ 88297 h 241744"/>
                  <a:gd name="connsiteX28" fmla="*/ 193738 w 241744"/>
                  <a:gd name="connsiteY28" fmla="*/ 94107 h 241744"/>
                  <a:gd name="connsiteX29" fmla="*/ 214884 w 241744"/>
                  <a:gd name="connsiteY29" fmla="*/ 94107 h 241744"/>
                  <a:gd name="connsiteX30" fmla="*/ 241745 w 241744"/>
                  <a:gd name="connsiteY30" fmla="*/ 120872 h 241744"/>
                  <a:gd name="connsiteX31" fmla="*/ 214884 w 241744"/>
                  <a:gd name="connsiteY31" fmla="*/ 147733 h 241744"/>
                  <a:gd name="connsiteX32" fmla="*/ 193738 w 241744"/>
                  <a:gd name="connsiteY32" fmla="*/ 147733 h 241744"/>
                  <a:gd name="connsiteX33" fmla="*/ 191357 w 241744"/>
                  <a:gd name="connsiteY33" fmla="*/ 153543 h 241744"/>
                  <a:gd name="connsiteX34" fmla="*/ 206312 w 241744"/>
                  <a:gd name="connsiteY34" fmla="*/ 168497 h 241744"/>
                  <a:gd name="connsiteX35" fmla="*/ 206312 w 241744"/>
                  <a:gd name="connsiteY35" fmla="*/ 206407 h 241744"/>
                  <a:gd name="connsiteX36" fmla="*/ 168402 w 241744"/>
                  <a:gd name="connsiteY36" fmla="*/ 206407 h 241744"/>
                  <a:gd name="connsiteX37" fmla="*/ 153448 w 241744"/>
                  <a:gd name="connsiteY37" fmla="*/ 191452 h 241744"/>
                  <a:gd name="connsiteX38" fmla="*/ 147638 w 241744"/>
                  <a:gd name="connsiteY38" fmla="*/ 193834 h 241744"/>
                  <a:gd name="connsiteX39" fmla="*/ 147638 w 241744"/>
                  <a:gd name="connsiteY39" fmla="*/ 214979 h 241744"/>
                  <a:gd name="connsiteX40" fmla="*/ 120872 w 241744"/>
                  <a:gd name="connsiteY40" fmla="*/ 241744 h 241744"/>
                  <a:gd name="connsiteX41" fmla="*/ 84963 w 241744"/>
                  <a:gd name="connsiteY41" fmla="*/ 167830 h 241744"/>
                  <a:gd name="connsiteX42" fmla="*/ 91345 w 241744"/>
                  <a:gd name="connsiteY42" fmla="*/ 171545 h 241744"/>
                  <a:gd name="connsiteX43" fmla="*/ 106013 w 241744"/>
                  <a:gd name="connsiteY43" fmla="*/ 177641 h 241744"/>
                  <a:gd name="connsiteX44" fmla="*/ 113157 w 241744"/>
                  <a:gd name="connsiteY44" fmla="*/ 179546 h 241744"/>
                  <a:gd name="connsiteX45" fmla="*/ 113157 w 241744"/>
                  <a:gd name="connsiteY45" fmla="*/ 214979 h 241744"/>
                  <a:gd name="connsiteX46" fmla="*/ 120967 w 241744"/>
                  <a:gd name="connsiteY46" fmla="*/ 222694 h 241744"/>
                  <a:gd name="connsiteX47" fmla="*/ 128683 w 241744"/>
                  <a:gd name="connsiteY47" fmla="*/ 214979 h 241744"/>
                  <a:gd name="connsiteX48" fmla="*/ 128683 w 241744"/>
                  <a:gd name="connsiteY48" fmla="*/ 179546 h 241744"/>
                  <a:gd name="connsiteX49" fmla="*/ 135827 w 241744"/>
                  <a:gd name="connsiteY49" fmla="*/ 177641 h 241744"/>
                  <a:gd name="connsiteX50" fmla="*/ 150495 w 241744"/>
                  <a:gd name="connsiteY50" fmla="*/ 171545 h 241744"/>
                  <a:gd name="connsiteX51" fmla="*/ 156877 w 241744"/>
                  <a:gd name="connsiteY51" fmla="*/ 167830 h 241744"/>
                  <a:gd name="connsiteX52" fmla="*/ 181928 w 241744"/>
                  <a:gd name="connsiteY52" fmla="*/ 192881 h 241744"/>
                  <a:gd name="connsiteX53" fmla="*/ 192881 w 241744"/>
                  <a:gd name="connsiteY53" fmla="*/ 192881 h 241744"/>
                  <a:gd name="connsiteX54" fmla="*/ 192881 w 241744"/>
                  <a:gd name="connsiteY54" fmla="*/ 181927 h 241744"/>
                  <a:gd name="connsiteX55" fmla="*/ 167830 w 241744"/>
                  <a:gd name="connsiteY55" fmla="*/ 156877 h 241744"/>
                  <a:gd name="connsiteX56" fmla="*/ 171545 w 241744"/>
                  <a:gd name="connsiteY56" fmla="*/ 150495 h 241744"/>
                  <a:gd name="connsiteX57" fmla="*/ 177641 w 241744"/>
                  <a:gd name="connsiteY57" fmla="*/ 135826 h 241744"/>
                  <a:gd name="connsiteX58" fmla="*/ 179546 w 241744"/>
                  <a:gd name="connsiteY58" fmla="*/ 128683 h 241744"/>
                  <a:gd name="connsiteX59" fmla="*/ 214979 w 241744"/>
                  <a:gd name="connsiteY59" fmla="*/ 128683 h 241744"/>
                  <a:gd name="connsiteX60" fmla="*/ 222790 w 241744"/>
                  <a:gd name="connsiteY60" fmla="*/ 120872 h 241744"/>
                  <a:gd name="connsiteX61" fmla="*/ 214979 w 241744"/>
                  <a:gd name="connsiteY61" fmla="*/ 113157 h 241744"/>
                  <a:gd name="connsiteX62" fmla="*/ 179546 w 241744"/>
                  <a:gd name="connsiteY62" fmla="*/ 113157 h 241744"/>
                  <a:gd name="connsiteX63" fmla="*/ 177641 w 241744"/>
                  <a:gd name="connsiteY63" fmla="*/ 106013 h 241744"/>
                  <a:gd name="connsiteX64" fmla="*/ 171545 w 241744"/>
                  <a:gd name="connsiteY64" fmla="*/ 91345 h 241744"/>
                  <a:gd name="connsiteX65" fmla="*/ 167830 w 241744"/>
                  <a:gd name="connsiteY65" fmla="*/ 84963 h 241744"/>
                  <a:gd name="connsiteX66" fmla="*/ 192881 w 241744"/>
                  <a:gd name="connsiteY66" fmla="*/ 59912 h 241744"/>
                  <a:gd name="connsiteX67" fmla="*/ 192881 w 241744"/>
                  <a:gd name="connsiteY67" fmla="*/ 48958 h 241744"/>
                  <a:gd name="connsiteX68" fmla="*/ 181928 w 241744"/>
                  <a:gd name="connsiteY68" fmla="*/ 48958 h 241744"/>
                  <a:gd name="connsiteX69" fmla="*/ 156877 w 241744"/>
                  <a:gd name="connsiteY69" fmla="*/ 74009 h 241744"/>
                  <a:gd name="connsiteX70" fmla="*/ 150495 w 241744"/>
                  <a:gd name="connsiteY70" fmla="*/ 70294 h 241744"/>
                  <a:gd name="connsiteX71" fmla="*/ 135827 w 241744"/>
                  <a:gd name="connsiteY71" fmla="*/ 64198 h 241744"/>
                  <a:gd name="connsiteX72" fmla="*/ 128683 w 241744"/>
                  <a:gd name="connsiteY72" fmla="*/ 62293 h 241744"/>
                  <a:gd name="connsiteX73" fmla="*/ 128683 w 241744"/>
                  <a:gd name="connsiteY73" fmla="*/ 26860 h 241744"/>
                  <a:gd name="connsiteX74" fmla="*/ 120967 w 241744"/>
                  <a:gd name="connsiteY74" fmla="*/ 19050 h 241744"/>
                  <a:gd name="connsiteX75" fmla="*/ 113157 w 241744"/>
                  <a:gd name="connsiteY75" fmla="*/ 26860 h 241744"/>
                  <a:gd name="connsiteX76" fmla="*/ 113157 w 241744"/>
                  <a:gd name="connsiteY76" fmla="*/ 62293 h 241744"/>
                  <a:gd name="connsiteX77" fmla="*/ 106013 w 241744"/>
                  <a:gd name="connsiteY77" fmla="*/ 64198 h 241744"/>
                  <a:gd name="connsiteX78" fmla="*/ 91345 w 241744"/>
                  <a:gd name="connsiteY78" fmla="*/ 70294 h 241744"/>
                  <a:gd name="connsiteX79" fmla="*/ 84963 w 241744"/>
                  <a:gd name="connsiteY79" fmla="*/ 74009 h 241744"/>
                  <a:gd name="connsiteX80" fmla="*/ 59912 w 241744"/>
                  <a:gd name="connsiteY80" fmla="*/ 48958 h 241744"/>
                  <a:gd name="connsiteX81" fmla="*/ 48958 w 241744"/>
                  <a:gd name="connsiteY81" fmla="*/ 48958 h 241744"/>
                  <a:gd name="connsiteX82" fmla="*/ 48958 w 241744"/>
                  <a:gd name="connsiteY82" fmla="*/ 59912 h 241744"/>
                  <a:gd name="connsiteX83" fmla="*/ 74009 w 241744"/>
                  <a:gd name="connsiteY83" fmla="*/ 84963 h 241744"/>
                  <a:gd name="connsiteX84" fmla="*/ 70295 w 241744"/>
                  <a:gd name="connsiteY84" fmla="*/ 91345 h 241744"/>
                  <a:gd name="connsiteX85" fmla="*/ 64198 w 241744"/>
                  <a:gd name="connsiteY85" fmla="*/ 106108 h 241744"/>
                  <a:gd name="connsiteX86" fmla="*/ 62294 w 241744"/>
                  <a:gd name="connsiteY86" fmla="*/ 113252 h 241744"/>
                  <a:gd name="connsiteX87" fmla="*/ 26861 w 241744"/>
                  <a:gd name="connsiteY87" fmla="*/ 113252 h 241744"/>
                  <a:gd name="connsiteX88" fmla="*/ 19145 w 241744"/>
                  <a:gd name="connsiteY88" fmla="*/ 120967 h 241744"/>
                  <a:gd name="connsiteX89" fmla="*/ 26861 w 241744"/>
                  <a:gd name="connsiteY89" fmla="*/ 128778 h 241744"/>
                  <a:gd name="connsiteX90" fmla="*/ 62294 w 241744"/>
                  <a:gd name="connsiteY90" fmla="*/ 128778 h 241744"/>
                  <a:gd name="connsiteX91" fmla="*/ 64198 w 241744"/>
                  <a:gd name="connsiteY91" fmla="*/ 135922 h 241744"/>
                  <a:gd name="connsiteX92" fmla="*/ 70295 w 241744"/>
                  <a:gd name="connsiteY92" fmla="*/ 150685 h 241744"/>
                  <a:gd name="connsiteX93" fmla="*/ 74009 w 241744"/>
                  <a:gd name="connsiteY93" fmla="*/ 157067 h 241744"/>
                  <a:gd name="connsiteX94" fmla="*/ 48958 w 241744"/>
                  <a:gd name="connsiteY94" fmla="*/ 182118 h 241744"/>
                  <a:gd name="connsiteX95" fmla="*/ 48958 w 241744"/>
                  <a:gd name="connsiteY95" fmla="*/ 193072 h 241744"/>
                  <a:gd name="connsiteX96" fmla="*/ 59912 w 241744"/>
                  <a:gd name="connsiteY96" fmla="*/ 193072 h 241744"/>
                  <a:gd name="connsiteX97" fmla="*/ 84963 w 241744"/>
                  <a:gd name="connsiteY97" fmla="*/ 167830 h 241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41744" h="241744">
                    <a:moveTo>
                      <a:pt x="120872" y="241744"/>
                    </a:moveTo>
                    <a:cubicBezTo>
                      <a:pt x="106108" y="241744"/>
                      <a:pt x="94012" y="229743"/>
                      <a:pt x="94012" y="214979"/>
                    </a:cubicBezTo>
                    <a:lnTo>
                      <a:pt x="94012" y="193834"/>
                    </a:lnTo>
                    <a:cubicBezTo>
                      <a:pt x="92012" y="193072"/>
                      <a:pt x="90106" y="192310"/>
                      <a:pt x="88202" y="191452"/>
                    </a:cubicBezTo>
                    <a:lnTo>
                      <a:pt x="73247" y="206407"/>
                    </a:lnTo>
                    <a:cubicBezTo>
                      <a:pt x="63151" y="216503"/>
                      <a:pt x="45434" y="216503"/>
                      <a:pt x="35338" y="206407"/>
                    </a:cubicBezTo>
                    <a:cubicBezTo>
                      <a:pt x="24860" y="195929"/>
                      <a:pt x="24860" y="178975"/>
                      <a:pt x="35338" y="168497"/>
                    </a:cubicBezTo>
                    <a:lnTo>
                      <a:pt x="50292" y="153543"/>
                    </a:lnTo>
                    <a:cubicBezTo>
                      <a:pt x="49435" y="151638"/>
                      <a:pt x="48578" y="149733"/>
                      <a:pt x="47911" y="147733"/>
                    </a:cubicBezTo>
                    <a:lnTo>
                      <a:pt x="26765" y="147733"/>
                    </a:lnTo>
                    <a:cubicBezTo>
                      <a:pt x="12002" y="147733"/>
                      <a:pt x="0" y="135731"/>
                      <a:pt x="0" y="120872"/>
                    </a:cubicBezTo>
                    <a:cubicBezTo>
                      <a:pt x="0" y="106108"/>
                      <a:pt x="12002" y="94107"/>
                      <a:pt x="26765" y="94107"/>
                    </a:cubicBezTo>
                    <a:lnTo>
                      <a:pt x="47911" y="94107"/>
                    </a:lnTo>
                    <a:cubicBezTo>
                      <a:pt x="48673" y="92107"/>
                      <a:pt x="49435" y="90202"/>
                      <a:pt x="50292" y="88297"/>
                    </a:cubicBezTo>
                    <a:lnTo>
                      <a:pt x="35338" y="73342"/>
                    </a:lnTo>
                    <a:cubicBezTo>
                      <a:pt x="24860" y="62865"/>
                      <a:pt x="24860" y="45910"/>
                      <a:pt x="35338" y="35433"/>
                    </a:cubicBezTo>
                    <a:cubicBezTo>
                      <a:pt x="45815" y="24955"/>
                      <a:pt x="62770" y="24955"/>
                      <a:pt x="73247" y="35433"/>
                    </a:cubicBezTo>
                    <a:lnTo>
                      <a:pt x="88202" y="50387"/>
                    </a:lnTo>
                    <a:cubicBezTo>
                      <a:pt x="90106" y="49530"/>
                      <a:pt x="92012" y="48673"/>
                      <a:pt x="94012" y="48006"/>
                    </a:cubicBezTo>
                    <a:lnTo>
                      <a:pt x="94012" y="26860"/>
                    </a:lnTo>
                    <a:cubicBezTo>
                      <a:pt x="94012" y="12097"/>
                      <a:pt x="106013" y="0"/>
                      <a:pt x="120872" y="0"/>
                    </a:cubicBezTo>
                    <a:cubicBezTo>
                      <a:pt x="135636" y="0"/>
                      <a:pt x="147638" y="12001"/>
                      <a:pt x="147638" y="26860"/>
                    </a:cubicBezTo>
                    <a:lnTo>
                      <a:pt x="147638" y="48006"/>
                    </a:lnTo>
                    <a:cubicBezTo>
                      <a:pt x="149638" y="48768"/>
                      <a:pt x="151543" y="49530"/>
                      <a:pt x="153448" y="50387"/>
                    </a:cubicBezTo>
                    <a:lnTo>
                      <a:pt x="168402" y="35433"/>
                    </a:lnTo>
                    <a:cubicBezTo>
                      <a:pt x="178879" y="24955"/>
                      <a:pt x="195834" y="24955"/>
                      <a:pt x="206312" y="35433"/>
                    </a:cubicBezTo>
                    <a:cubicBezTo>
                      <a:pt x="216789" y="45910"/>
                      <a:pt x="216789" y="62865"/>
                      <a:pt x="206312" y="73342"/>
                    </a:cubicBezTo>
                    <a:lnTo>
                      <a:pt x="191357" y="88297"/>
                    </a:lnTo>
                    <a:cubicBezTo>
                      <a:pt x="192214" y="90202"/>
                      <a:pt x="193072" y="92107"/>
                      <a:pt x="193738" y="94107"/>
                    </a:cubicBezTo>
                    <a:lnTo>
                      <a:pt x="214884" y="94107"/>
                    </a:lnTo>
                    <a:cubicBezTo>
                      <a:pt x="229648" y="94107"/>
                      <a:pt x="241745" y="106108"/>
                      <a:pt x="241745" y="120872"/>
                    </a:cubicBezTo>
                    <a:cubicBezTo>
                      <a:pt x="241745" y="135636"/>
                      <a:pt x="229743" y="147733"/>
                      <a:pt x="214884" y="147733"/>
                    </a:cubicBezTo>
                    <a:lnTo>
                      <a:pt x="193738" y="147733"/>
                    </a:lnTo>
                    <a:cubicBezTo>
                      <a:pt x="192977" y="149733"/>
                      <a:pt x="192214" y="151638"/>
                      <a:pt x="191357" y="153543"/>
                    </a:cubicBezTo>
                    <a:lnTo>
                      <a:pt x="206312" y="168497"/>
                    </a:lnTo>
                    <a:cubicBezTo>
                      <a:pt x="216789" y="178975"/>
                      <a:pt x="216789" y="195929"/>
                      <a:pt x="206312" y="206407"/>
                    </a:cubicBezTo>
                    <a:cubicBezTo>
                      <a:pt x="196215" y="216503"/>
                      <a:pt x="178498" y="216503"/>
                      <a:pt x="168402" y="206407"/>
                    </a:cubicBezTo>
                    <a:lnTo>
                      <a:pt x="153448" y="191452"/>
                    </a:lnTo>
                    <a:cubicBezTo>
                      <a:pt x="151543" y="192310"/>
                      <a:pt x="149638" y="193167"/>
                      <a:pt x="147638" y="193834"/>
                    </a:cubicBezTo>
                    <a:lnTo>
                      <a:pt x="147638" y="214979"/>
                    </a:lnTo>
                    <a:cubicBezTo>
                      <a:pt x="147733" y="229743"/>
                      <a:pt x="135731" y="241744"/>
                      <a:pt x="120872" y="241744"/>
                    </a:cubicBezTo>
                    <a:close/>
                    <a:moveTo>
                      <a:pt x="84963" y="167830"/>
                    </a:moveTo>
                    <a:lnTo>
                      <a:pt x="91345" y="171545"/>
                    </a:lnTo>
                    <a:cubicBezTo>
                      <a:pt x="95917" y="174212"/>
                      <a:pt x="100870" y="176308"/>
                      <a:pt x="106013" y="177641"/>
                    </a:cubicBezTo>
                    <a:lnTo>
                      <a:pt x="113157" y="179546"/>
                    </a:lnTo>
                    <a:lnTo>
                      <a:pt x="113157" y="214979"/>
                    </a:lnTo>
                    <a:cubicBezTo>
                      <a:pt x="113157" y="219265"/>
                      <a:pt x="116681" y="222694"/>
                      <a:pt x="120967" y="222694"/>
                    </a:cubicBezTo>
                    <a:cubicBezTo>
                      <a:pt x="125254" y="222694"/>
                      <a:pt x="128683" y="219170"/>
                      <a:pt x="128683" y="214979"/>
                    </a:cubicBezTo>
                    <a:lnTo>
                      <a:pt x="128683" y="179546"/>
                    </a:lnTo>
                    <a:lnTo>
                      <a:pt x="135827" y="177641"/>
                    </a:lnTo>
                    <a:cubicBezTo>
                      <a:pt x="140970" y="176308"/>
                      <a:pt x="145923" y="174212"/>
                      <a:pt x="150495" y="171545"/>
                    </a:cubicBezTo>
                    <a:lnTo>
                      <a:pt x="156877" y="167830"/>
                    </a:lnTo>
                    <a:lnTo>
                      <a:pt x="181928" y="192881"/>
                    </a:lnTo>
                    <a:cubicBezTo>
                      <a:pt x="184880" y="195834"/>
                      <a:pt x="190024" y="195834"/>
                      <a:pt x="192881" y="192881"/>
                    </a:cubicBezTo>
                    <a:cubicBezTo>
                      <a:pt x="195929" y="189833"/>
                      <a:pt x="195929" y="184975"/>
                      <a:pt x="192881" y="181927"/>
                    </a:cubicBezTo>
                    <a:lnTo>
                      <a:pt x="167830" y="156877"/>
                    </a:lnTo>
                    <a:lnTo>
                      <a:pt x="171545" y="150495"/>
                    </a:lnTo>
                    <a:cubicBezTo>
                      <a:pt x="174212" y="145923"/>
                      <a:pt x="176308" y="140970"/>
                      <a:pt x="177641" y="135826"/>
                    </a:cubicBezTo>
                    <a:lnTo>
                      <a:pt x="179546" y="128683"/>
                    </a:lnTo>
                    <a:lnTo>
                      <a:pt x="214979" y="128683"/>
                    </a:lnTo>
                    <a:cubicBezTo>
                      <a:pt x="219265" y="128683"/>
                      <a:pt x="222790" y="125158"/>
                      <a:pt x="222790" y="120872"/>
                    </a:cubicBezTo>
                    <a:cubicBezTo>
                      <a:pt x="222790" y="116586"/>
                      <a:pt x="219265" y="113157"/>
                      <a:pt x="214979" y="113157"/>
                    </a:cubicBezTo>
                    <a:lnTo>
                      <a:pt x="179546" y="113157"/>
                    </a:lnTo>
                    <a:lnTo>
                      <a:pt x="177641" y="106013"/>
                    </a:lnTo>
                    <a:cubicBezTo>
                      <a:pt x="176308" y="100870"/>
                      <a:pt x="174212" y="95917"/>
                      <a:pt x="171545" y="91345"/>
                    </a:cubicBezTo>
                    <a:lnTo>
                      <a:pt x="167830" y="84963"/>
                    </a:lnTo>
                    <a:lnTo>
                      <a:pt x="192881" y="59912"/>
                    </a:lnTo>
                    <a:cubicBezTo>
                      <a:pt x="195929" y="56864"/>
                      <a:pt x="195929" y="52006"/>
                      <a:pt x="192881" y="48958"/>
                    </a:cubicBezTo>
                    <a:cubicBezTo>
                      <a:pt x="189833" y="45910"/>
                      <a:pt x="184975" y="45910"/>
                      <a:pt x="181928" y="48958"/>
                    </a:cubicBezTo>
                    <a:lnTo>
                      <a:pt x="156877" y="74009"/>
                    </a:lnTo>
                    <a:lnTo>
                      <a:pt x="150495" y="70294"/>
                    </a:lnTo>
                    <a:cubicBezTo>
                      <a:pt x="145923" y="67627"/>
                      <a:pt x="140970" y="65532"/>
                      <a:pt x="135827" y="64198"/>
                    </a:cubicBezTo>
                    <a:lnTo>
                      <a:pt x="128683" y="62293"/>
                    </a:lnTo>
                    <a:lnTo>
                      <a:pt x="128683" y="26860"/>
                    </a:lnTo>
                    <a:cubicBezTo>
                      <a:pt x="128683" y="22574"/>
                      <a:pt x="125158" y="19050"/>
                      <a:pt x="120967" y="19050"/>
                    </a:cubicBezTo>
                    <a:cubicBezTo>
                      <a:pt x="116777" y="19050"/>
                      <a:pt x="113157" y="22574"/>
                      <a:pt x="113157" y="26860"/>
                    </a:cubicBezTo>
                    <a:lnTo>
                      <a:pt x="113157" y="62293"/>
                    </a:lnTo>
                    <a:lnTo>
                      <a:pt x="106013" y="64198"/>
                    </a:lnTo>
                    <a:cubicBezTo>
                      <a:pt x="100870" y="65532"/>
                      <a:pt x="95917" y="67627"/>
                      <a:pt x="91345" y="70294"/>
                    </a:cubicBezTo>
                    <a:lnTo>
                      <a:pt x="84963" y="74009"/>
                    </a:lnTo>
                    <a:lnTo>
                      <a:pt x="59912" y="48958"/>
                    </a:lnTo>
                    <a:cubicBezTo>
                      <a:pt x="56864" y="45910"/>
                      <a:pt x="52006" y="45910"/>
                      <a:pt x="48958" y="48958"/>
                    </a:cubicBezTo>
                    <a:cubicBezTo>
                      <a:pt x="45911" y="52006"/>
                      <a:pt x="45911" y="56864"/>
                      <a:pt x="48958" y="59912"/>
                    </a:cubicBezTo>
                    <a:lnTo>
                      <a:pt x="74009" y="84963"/>
                    </a:lnTo>
                    <a:lnTo>
                      <a:pt x="70295" y="91345"/>
                    </a:lnTo>
                    <a:cubicBezTo>
                      <a:pt x="67628" y="95917"/>
                      <a:pt x="65532" y="100870"/>
                      <a:pt x="64198" y="106108"/>
                    </a:cubicBezTo>
                    <a:lnTo>
                      <a:pt x="62294" y="113252"/>
                    </a:lnTo>
                    <a:lnTo>
                      <a:pt x="26861" y="113252"/>
                    </a:lnTo>
                    <a:cubicBezTo>
                      <a:pt x="22574" y="113252"/>
                      <a:pt x="19145" y="116776"/>
                      <a:pt x="19145" y="120967"/>
                    </a:cubicBezTo>
                    <a:cubicBezTo>
                      <a:pt x="19145" y="125158"/>
                      <a:pt x="22670" y="128778"/>
                      <a:pt x="26861" y="128778"/>
                    </a:cubicBezTo>
                    <a:lnTo>
                      <a:pt x="62294" y="128778"/>
                    </a:lnTo>
                    <a:lnTo>
                      <a:pt x="64198" y="135922"/>
                    </a:lnTo>
                    <a:cubicBezTo>
                      <a:pt x="65532" y="141065"/>
                      <a:pt x="67628" y="146113"/>
                      <a:pt x="70295" y="150685"/>
                    </a:cubicBezTo>
                    <a:lnTo>
                      <a:pt x="74009" y="157067"/>
                    </a:lnTo>
                    <a:lnTo>
                      <a:pt x="48958" y="182118"/>
                    </a:lnTo>
                    <a:cubicBezTo>
                      <a:pt x="45911" y="185166"/>
                      <a:pt x="45911" y="190024"/>
                      <a:pt x="48958" y="193072"/>
                    </a:cubicBezTo>
                    <a:cubicBezTo>
                      <a:pt x="51911" y="196025"/>
                      <a:pt x="57055" y="196025"/>
                      <a:pt x="59912" y="193072"/>
                    </a:cubicBezTo>
                    <a:lnTo>
                      <a:pt x="84963" y="167830"/>
                    </a:lnTo>
                    <a:close/>
                  </a:path>
                </a:pathLst>
              </a:custGeom>
              <a:solidFill>
                <a:srgbClr val="540005"/>
              </a:solidFill>
              <a:ln w="9525" cap="flat">
                <a:noFill/>
                <a:prstDash val="solid"/>
                <a:miter/>
              </a:ln>
            </p:spPr>
            <p:txBody>
              <a:bodyPr rtlCol="0" anchor="ctr"/>
              <a:lstStyle/>
              <a:p>
                <a:endParaRPr lang="en-GB"/>
              </a:p>
            </p:txBody>
          </p:sp>
        </p:grpSp>
        <p:sp>
          <p:nvSpPr>
            <p:cNvPr id="328" name="iṥḷïḍé">
              <a:extLst>
                <a:ext uri="{FF2B5EF4-FFF2-40B4-BE49-F238E27FC236}">
                  <a16:creationId xmlns:a16="http://schemas.microsoft.com/office/drawing/2014/main" id="{DF40690A-7532-4853-ACDC-7812EE6237F2}"/>
                </a:ext>
              </a:extLst>
            </p:cNvPr>
            <p:cNvSpPr/>
            <p:nvPr/>
          </p:nvSpPr>
          <p:spPr>
            <a:xfrm>
              <a:off x="5206907" y="2738669"/>
              <a:ext cx="929944" cy="1324029"/>
            </a:xfrm>
            <a:custGeom>
              <a:avLst/>
              <a:gdLst>
                <a:gd name="connsiteX0" fmla="*/ 250888 w 490061"/>
                <a:gd name="connsiteY0" fmla="*/ 697736 h 697736"/>
                <a:gd name="connsiteX1" fmla="*/ 142018 w 490061"/>
                <a:gd name="connsiteY1" fmla="*/ 697736 h 697736"/>
                <a:gd name="connsiteX2" fmla="*/ 0 w 490061"/>
                <a:gd name="connsiteY2" fmla="*/ 555814 h 697736"/>
                <a:gd name="connsiteX3" fmla="*/ 76105 w 490061"/>
                <a:gd name="connsiteY3" fmla="*/ 299305 h 697736"/>
                <a:gd name="connsiteX4" fmla="*/ 229076 w 490061"/>
                <a:gd name="connsiteY4" fmla="*/ 64324 h 697736"/>
                <a:gd name="connsiteX5" fmla="*/ 407098 w 490061"/>
                <a:gd name="connsiteY5" fmla="*/ 12698 h 697736"/>
                <a:gd name="connsiteX6" fmla="*/ 490061 w 490061"/>
                <a:gd name="connsiteY6" fmla="*/ 141857 h 697736"/>
                <a:gd name="connsiteX7" fmla="*/ 490061 w 490061"/>
                <a:gd name="connsiteY7" fmla="*/ 458563 h 697736"/>
                <a:gd name="connsiteX8" fmla="*/ 419957 w 490061"/>
                <a:gd name="connsiteY8" fmla="*/ 627727 h 697736"/>
                <a:gd name="connsiteX9" fmla="*/ 250888 w 490061"/>
                <a:gd name="connsiteY9" fmla="*/ 697736 h 697736"/>
                <a:gd name="connsiteX10" fmla="*/ 348710 w 490061"/>
                <a:gd name="connsiteY10" fmla="*/ 18985 h 697736"/>
                <a:gd name="connsiteX11" fmla="*/ 245173 w 490061"/>
                <a:gd name="connsiteY11" fmla="*/ 74706 h 697736"/>
                <a:gd name="connsiteX12" fmla="*/ 92202 w 490061"/>
                <a:gd name="connsiteY12" fmla="*/ 309688 h 697736"/>
                <a:gd name="connsiteX13" fmla="*/ 19145 w 490061"/>
                <a:gd name="connsiteY13" fmla="*/ 555718 h 697736"/>
                <a:gd name="connsiteX14" fmla="*/ 142113 w 490061"/>
                <a:gd name="connsiteY14" fmla="*/ 678591 h 697736"/>
                <a:gd name="connsiteX15" fmla="*/ 250984 w 490061"/>
                <a:gd name="connsiteY15" fmla="*/ 678591 h 697736"/>
                <a:gd name="connsiteX16" fmla="*/ 406717 w 490061"/>
                <a:gd name="connsiteY16" fmla="*/ 614107 h 697736"/>
                <a:gd name="connsiteX17" fmla="*/ 471202 w 490061"/>
                <a:gd name="connsiteY17" fmla="*/ 458373 h 697736"/>
                <a:gd name="connsiteX18" fmla="*/ 471202 w 490061"/>
                <a:gd name="connsiteY18" fmla="*/ 141667 h 697736"/>
                <a:gd name="connsiteX19" fmla="*/ 399383 w 490061"/>
                <a:gd name="connsiteY19" fmla="*/ 29843 h 697736"/>
                <a:gd name="connsiteX20" fmla="*/ 348710 w 490061"/>
                <a:gd name="connsiteY20" fmla="*/ 18985 h 69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90061" h="697736">
                  <a:moveTo>
                    <a:pt x="250888" y="697736"/>
                  </a:moveTo>
                  <a:lnTo>
                    <a:pt x="142018" y="697736"/>
                  </a:lnTo>
                  <a:cubicBezTo>
                    <a:pt x="63722" y="697736"/>
                    <a:pt x="0" y="634014"/>
                    <a:pt x="0" y="555814"/>
                  </a:cubicBezTo>
                  <a:cubicBezTo>
                    <a:pt x="0" y="464564"/>
                    <a:pt x="26289" y="375791"/>
                    <a:pt x="76105" y="299305"/>
                  </a:cubicBezTo>
                  <a:lnTo>
                    <a:pt x="229076" y="64324"/>
                  </a:lnTo>
                  <a:cubicBezTo>
                    <a:pt x="267081" y="5935"/>
                    <a:pt x="343662" y="-16353"/>
                    <a:pt x="407098" y="12698"/>
                  </a:cubicBezTo>
                  <a:cubicBezTo>
                    <a:pt x="457486" y="35749"/>
                    <a:pt x="490061" y="86422"/>
                    <a:pt x="490061" y="141857"/>
                  </a:cubicBezTo>
                  <a:lnTo>
                    <a:pt x="490061" y="458563"/>
                  </a:lnTo>
                  <a:cubicBezTo>
                    <a:pt x="490061" y="522476"/>
                    <a:pt x="465201" y="582579"/>
                    <a:pt x="419957" y="627727"/>
                  </a:cubicBezTo>
                  <a:cubicBezTo>
                    <a:pt x="374713" y="672876"/>
                    <a:pt x="314801" y="697736"/>
                    <a:pt x="250888" y="697736"/>
                  </a:cubicBezTo>
                  <a:close/>
                  <a:moveTo>
                    <a:pt x="348710" y="18985"/>
                  </a:moveTo>
                  <a:cubicBezTo>
                    <a:pt x="308038" y="18985"/>
                    <a:pt x="268414" y="39082"/>
                    <a:pt x="245173" y="74706"/>
                  </a:cubicBezTo>
                  <a:lnTo>
                    <a:pt x="92202" y="309688"/>
                  </a:lnTo>
                  <a:cubicBezTo>
                    <a:pt x="44387" y="383125"/>
                    <a:pt x="19145" y="468184"/>
                    <a:pt x="19145" y="555718"/>
                  </a:cubicBezTo>
                  <a:cubicBezTo>
                    <a:pt x="19145" y="623536"/>
                    <a:pt x="74295" y="678591"/>
                    <a:pt x="142113" y="678591"/>
                  </a:cubicBezTo>
                  <a:lnTo>
                    <a:pt x="250984" y="678591"/>
                  </a:lnTo>
                  <a:cubicBezTo>
                    <a:pt x="309753" y="678591"/>
                    <a:pt x="365093" y="655636"/>
                    <a:pt x="406717" y="614107"/>
                  </a:cubicBezTo>
                  <a:cubicBezTo>
                    <a:pt x="448342" y="572482"/>
                    <a:pt x="471202" y="517238"/>
                    <a:pt x="471202" y="458373"/>
                  </a:cubicBezTo>
                  <a:lnTo>
                    <a:pt x="471202" y="141667"/>
                  </a:lnTo>
                  <a:cubicBezTo>
                    <a:pt x="471202" y="93661"/>
                    <a:pt x="443008" y="49846"/>
                    <a:pt x="399383" y="29843"/>
                  </a:cubicBezTo>
                  <a:cubicBezTo>
                    <a:pt x="383000" y="22604"/>
                    <a:pt x="365760" y="18985"/>
                    <a:pt x="348710" y="18985"/>
                  </a:cubicBezTo>
                  <a:close/>
                </a:path>
              </a:pathLst>
            </a:custGeom>
            <a:solidFill>
              <a:srgbClr val="540005"/>
            </a:solidFill>
            <a:ln w="9525" cap="flat">
              <a:noFill/>
              <a:prstDash val="solid"/>
              <a:miter/>
            </a:ln>
          </p:spPr>
          <p:txBody>
            <a:bodyPr rtlCol="0" anchor="ctr"/>
            <a:lstStyle/>
            <a:p>
              <a:endParaRPr lang="en-GB"/>
            </a:p>
          </p:txBody>
        </p:sp>
        <p:grpSp>
          <p:nvGrpSpPr>
            <p:cNvPr id="329" name="iśḻîḑe">
              <a:extLst>
                <a:ext uri="{FF2B5EF4-FFF2-40B4-BE49-F238E27FC236}">
                  <a16:creationId xmlns:a16="http://schemas.microsoft.com/office/drawing/2014/main" id="{DB7E110B-EC22-45B4-B9FE-C4B9EC235FF9}"/>
                </a:ext>
              </a:extLst>
            </p:cNvPr>
            <p:cNvGrpSpPr/>
            <p:nvPr/>
          </p:nvGrpSpPr>
          <p:grpSpPr>
            <a:xfrm>
              <a:off x="5016842" y="3611421"/>
              <a:ext cx="840940" cy="840940"/>
              <a:chOff x="7016253" y="4133588"/>
              <a:chExt cx="443158" cy="443158"/>
            </a:xfrm>
          </p:grpSpPr>
          <p:sp>
            <p:nvSpPr>
              <p:cNvPr id="335" name="išļïdé">
                <a:extLst>
                  <a:ext uri="{FF2B5EF4-FFF2-40B4-BE49-F238E27FC236}">
                    <a16:creationId xmlns:a16="http://schemas.microsoft.com/office/drawing/2014/main" id="{AFEDB5C1-366B-4CF1-B5E4-0655BFDAEA1F}"/>
                  </a:ext>
                </a:extLst>
              </p:cNvPr>
              <p:cNvSpPr/>
              <p:nvPr/>
            </p:nvSpPr>
            <p:spPr>
              <a:xfrm rot="-2581102">
                <a:off x="7081058" y="4198393"/>
                <a:ext cx="313547" cy="313547"/>
              </a:xfrm>
              <a:custGeom>
                <a:avLst/>
                <a:gdLst>
                  <a:gd name="connsiteX0" fmla="*/ 313548 w 313547"/>
                  <a:gd name="connsiteY0" fmla="*/ 156774 h 313547"/>
                  <a:gd name="connsiteX1" fmla="*/ 156774 w 313547"/>
                  <a:gd name="connsiteY1" fmla="*/ 313548 h 313547"/>
                  <a:gd name="connsiteX2" fmla="*/ 0 w 313547"/>
                  <a:gd name="connsiteY2" fmla="*/ 156774 h 313547"/>
                  <a:gd name="connsiteX3" fmla="*/ 156774 w 313547"/>
                  <a:gd name="connsiteY3" fmla="*/ 0 h 313547"/>
                  <a:gd name="connsiteX4" fmla="*/ 313548 w 313547"/>
                  <a:gd name="connsiteY4" fmla="*/ 156774 h 3135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547" h="313547">
                    <a:moveTo>
                      <a:pt x="313548" y="156774"/>
                    </a:moveTo>
                    <a:cubicBezTo>
                      <a:pt x="313548" y="243358"/>
                      <a:pt x="243358" y="313548"/>
                      <a:pt x="156774" y="313548"/>
                    </a:cubicBezTo>
                    <a:cubicBezTo>
                      <a:pt x="70190" y="313548"/>
                      <a:pt x="0" y="243358"/>
                      <a:pt x="0" y="156774"/>
                    </a:cubicBezTo>
                    <a:cubicBezTo>
                      <a:pt x="0" y="70190"/>
                      <a:pt x="70190" y="0"/>
                      <a:pt x="156774" y="0"/>
                    </a:cubicBezTo>
                    <a:cubicBezTo>
                      <a:pt x="243358" y="0"/>
                      <a:pt x="313548" y="70190"/>
                      <a:pt x="313548" y="156774"/>
                    </a:cubicBezTo>
                    <a:close/>
                  </a:path>
                </a:pathLst>
              </a:custGeom>
              <a:solidFill>
                <a:srgbClr val="FD6983"/>
              </a:solidFill>
              <a:ln w="9525" cap="flat">
                <a:noFill/>
                <a:prstDash val="solid"/>
                <a:miter/>
              </a:ln>
            </p:spPr>
            <p:txBody>
              <a:bodyPr rtlCol="0" anchor="ctr"/>
              <a:lstStyle/>
              <a:p>
                <a:endParaRPr lang="en-GB"/>
              </a:p>
            </p:txBody>
          </p:sp>
          <p:sp>
            <p:nvSpPr>
              <p:cNvPr id="336" name="îṥlïḍè">
                <a:extLst>
                  <a:ext uri="{FF2B5EF4-FFF2-40B4-BE49-F238E27FC236}">
                    <a16:creationId xmlns:a16="http://schemas.microsoft.com/office/drawing/2014/main" id="{D6E6003A-F886-45A4-97DD-FD4B2B2FA2E1}"/>
                  </a:ext>
                </a:extLst>
              </p:cNvPr>
              <p:cNvSpPr/>
              <p:nvPr/>
            </p:nvSpPr>
            <p:spPr>
              <a:xfrm>
                <a:off x="7071741" y="4188903"/>
                <a:ext cx="332612" cy="332612"/>
              </a:xfrm>
              <a:custGeom>
                <a:avLst/>
                <a:gdLst>
                  <a:gd name="connsiteX0" fmla="*/ 166306 w 332612"/>
                  <a:gd name="connsiteY0" fmla="*/ 332613 h 332612"/>
                  <a:gd name="connsiteX1" fmla="*/ 0 w 332612"/>
                  <a:gd name="connsiteY1" fmla="*/ 166307 h 332612"/>
                  <a:gd name="connsiteX2" fmla="*/ 166306 w 332612"/>
                  <a:gd name="connsiteY2" fmla="*/ 0 h 332612"/>
                  <a:gd name="connsiteX3" fmla="*/ 332613 w 332612"/>
                  <a:gd name="connsiteY3" fmla="*/ 166307 h 332612"/>
                  <a:gd name="connsiteX4" fmla="*/ 166306 w 332612"/>
                  <a:gd name="connsiteY4" fmla="*/ 332613 h 332612"/>
                  <a:gd name="connsiteX5" fmla="*/ 166306 w 332612"/>
                  <a:gd name="connsiteY5" fmla="*/ 19050 h 332612"/>
                  <a:gd name="connsiteX6" fmla="*/ 19050 w 332612"/>
                  <a:gd name="connsiteY6" fmla="*/ 166307 h 332612"/>
                  <a:gd name="connsiteX7" fmla="*/ 166306 w 332612"/>
                  <a:gd name="connsiteY7" fmla="*/ 313563 h 332612"/>
                  <a:gd name="connsiteX8" fmla="*/ 313563 w 332612"/>
                  <a:gd name="connsiteY8" fmla="*/ 166307 h 332612"/>
                  <a:gd name="connsiteX9" fmla="*/ 166306 w 332612"/>
                  <a:gd name="connsiteY9" fmla="*/ 19050 h 33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612" h="332612">
                    <a:moveTo>
                      <a:pt x="166306" y="332613"/>
                    </a:moveTo>
                    <a:cubicBezTo>
                      <a:pt x="74581" y="332613"/>
                      <a:pt x="0" y="258032"/>
                      <a:pt x="0" y="166307"/>
                    </a:cubicBezTo>
                    <a:cubicBezTo>
                      <a:pt x="0" y="74581"/>
                      <a:pt x="74581" y="0"/>
                      <a:pt x="166306" y="0"/>
                    </a:cubicBezTo>
                    <a:cubicBezTo>
                      <a:pt x="258032" y="0"/>
                      <a:pt x="332613" y="74581"/>
                      <a:pt x="332613" y="166307"/>
                    </a:cubicBezTo>
                    <a:cubicBezTo>
                      <a:pt x="332613" y="258032"/>
                      <a:pt x="258032" y="332613"/>
                      <a:pt x="166306" y="332613"/>
                    </a:cubicBezTo>
                    <a:close/>
                    <a:moveTo>
                      <a:pt x="166306" y="19050"/>
                    </a:moveTo>
                    <a:cubicBezTo>
                      <a:pt x="85058" y="19050"/>
                      <a:pt x="19050" y="85154"/>
                      <a:pt x="19050" y="166307"/>
                    </a:cubicBezTo>
                    <a:cubicBezTo>
                      <a:pt x="19050" y="247459"/>
                      <a:pt x="85154" y="313563"/>
                      <a:pt x="166306" y="313563"/>
                    </a:cubicBezTo>
                    <a:cubicBezTo>
                      <a:pt x="247460" y="313563"/>
                      <a:pt x="313563" y="247459"/>
                      <a:pt x="313563" y="166307"/>
                    </a:cubicBezTo>
                    <a:cubicBezTo>
                      <a:pt x="313563" y="85154"/>
                      <a:pt x="247460" y="19050"/>
                      <a:pt x="166306" y="19050"/>
                    </a:cubicBezTo>
                    <a:close/>
                  </a:path>
                </a:pathLst>
              </a:custGeom>
              <a:solidFill>
                <a:srgbClr val="540005"/>
              </a:solidFill>
              <a:ln w="9525" cap="flat">
                <a:noFill/>
                <a:prstDash val="solid"/>
                <a:miter/>
              </a:ln>
            </p:spPr>
            <p:txBody>
              <a:bodyPr rtlCol="0" anchor="ctr"/>
              <a:lstStyle/>
              <a:p>
                <a:endParaRPr lang="en-GB"/>
              </a:p>
            </p:txBody>
          </p:sp>
        </p:grpSp>
        <p:sp>
          <p:nvSpPr>
            <p:cNvPr id="330" name="íṡlíde">
              <a:extLst>
                <a:ext uri="{FF2B5EF4-FFF2-40B4-BE49-F238E27FC236}">
                  <a16:creationId xmlns:a16="http://schemas.microsoft.com/office/drawing/2014/main" id="{FB2D119A-2277-47C0-84E6-D536598F66A2}"/>
                </a:ext>
              </a:extLst>
            </p:cNvPr>
            <p:cNvSpPr/>
            <p:nvPr/>
          </p:nvSpPr>
          <p:spPr>
            <a:xfrm>
              <a:off x="5246491" y="3768082"/>
              <a:ext cx="488738" cy="561400"/>
            </a:xfrm>
            <a:custGeom>
              <a:avLst/>
              <a:gdLst>
                <a:gd name="connsiteX0" fmla="*/ 172974 w 257555"/>
                <a:gd name="connsiteY0" fmla="*/ 0 h 295846"/>
                <a:gd name="connsiteX1" fmla="*/ 228981 w 257555"/>
                <a:gd name="connsiteY1" fmla="*/ 120015 h 295846"/>
                <a:gd name="connsiteX2" fmla="*/ 72199 w 257555"/>
                <a:gd name="connsiteY2" fmla="*/ 276796 h 295846"/>
                <a:gd name="connsiteX3" fmla="*/ 0 w 257555"/>
                <a:gd name="connsiteY3" fmla="*/ 259080 h 295846"/>
                <a:gd name="connsiteX4" fmla="*/ 100774 w 257555"/>
                <a:gd name="connsiteY4" fmla="*/ 295846 h 295846"/>
                <a:gd name="connsiteX5" fmla="*/ 257556 w 257555"/>
                <a:gd name="connsiteY5" fmla="*/ 139065 h 295846"/>
                <a:gd name="connsiteX6" fmla="*/ 172974 w 257555"/>
                <a:gd name="connsiteY6" fmla="*/ 0 h 295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7555" h="295846">
                  <a:moveTo>
                    <a:pt x="172974" y="0"/>
                  </a:moveTo>
                  <a:cubicBezTo>
                    <a:pt x="207169" y="28766"/>
                    <a:pt x="228981" y="71818"/>
                    <a:pt x="228981" y="120015"/>
                  </a:cubicBezTo>
                  <a:cubicBezTo>
                    <a:pt x="228981" y="206597"/>
                    <a:pt x="158782" y="276796"/>
                    <a:pt x="72199" y="276796"/>
                  </a:cubicBezTo>
                  <a:cubicBezTo>
                    <a:pt x="46101" y="276796"/>
                    <a:pt x="21622" y="270320"/>
                    <a:pt x="0" y="259080"/>
                  </a:cubicBezTo>
                  <a:cubicBezTo>
                    <a:pt x="27241" y="282035"/>
                    <a:pt x="62389" y="295846"/>
                    <a:pt x="100774" y="295846"/>
                  </a:cubicBezTo>
                  <a:cubicBezTo>
                    <a:pt x="187357" y="295846"/>
                    <a:pt x="257556" y="225647"/>
                    <a:pt x="257556" y="139065"/>
                  </a:cubicBezTo>
                  <a:cubicBezTo>
                    <a:pt x="257556" y="78581"/>
                    <a:pt x="223171" y="26099"/>
                    <a:pt x="172974" y="0"/>
                  </a:cubicBezTo>
                  <a:close/>
                </a:path>
              </a:pathLst>
            </a:custGeom>
            <a:solidFill>
              <a:srgbClr val="E33E5B"/>
            </a:solidFill>
            <a:ln w="9525" cap="flat">
              <a:noFill/>
              <a:prstDash val="solid"/>
              <a:miter/>
            </a:ln>
          </p:spPr>
          <p:txBody>
            <a:bodyPr rtlCol="0" anchor="ctr"/>
            <a:lstStyle/>
            <a:p>
              <a:endParaRPr lang="en-GB"/>
            </a:p>
          </p:txBody>
        </p:sp>
        <p:grpSp>
          <p:nvGrpSpPr>
            <p:cNvPr id="331" name="ïṩ1íďè">
              <a:extLst>
                <a:ext uri="{FF2B5EF4-FFF2-40B4-BE49-F238E27FC236}">
                  <a16:creationId xmlns:a16="http://schemas.microsoft.com/office/drawing/2014/main" id="{1FF82DAC-4802-44BC-88BD-03A6398C8B85}"/>
                </a:ext>
              </a:extLst>
            </p:cNvPr>
            <p:cNvGrpSpPr/>
            <p:nvPr/>
          </p:nvGrpSpPr>
          <p:grpSpPr>
            <a:xfrm>
              <a:off x="5316801" y="3859212"/>
              <a:ext cx="242190" cy="362904"/>
              <a:chOff x="7174325" y="4264169"/>
              <a:chExt cx="127629" cy="191243"/>
            </a:xfrm>
            <a:solidFill>
              <a:srgbClr val="FBF7F4"/>
            </a:solidFill>
          </p:grpSpPr>
          <p:sp>
            <p:nvSpPr>
              <p:cNvPr id="333" name="išḷïḋe">
                <a:extLst>
                  <a:ext uri="{FF2B5EF4-FFF2-40B4-BE49-F238E27FC236}">
                    <a16:creationId xmlns:a16="http://schemas.microsoft.com/office/drawing/2014/main" id="{37B638D6-40E2-4F44-A398-EA59E9494B8C}"/>
                  </a:ext>
                </a:extLst>
              </p:cNvPr>
              <p:cNvSpPr/>
              <p:nvPr/>
            </p:nvSpPr>
            <p:spPr>
              <a:xfrm>
                <a:off x="7174325" y="4264169"/>
                <a:ext cx="127629" cy="152096"/>
              </a:xfrm>
              <a:custGeom>
                <a:avLst/>
                <a:gdLst>
                  <a:gd name="connsiteX0" fmla="*/ 63722 w 127629"/>
                  <a:gd name="connsiteY0" fmla="*/ 152096 h 152096"/>
                  <a:gd name="connsiteX1" fmla="*/ 51435 w 127629"/>
                  <a:gd name="connsiteY1" fmla="*/ 139809 h 152096"/>
                  <a:gd name="connsiteX2" fmla="*/ 51435 w 127629"/>
                  <a:gd name="connsiteY2" fmla="*/ 127046 h 152096"/>
                  <a:gd name="connsiteX3" fmla="*/ 71819 w 127629"/>
                  <a:gd name="connsiteY3" fmla="*/ 102090 h 152096"/>
                  <a:gd name="connsiteX4" fmla="*/ 102108 w 127629"/>
                  <a:gd name="connsiteY4" fmla="*/ 55798 h 152096"/>
                  <a:gd name="connsiteX5" fmla="*/ 71723 w 127629"/>
                  <a:gd name="connsiteY5" fmla="*/ 25414 h 152096"/>
                  <a:gd name="connsiteX6" fmla="*/ 38862 w 127629"/>
                  <a:gd name="connsiteY6" fmla="*/ 33605 h 152096"/>
                  <a:gd name="connsiteX7" fmla="*/ 24575 w 127629"/>
                  <a:gd name="connsiteY7" fmla="*/ 63800 h 152096"/>
                  <a:gd name="connsiteX8" fmla="*/ 12287 w 127629"/>
                  <a:gd name="connsiteY8" fmla="*/ 76087 h 152096"/>
                  <a:gd name="connsiteX9" fmla="*/ 0 w 127629"/>
                  <a:gd name="connsiteY9" fmla="*/ 63800 h 152096"/>
                  <a:gd name="connsiteX10" fmla="*/ 23241 w 127629"/>
                  <a:gd name="connsiteY10" fmla="*/ 14555 h 152096"/>
                  <a:gd name="connsiteX11" fmla="*/ 76486 w 127629"/>
                  <a:gd name="connsiteY11" fmla="*/ 1220 h 152096"/>
                  <a:gd name="connsiteX12" fmla="*/ 126397 w 127629"/>
                  <a:gd name="connsiteY12" fmla="*/ 51131 h 152096"/>
                  <a:gd name="connsiteX13" fmla="*/ 76962 w 127629"/>
                  <a:gd name="connsiteY13" fmla="*/ 126283 h 152096"/>
                  <a:gd name="connsiteX14" fmla="*/ 76200 w 127629"/>
                  <a:gd name="connsiteY14" fmla="*/ 127141 h 152096"/>
                  <a:gd name="connsiteX15" fmla="*/ 76200 w 127629"/>
                  <a:gd name="connsiteY15" fmla="*/ 139904 h 152096"/>
                  <a:gd name="connsiteX16" fmla="*/ 63722 w 127629"/>
                  <a:gd name="connsiteY16" fmla="*/ 152096 h 152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629" h="152096">
                    <a:moveTo>
                      <a:pt x="63722" y="152096"/>
                    </a:moveTo>
                    <a:cubicBezTo>
                      <a:pt x="56960" y="152096"/>
                      <a:pt x="51435" y="146572"/>
                      <a:pt x="51435" y="139809"/>
                    </a:cubicBezTo>
                    <a:lnTo>
                      <a:pt x="51435" y="127046"/>
                    </a:lnTo>
                    <a:cubicBezTo>
                      <a:pt x="51435" y="115044"/>
                      <a:pt x="60008" y="104471"/>
                      <a:pt x="71819" y="102090"/>
                    </a:cubicBezTo>
                    <a:cubicBezTo>
                      <a:pt x="92964" y="97613"/>
                      <a:pt x="106299" y="77325"/>
                      <a:pt x="102108" y="55798"/>
                    </a:cubicBezTo>
                    <a:cubicBezTo>
                      <a:pt x="99155" y="40558"/>
                      <a:pt x="86963" y="28367"/>
                      <a:pt x="71723" y="25414"/>
                    </a:cubicBezTo>
                    <a:cubicBezTo>
                      <a:pt x="59722" y="23128"/>
                      <a:pt x="48101" y="25985"/>
                      <a:pt x="38862" y="33605"/>
                    </a:cubicBezTo>
                    <a:cubicBezTo>
                      <a:pt x="29813" y="41035"/>
                      <a:pt x="24575" y="52084"/>
                      <a:pt x="24575" y="63800"/>
                    </a:cubicBezTo>
                    <a:cubicBezTo>
                      <a:pt x="24575" y="70562"/>
                      <a:pt x="19050" y="76087"/>
                      <a:pt x="12287" y="76087"/>
                    </a:cubicBezTo>
                    <a:cubicBezTo>
                      <a:pt x="5525" y="76087"/>
                      <a:pt x="0" y="70562"/>
                      <a:pt x="0" y="63800"/>
                    </a:cubicBezTo>
                    <a:cubicBezTo>
                      <a:pt x="0" y="44654"/>
                      <a:pt x="8477" y="26747"/>
                      <a:pt x="23241" y="14555"/>
                    </a:cubicBezTo>
                    <a:cubicBezTo>
                      <a:pt x="38005" y="2363"/>
                      <a:pt x="57436" y="-2495"/>
                      <a:pt x="76486" y="1220"/>
                    </a:cubicBezTo>
                    <a:cubicBezTo>
                      <a:pt x="101441" y="6078"/>
                      <a:pt x="121539" y="26080"/>
                      <a:pt x="126397" y="51131"/>
                    </a:cubicBezTo>
                    <a:cubicBezTo>
                      <a:pt x="133160" y="85993"/>
                      <a:pt x="111443" y="119044"/>
                      <a:pt x="76962" y="126283"/>
                    </a:cubicBezTo>
                    <a:cubicBezTo>
                      <a:pt x="76486" y="126379"/>
                      <a:pt x="76200" y="126760"/>
                      <a:pt x="76200" y="127141"/>
                    </a:cubicBezTo>
                    <a:lnTo>
                      <a:pt x="76200" y="139904"/>
                    </a:lnTo>
                    <a:cubicBezTo>
                      <a:pt x="76010" y="146572"/>
                      <a:pt x="70485" y="152096"/>
                      <a:pt x="63722" y="152096"/>
                    </a:cubicBezTo>
                    <a:close/>
                  </a:path>
                </a:pathLst>
              </a:custGeom>
              <a:solidFill>
                <a:srgbClr val="FBF7F4"/>
              </a:solidFill>
              <a:ln w="9525" cap="flat">
                <a:noFill/>
                <a:prstDash val="solid"/>
                <a:miter/>
              </a:ln>
            </p:spPr>
            <p:txBody>
              <a:bodyPr rtlCol="0" anchor="ctr"/>
              <a:lstStyle/>
              <a:p>
                <a:endParaRPr lang="en-GB"/>
              </a:p>
            </p:txBody>
          </p:sp>
          <p:sp>
            <p:nvSpPr>
              <p:cNvPr id="334" name="íṩḷíḓe">
                <a:extLst>
                  <a:ext uri="{FF2B5EF4-FFF2-40B4-BE49-F238E27FC236}">
                    <a16:creationId xmlns:a16="http://schemas.microsoft.com/office/drawing/2014/main" id="{F170FAF3-63EE-4A7B-9B4B-A2E9CDA439AC}"/>
                  </a:ext>
                </a:extLst>
              </p:cNvPr>
              <p:cNvSpPr/>
              <p:nvPr/>
            </p:nvSpPr>
            <p:spPr>
              <a:xfrm>
                <a:off x="7223664" y="4426648"/>
                <a:ext cx="28765" cy="28765"/>
              </a:xfrm>
              <a:custGeom>
                <a:avLst/>
                <a:gdLst>
                  <a:gd name="connsiteX0" fmla="*/ 28765 w 28765"/>
                  <a:gd name="connsiteY0" fmla="*/ 14383 h 28765"/>
                  <a:gd name="connsiteX1" fmla="*/ 14383 w 28765"/>
                  <a:gd name="connsiteY1" fmla="*/ 0 h 28765"/>
                  <a:gd name="connsiteX2" fmla="*/ 0 w 28765"/>
                  <a:gd name="connsiteY2" fmla="*/ 14383 h 28765"/>
                  <a:gd name="connsiteX3" fmla="*/ 14383 w 28765"/>
                  <a:gd name="connsiteY3" fmla="*/ 28765 h 28765"/>
                  <a:gd name="connsiteX4" fmla="*/ 28765 w 28765"/>
                  <a:gd name="connsiteY4" fmla="*/ 14383 h 287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765" h="28765">
                    <a:moveTo>
                      <a:pt x="28765" y="14383"/>
                    </a:moveTo>
                    <a:cubicBezTo>
                      <a:pt x="28765" y="6382"/>
                      <a:pt x="22288" y="0"/>
                      <a:pt x="14383" y="0"/>
                    </a:cubicBezTo>
                    <a:cubicBezTo>
                      <a:pt x="6382" y="0"/>
                      <a:pt x="0" y="6477"/>
                      <a:pt x="0" y="14383"/>
                    </a:cubicBezTo>
                    <a:cubicBezTo>
                      <a:pt x="0" y="22384"/>
                      <a:pt x="6477" y="28765"/>
                      <a:pt x="14383" y="28765"/>
                    </a:cubicBezTo>
                    <a:cubicBezTo>
                      <a:pt x="22288" y="28765"/>
                      <a:pt x="28765" y="22288"/>
                      <a:pt x="28765" y="14383"/>
                    </a:cubicBezTo>
                    <a:close/>
                  </a:path>
                </a:pathLst>
              </a:custGeom>
              <a:solidFill>
                <a:srgbClr val="FBF7F4"/>
              </a:solidFill>
              <a:ln w="9525" cap="flat">
                <a:noFill/>
                <a:prstDash val="solid"/>
                <a:miter/>
              </a:ln>
            </p:spPr>
            <p:txBody>
              <a:bodyPr rtlCol="0" anchor="ctr"/>
              <a:lstStyle/>
              <a:p>
                <a:endParaRPr lang="en-GB"/>
              </a:p>
            </p:txBody>
          </p:sp>
        </p:grpSp>
        <p:sp>
          <p:nvSpPr>
            <p:cNvPr id="332" name="iŝḻíḍé">
              <a:extLst>
                <a:ext uri="{FF2B5EF4-FFF2-40B4-BE49-F238E27FC236}">
                  <a16:creationId xmlns:a16="http://schemas.microsoft.com/office/drawing/2014/main" id="{D5751714-701A-4183-A67B-32E024A1DF35}"/>
                </a:ext>
              </a:extLst>
            </p:cNvPr>
            <p:cNvSpPr/>
            <p:nvPr/>
          </p:nvSpPr>
          <p:spPr>
            <a:xfrm>
              <a:off x="5122137" y="3716387"/>
              <a:ext cx="631167" cy="631167"/>
            </a:xfrm>
            <a:custGeom>
              <a:avLst/>
              <a:gdLst>
                <a:gd name="connsiteX0" fmla="*/ 166306 w 332612"/>
                <a:gd name="connsiteY0" fmla="*/ 332613 h 332612"/>
                <a:gd name="connsiteX1" fmla="*/ 0 w 332612"/>
                <a:gd name="connsiteY1" fmla="*/ 166307 h 332612"/>
                <a:gd name="connsiteX2" fmla="*/ 166306 w 332612"/>
                <a:gd name="connsiteY2" fmla="*/ 0 h 332612"/>
                <a:gd name="connsiteX3" fmla="*/ 332613 w 332612"/>
                <a:gd name="connsiteY3" fmla="*/ 166307 h 332612"/>
                <a:gd name="connsiteX4" fmla="*/ 166306 w 332612"/>
                <a:gd name="connsiteY4" fmla="*/ 332613 h 332612"/>
                <a:gd name="connsiteX5" fmla="*/ 166306 w 332612"/>
                <a:gd name="connsiteY5" fmla="*/ 19050 h 332612"/>
                <a:gd name="connsiteX6" fmla="*/ 19050 w 332612"/>
                <a:gd name="connsiteY6" fmla="*/ 166307 h 332612"/>
                <a:gd name="connsiteX7" fmla="*/ 166306 w 332612"/>
                <a:gd name="connsiteY7" fmla="*/ 313563 h 332612"/>
                <a:gd name="connsiteX8" fmla="*/ 313563 w 332612"/>
                <a:gd name="connsiteY8" fmla="*/ 166307 h 332612"/>
                <a:gd name="connsiteX9" fmla="*/ 166306 w 332612"/>
                <a:gd name="connsiteY9" fmla="*/ 19050 h 33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612" h="332612">
                  <a:moveTo>
                    <a:pt x="166306" y="332613"/>
                  </a:moveTo>
                  <a:cubicBezTo>
                    <a:pt x="74581" y="332613"/>
                    <a:pt x="0" y="258032"/>
                    <a:pt x="0" y="166307"/>
                  </a:cubicBezTo>
                  <a:cubicBezTo>
                    <a:pt x="0" y="74581"/>
                    <a:pt x="74581" y="0"/>
                    <a:pt x="166306" y="0"/>
                  </a:cubicBezTo>
                  <a:cubicBezTo>
                    <a:pt x="258032" y="0"/>
                    <a:pt x="332613" y="74581"/>
                    <a:pt x="332613" y="166307"/>
                  </a:cubicBezTo>
                  <a:cubicBezTo>
                    <a:pt x="332613" y="258032"/>
                    <a:pt x="258032" y="332613"/>
                    <a:pt x="166306" y="332613"/>
                  </a:cubicBezTo>
                  <a:close/>
                  <a:moveTo>
                    <a:pt x="166306" y="19050"/>
                  </a:moveTo>
                  <a:cubicBezTo>
                    <a:pt x="85058" y="19050"/>
                    <a:pt x="19050" y="85154"/>
                    <a:pt x="19050" y="166307"/>
                  </a:cubicBezTo>
                  <a:cubicBezTo>
                    <a:pt x="19050" y="247459"/>
                    <a:pt x="85154" y="313563"/>
                    <a:pt x="166306" y="313563"/>
                  </a:cubicBezTo>
                  <a:cubicBezTo>
                    <a:pt x="247460" y="313563"/>
                    <a:pt x="313563" y="247459"/>
                    <a:pt x="313563" y="166307"/>
                  </a:cubicBezTo>
                  <a:cubicBezTo>
                    <a:pt x="313563" y="85154"/>
                    <a:pt x="247460" y="19050"/>
                    <a:pt x="166306" y="19050"/>
                  </a:cubicBezTo>
                  <a:close/>
                </a:path>
              </a:pathLst>
            </a:custGeom>
            <a:solidFill>
              <a:srgbClr val="540005"/>
            </a:solidFill>
            <a:ln w="9525" cap="flat">
              <a:noFill/>
              <a:prstDash val="solid"/>
              <a:miter/>
            </a:ln>
          </p:spPr>
          <p:txBody>
            <a:bodyPr rtlCol="0" anchor="ctr"/>
            <a:lstStyle/>
            <a:p>
              <a:endParaRPr lang="en-GB"/>
            </a:p>
          </p:txBody>
        </p:sp>
      </p:grpSp>
      <p:grpSp>
        <p:nvGrpSpPr>
          <p:cNvPr id="350" name="组合 2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8AF0D4D-669D-4DCC-A868-06E15F0E11E5}"/>
              </a:ext>
            </a:extLst>
          </p:cNvPr>
          <p:cNvGrpSpPr>
            <a:grpSpLocks noChangeAspect="1"/>
          </p:cNvGrpSpPr>
          <p:nvPr/>
        </p:nvGrpSpPr>
        <p:grpSpPr>
          <a:xfrm>
            <a:off x="949580" y="5190852"/>
            <a:ext cx="309182" cy="390124"/>
            <a:chOff x="4559306" y="1490001"/>
            <a:chExt cx="3073404" cy="3877996"/>
          </a:xfrm>
        </p:grpSpPr>
        <p:grpSp>
          <p:nvGrpSpPr>
            <p:cNvPr id="351" name="íşḻide">
              <a:extLst>
                <a:ext uri="{FF2B5EF4-FFF2-40B4-BE49-F238E27FC236}">
                  <a16:creationId xmlns:a16="http://schemas.microsoft.com/office/drawing/2014/main" id="{9592BBCF-306B-4E3A-9DD4-34050FCBDFC6}"/>
                </a:ext>
              </a:extLst>
            </p:cNvPr>
            <p:cNvGrpSpPr/>
            <p:nvPr/>
          </p:nvGrpSpPr>
          <p:grpSpPr>
            <a:xfrm>
              <a:off x="5038293" y="2072702"/>
              <a:ext cx="2061395" cy="2633262"/>
              <a:chOff x="3855015" y="1605266"/>
              <a:chExt cx="1406556" cy="1858968"/>
            </a:xfrm>
            <a:solidFill>
              <a:schemeClr val="accent6"/>
            </a:solidFill>
          </p:grpSpPr>
          <p:sp>
            <p:nvSpPr>
              <p:cNvPr id="368" name="ïşlíḍê">
                <a:extLst>
                  <a:ext uri="{FF2B5EF4-FFF2-40B4-BE49-F238E27FC236}">
                    <a16:creationId xmlns:a16="http://schemas.microsoft.com/office/drawing/2014/main" id="{A9F115F7-E3E0-42A9-AD51-D7BB3C36F610}"/>
                  </a:ext>
                </a:extLst>
              </p:cNvPr>
              <p:cNvSpPr/>
              <p:nvPr/>
            </p:nvSpPr>
            <p:spPr bwMode="auto">
              <a:xfrm>
                <a:off x="3855015" y="1605266"/>
                <a:ext cx="1393801" cy="1824952"/>
              </a:xfrm>
              <a:custGeom>
                <a:avLst/>
                <a:gdLst>
                  <a:gd name="T0" fmla="*/ 60 w 325"/>
                  <a:gd name="T1" fmla="*/ 58 h 426"/>
                  <a:gd name="T2" fmla="*/ 163 w 325"/>
                  <a:gd name="T3" fmla="*/ 11 h 426"/>
                  <a:gd name="T4" fmla="*/ 315 w 325"/>
                  <a:gd name="T5" fmla="*/ 105 h 426"/>
                  <a:gd name="T6" fmla="*/ 315 w 325"/>
                  <a:gd name="T7" fmla="*/ 215 h 426"/>
                  <a:gd name="T8" fmla="*/ 272 w 325"/>
                  <a:gd name="T9" fmla="*/ 310 h 426"/>
                  <a:gd name="T10" fmla="*/ 244 w 325"/>
                  <a:gd name="T11" fmla="*/ 389 h 426"/>
                  <a:gd name="T12" fmla="*/ 226 w 325"/>
                  <a:gd name="T13" fmla="*/ 426 h 426"/>
                  <a:gd name="T14" fmla="*/ 116 w 325"/>
                  <a:gd name="T15" fmla="*/ 426 h 426"/>
                  <a:gd name="T16" fmla="*/ 96 w 325"/>
                  <a:gd name="T17" fmla="*/ 396 h 426"/>
                  <a:gd name="T18" fmla="*/ 60 w 325"/>
                  <a:gd name="T19" fmla="*/ 297 h 426"/>
                  <a:gd name="T20" fmla="*/ 18 w 325"/>
                  <a:gd name="T21" fmla="*/ 178 h 426"/>
                  <a:gd name="T22" fmla="*/ 60 w 325"/>
                  <a:gd name="T23" fmla="*/ 5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5" h="426">
                    <a:moveTo>
                      <a:pt x="60" y="58"/>
                    </a:moveTo>
                    <a:cubicBezTo>
                      <a:pt x="60" y="58"/>
                      <a:pt x="104" y="15"/>
                      <a:pt x="163" y="11"/>
                    </a:cubicBezTo>
                    <a:cubicBezTo>
                      <a:pt x="163" y="11"/>
                      <a:pt x="263" y="0"/>
                      <a:pt x="315" y="105"/>
                    </a:cubicBezTo>
                    <a:cubicBezTo>
                      <a:pt x="315" y="105"/>
                      <a:pt x="325" y="179"/>
                      <a:pt x="315" y="215"/>
                    </a:cubicBezTo>
                    <a:cubicBezTo>
                      <a:pt x="315" y="215"/>
                      <a:pt x="271" y="302"/>
                      <a:pt x="272" y="310"/>
                    </a:cubicBezTo>
                    <a:cubicBezTo>
                      <a:pt x="244" y="389"/>
                      <a:pt x="244" y="389"/>
                      <a:pt x="244" y="389"/>
                    </a:cubicBezTo>
                    <a:cubicBezTo>
                      <a:pt x="244" y="389"/>
                      <a:pt x="241" y="426"/>
                      <a:pt x="226" y="426"/>
                    </a:cubicBezTo>
                    <a:cubicBezTo>
                      <a:pt x="116" y="426"/>
                      <a:pt x="116" y="426"/>
                      <a:pt x="116" y="426"/>
                    </a:cubicBezTo>
                    <a:cubicBezTo>
                      <a:pt x="116" y="426"/>
                      <a:pt x="96" y="426"/>
                      <a:pt x="96" y="396"/>
                    </a:cubicBezTo>
                    <a:cubicBezTo>
                      <a:pt x="96" y="396"/>
                      <a:pt x="74" y="318"/>
                      <a:pt x="60" y="297"/>
                    </a:cubicBezTo>
                    <a:cubicBezTo>
                      <a:pt x="60" y="297"/>
                      <a:pt x="18" y="207"/>
                      <a:pt x="18" y="178"/>
                    </a:cubicBezTo>
                    <a:cubicBezTo>
                      <a:pt x="18" y="178"/>
                      <a:pt x="0" y="125"/>
                      <a:pt x="60" y="58"/>
                    </a:cubicBezTo>
                    <a:close/>
                  </a:path>
                </a:pathLst>
              </a:custGeom>
              <a:solidFill>
                <a:schemeClr val="tx2">
                  <a:lumMod val="20000"/>
                  <a:lumOff val="80000"/>
                </a:schemeClr>
              </a:solidFill>
              <a:ln>
                <a:noFill/>
              </a:ln>
            </p:spPr>
            <p:txBody>
              <a:bodyPr anchor="ctr"/>
              <a:lstStyle/>
              <a:p>
                <a:pPr algn="ctr"/>
                <a:endParaRPr/>
              </a:p>
            </p:txBody>
          </p:sp>
          <p:sp>
            <p:nvSpPr>
              <p:cNvPr id="369" name="î$ļîḋè">
                <a:extLst>
                  <a:ext uri="{FF2B5EF4-FFF2-40B4-BE49-F238E27FC236}">
                    <a16:creationId xmlns:a16="http://schemas.microsoft.com/office/drawing/2014/main" id="{0A081E5F-9290-4D59-B83B-DACF32066A13}"/>
                  </a:ext>
                </a:extLst>
              </p:cNvPr>
              <p:cNvSpPr/>
              <p:nvPr/>
            </p:nvSpPr>
            <p:spPr bwMode="auto">
              <a:xfrm>
                <a:off x="3885629" y="1626526"/>
                <a:ext cx="1375942" cy="1837708"/>
              </a:xfrm>
              <a:custGeom>
                <a:avLst/>
                <a:gdLst>
                  <a:gd name="T0" fmla="*/ 160 w 321"/>
                  <a:gd name="T1" fmla="*/ 0 h 429"/>
                  <a:gd name="T2" fmla="*/ 0 w 321"/>
                  <a:gd name="T3" fmla="*/ 160 h 429"/>
                  <a:gd name="T4" fmla="*/ 22 w 321"/>
                  <a:gd name="T5" fmla="*/ 240 h 429"/>
                  <a:gd name="T6" fmla="*/ 78 w 321"/>
                  <a:gd name="T7" fmla="*/ 389 h 429"/>
                  <a:gd name="T8" fmla="*/ 115 w 321"/>
                  <a:gd name="T9" fmla="*/ 429 h 429"/>
                  <a:gd name="T10" fmla="*/ 160 w 321"/>
                  <a:gd name="T11" fmla="*/ 429 h 429"/>
                  <a:gd name="T12" fmla="*/ 206 w 321"/>
                  <a:gd name="T13" fmla="*/ 429 h 429"/>
                  <a:gd name="T14" fmla="*/ 243 w 321"/>
                  <a:gd name="T15" fmla="*/ 389 h 429"/>
                  <a:gd name="T16" fmla="*/ 299 w 321"/>
                  <a:gd name="T17" fmla="*/ 240 h 429"/>
                  <a:gd name="T18" fmla="*/ 321 w 321"/>
                  <a:gd name="T19" fmla="*/ 160 h 429"/>
                  <a:gd name="T20" fmla="*/ 160 w 321"/>
                  <a:gd name="T21" fmla="*/ 0 h 429"/>
                  <a:gd name="T22" fmla="*/ 287 w 321"/>
                  <a:gd name="T23" fmla="*/ 233 h 429"/>
                  <a:gd name="T24" fmla="*/ 229 w 321"/>
                  <a:gd name="T25" fmla="*/ 387 h 429"/>
                  <a:gd name="T26" fmla="*/ 221 w 321"/>
                  <a:gd name="T27" fmla="*/ 411 h 429"/>
                  <a:gd name="T28" fmla="*/ 206 w 321"/>
                  <a:gd name="T29" fmla="*/ 414 h 429"/>
                  <a:gd name="T30" fmla="*/ 160 w 321"/>
                  <a:gd name="T31" fmla="*/ 414 h 429"/>
                  <a:gd name="T32" fmla="*/ 115 w 321"/>
                  <a:gd name="T33" fmla="*/ 414 h 429"/>
                  <a:gd name="T34" fmla="*/ 100 w 321"/>
                  <a:gd name="T35" fmla="*/ 411 h 429"/>
                  <a:gd name="T36" fmla="*/ 92 w 321"/>
                  <a:gd name="T37" fmla="*/ 387 h 429"/>
                  <a:gd name="T38" fmla="*/ 34 w 321"/>
                  <a:gd name="T39" fmla="*/ 233 h 429"/>
                  <a:gd name="T40" fmla="*/ 15 w 321"/>
                  <a:gd name="T41" fmla="*/ 160 h 429"/>
                  <a:gd name="T42" fmla="*/ 160 w 321"/>
                  <a:gd name="T43" fmla="*/ 14 h 429"/>
                  <a:gd name="T44" fmla="*/ 306 w 321"/>
                  <a:gd name="T45" fmla="*/ 160 h 429"/>
                  <a:gd name="T46" fmla="*/ 287 w 321"/>
                  <a:gd name="T47" fmla="*/ 233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1" h="429">
                    <a:moveTo>
                      <a:pt x="160" y="0"/>
                    </a:moveTo>
                    <a:cubicBezTo>
                      <a:pt x="72" y="0"/>
                      <a:pt x="0" y="72"/>
                      <a:pt x="0" y="160"/>
                    </a:cubicBezTo>
                    <a:cubicBezTo>
                      <a:pt x="0" y="189"/>
                      <a:pt x="8" y="216"/>
                      <a:pt x="22" y="240"/>
                    </a:cubicBezTo>
                    <a:cubicBezTo>
                      <a:pt x="61" y="311"/>
                      <a:pt x="71" y="351"/>
                      <a:pt x="78" y="389"/>
                    </a:cubicBezTo>
                    <a:cubicBezTo>
                      <a:pt x="83" y="421"/>
                      <a:pt x="91" y="429"/>
                      <a:pt x="115" y="429"/>
                    </a:cubicBezTo>
                    <a:cubicBezTo>
                      <a:pt x="125" y="429"/>
                      <a:pt x="142" y="429"/>
                      <a:pt x="160" y="429"/>
                    </a:cubicBezTo>
                    <a:cubicBezTo>
                      <a:pt x="179" y="429"/>
                      <a:pt x="195" y="429"/>
                      <a:pt x="206" y="429"/>
                    </a:cubicBezTo>
                    <a:cubicBezTo>
                      <a:pt x="230" y="429"/>
                      <a:pt x="238" y="421"/>
                      <a:pt x="243" y="389"/>
                    </a:cubicBezTo>
                    <a:cubicBezTo>
                      <a:pt x="249" y="351"/>
                      <a:pt x="260" y="311"/>
                      <a:pt x="299" y="240"/>
                    </a:cubicBezTo>
                    <a:cubicBezTo>
                      <a:pt x="312" y="216"/>
                      <a:pt x="321" y="189"/>
                      <a:pt x="321" y="160"/>
                    </a:cubicBezTo>
                    <a:cubicBezTo>
                      <a:pt x="321" y="72"/>
                      <a:pt x="249" y="0"/>
                      <a:pt x="160" y="0"/>
                    </a:cubicBezTo>
                    <a:close/>
                    <a:moveTo>
                      <a:pt x="287" y="233"/>
                    </a:moveTo>
                    <a:cubicBezTo>
                      <a:pt x="248" y="302"/>
                      <a:pt x="236" y="343"/>
                      <a:pt x="229" y="387"/>
                    </a:cubicBezTo>
                    <a:cubicBezTo>
                      <a:pt x="228" y="392"/>
                      <a:pt x="226" y="406"/>
                      <a:pt x="221" y="411"/>
                    </a:cubicBezTo>
                    <a:cubicBezTo>
                      <a:pt x="220" y="413"/>
                      <a:pt x="217" y="414"/>
                      <a:pt x="206" y="414"/>
                    </a:cubicBezTo>
                    <a:cubicBezTo>
                      <a:pt x="160" y="414"/>
                      <a:pt x="160" y="414"/>
                      <a:pt x="160" y="414"/>
                    </a:cubicBezTo>
                    <a:cubicBezTo>
                      <a:pt x="115" y="414"/>
                      <a:pt x="115" y="414"/>
                      <a:pt x="115" y="414"/>
                    </a:cubicBezTo>
                    <a:cubicBezTo>
                      <a:pt x="104" y="414"/>
                      <a:pt x="101" y="413"/>
                      <a:pt x="100" y="411"/>
                    </a:cubicBezTo>
                    <a:cubicBezTo>
                      <a:pt x="95" y="406"/>
                      <a:pt x="93" y="392"/>
                      <a:pt x="92" y="387"/>
                    </a:cubicBezTo>
                    <a:cubicBezTo>
                      <a:pt x="85" y="343"/>
                      <a:pt x="73" y="302"/>
                      <a:pt x="34" y="233"/>
                    </a:cubicBezTo>
                    <a:cubicBezTo>
                      <a:pt x="21" y="210"/>
                      <a:pt x="15" y="185"/>
                      <a:pt x="15" y="160"/>
                    </a:cubicBezTo>
                    <a:cubicBezTo>
                      <a:pt x="15" y="80"/>
                      <a:pt x="80" y="14"/>
                      <a:pt x="160" y="14"/>
                    </a:cubicBezTo>
                    <a:cubicBezTo>
                      <a:pt x="241" y="14"/>
                      <a:pt x="306" y="80"/>
                      <a:pt x="306" y="160"/>
                    </a:cubicBezTo>
                    <a:cubicBezTo>
                      <a:pt x="306" y="185"/>
                      <a:pt x="300" y="210"/>
                      <a:pt x="287" y="233"/>
                    </a:cubicBezTo>
                    <a:close/>
                  </a:path>
                </a:pathLst>
              </a:custGeom>
              <a:solidFill>
                <a:schemeClr val="tx2"/>
              </a:solidFill>
              <a:ln>
                <a:noFill/>
              </a:ln>
            </p:spPr>
            <p:txBody>
              <a:bodyPr anchor="ctr"/>
              <a:lstStyle/>
              <a:p>
                <a:pPr algn="ctr"/>
                <a:endParaRPr/>
              </a:p>
            </p:txBody>
          </p:sp>
        </p:grpSp>
        <p:sp>
          <p:nvSpPr>
            <p:cNvPr id="352" name="ïšļïḑé">
              <a:extLst>
                <a:ext uri="{FF2B5EF4-FFF2-40B4-BE49-F238E27FC236}">
                  <a16:creationId xmlns:a16="http://schemas.microsoft.com/office/drawing/2014/main" id="{D57188C7-E6DE-414F-9AC7-E3CD3A3491EA}"/>
                </a:ext>
              </a:extLst>
            </p:cNvPr>
            <p:cNvSpPr/>
            <p:nvPr/>
          </p:nvSpPr>
          <p:spPr bwMode="auto">
            <a:xfrm>
              <a:off x="5659792" y="4705963"/>
              <a:ext cx="873662" cy="125877"/>
            </a:xfrm>
            <a:custGeom>
              <a:avLst/>
              <a:gdLst>
                <a:gd name="T0" fmla="*/ 130 w 139"/>
                <a:gd name="T1" fmla="*/ 0 h 23"/>
                <a:gd name="T2" fmla="*/ 9 w 139"/>
                <a:gd name="T3" fmla="*/ 0 h 23"/>
                <a:gd name="T4" fmla="*/ 0 w 139"/>
                <a:gd name="T5" fmla="*/ 9 h 23"/>
                <a:gd name="T6" fmla="*/ 0 w 139"/>
                <a:gd name="T7" fmla="*/ 14 h 23"/>
                <a:gd name="T8" fmla="*/ 9 w 139"/>
                <a:gd name="T9" fmla="*/ 23 h 23"/>
                <a:gd name="T10" fmla="*/ 130 w 139"/>
                <a:gd name="T11" fmla="*/ 23 h 23"/>
                <a:gd name="T12" fmla="*/ 139 w 139"/>
                <a:gd name="T13" fmla="*/ 14 h 23"/>
                <a:gd name="T14" fmla="*/ 139 w 139"/>
                <a:gd name="T15" fmla="*/ 9 h 23"/>
                <a:gd name="T16" fmla="*/ 130 w 139"/>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 h="23">
                  <a:moveTo>
                    <a:pt x="130" y="0"/>
                  </a:moveTo>
                  <a:cubicBezTo>
                    <a:pt x="9" y="0"/>
                    <a:pt x="9" y="0"/>
                    <a:pt x="9" y="0"/>
                  </a:cubicBezTo>
                  <a:cubicBezTo>
                    <a:pt x="4" y="0"/>
                    <a:pt x="0" y="4"/>
                    <a:pt x="0" y="9"/>
                  </a:cubicBezTo>
                  <a:cubicBezTo>
                    <a:pt x="0" y="14"/>
                    <a:pt x="0" y="14"/>
                    <a:pt x="0" y="14"/>
                  </a:cubicBezTo>
                  <a:cubicBezTo>
                    <a:pt x="0" y="19"/>
                    <a:pt x="4" y="23"/>
                    <a:pt x="9" y="23"/>
                  </a:cubicBezTo>
                  <a:cubicBezTo>
                    <a:pt x="130" y="23"/>
                    <a:pt x="130" y="23"/>
                    <a:pt x="130" y="23"/>
                  </a:cubicBezTo>
                  <a:cubicBezTo>
                    <a:pt x="135" y="23"/>
                    <a:pt x="139" y="19"/>
                    <a:pt x="139" y="14"/>
                  </a:cubicBezTo>
                  <a:cubicBezTo>
                    <a:pt x="139" y="9"/>
                    <a:pt x="139" y="9"/>
                    <a:pt x="139" y="9"/>
                  </a:cubicBezTo>
                  <a:cubicBezTo>
                    <a:pt x="139" y="4"/>
                    <a:pt x="135" y="0"/>
                    <a:pt x="130" y="0"/>
                  </a:cubicBezTo>
                  <a:close/>
                </a:path>
              </a:pathLst>
            </a:custGeom>
            <a:solidFill>
              <a:schemeClr val="tx2"/>
            </a:solidFill>
            <a:ln>
              <a:noFill/>
            </a:ln>
          </p:spPr>
          <p:txBody>
            <a:bodyPr anchor="ctr"/>
            <a:lstStyle/>
            <a:p>
              <a:pPr algn="ctr"/>
              <a:endParaRPr/>
            </a:p>
          </p:txBody>
        </p:sp>
        <p:sp>
          <p:nvSpPr>
            <p:cNvPr id="353" name="ïš1îďè">
              <a:extLst>
                <a:ext uri="{FF2B5EF4-FFF2-40B4-BE49-F238E27FC236}">
                  <a16:creationId xmlns:a16="http://schemas.microsoft.com/office/drawing/2014/main" id="{19788260-A1F2-4071-BE88-CDCD4F97C7F4}"/>
                </a:ext>
              </a:extLst>
            </p:cNvPr>
            <p:cNvSpPr/>
            <p:nvPr/>
          </p:nvSpPr>
          <p:spPr bwMode="auto">
            <a:xfrm>
              <a:off x="5684717" y="4887925"/>
              <a:ext cx="822564" cy="138340"/>
            </a:xfrm>
            <a:custGeom>
              <a:avLst/>
              <a:gdLst>
                <a:gd name="T0" fmla="*/ 122 w 131"/>
                <a:gd name="T1" fmla="*/ 0 h 24"/>
                <a:gd name="T2" fmla="*/ 9 w 131"/>
                <a:gd name="T3" fmla="*/ 0 h 24"/>
                <a:gd name="T4" fmla="*/ 0 w 131"/>
                <a:gd name="T5" fmla="*/ 9 h 24"/>
                <a:gd name="T6" fmla="*/ 0 w 131"/>
                <a:gd name="T7" fmla="*/ 15 h 24"/>
                <a:gd name="T8" fmla="*/ 9 w 131"/>
                <a:gd name="T9" fmla="*/ 24 h 24"/>
                <a:gd name="T10" fmla="*/ 122 w 131"/>
                <a:gd name="T11" fmla="*/ 24 h 24"/>
                <a:gd name="T12" fmla="*/ 131 w 131"/>
                <a:gd name="T13" fmla="*/ 15 h 24"/>
                <a:gd name="T14" fmla="*/ 131 w 131"/>
                <a:gd name="T15" fmla="*/ 9 h 24"/>
                <a:gd name="T16" fmla="*/ 122 w 13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1" h="24">
                  <a:moveTo>
                    <a:pt x="122" y="0"/>
                  </a:moveTo>
                  <a:cubicBezTo>
                    <a:pt x="9" y="0"/>
                    <a:pt x="9" y="0"/>
                    <a:pt x="9" y="0"/>
                  </a:cubicBezTo>
                  <a:cubicBezTo>
                    <a:pt x="4" y="0"/>
                    <a:pt x="0" y="4"/>
                    <a:pt x="0" y="9"/>
                  </a:cubicBezTo>
                  <a:cubicBezTo>
                    <a:pt x="0" y="15"/>
                    <a:pt x="0" y="15"/>
                    <a:pt x="0" y="15"/>
                  </a:cubicBezTo>
                  <a:cubicBezTo>
                    <a:pt x="0" y="20"/>
                    <a:pt x="4" y="24"/>
                    <a:pt x="9" y="24"/>
                  </a:cubicBezTo>
                  <a:cubicBezTo>
                    <a:pt x="122" y="24"/>
                    <a:pt x="122" y="24"/>
                    <a:pt x="122" y="24"/>
                  </a:cubicBezTo>
                  <a:cubicBezTo>
                    <a:pt x="127" y="24"/>
                    <a:pt x="131" y="20"/>
                    <a:pt x="131" y="15"/>
                  </a:cubicBezTo>
                  <a:cubicBezTo>
                    <a:pt x="131" y="9"/>
                    <a:pt x="131" y="9"/>
                    <a:pt x="131" y="9"/>
                  </a:cubicBezTo>
                  <a:cubicBezTo>
                    <a:pt x="131" y="4"/>
                    <a:pt x="127" y="0"/>
                    <a:pt x="122" y="0"/>
                  </a:cubicBezTo>
                  <a:close/>
                </a:path>
              </a:pathLst>
            </a:custGeom>
            <a:solidFill>
              <a:schemeClr val="tx2"/>
            </a:solidFill>
            <a:ln>
              <a:noFill/>
            </a:ln>
          </p:spPr>
          <p:txBody>
            <a:bodyPr anchor="ctr"/>
            <a:lstStyle/>
            <a:p>
              <a:pPr algn="ctr"/>
              <a:endParaRPr/>
            </a:p>
          </p:txBody>
        </p:sp>
        <p:sp>
          <p:nvSpPr>
            <p:cNvPr id="354" name="îş1îḍe">
              <a:extLst>
                <a:ext uri="{FF2B5EF4-FFF2-40B4-BE49-F238E27FC236}">
                  <a16:creationId xmlns:a16="http://schemas.microsoft.com/office/drawing/2014/main" id="{45F72DBD-80DC-44F9-B448-12F738DB947F}"/>
                </a:ext>
              </a:extLst>
            </p:cNvPr>
            <p:cNvSpPr/>
            <p:nvPr/>
          </p:nvSpPr>
          <p:spPr bwMode="auto">
            <a:xfrm>
              <a:off x="5734570" y="5076117"/>
              <a:ext cx="722860" cy="116150"/>
            </a:xfrm>
            <a:custGeom>
              <a:avLst/>
              <a:gdLst>
                <a:gd name="T0" fmla="*/ 107 w 115"/>
                <a:gd name="T1" fmla="*/ 0 h 23"/>
                <a:gd name="T2" fmla="*/ 8 w 115"/>
                <a:gd name="T3" fmla="*/ 0 h 23"/>
                <a:gd name="T4" fmla="*/ 0 w 115"/>
                <a:gd name="T5" fmla="*/ 9 h 23"/>
                <a:gd name="T6" fmla="*/ 0 w 115"/>
                <a:gd name="T7" fmla="*/ 15 h 23"/>
                <a:gd name="T8" fmla="*/ 8 w 115"/>
                <a:gd name="T9" fmla="*/ 23 h 23"/>
                <a:gd name="T10" fmla="*/ 107 w 115"/>
                <a:gd name="T11" fmla="*/ 23 h 23"/>
                <a:gd name="T12" fmla="*/ 115 w 115"/>
                <a:gd name="T13" fmla="*/ 15 h 23"/>
                <a:gd name="T14" fmla="*/ 115 w 115"/>
                <a:gd name="T15" fmla="*/ 9 h 23"/>
                <a:gd name="T16" fmla="*/ 107 w 115"/>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23">
                  <a:moveTo>
                    <a:pt x="107" y="0"/>
                  </a:moveTo>
                  <a:cubicBezTo>
                    <a:pt x="8" y="0"/>
                    <a:pt x="8" y="0"/>
                    <a:pt x="8" y="0"/>
                  </a:cubicBezTo>
                  <a:cubicBezTo>
                    <a:pt x="4" y="0"/>
                    <a:pt x="0" y="4"/>
                    <a:pt x="0" y="9"/>
                  </a:cubicBezTo>
                  <a:cubicBezTo>
                    <a:pt x="0" y="15"/>
                    <a:pt x="0" y="15"/>
                    <a:pt x="0" y="15"/>
                  </a:cubicBezTo>
                  <a:cubicBezTo>
                    <a:pt x="0" y="19"/>
                    <a:pt x="4" y="23"/>
                    <a:pt x="8" y="23"/>
                  </a:cubicBezTo>
                  <a:cubicBezTo>
                    <a:pt x="107" y="23"/>
                    <a:pt x="107" y="23"/>
                    <a:pt x="107" y="23"/>
                  </a:cubicBezTo>
                  <a:cubicBezTo>
                    <a:pt x="111" y="23"/>
                    <a:pt x="115" y="19"/>
                    <a:pt x="115" y="15"/>
                  </a:cubicBezTo>
                  <a:cubicBezTo>
                    <a:pt x="115" y="9"/>
                    <a:pt x="115" y="9"/>
                    <a:pt x="115" y="9"/>
                  </a:cubicBezTo>
                  <a:cubicBezTo>
                    <a:pt x="115" y="4"/>
                    <a:pt x="111" y="0"/>
                    <a:pt x="107" y="0"/>
                  </a:cubicBezTo>
                  <a:close/>
                </a:path>
              </a:pathLst>
            </a:custGeom>
            <a:solidFill>
              <a:schemeClr val="tx2"/>
            </a:solidFill>
            <a:ln>
              <a:noFill/>
            </a:ln>
          </p:spPr>
          <p:txBody>
            <a:bodyPr anchor="ctr"/>
            <a:lstStyle/>
            <a:p>
              <a:pPr algn="ctr"/>
              <a:endParaRPr/>
            </a:p>
          </p:txBody>
        </p:sp>
        <p:sp>
          <p:nvSpPr>
            <p:cNvPr id="355" name="îśľídè">
              <a:extLst>
                <a:ext uri="{FF2B5EF4-FFF2-40B4-BE49-F238E27FC236}">
                  <a16:creationId xmlns:a16="http://schemas.microsoft.com/office/drawing/2014/main" id="{16CBA313-FC09-4DB3-9872-2018E65B6E16}"/>
                </a:ext>
              </a:extLst>
            </p:cNvPr>
            <p:cNvSpPr/>
            <p:nvPr/>
          </p:nvSpPr>
          <p:spPr bwMode="auto">
            <a:xfrm>
              <a:off x="5866678" y="5242120"/>
              <a:ext cx="458642" cy="125877"/>
            </a:xfrm>
            <a:custGeom>
              <a:avLst/>
              <a:gdLst>
                <a:gd name="T0" fmla="*/ 0 w 73"/>
                <a:gd name="T1" fmla="*/ 0 h 20"/>
                <a:gd name="T2" fmla="*/ 73 w 73"/>
                <a:gd name="T3" fmla="*/ 0 h 20"/>
                <a:gd name="T4" fmla="*/ 36 w 73"/>
                <a:gd name="T5" fmla="*/ 20 h 20"/>
                <a:gd name="T6" fmla="*/ 0 w 73"/>
                <a:gd name="T7" fmla="*/ 0 h 20"/>
              </a:gdLst>
              <a:ahLst/>
              <a:cxnLst>
                <a:cxn ang="0">
                  <a:pos x="T0" y="T1"/>
                </a:cxn>
                <a:cxn ang="0">
                  <a:pos x="T2" y="T3"/>
                </a:cxn>
                <a:cxn ang="0">
                  <a:pos x="T4" y="T5"/>
                </a:cxn>
                <a:cxn ang="0">
                  <a:pos x="T6" y="T7"/>
                </a:cxn>
              </a:cxnLst>
              <a:rect l="0" t="0" r="r" b="b"/>
              <a:pathLst>
                <a:path w="73" h="20">
                  <a:moveTo>
                    <a:pt x="0" y="0"/>
                  </a:moveTo>
                  <a:cubicBezTo>
                    <a:pt x="73" y="0"/>
                    <a:pt x="73" y="0"/>
                    <a:pt x="73" y="0"/>
                  </a:cubicBezTo>
                  <a:cubicBezTo>
                    <a:pt x="73" y="12"/>
                    <a:pt x="54" y="20"/>
                    <a:pt x="36" y="20"/>
                  </a:cubicBezTo>
                  <a:cubicBezTo>
                    <a:pt x="19" y="20"/>
                    <a:pt x="0" y="12"/>
                    <a:pt x="0" y="0"/>
                  </a:cubicBezTo>
                  <a:close/>
                </a:path>
              </a:pathLst>
            </a:custGeom>
            <a:solidFill>
              <a:schemeClr val="tx2"/>
            </a:solidFill>
            <a:ln>
              <a:noFill/>
            </a:ln>
          </p:spPr>
          <p:txBody>
            <a:bodyPr anchor="ctr"/>
            <a:lstStyle/>
            <a:p>
              <a:pPr algn="ctr"/>
              <a:endParaRPr/>
            </a:p>
          </p:txBody>
        </p:sp>
        <p:sp>
          <p:nvSpPr>
            <p:cNvPr id="356" name="îšḷïḋé">
              <a:extLst>
                <a:ext uri="{FF2B5EF4-FFF2-40B4-BE49-F238E27FC236}">
                  <a16:creationId xmlns:a16="http://schemas.microsoft.com/office/drawing/2014/main" id="{39623868-CD2E-4AF9-BA4C-9337BDD89976}"/>
                </a:ext>
              </a:extLst>
            </p:cNvPr>
            <p:cNvSpPr/>
            <p:nvPr/>
          </p:nvSpPr>
          <p:spPr bwMode="auto">
            <a:xfrm>
              <a:off x="5621156" y="3279169"/>
              <a:ext cx="974614" cy="1312364"/>
            </a:xfrm>
            <a:custGeom>
              <a:avLst/>
              <a:gdLst>
                <a:gd name="T0" fmla="*/ 29 w 155"/>
                <a:gd name="T1" fmla="*/ 200 h 209"/>
                <a:gd name="T2" fmla="*/ 37 w 155"/>
                <a:gd name="T3" fmla="*/ 176 h 209"/>
                <a:gd name="T4" fmla="*/ 44 w 155"/>
                <a:gd name="T5" fmla="*/ 139 h 209"/>
                <a:gd name="T6" fmla="*/ 48 w 155"/>
                <a:gd name="T7" fmla="*/ 52 h 209"/>
                <a:gd name="T8" fmla="*/ 21 w 155"/>
                <a:gd name="T9" fmla="*/ 2 h 209"/>
                <a:gd name="T10" fmla="*/ 1 w 155"/>
                <a:gd name="T11" fmla="*/ 14 h 209"/>
                <a:gd name="T12" fmla="*/ 14 w 155"/>
                <a:gd name="T13" fmla="*/ 46 h 209"/>
                <a:gd name="T14" fmla="*/ 43 w 155"/>
                <a:gd name="T15" fmla="*/ 55 h 209"/>
                <a:gd name="T16" fmla="*/ 79 w 155"/>
                <a:gd name="T17" fmla="*/ 49 h 209"/>
                <a:gd name="T18" fmla="*/ 98 w 155"/>
                <a:gd name="T19" fmla="*/ 26 h 209"/>
                <a:gd name="T20" fmla="*/ 83 w 155"/>
                <a:gd name="T21" fmla="*/ 2 h 209"/>
                <a:gd name="T22" fmla="*/ 64 w 155"/>
                <a:gd name="T23" fmla="*/ 14 h 209"/>
                <a:gd name="T24" fmla="*/ 79 w 155"/>
                <a:gd name="T25" fmla="*/ 52 h 209"/>
                <a:gd name="T26" fmla="*/ 143 w 155"/>
                <a:gd name="T27" fmla="*/ 42 h 209"/>
                <a:gd name="T28" fmla="*/ 143 w 155"/>
                <a:gd name="T29" fmla="*/ 7 h 209"/>
                <a:gd name="T30" fmla="*/ 120 w 155"/>
                <a:gd name="T31" fmla="*/ 26 h 209"/>
                <a:gd name="T32" fmla="*/ 114 w 155"/>
                <a:gd name="T33" fmla="*/ 61 h 209"/>
                <a:gd name="T34" fmla="*/ 112 w 155"/>
                <a:gd name="T35" fmla="*/ 97 h 209"/>
                <a:gd name="T36" fmla="*/ 117 w 155"/>
                <a:gd name="T37" fmla="*/ 170 h 209"/>
                <a:gd name="T38" fmla="*/ 120 w 155"/>
                <a:gd name="T39" fmla="*/ 207 h 209"/>
                <a:gd name="T40" fmla="*/ 128 w 155"/>
                <a:gd name="T41" fmla="*/ 205 h 209"/>
                <a:gd name="T42" fmla="*/ 120 w 155"/>
                <a:gd name="T43" fmla="*/ 85 h 209"/>
                <a:gd name="T44" fmla="*/ 128 w 155"/>
                <a:gd name="T45" fmla="*/ 25 h 209"/>
                <a:gd name="T46" fmla="*/ 137 w 155"/>
                <a:gd name="T47" fmla="*/ 11 h 209"/>
                <a:gd name="T48" fmla="*/ 138 w 155"/>
                <a:gd name="T49" fmla="*/ 11 h 209"/>
                <a:gd name="T50" fmla="*/ 139 w 155"/>
                <a:gd name="T51" fmla="*/ 13 h 209"/>
                <a:gd name="T52" fmla="*/ 140 w 155"/>
                <a:gd name="T53" fmla="*/ 21 h 209"/>
                <a:gd name="T54" fmla="*/ 123 w 155"/>
                <a:gd name="T55" fmla="*/ 56 h 209"/>
                <a:gd name="T56" fmla="*/ 91 w 155"/>
                <a:gd name="T57" fmla="*/ 53 h 209"/>
                <a:gd name="T58" fmla="*/ 72 w 155"/>
                <a:gd name="T59" fmla="*/ 22 h 209"/>
                <a:gd name="T60" fmla="*/ 82 w 155"/>
                <a:gd name="T61" fmla="*/ 7 h 209"/>
                <a:gd name="T62" fmla="*/ 89 w 155"/>
                <a:gd name="T63" fmla="*/ 33 h 209"/>
                <a:gd name="T64" fmla="*/ 67 w 155"/>
                <a:gd name="T65" fmla="*/ 50 h 209"/>
                <a:gd name="T66" fmla="*/ 16 w 155"/>
                <a:gd name="T67" fmla="*/ 35 h 209"/>
                <a:gd name="T68" fmla="*/ 10 w 155"/>
                <a:gd name="T69" fmla="*/ 8 h 209"/>
                <a:gd name="T70" fmla="*/ 20 w 155"/>
                <a:gd name="T71" fmla="*/ 8 h 209"/>
                <a:gd name="T72" fmla="*/ 28 w 155"/>
                <a:gd name="T73" fmla="*/ 14 h 209"/>
                <a:gd name="T74" fmla="*/ 41 w 155"/>
                <a:gd name="T75" fmla="*/ 68 h 209"/>
                <a:gd name="T76" fmla="*/ 35 w 155"/>
                <a:gd name="T77" fmla="*/ 147 h 209"/>
                <a:gd name="T78" fmla="*/ 21 w 155"/>
                <a:gd name="T79" fmla="*/ 201 h 209"/>
                <a:gd name="T80" fmla="*/ 29 w 155"/>
                <a:gd name="T81"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5" h="209">
                  <a:moveTo>
                    <a:pt x="29" y="200"/>
                  </a:moveTo>
                  <a:cubicBezTo>
                    <a:pt x="33" y="192"/>
                    <a:pt x="35" y="184"/>
                    <a:pt x="37" y="176"/>
                  </a:cubicBezTo>
                  <a:cubicBezTo>
                    <a:pt x="40" y="164"/>
                    <a:pt x="42" y="151"/>
                    <a:pt x="44" y="139"/>
                  </a:cubicBezTo>
                  <a:cubicBezTo>
                    <a:pt x="48" y="110"/>
                    <a:pt x="51" y="81"/>
                    <a:pt x="48" y="52"/>
                  </a:cubicBezTo>
                  <a:cubicBezTo>
                    <a:pt x="46" y="34"/>
                    <a:pt x="42" y="8"/>
                    <a:pt x="21" y="2"/>
                  </a:cubicBezTo>
                  <a:cubicBezTo>
                    <a:pt x="12" y="0"/>
                    <a:pt x="2" y="4"/>
                    <a:pt x="1" y="14"/>
                  </a:cubicBezTo>
                  <a:cubicBezTo>
                    <a:pt x="0" y="25"/>
                    <a:pt x="6" y="38"/>
                    <a:pt x="14" y="46"/>
                  </a:cubicBezTo>
                  <a:cubicBezTo>
                    <a:pt x="22" y="53"/>
                    <a:pt x="33" y="54"/>
                    <a:pt x="43" y="55"/>
                  </a:cubicBezTo>
                  <a:cubicBezTo>
                    <a:pt x="55" y="55"/>
                    <a:pt x="68" y="54"/>
                    <a:pt x="79" y="49"/>
                  </a:cubicBezTo>
                  <a:cubicBezTo>
                    <a:pt x="89" y="45"/>
                    <a:pt x="98" y="38"/>
                    <a:pt x="98" y="26"/>
                  </a:cubicBezTo>
                  <a:cubicBezTo>
                    <a:pt x="99" y="16"/>
                    <a:pt x="94" y="4"/>
                    <a:pt x="83" y="2"/>
                  </a:cubicBezTo>
                  <a:cubicBezTo>
                    <a:pt x="74" y="0"/>
                    <a:pt x="65" y="5"/>
                    <a:pt x="64" y="14"/>
                  </a:cubicBezTo>
                  <a:cubicBezTo>
                    <a:pt x="61" y="27"/>
                    <a:pt x="69" y="44"/>
                    <a:pt x="79" y="52"/>
                  </a:cubicBezTo>
                  <a:cubicBezTo>
                    <a:pt x="98" y="69"/>
                    <a:pt x="131" y="65"/>
                    <a:pt x="143" y="42"/>
                  </a:cubicBezTo>
                  <a:cubicBezTo>
                    <a:pt x="147" y="35"/>
                    <a:pt x="155" y="10"/>
                    <a:pt x="143" y="7"/>
                  </a:cubicBezTo>
                  <a:cubicBezTo>
                    <a:pt x="132" y="4"/>
                    <a:pt x="124" y="18"/>
                    <a:pt x="120" y="26"/>
                  </a:cubicBezTo>
                  <a:cubicBezTo>
                    <a:pt x="116" y="37"/>
                    <a:pt x="115" y="49"/>
                    <a:pt x="114" y="61"/>
                  </a:cubicBezTo>
                  <a:cubicBezTo>
                    <a:pt x="112" y="73"/>
                    <a:pt x="112" y="85"/>
                    <a:pt x="112" y="97"/>
                  </a:cubicBezTo>
                  <a:cubicBezTo>
                    <a:pt x="112" y="121"/>
                    <a:pt x="115" y="146"/>
                    <a:pt x="117" y="170"/>
                  </a:cubicBezTo>
                  <a:cubicBezTo>
                    <a:pt x="118" y="183"/>
                    <a:pt x="119" y="195"/>
                    <a:pt x="120" y="207"/>
                  </a:cubicBezTo>
                  <a:cubicBezTo>
                    <a:pt x="120" y="209"/>
                    <a:pt x="128" y="208"/>
                    <a:pt x="128" y="205"/>
                  </a:cubicBezTo>
                  <a:cubicBezTo>
                    <a:pt x="126" y="165"/>
                    <a:pt x="120" y="125"/>
                    <a:pt x="120" y="85"/>
                  </a:cubicBezTo>
                  <a:cubicBezTo>
                    <a:pt x="121" y="65"/>
                    <a:pt x="121" y="43"/>
                    <a:pt x="128" y="25"/>
                  </a:cubicBezTo>
                  <a:cubicBezTo>
                    <a:pt x="130" y="20"/>
                    <a:pt x="133" y="13"/>
                    <a:pt x="137" y="11"/>
                  </a:cubicBezTo>
                  <a:cubicBezTo>
                    <a:pt x="139" y="10"/>
                    <a:pt x="137" y="10"/>
                    <a:pt x="138" y="11"/>
                  </a:cubicBezTo>
                  <a:cubicBezTo>
                    <a:pt x="138" y="12"/>
                    <a:pt x="139" y="12"/>
                    <a:pt x="139" y="13"/>
                  </a:cubicBezTo>
                  <a:cubicBezTo>
                    <a:pt x="141" y="16"/>
                    <a:pt x="141" y="19"/>
                    <a:pt x="140" y="21"/>
                  </a:cubicBezTo>
                  <a:cubicBezTo>
                    <a:pt x="140" y="34"/>
                    <a:pt x="135" y="49"/>
                    <a:pt x="123" y="56"/>
                  </a:cubicBezTo>
                  <a:cubicBezTo>
                    <a:pt x="113" y="61"/>
                    <a:pt x="100" y="59"/>
                    <a:pt x="91" y="53"/>
                  </a:cubicBezTo>
                  <a:cubicBezTo>
                    <a:pt x="80" y="46"/>
                    <a:pt x="74" y="34"/>
                    <a:pt x="72" y="22"/>
                  </a:cubicBezTo>
                  <a:cubicBezTo>
                    <a:pt x="71" y="15"/>
                    <a:pt x="72" y="1"/>
                    <a:pt x="82" y="7"/>
                  </a:cubicBezTo>
                  <a:cubicBezTo>
                    <a:pt x="90" y="12"/>
                    <a:pt x="92" y="24"/>
                    <a:pt x="89" y="33"/>
                  </a:cubicBezTo>
                  <a:cubicBezTo>
                    <a:pt x="86" y="43"/>
                    <a:pt x="77" y="47"/>
                    <a:pt x="67" y="50"/>
                  </a:cubicBezTo>
                  <a:cubicBezTo>
                    <a:pt x="49" y="53"/>
                    <a:pt x="26" y="52"/>
                    <a:pt x="16" y="35"/>
                  </a:cubicBezTo>
                  <a:cubicBezTo>
                    <a:pt x="11" y="28"/>
                    <a:pt x="7" y="16"/>
                    <a:pt x="10" y="8"/>
                  </a:cubicBezTo>
                  <a:cubicBezTo>
                    <a:pt x="12" y="3"/>
                    <a:pt x="15" y="6"/>
                    <a:pt x="20" y="8"/>
                  </a:cubicBezTo>
                  <a:cubicBezTo>
                    <a:pt x="23" y="9"/>
                    <a:pt x="25" y="11"/>
                    <a:pt x="28" y="14"/>
                  </a:cubicBezTo>
                  <a:cubicBezTo>
                    <a:pt x="39" y="28"/>
                    <a:pt x="40" y="51"/>
                    <a:pt x="41" y="68"/>
                  </a:cubicBezTo>
                  <a:cubicBezTo>
                    <a:pt x="42" y="94"/>
                    <a:pt x="39" y="121"/>
                    <a:pt x="35" y="147"/>
                  </a:cubicBezTo>
                  <a:cubicBezTo>
                    <a:pt x="32" y="165"/>
                    <a:pt x="29" y="185"/>
                    <a:pt x="21" y="201"/>
                  </a:cubicBezTo>
                  <a:cubicBezTo>
                    <a:pt x="20" y="203"/>
                    <a:pt x="28" y="202"/>
                    <a:pt x="29" y="200"/>
                  </a:cubicBezTo>
                  <a:close/>
                </a:path>
              </a:pathLst>
            </a:custGeom>
            <a:solidFill>
              <a:schemeClr val="tx2">
                <a:alpha val="33000"/>
              </a:schemeClr>
            </a:solidFill>
            <a:ln>
              <a:noFill/>
            </a:ln>
          </p:spPr>
          <p:txBody>
            <a:bodyPr anchor="ctr"/>
            <a:lstStyle/>
            <a:p>
              <a:pPr algn="ctr"/>
              <a:endParaRPr/>
            </a:p>
          </p:txBody>
        </p:sp>
        <p:grpSp>
          <p:nvGrpSpPr>
            <p:cNvPr id="357" name="ïṣḷîḑè">
              <a:extLst>
                <a:ext uri="{FF2B5EF4-FFF2-40B4-BE49-F238E27FC236}">
                  <a16:creationId xmlns:a16="http://schemas.microsoft.com/office/drawing/2014/main" id="{A9BC5434-DB47-409E-909B-86CA5C380155}"/>
                </a:ext>
              </a:extLst>
            </p:cNvPr>
            <p:cNvGrpSpPr/>
            <p:nvPr/>
          </p:nvGrpSpPr>
          <p:grpSpPr>
            <a:xfrm>
              <a:off x="4559306" y="1490001"/>
              <a:ext cx="3073404" cy="2316889"/>
              <a:chOff x="3525061" y="1210682"/>
              <a:chExt cx="2097079" cy="1580888"/>
            </a:xfrm>
            <a:solidFill>
              <a:schemeClr val="accent6"/>
            </a:solidFill>
          </p:grpSpPr>
          <p:sp>
            <p:nvSpPr>
              <p:cNvPr id="359" name="iṥ1íḑe">
                <a:extLst>
                  <a:ext uri="{FF2B5EF4-FFF2-40B4-BE49-F238E27FC236}">
                    <a16:creationId xmlns:a16="http://schemas.microsoft.com/office/drawing/2014/main" id="{4256DF29-C5DA-42A7-82BA-1A4A86D9F482}"/>
                  </a:ext>
                </a:extLst>
              </p:cNvPr>
              <p:cNvSpPr/>
              <p:nvPr/>
            </p:nvSpPr>
            <p:spPr bwMode="auto">
              <a:xfrm>
                <a:off x="5347462" y="2255820"/>
                <a:ext cx="274678" cy="47622"/>
              </a:xfrm>
              <a:custGeom>
                <a:avLst/>
                <a:gdLst>
                  <a:gd name="T0" fmla="*/ 58 w 64"/>
                  <a:gd name="T1" fmla="*/ 0 h 11"/>
                  <a:gd name="T2" fmla="*/ 6 w 64"/>
                  <a:gd name="T3" fmla="*/ 0 h 11"/>
                  <a:gd name="T4" fmla="*/ 0 w 64"/>
                  <a:gd name="T5" fmla="*/ 5 h 11"/>
                  <a:gd name="T6" fmla="*/ 6 w 64"/>
                  <a:gd name="T7" fmla="*/ 11 h 11"/>
                  <a:gd name="T8" fmla="*/ 58 w 64"/>
                  <a:gd name="T9" fmla="*/ 11 h 11"/>
                  <a:gd name="T10" fmla="*/ 64 w 64"/>
                  <a:gd name="T11" fmla="*/ 5 h 11"/>
                  <a:gd name="T12" fmla="*/ 58 w 64"/>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64" h="11">
                    <a:moveTo>
                      <a:pt x="58" y="0"/>
                    </a:moveTo>
                    <a:cubicBezTo>
                      <a:pt x="6" y="0"/>
                      <a:pt x="6" y="0"/>
                      <a:pt x="6" y="0"/>
                    </a:cubicBezTo>
                    <a:cubicBezTo>
                      <a:pt x="3" y="0"/>
                      <a:pt x="0" y="2"/>
                      <a:pt x="0" y="5"/>
                    </a:cubicBezTo>
                    <a:cubicBezTo>
                      <a:pt x="0" y="9"/>
                      <a:pt x="3" y="11"/>
                      <a:pt x="6" y="11"/>
                    </a:cubicBezTo>
                    <a:cubicBezTo>
                      <a:pt x="58" y="11"/>
                      <a:pt x="58" y="11"/>
                      <a:pt x="58" y="11"/>
                    </a:cubicBezTo>
                    <a:cubicBezTo>
                      <a:pt x="62" y="11"/>
                      <a:pt x="64" y="9"/>
                      <a:pt x="64" y="5"/>
                    </a:cubicBezTo>
                    <a:cubicBezTo>
                      <a:pt x="64" y="2"/>
                      <a:pt x="62" y="0"/>
                      <a:pt x="58" y="0"/>
                    </a:cubicBezTo>
                    <a:close/>
                  </a:path>
                </a:pathLst>
              </a:custGeom>
              <a:solidFill>
                <a:srgbClr val="FFC000"/>
              </a:solidFill>
              <a:ln>
                <a:noFill/>
              </a:ln>
            </p:spPr>
            <p:txBody>
              <a:bodyPr anchor="ctr"/>
              <a:lstStyle/>
              <a:p>
                <a:pPr algn="ctr"/>
                <a:endParaRPr/>
              </a:p>
            </p:txBody>
          </p:sp>
          <p:sp>
            <p:nvSpPr>
              <p:cNvPr id="360" name="iśḷîdè">
                <a:extLst>
                  <a:ext uri="{FF2B5EF4-FFF2-40B4-BE49-F238E27FC236}">
                    <a16:creationId xmlns:a16="http://schemas.microsoft.com/office/drawing/2014/main" id="{7F2AC670-CE5C-4FEF-AC02-AED3A69BA0BC}"/>
                  </a:ext>
                </a:extLst>
              </p:cNvPr>
              <p:cNvSpPr/>
              <p:nvPr/>
            </p:nvSpPr>
            <p:spPr bwMode="auto">
              <a:xfrm>
                <a:off x="5275178" y="1763440"/>
                <a:ext cx="248316" cy="167528"/>
              </a:xfrm>
              <a:custGeom>
                <a:avLst/>
                <a:gdLst>
                  <a:gd name="T0" fmla="*/ 6 w 58"/>
                  <a:gd name="T1" fmla="*/ 39 h 39"/>
                  <a:gd name="T2" fmla="*/ 9 w 58"/>
                  <a:gd name="T3" fmla="*/ 38 h 39"/>
                  <a:gd name="T4" fmla="*/ 54 w 58"/>
                  <a:gd name="T5" fmla="*/ 12 h 39"/>
                  <a:gd name="T6" fmla="*/ 56 w 58"/>
                  <a:gd name="T7" fmla="*/ 4 h 39"/>
                  <a:gd name="T8" fmla="*/ 48 w 58"/>
                  <a:gd name="T9" fmla="*/ 2 h 39"/>
                  <a:gd name="T10" fmla="*/ 3 w 58"/>
                  <a:gd name="T11" fmla="*/ 28 h 39"/>
                  <a:gd name="T12" fmla="*/ 1 w 58"/>
                  <a:gd name="T13" fmla="*/ 36 h 39"/>
                  <a:gd name="T14" fmla="*/ 6 w 58"/>
                  <a:gd name="T15" fmla="*/ 39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9">
                    <a:moveTo>
                      <a:pt x="6" y="39"/>
                    </a:moveTo>
                    <a:cubicBezTo>
                      <a:pt x="7" y="39"/>
                      <a:pt x="8" y="38"/>
                      <a:pt x="9" y="38"/>
                    </a:cubicBezTo>
                    <a:cubicBezTo>
                      <a:pt x="54" y="12"/>
                      <a:pt x="54" y="12"/>
                      <a:pt x="54" y="12"/>
                    </a:cubicBezTo>
                    <a:cubicBezTo>
                      <a:pt x="57" y="10"/>
                      <a:pt x="58" y="6"/>
                      <a:pt x="56" y="4"/>
                    </a:cubicBezTo>
                    <a:cubicBezTo>
                      <a:pt x="55" y="1"/>
                      <a:pt x="51" y="0"/>
                      <a:pt x="48" y="2"/>
                    </a:cubicBezTo>
                    <a:cubicBezTo>
                      <a:pt x="3" y="28"/>
                      <a:pt x="3" y="28"/>
                      <a:pt x="3" y="28"/>
                    </a:cubicBezTo>
                    <a:cubicBezTo>
                      <a:pt x="0" y="30"/>
                      <a:pt x="0" y="33"/>
                      <a:pt x="1" y="36"/>
                    </a:cubicBezTo>
                    <a:cubicBezTo>
                      <a:pt x="2" y="38"/>
                      <a:pt x="4" y="39"/>
                      <a:pt x="6" y="39"/>
                    </a:cubicBezTo>
                    <a:close/>
                  </a:path>
                </a:pathLst>
              </a:custGeom>
              <a:solidFill>
                <a:srgbClr val="FFC000"/>
              </a:solidFill>
              <a:ln>
                <a:noFill/>
              </a:ln>
            </p:spPr>
            <p:txBody>
              <a:bodyPr anchor="ctr"/>
              <a:lstStyle/>
              <a:p>
                <a:pPr algn="ctr"/>
                <a:endParaRPr/>
              </a:p>
            </p:txBody>
          </p:sp>
          <p:sp>
            <p:nvSpPr>
              <p:cNvPr id="361" name="ïsḻïḓé">
                <a:extLst>
                  <a:ext uri="{FF2B5EF4-FFF2-40B4-BE49-F238E27FC236}">
                    <a16:creationId xmlns:a16="http://schemas.microsoft.com/office/drawing/2014/main" id="{4F879178-73CE-4B37-AB26-4D1093C71779}"/>
                  </a:ext>
                </a:extLst>
              </p:cNvPr>
              <p:cNvSpPr/>
              <p:nvPr/>
            </p:nvSpPr>
            <p:spPr bwMode="auto">
              <a:xfrm>
                <a:off x="4979240" y="1351848"/>
                <a:ext cx="166678" cy="249166"/>
              </a:xfrm>
              <a:custGeom>
                <a:avLst/>
                <a:gdLst>
                  <a:gd name="T0" fmla="*/ 3 w 39"/>
                  <a:gd name="T1" fmla="*/ 57 h 58"/>
                  <a:gd name="T2" fmla="*/ 6 w 39"/>
                  <a:gd name="T3" fmla="*/ 58 h 58"/>
                  <a:gd name="T4" fmla="*/ 11 w 39"/>
                  <a:gd name="T5" fmla="*/ 55 h 58"/>
                  <a:gd name="T6" fmla="*/ 37 w 39"/>
                  <a:gd name="T7" fmla="*/ 9 h 58"/>
                  <a:gd name="T8" fmla="*/ 35 w 39"/>
                  <a:gd name="T9" fmla="*/ 1 h 58"/>
                  <a:gd name="T10" fmla="*/ 27 w 39"/>
                  <a:gd name="T11" fmla="*/ 3 h 58"/>
                  <a:gd name="T12" fmla="*/ 1 w 39"/>
                  <a:gd name="T13" fmla="*/ 49 h 58"/>
                  <a:gd name="T14" fmla="*/ 3 w 39"/>
                  <a:gd name="T15" fmla="*/ 57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58">
                    <a:moveTo>
                      <a:pt x="3" y="57"/>
                    </a:moveTo>
                    <a:cubicBezTo>
                      <a:pt x="4" y="57"/>
                      <a:pt x="5" y="58"/>
                      <a:pt x="6" y="58"/>
                    </a:cubicBezTo>
                    <a:cubicBezTo>
                      <a:pt x="8" y="58"/>
                      <a:pt x="10" y="56"/>
                      <a:pt x="11" y="55"/>
                    </a:cubicBezTo>
                    <a:cubicBezTo>
                      <a:pt x="37" y="9"/>
                      <a:pt x="37" y="9"/>
                      <a:pt x="37" y="9"/>
                    </a:cubicBezTo>
                    <a:cubicBezTo>
                      <a:pt x="39" y="6"/>
                      <a:pt x="38" y="3"/>
                      <a:pt x="35" y="1"/>
                    </a:cubicBezTo>
                    <a:cubicBezTo>
                      <a:pt x="32" y="0"/>
                      <a:pt x="29" y="1"/>
                      <a:pt x="27" y="3"/>
                    </a:cubicBezTo>
                    <a:cubicBezTo>
                      <a:pt x="1" y="49"/>
                      <a:pt x="1" y="49"/>
                      <a:pt x="1" y="49"/>
                    </a:cubicBezTo>
                    <a:cubicBezTo>
                      <a:pt x="0" y="52"/>
                      <a:pt x="1" y="55"/>
                      <a:pt x="3" y="57"/>
                    </a:cubicBezTo>
                    <a:close/>
                  </a:path>
                </a:pathLst>
              </a:custGeom>
              <a:solidFill>
                <a:srgbClr val="FFC000"/>
              </a:solidFill>
              <a:ln>
                <a:noFill/>
              </a:ln>
            </p:spPr>
            <p:txBody>
              <a:bodyPr anchor="ctr"/>
              <a:lstStyle/>
              <a:p>
                <a:pPr algn="ctr"/>
                <a:endParaRPr/>
              </a:p>
            </p:txBody>
          </p:sp>
          <p:sp>
            <p:nvSpPr>
              <p:cNvPr id="362" name="ïşḷídê">
                <a:extLst>
                  <a:ext uri="{FF2B5EF4-FFF2-40B4-BE49-F238E27FC236}">
                    <a16:creationId xmlns:a16="http://schemas.microsoft.com/office/drawing/2014/main" id="{53AD83F3-B0EA-41CD-BFD6-3AEC171B7A22}"/>
                  </a:ext>
                </a:extLst>
              </p:cNvPr>
              <p:cNvSpPr/>
              <p:nvPr/>
            </p:nvSpPr>
            <p:spPr bwMode="auto">
              <a:xfrm>
                <a:off x="3576935" y="1742180"/>
                <a:ext cx="252568" cy="166678"/>
              </a:xfrm>
              <a:custGeom>
                <a:avLst/>
                <a:gdLst>
                  <a:gd name="T0" fmla="*/ 55 w 59"/>
                  <a:gd name="T1" fmla="*/ 28 h 39"/>
                  <a:gd name="T2" fmla="*/ 10 w 59"/>
                  <a:gd name="T3" fmla="*/ 1 h 39"/>
                  <a:gd name="T4" fmla="*/ 2 w 59"/>
                  <a:gd name="T5" fmla="*/ 4 h 39"/>
                  <a:gd name="T6" fmla="*/ 4 w 59"/>
                  <a:gd name="T7" fmla="*/ 11 h 39"/>
                  <a:gd name="T8" fmla="*/ 49 w 59"/>
                  <a:gd name="T9" fmla="*/ 38 h 39"/>
                  <a:gd name="T10" fmla="*/ 52 w 59"/>
                  <a:gd name="T11" fmla="*/ 39 h 39"/>
                  <a:gd name="T12" fmla="*/ 57 w 59"/>
                  <a:gd name="T13" fmla="*/ 36 h 39"/>
                  <a:gd name="T14" fmla="*/ 55 w 59"/>
                  <a:gd name="T15" fmla="*/ 2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9">
                    <a:moveTo>
                      <a:pt x="55" y="28"/>
                    </a:moveTo>
                    <a:cubicBezTo>
                      <a:pt x="10" y="1"/>
                      <a:pt x="10" y="1"/>
                      <a:pt x="10" y="1"/>
                    </a:cubicBezTo>
                    <a:cubicBezTo>
                      <a:pt x="7" y="0"/>
                      <a:pt x="4" y="1"/>
                      <a:pt x="2" y="4"/>
                    </a:cubicBezTo>
                    <a:cubicBezTo>
                      <a:pt x="0" y="6"/>
                      <a:pt x="1" y="10"/>
                      <a:pt x="4" y="11"/>
                    </a:cubicBezTo>
                    <a:cubicBezTo>
                      <a:pt x="49" y="38"/>
                      <a:pt x="49" y="38"/>
                      <a:pt x="49" y="38"/>
                    </a:cubicBezTo>
                    <a:cubicBezTo>
                      <a:pt x="50" y="38"/>
                      <a:pt x="51" y="39"/>
                      <a:pt x="52" y="39"/>
                    </a:cubicBezTo>
                    <a:cubicBezTo>
                      <a:pt x="54" y="39"/>
                      <a:pt x="56" y="38"/>
                      <a:pt x="57" y="36"/>
                    </a:cubicBezTo>
                    <a:cubicBezTo>
                      <a:pt x="59" y="33"/>
                      <a:pt x="58" y="29"/>
                      <a:pt x="55" y="28"/>
                    </a:cubicBezTo>
                    <a:close/>
                  </a:path>
                </a:pathLst>
              </a:custGeom>
              <a:solidFill>
                <a:srgbClr val="FFC000"/>
              </a:solidFill>
              <a:ln>
                <a:noFill/>
              </a:ln>
            </p:spPr>
            <p:txBody>
              <a:bodyPr anchor="ctr"/>
              <a:lstStyle/>
              <a:p>
                <a:pPr algn="ctr"/>
                <a:endParaRPr/>
              </a:p>
            </p:txBody>
          </p:sp>
          <p:sp>
            <p:nvSpPr>
              <p:cNvPr id="363" name="iṩḷiḋé">
                <a:extLst>
                  <a:ext uri="{FF2B5EF4-FFF2-40B4-BE49-F238E27FC236}">
                    <a16:creationId xmlns:a16="http://schemas.microsoft.com/office/drawing/2014/main" id="{3C88840D-8F92-4873-9C1D-AD8F7E835037}"/>
                  </a:ext>
                </a:extLst>
              </p:cNvPr>
              <p:cNvSpPr/>
              <p:nvPr/>
            </p:nvSpPr>
            <p:spPr bwMode="auto">
              <a:xfrm>
                <a:off x="5275178" y="2603632"/>
                <a:ext cx="248316" cy="166678"/>
              </a:xfrm>
              <a:custGeom>
                <a:avLst/>
                <a:gdLst>
                  <a:gd name="T0" fmla="*/ 54 w 58"/>
                  <a:gd name="T1" fmla="*/ 28 h 39"/>
                  <a:gd name="T2" fmla="*/ 9 w 58"/>
                  <a:gd name="T3" fmla="*/ 2 h 39"/>
                  <a:gd name="T4" fmla="*/ 1 w 58"/>
                  <a:gd name="T5" fmla="*/ 4 h 39"/>
                  <a:gd name="T6" fmla="*/ 3 w 58"/>
                  <a:gd name="T7" fmla="*/ 12 h 39"/>
                  <a:gd name="T8" fmla="*/ 48 w 58"/>
                  <a:gd name="T9" fmla="*/ 38 h 39"/>
                  <a:gd name="T10" fmla="*/ 51 w 58"/>
                  <a:gd name="T11" fmla="*/ 39 h 39"/>
                  <a:gd name="T12" fmla="*/ 56 w 58"/>
                  <a:gd name="T13" fmla="*/ 36 h 39"/>
                  <a:gd name="T14" fmla="*/ 54 w 58"/>
                  <a:gd name="T15" fmla="*/ 28 h 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9">
                    <a:moveTo>
                      <a:pt x="54" y="28"/>
                    </a:moveTo>
                    <a:cubicBezTo>
                      <a:pt x="9" y="2"/>
                      <a:pt x="9" y="2"/>
                      <a:pt x="9" y="2"/>
                    </a:cubicBezTo>
                    <a:cubicBezTo>
                      <a:pt x="6" y="0"/>
                      <a:pt x="3" y="1"/>
                      <a:pt x="1" y="4"/>
                    </a:cubicBezTo>
                    <a:cubicBezTo>
                      <a:pt x="0" y="7"/>
                      <a:pt x="0" y="10"/>
                      <a:pt x="3" y="12"/>
                    </a:cubicBezTo>
                    <a:cubicBezTo>
                      <a:pt x="48" y="38"/>
                      <a:pt x="48" y="38"/>
                      <a:pt x="48" y="38"/>
                    </a:cubicBezTo>
                    <a:cubicBezTo>
                      <a:pt x="49" y="39"/>
                      <a:pt x="50" y="39"/>
                      <a:pt x="51" y="39"/>
                    </a:cubicBezTo>
                    <a:cubicBezTo>
                      <a:pt x="53" y="39"/>
                      <a:pt x="55" y="38"/>
                      <a:pt x="56" y="36"/>
                    </a:cubicBezTo>
                    <a:cubicBezTo>
                      <a:pt x="58" y="33"/>
                      <a:pt x="57" y="30"/>
                      <a:pt x="54" y="28"/>
                    </a:cubicBezTo>
                    <a:close/>
                  </a:path>
                </a:pathLst>
              </a:custGeom>
              <a:solidFill>
                <a:srgbClr val="FFC000"/>
              </a:solidFill>
              <a:ln>
                <a:noFill/>
              </a:ln>
            </p:spPr>
            <p:txBody>
              <a:bodyPr anchor="ctr"/>
              <a:lstStyle/>
              <a:p>
                <a:pPr algn="ctr"/>
                <a:endParaRPr/>
              </a:p>
            </p:txBody>
          </p:sp>
          <p:sp>
            <p:nvSpPr>
              <p:cNvPr id="364" name="îSļíḍè">
                <a:extLst>
                  <a:ext uri="{FF2B5EF4-FFF2-40B4-BE49-F238E27FC236}">
                    <a16:creationId xmlns:a16="http://schemas.microsoft.com/office/drawing/2014/main" id="{8E4AD41A-B217-4B11-A5CA-4B6EF04123A3}"/>
                  </a:ext>
                </a:extLst>
              </p:cNvPr>
              <p:cNvSpPr/>
              <p:nvPr/>
            </p:nvSpPr>
            <p:spPr bwMode="auto">
              <a:xfrm>
                <a:off x="3576935" y="2629144"/>
                <a:ext cx="252568" cy="162426"/>
              </a:xfrm>
              <a:custGeom>
                <a:avLst/>
                <a:gdLst>
                  <a:gd name="T0" fmla="*/ 49 w 59"/>
                  <a:gd name="T1" fmla="*/ 1 h 38"/>
                  <a:gd name="T2" fmla="*/ 4 w 59"/>
                  <a:gd name="T3" fmla="*/ 27 h 38"/>
                  <a:gd name="T4" fmla="*/ 2 w 59"/>
                  <a:gd name="T5" fmla="*/ 35 h 38"/>
                  <a:gd name="T6" fmla="*/ 7 w 59"/>
                  <a:gd name="T7" fmla="*/ 38 h 38"/>
                  <a:gd name="T8" fmla="*/ 10 w 59"/>
                  <a:gd name="T9" fmla="*/ 37 h 38"/>
                  <a:gd name="T10" fmla="*/ 55 w 59"/>
                  <a:gd name="T11" fmla="*/ 11 h 38"/>
                  <a:gd name="T12" fmla="*/ 57 w 59"/>
                  <a:gd name="T13" fmla="*/ 3 h 38"/>
                  <a:gd name="T14" fmla="*/ 49 w 59"/>
                  <a:gd name="T15" fmla="*/ 1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9" h="38">
                    <a:moveTo>
                      <a:pt x="49" y="1"/>
                    </a:moveTo>
                    <a:cubicBezTo>
                      <a:pt x="4" y="27"/>
                      <a:pt x="4" y="27"/>
                      <a:pt x="4" y="27"/>
                    </a:cubicBezTo>
                    <a:cubicBezTo>
                      <a:pt x="1" y="29"/>
                      <a:pt x="0" y="33"/>
                      <a:pt x="2" y="35"/>
                    </a:cubicBezTo>
                    <a:cubicBezTo>
                      <a:pt x="3" y="37"/>
                      <a:pt x="5" y="38"/>
                      <a:pt x="7" y="38"/>
                    </a:cubicBezTo>
                    <a:cubicBezTo>
                      <a:pt x="8" y="38"/>
                      <a:pt x="9" y="38"/>
                      <a:pt x="10" y="37"/>
                    </a:cubicBezTo>
                    <a:cubicBezTo>
                      <a:pt x="55" y="11"/>
                      <a:pt x="55" y="11"/>
                      <a:pt x="55" y="11"/>
                    </a:cubicBezTo>
                    <a:cubicBezTo>
                      <a:pt x="58" y="9"/>
                      <a:pt x="59" y="6"/>
                      <a:pt x="57" y="3"/>
                    </a:cubicBezTo>
                    <a:cubicBezTo>
                      <a:pt x="56" y="0"/>
                      <a:pt x="52" y="0"/>
                      <a:pt x="49" y="1"/>
                    </a:cubicBezTo>
                    <a:close/>
                  </a:path>
                </a:pathLst>
              </a:custGeom>
              <a:solidFill>
                <a:srgbClr val="FFC000"/>
              </a:solidFill>
              <a:ln>
                <a:noFill/>
              </a:ln>
            </p:spPr>
            <p:txBody>
              <a:bodyPr anchor="ctr"/>
              <a:lstStyle/>
              <a:p>
                <a:pPr algn="ctr"/>
                <a:endParaRPr/>
              </a:p>
            </p:txBody>
          </p:sp>
          <p:sp>
            <p:nvSpPr>
              <p:cNvPr id="365" name="íṡľiḑe">
                <a:extLst>
                  <a:ext uri="{FF2B5EF4-FFF2-40B4-BE49-F238E27FC236}">
                    <a16:creationId xmlns:a16="http://schemas.microsoft.com/office/drawing/2014/main" id="{C4FFD3CD-31E0-408A-9CE2-7E2E9C56D1C5}"/>
                  </a:ext>
                </a:extLst>
              </p:cNvPr>
              <p:cNvSpPr/>
              <p:nvPr/>
            </p:nvSpPr>
            <p:spPr bwMode="auto">
              <a:xfrm>
                <a:off x="3953661" y="1330588"/>
                <a:ext cx="171780" cy="244064"/>
              </a:xfrm>
              <a:custGeom>
                <a:avLst/>
                <a:gdLst>
                  <a:gd name="T0" fmla="*/ 28 w 40"/>
                  <a:gd name="T1" fmla="*/ 55 h 57"/>
                  <a:gd name="T2" fmla="*/ 33 w 40"/>
                  <a:gd name="T3" fmla="*/ 57 h 57"/>
                  <a:gd name="T4" fmla="*/ 36 w 40"/>
                  <a:gd name="T5" fmla="*/ 57 h 57"/>
                  <a:gd name="T6" fmla="*/ 38 w 40"/>
                  <a:gd name="T7" fmla="*/ 49 h 57"/>
                  <a:gd name="T8" fmla="*/ 12 w 40"/>
                  <a:gd name="T9" fmla="*/ 3 h 57"/>
                  <a:gd name="T10" fmla="*/ 4 w 40"/>
                  <a:gd name="T11" fmla="*/ 1 h 57"/>
                  <a:gd name="T12" fmla="*/ 2 w 40"/>
                  <a:gd name="T13" fmla="*/ 9 h 57"/>
                  <a:gd name="T14" fmla="*/ 28 w 40"/>
                  <a:gd name="T15" fmla="*/ 55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57">
                    <a:moveTo>
                      <a:pt x="28" y="55"/>
                    </a:moveTo>
                    <a:cubicBezTo>
                      <a:pt x="29" y="56"/>
                      <a:pt x="31" y="57"/>
                      <a:pt x="33" y="57"/>
                    </a:cubicBezTo>
                    <a:cubicBezTo>
                      <a:pt x="34" y="57"/>
                      <a:pt x="35" y="57"/>
                      <a:pt x="36" y="57"/>
                    </a:cubicBezTo>
                    <a:cubicBezTo>
                      <a:pt x="39" y="55"/>
                      <a:pt x="40" y="52"/>
                      <a:pt x="38" y="49"/>
                    </a:cubicBezTo>
                    <a:cubicBezTo>
                      <a:pt x="12" y="3"/>
                      <a:pt x="12" y="3"/>
                      <a:pt x="12" y="3"/>
                    </a:cubicBezTo>
                    <a:cubicBezTo>
                      <a:pt x="10" y="1"/>
                      <a:pt x="7" y="0"/>
                      <a:pt x="4" y="1"/>
                    </a:cubicBezTo>
                    <a:cubicBezTo>
                      <a:pt x="1" y="3"/>
                      <a:pt x="0" y="6"/>
                      <a:pt x="2" y="9"/>
                    </a:cubicBezTo>
                    <a:lnTo>
                      <a:pt x="28" y="55"/>
                    </a:lnTo>
                    <a:close/>
                  </a:path>
                </a:pathLst>
              </a:custGeom>
              <a:solidFill>
                <a:srgbClr val="FFC000"/>
              </a:solidFill>
              <a:ln>
                <a:noFill/>
              </a:ln>
            </p:spPr>
            <p:txBody>
              <a:bodyPr anchor="ctr"/>
              <a:lstStyle/>
              <a:p>
                <a:pPr algn="ctr"/>
                <a:endParaRPr/>
              </a:p>
            </p:txBody>
          </p:sp>
          <p:sp>
            <p:nvSpPr>
              <p:cNvPr id="366" name="íṧ1iḍê">
                <a:extLst>
                  <a:ext uri="{FF2B5EF4-FFF2-40B4-BE49-F238E27FC236}">
                    <a16:creationId xmlns:a16="http://schemas.microsoft.com/office/drawing/2014/main" id="{24010E24-C821-4B1F-A102-1B1B7BB69668}"/>
                  </a:ext>
                </a:extLst>
              </p:cNvPr>
              <p:cNvSpPr/>
              <p:nvPr/>
            </p:nvSpPr>
            <p:spPr bwMode="auto">
              <a:xfrm>
                <a:off x="4537033" y="1210682"/>
                <a:ext cx="47622" cy="274678"/>
              </a:xfrm>
              <a:custGeom>
                <a:avLst/>
                <a:gdLst>
                  <a:gd name="T0" fmla="*/ 5 w 11"/>
                  <a:gd name="T1" fmla="*/ 64 h 64"/>
                  <a:gd name="T2" fmla="*/ 11 w 11"/>
                  <a:gd name="T3" fmla="*/ 58 h 64"/>
                  <a:gd name="T4" fmla="*/ 11 w 11"/>
                  <a:gd name="T5" fmla="*/ 6 h 64"/>
                  <a:gd name="T6" fmla="*/ 5 w 11"/>
                  <a:gd name="T7" fmla="*/ 0 h 64"/>
                  <a:gd name="T8" fmla="*/ 0 w 11"/>
                  <a:gd name="T9" fmla="*/ 6 h 64"/>
                  <a:gd name="T10" fmla="*/ 0 w 11"/>
                  <a:gd name="T11" fmla="*/ 58 h 64"/>
                  <a:gd name="T12" fmla="*/ 5 w 11"/>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1" h="64">
                    <a:moveTo>
                      <a:pt x="5" y="64"/>
                    </a:moveTo>
                    <a:cubicBezTo>
                      <a:pt x="8" y="64"/>
                      <a:pt x="11" y="61"/>
                      <a:pt x="11" y="58"/>
                    </a:cubicBezTo>
                    <a:cubicBezTo>
                      <a:pt x="11" y="6"/>
                      <a:pt x="11" y="6"/>
                      <a:pt x="11" y="6"/>
                    </a:cubicBezTo>
                    <a:cubicBezTo>
                      <a:pt x="11" y="3"/>
                      <a:pt x="8" y="0"/>
                      <a:pt x="5" y="0"/>
                    </a:cubicBezTo>
                    <a:cubicBezTo>
                      <a:pt x="2" y="0"/>
                      <a:pt x="0" y="3"/>
                      <a:pt x="0" y="6"/>
                    </a:cubicBezTo>
                    <a:cubicBezTo>
                      <a:pt x="0" y="58"/>
                      <a:pt x="0" y="58"/>
                      <a:pt x="0" y="58"/>
                    </a:cubicBezTo>
                    <a:cubicBezTo>
                      <a:pt x="0" y="61"/>
                      <a:pt x="2" y="64"/>
                      <a:pt x="5" y="64"/>
                    </a:cubicBezTo>
                    <a:close/>
                  </a:path>
                </a:pathLst>
              </a:custGeom>
              <a:solidFill>
                <a:srgbClr val="FFC000"/>
              </a:solidFill>
              <a:ln>
                <a:noFill/>
              </a:ln>
            </p:spPr>
            <p:txBody>
              <a:bodyPr anchor="ctr"/>
              <a:lstStyle/>
              <a:p>
                <a:pPr algn="ctr"/>
                <a:endParaRPr/>
              </a:p>
            </p:txBody>
          </p:sp>
          <p:sp>
            <p:nvSpPr>
              <p:cNvPr id="367" name="íṣ1ídè">
                <a:extLst>
                  <a:ext uri="{FF2B5EF4-FFF2-40B4-BE49-F238E27FC236}">
                    <a16:creationId xmlns:a16="http://schemas.microsoft.com/office/drawing/2014/main" id="{0549CF4B-1203-4C28-8A07-5C6D9B6B1CE8}"/>
                  </a:ext>
                </a:extLst>
              </p:cNvPr>
              <p:cNvSpPr/>
              <p:nvPr/>
            </p:nvSpPr>
            <p:spPr bwMode="auto">
              <a:xfrm>
                <a:off x="3525061" y="2255820"/>
                <a:ext cx="274678" cy="47622"/>
              </a:xfrm>
              <a:custGeom>
                <a:avLst/>
                <a:gdLst>
                  <a:gd name="T0" fmla="*/ 64 w 64"/>
                  <a:gd name="T1" fmla="*/ 5 h 11"/>
                  <a:gd name="T2" fmla="*/ 58 w 64"/>
                  <a:gd name="T3" fmla="*/ 0 h 11"/>
                  <a:gd name="T4" fmla="*/ 6 w 64"/>
                  <a:gd name="T5" fmla="*/ 0 h 11"/>
                  <a:gd name="T6" fmla="*/ 0 w 64"/>
                  <a:gd name="T7" fmla="*/ 5 h 11"/>
                  <a:gd name="T8" fmla="*/ 6 w 64"/>
                  <a:gd name="T9" fmla="*/ 11 h 11"/>
                  <a:gd name="T10" fmla="*/ 58 w 64"/>
                  <a:gd name="T11" fmla="*/ 11 h 11"/>
                  <a:gd name="T12" fmla="*/ 64 w 64"/>
                  <a:gd name="T13" fmla="*/ 5 h 11"/>
                </a:gdLst>
                <a:ahLst/>
                <a:cxnLst>
                  <a:cxn ang="0">
                    <a:pos x="T0" y="T1"/>
                  </a:cxn>
                  <a:cxn ang="0">
                    <a:pos x="T2" y="T3"/>
                  </a:cxn>
                  <a:cxn ang="0">
                    <a:pos x="T4" y="T5"/>
                  </a:cxn>
                  <a:cxn ang="0">
                    <a:pos x="T6" y="T7"/>
                  </a:cxn>
                  <a:cxn ang="0">
                    <a:pos x="T8" y="T9"/>
                  </a:cxn>
                  <a:cxn ang="0">
                    <a:pos x="T10" y="T11"/>
                  </a:cxn>
                  <a:cxn ang="0">
                    <a:pos x="T12" y="T13"/>
                  </a:cxn>
                </a:cxnLst>
                <a:rect l="0" t="0" r="r" b="b"/>
                <a:pathLst>
                  <a:path w="64" h="11">
                    <a:moveTo>
                      <a:pt x="64" y="5"/>
                    </a:moveTo>
                    <a:cubicBezTo>
                      <a:pt x="64" y="2"/>
                      <a:pt x="61" y="0"/>
                      <a:pt x="58" y="0"/>
                    </a:cubicBezTo>
                    <a:cubicBezTo>
                      <a:pt x="6" y="0"/>
                      <a:pt x="6" y="0"/>
                      <a:pt x="6" y="0"/>
                    </a:cubicBezTo>
                    <a:cubicBezTo>
                      <a:pt x="2" y="0"/>
                      <a:pt x="0" y="2"/>
                      <a:pt x="0" y="5"/>
                    </a:cubicBezTo>
                    <a:cubicBezTo>
                      <a:pt x="0" y="9"/>
                      <a:pt x="2" y="11"/>
                      <a:pt x="6" y="11"/>
                    </a:cubicBezTo>
                    <a:cubicBezTo>
                      <a:pt x="58" y="11"/>
                      <a:pt x="58" y="11"/>
                      <a:pt x="58" y="11"/>
                    </a:cubicBezTo>
                    <a:cubicBezTo>
                      <a:pt x="61" y="11"/>
                      <a:pt x="64" y="9"/>
                      <a:pt x="64" y="5"/>
                    </a:cubicBezTo>
                    <a:close/>
                  </a:path>
                </a:pathLst>
              </a:custGeom>
              <a:solidFill>
                <a:srgbClr val="FFC000"/>
              </a:solidFill>
              <a:ln>
                <a:noFill/>
              </a:ln>
            </p:spPr>
            <p:txBody>
              <a:bodyPr anchor="ctr"/>
              <a:lstStyle/>
              <a:p>
                <a:pPr algn="ctr"/>
                <a:endParaRPr/>
              </a:p>
            </p:txBody>
          </p:sp>
        </p:grpSp>
        <p:sp>
          <p:nvSpPr>
            <p:cNvPr id="358" name="ïšľiḋe">
              <a:extLst>
                <a:ext uri="{FF2B5EF4-FFF2-40B4-BE49-F238E27FC236}">
                  <a16:creationId xmlns:a16="http://schemas.microsoft.com/office/drawing/2014/main" id="{A8CF82DE-52D2-4162-9362-FD08C2AC9E35}"/>
                </a:ext>
              </a:extLst>
            </p:cNvPr>
            <p:cNvSpPr/>
            <p:nvPr/>
          </p:nvSpPr>
          <p:spPr bwMode="auto">
            <a:xfrm>
              <a:off x="5172484" y="2616322"/>
              <a:ext cx="363922" cy="862475"/>
            </a:xfrm>
            <a:custGeom>
              <a:avLst/>
              <a:gdLst>
                <a:gd name="T0" fmla="*/ 54 w 58"/>
                <a:gd name="T1" fmla="*/ 14 h 108"/>
                <a:gd name="T2" fmla="*/ 50 w 58"/>
                <a:gd name="T3" fmla="*/ 96 h 108"/>
                <a:gd name="T4" fmla="*/ 48 w 58"/>
                <a:gd name="T5" fmla="*/ 107 h 108"/>
                <a:gd name="T6" fmla="*/ 44 w 58"/>
                <a:gd name="T7" fmla="*/ 108 h 108"/>
                <a:gd name="T8" fmla="*/ 38 w 58"/>
                <a:gd name="T9" fmla="*/ 104 h 108"/>
                <a:gd name="T10" fmla="*/ 45 w 58"/>
                <a:gd name="T11" fmla="*/ 3 h 108"/>
                <a:gd name="T12" fmla="*/ 55 w 58"/>
                <a:gd name="T13" fmla="*/ 4 h 108"/>
                <a:gd name="T14" fmla="*/ 54 w 58"/>
                <a:gd name="T15" fmla="*/ 1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8">
                  <a:moveTo>
                    <a:pt x="54" y="14"/>
                  </a:moveTo>
                  <a:cubicBezTo>
                    <a:pt x="48" y="19"/>
                    <a:pt x="19" y="47"/>
                    <a:pt x="50" y="96"/>
                  </a:cubicBezTo>
                  <a:cubicBezTo>
                    <a:pt x="53" y="100"/>
                    <a:pt x="51" y="104"/>
                    <a:pt x="48" y="107"/>
                  </a:cubicBezTo>
                  <a:cubicBezTo>
                    <a:pt x="47" y="107"/>
                    <a:pt x="45" y="108"/>
                    <a:pt x="44" y="108"/>
                  </a:cubicBezTo>
                  <a:cubicBezTo>
                    <a:pt x="42" y="108"/>
                    <a:pt x="39" y="106"/>
                    <a:pt x="38" y="104"/>
                  </a:cubicBezTo>
                  <a:cubicBezTo>
                    <a:pt x="0" y="45"/>
                    <a:pt x="37" y="9"/>
                    <a:pt x="45" y="3"/>
                  </a:cubicBezTo>
                  <a:cubicBezTo>
                    <a:pt x="48" y="0"/>
                    <a:pt x="53" y="1"/>
                    <a:pt x="55" y="4"/>
                  </a:cubicBezTo>
                  <a:cubicBezTo>
                    <a:pt x="58" y="7"/>
                    <a:pt x="58" y="12"/>
                    <a:pt x="54" y="14"/>
                  </a:cubicBezTo>
                  <a:close/>
                </a:path>
              </a:pathLst>
            </a:custGeom>
            <a:solidFill>
              <a:schemeClr val="bg1">
                <a:alpha val="50000"/>
              </a:schemeClr>
            </a:solidFill>
            <a:ln>
              <a:noFill/>
            </a:ln>
          </p:spPr>
          <p:txBody>
            <a:bodyPr anchor="ctr"/>
            <a:lstStyle/>
            <a:p>
              <a:pPr algn="ctr"/>
              <a:endParaRPr/>
            </a:p>
          </p:txBody>
        </p:sp>
      </p:grpSp>
      <p:grpSp>
        <p:nvGrpSpPr>
          <p:cNvPr id="43" name="组合 42"/>
          <p:cNvGrpSpPr/>
          <p:nvPr/>
        </p:nvGrpSpPr>
        <p:grpSpPr>
          <a:xfrm>
            <a:off x="556511" y="4014699"/>
            <a:ext cx="1048700" cy="699132"/>
            <a:chOff x="6490917" y="4668396"/>
            <a:chExt cx="2093266" cy="1395510"/>
          </a:xfrm>
        </p:grpSpPr>
        <p:sp>
          <p:nvSpPr>
            <p:cNvPr id="44" name="椭圆 43">
              <a:extLst>
                <a:ext uri="{FF2B5EF4-FFF2-40B4-BE49-F238E27FC236}">
                  <a16:creationId xmlns:a16="http://schemas.microsoft.com/office/drawing/2014/main" id="{BEB6449A-B540-490F-8D8A-C30E548BBE87}"/>
                </a:ext>
              </a:extLst>
            </p:cNvPr>
            <p:cNvSpPr/>
            <p:nvPr/>
          </p:nvSpPr>
          <p:spPr>
            <a:xfrm>
              <a:off x="7148783" y="4977385"/>
              <a:ext cx="777534" cy="777532"/>
            </a:xfrm>
            <a:prstGeom prst="ellipse">
              <a:avLst/>
            </a:prstGeom>
            <a:pattFill prst="ltDnDiag">
              <a:fgClr>
                <a:schemeClr val="bg2"/>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45" name="图表 44">
              <a:extLst>
                <a:ext uri="{FF2B5EF4-FFF2-40B4-BE49-F238E27FC236}">
                  <a16:creationId xmlns:a16="http://schemas.microsoft.com/office/drawing/2014/main" id="{92993E01-3896-4D0D-977B-AD2E4ADB4FFA}"/>
                </a:ext>
              </a:extLst>
            </p:cNvPr>
            <p:cNvGraphicFramePr/>
            <p:nvPr>
              <p:extLst>
                <p:ext uri="{D42A27DB-BD31-4B8C-83A1-F6EECF244321}">
                  <p14:modId xmlns:p14="http://schemas.microsoft.com/office/powerpoint/2010/main" val="2416033364"/>
                </p:ext>
              </p:extLst>
            </p:nvPr>
          </p:nvGraphicFramePr>
          <p:xfrm>
            <a:off x="6490917" y="4668396"/>
            <a:ext cx="2093266" cy="1395510"/>
          </p:xfrm>
          <a:graphic>
            <a:graphicData uri="http://schemas.openxmlformats.org/drawingml/2006/chart">
              <c:chart xmlns:c="http://schemas.openxmlformats.org/drawingml/2006/chart" xmlns:r="http://schemas.openxmlformats.org/officeDocument/2006/relationships" r:id="rId7"/>
            </a:graphicData>
          </a:graphic>
        </p:graphicFrame>
      </p:grpSp>
      <p:cxnSp>
        <p:nvCxnSpPr>
          <p:cNvPr id="46" name="直接连接符 45"/>
          <p:cNvCxnSpPr/>
          <p:nvPr/>
        </p:nvCxnSpPr>
        <p:spPr>
          <a:xfrm>
            <a:off x="1514676" y="4031224"/>
            <a:ext cx="0" cy="63095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矩形 46"/>
          <p:cNvSpPr/>
          <p:nvPr/>
        </p:nvSpPr>
        <p:spPr>
          <a:xfrm>
            <a:off x="1591867" y="4863014"/>
            <a:ext cx="2227419" cy="931024"/>
          </a:xfrm>
          <a:prstGeom prst="rect">
            <a:avLst/>
          </a:prstGeom>
        </p:spPr>
        <p:txBody>
          <a:bodyPr wrap="square">
            <a:spAutoFit/>
          </a:bodyPr>
          <a:lstStyle/>
          <a:p>
            <a:pPr>
              <a:lnSpc>
                <a:spcPct val="150000"/>
              </a:lnSpc>
            </a:pPr>
            <a:r>
              <a:rPr lang="zh-CN" altLang="en-US" sz="1400" b="1" dirty="0">
                <a:solidFill>
                  <a:srgbClr val="2A2B2E"/>
                </a:solidFill>
                <a:latin typeface="Arial" panose="020B0604020202020204" pitchFamily="34" charset="0"/>
                <a:ea typeface="微软雅黑" panose="020B0503020204020204" pitchFamily="34" charset="-122"/>
                <a:sym typeface="Arial" panose="020B0604020202020204" pitchFamily="34" charset="0"/>
              </a:rPr>
              <a:t>如不预防</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a:t>
            </a:r>
            <a:r>
              <a:rPr lang="zh-CN" altLang="en-US" sz="2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a:t>
            </a:r>
            <a:r>
              <a:rPr lang="en-US" altLang="zh-CN" sz="2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80%</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的患者会发生</a:t>
            </a:r>
            <a:r>
              <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CMV</a:t>
            </a:r>
            <a:r>
              <a:rPr lang="zh-CN" altLang="en-US" sz="1400" dirty="0">
                <a:solidFill>
                  <a:srgbClr val="2A2B2E"/>
                </a:solidFill>
                <a:latin typeface="Arial" panose="020B0604020202020204" pitchFamily="34" charset="0"/>
                <a:ea typeface="微软雅黑" panose="020B0503020204020204" pitchFamily="34" charset="-122"/>
                <a:sym typeface="Arial" panose="020B0604020202020204" pitchFamily="34" charset="0"/>
              </a:rPr>
              <a:t>感染</a:t>
            </a:r>
            <a:r>
              <a:rPr lang="en-US" altLang="zh-CN" sz="1400" baseline="30000" dirty="0">
                <a:solidFill>
                  <a:srgbClr val="2A2B2E"/>
                </a:solidFill>
                <a:latin typeface="Arial" panose="020B0604020202020204" pitchFamily="34" charset="0"/>
                <a:ea typeface="微软雅黑" panose="020B0503020204020204" pitchFamily="34" charset="-122"/>
                <a:sym typeface="Arial" panose="020B0604020202020204" pitchFamily="34" charset="0"/>
              </a:rPr>
              <a:t>2</a:t>
            </a:r>
            <a:endParaRPr lang="en-US" altLang="zh-CN" sz="1400" dirty="0">
              <a:solidFill>
                <a:srgbClr val="2A2B2E"/>
              </a:solidFill>
              <a:latin typeface="Arial" panose="020B0604020202020204" pitchFamily="34" charset="0"/>
              <a:ea typeface="微软雅黑" panose="020B0503020204020204" pitchFamily="34" charset="-122"/>
              <a:sym typeface="Arial" panose="020B0604020202020204" pitchFamily="34" charset="0"/>
            </a:endParaRPr>
          </a:p>
        </p:txBody>
      </p:sp>
      <p:sp>
        <p:nvSpPr>
          <p:cNvPr id="9" name="矩形 8"/>
          <p:cNvSpPr/>
          <p:nvPr/>
        </p:nvSpPr>
        <p:spPr>
          <a:xfrm>
            <a:off x="1605210" y="4538999"/>
            <a:ext cx="1902259" cy="276999"/>
          </a:xfrm>
          <a:prstGeom prst="rect">
            <a:avLst/>
          </a:prstGeom>
        </p:spPr>
        <p:txBody>
          <a:bodyPr wrap="square">
            <a:spAutoFit/>
          </a:bodyPr>
          <a:lstStyle/>
          <a:p>
            <a:r>
              <a:rPr lang="zh-CN" altLang="en-US" sz="12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我国</a:t>
            </a:r>
            <a:r>
              <a:rPr lang="en-US" altLang="zh-CN" sz="12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CMV</a:t>
            </a:r>
            <a:r>
              <a:rPr lang="zh-CN" altLang="en-US" sz="12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血清阳性比例</a:t>
            </a:r>
            <a:endParaRPr lang="zh-CN" altLang="en-US" sz="1200" dirty="0">
              <a:solidFill>
                <a:schemeClr val="bg1">
                  <a:lumMod val="50000"/>
                </a:schemeClr>
              </a:solidFill>
            </a:endParaRPr>
          </a:p>
        </p:txBody>
      </p:sp>
      <p:cxnSp>
        <p:nvCxnSpPr>
          <p:cNvPr id="51" name="直接连接符 50"/>
          <p:cNvCxnSpPr/>
          <p:nvPr/>
        </p:nvCxnSpPr>
        <p:spPr>
          <a:xfrm>
            <a:off x="1514676" y="5073256"/>
            <a:ext cx="0" cy="630957"/>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8" name="组合 97"/>
          <p:cNvGrpSpPr/>
          <p:nvPr/>
        </p:nvGrpSpPr>
        <p:grpSpPr>
          <a:xfrm>
            <a:off x="4784812" y="3958747"/>
            <a:ext cx="413854" cy="334036"/>
            <a:chOff x="4552951" y="2193925"/>
            <a:chExt cx="3070222" cy="2478088"/>
          </a:xfrm>
        </p:grpSpPr>
        <p:sp>
          <p:nvSpPr>
            <p:cNvPr id="100" name="iṧḻïḓé">
              <a:extLst>
                <a:ext uri="{FF2B5EF4-FFF2-40B4-BE49-F238E27FC236}">
                  <a16:creationId xmlns:a16="http://schemas.microsoft.com/office/drawing/2014/main" id="{9BD0BF96-5889-4165-CA4B-C04DA7F11E0B}"/>
                </a:ext>
              </a:extLst>
            </p:cNvPr>
            <p:cNvSpPr/>
            <p:nvPr/>
          </p:nvSpPr>
          <p:spPr bwMode="auto">
            <a:xfrm>
              <a:off x="5549901" y="2254251"/>
              <a:ext cx="2073272" cy="2303464"/>
            </a:xfrm>
            <a:custGeom>
              <a:avLst/>
              <a:gdLst>
                <a:gd name="T0" fmla="*/ 532 w 549"/>
                <a:gd name="T1" fmla="*/ 156 h 610"/>
                <a:gd name="T2" fmla="*/ 541 w 549"/>
                <a:gd name="T3" fmla="*/ 194 h 610"/>
                <a:gd name="T4" fmla="*/ 469 w 549"/>
                <a:gd name="T5" fmla="*/ 309 h 610"/>
                <a:gd name="T6" fmla="*/ 440 w 549"/>
                <a:gd name="T7" fmla="*/ 355 h 610"/>
                <a:gd name="T8" fmla="*/ 290 w 549"/>
                <a:gd name="T9" fmla="*/ 593 h 610"/>
                <a:gd name="T10" fmla="*/ 252 w 549"/>
                <a:gd name="T11" fmla="*/ 602 h 610"/>
                <a:gd name="T12" fmla="*/ 17 w 549"/>
                <a:gd name="T13" fmla="*/ 454 h 610"/>
                <a:gd name="T14" fmla="*/ 8 w 549"/>
                <a:gd name="T15" fmla="*/ 416 h 610"/>
                <a:gd name="T16" fmla="*/ 153 w 549"/>
                <a:gd name="T17" fmla="*/ 186 h 610"/>
                <a:gd name="T18" fmla="*/ 185 w 549"/>
                <a:gd name="T19" fmla="*/ 135 h 610"/>
                <a:gd name="T20" fmla="*/ 259 w 549"/>
                <a:gd name="T21" fmla="*/ 17 h 610"/>
                <a:gd name="T22" fmla="*/ 297 w 549"/>
                <a:gd name="T23" fmla="*/ 8 h 610"/>
                <a:gd name="T24" fmla="*/ 532 w 549"/>
                <a:gd name="T25" fmla="*/ 156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9" h="610">
                  <a:moveTo>
                    <a:pt x="532" y="156"/>
                  </a:moveTo>
                  <a:cubicBezTo>
                    <a:pt x="545" y="164"/>
                    <a:pt x="549" y="181"/>
                    <a:pt x="541" y="194"/>
                  </a:cubicBezTo>
                  <a:cubicBezTo>
                    <a:pt x="469" y="309"/>
                    <a:pt x="469" y="309"/>
                    <a:pt x="469" y="309"/>
                  </a:cubicBezTo>
                  <a:cubicBezTo>
                    <a:pt x="440" y="355"/>
                    <a:pt x="440" y="355"/>
                    <a:pt x="440" y="355"/>
                  </a:cubicBezTo>
                  <a:cubicBezTo>
                    <a:pt x="290" y="593"/>
                    <a:pt x="290" y="593"/>
                    <a:pt x="290" y="593"/>
                  </a:cubicBezTo>
                  <a:cubicBezTo>
                    <a:pt x="282" y="606"/>
                    <a:pt x="265" y="610"/>
                    <a:pt x="252" y="602"/>
                  </a:cubicBezTo>
                  <a:cubicBezTo>
                    <a:pt x="17" y="454"/>
                    <a:pt x="17" y="454"/>
                    <a:pt x="17" y="454"/>
                  </a:cubicBezTo>
                  <a:cubicBezTo>
                    <a:pt x="4" y="446"/>
                    <a:pt x="0" y="429"/>
                    <a:pt x="8" y="416"/>
                  </a:cubicBezTo>
                  <a:cubicBezTo>
                    <a:pt x="153" y="186"/>
                    <a:pt x="153" y="186"/>
                    <a:pt x="153" y="186"/>
                  </a:cubicBezTo>
                  <a:cubicBezTo>
                    <a:pt x="185" y="135"/>
                    <a:pt x="185" y="135"/>
                    <a:pt x="185" y="135"/>
                  </a:cubicBezTo>
                  <a:cubicBezTo>
                    <a:pt x="259" y="17"/>
                    <a:pt x="259" y="17"/>
                    <a:pt x="259" y="17"/>
                  </a:cubicBezTo>
                  <a:cubicBezTo>
                    <a:pt x="268" y="4"/>
                    <a:pt x="285" y="0"/>
                    <a:pt x="297" y="8"/>
                  </a:cubicBezTo>
                  <a:lnTo>
                    <a:pt x="532" y="156"/>
                  </a:lnTo>
                  <a:close/>
                </a:path>
              </a:pathLst>
            </a:custGeom>
            <a:solidFill>
              <a:srgbClr val="4EB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1" name="îŝľiḋé">
              <a:extLst>
                <a:ext uri="{FF2B5EF4-FFF2-40B4-BE49-F238E27FC236}">
                  <a16:creationId xmlns:a16="http://schemas.microsoft.com/office/drawing/2014/main" id="{C4D3603D-DD58-7210-E5C2-0776FD0C56F8}"/>
                </a:ext>
              </a:extLst>
            </p:cNvPr>
            <p:cNvSpPr/>
            <p:nvPr/>
          </p:nvSpPr>
          <p:spPr bwMode="auto">
            <a:xfrm>
              <a:off x="6075363" y="2632075"/>
              <a:ext cx="1035050" cy="1585913"/>
            </a:xfrm>
            <a:custGeom>
              <a:avLst/>
              <a:gdLst>
                <a:gd name="T0" fmla="*/ 6 w 274"/>
                <a:gd name="T1" fmla="*/ 418 h 420"/>
                <a:gd name="T2" fmla="*/ 7 w 274"/>
                <a:gd name="T3" fmla="*/ 417 h 420"/>
                <a:gd name="T4" fmla="*/ 2 w 274"/>
                <a:gd name="T5" fmla="*/ 408 h 420"/>
                <a:gd name="T6" fmla="*/ 3 w 274"/>
                <a:gd name="T7" fmla="*/ 402 h 420"/>
                <a:gd name="T8" fmla="*/ 252 w 274"/>
                <a:gd name="T9" fmla="*/ 6 h 420"/>
                <a:gd name="T10" fmla="*/ 261 w 274"/>
                <a:gd name="T11" fmla="*/ 1 h 420"/>
                <a:gd name="T12" fmla="*/ 267 w 274"/>
                <a:gd name="T13" fmla="*/ 3 h 420"/>
                <a:gd name="T14" fmla="*/ 272 w 274"/>
                <a:gd name="T15" fmla="*/ 12 h 420"/>
                <a:gd name="T16" fmla="*/ 270 w 274"/>
                <a:gd name="T17" fmla="*/ 18 h 420"/>
                <a:gd name="T18" fmla="*/ 22 w 274"/>
                <a:gd name="T19" fmla="*/ 414 h 420"/>
                <a:gd name="T20" fmla="*/ 13 w 274"/>
                <a:gd name="T21" fmla="*/ 419 h 420"/>
                <a:gd name="T22" fmla="*/ 7 w 274"/>
                <a:gd name="T23" fmla="*/ 417 h 420"/>
                <a:gd name="T24" fmla="*/ 6 w 274"/>
                <a:gd name="T25" fmla="*/ 418 h 420"/>
                <a:gd name="T26" fmla="*/ 6 w 274"/>
                <a:gd name="T27" fmla="*/ 418 h 420"/>
                <a:gd name="T28" fmla="*/ 13 w 274"/>
                <a:gd name="T29" fmla="*/ 420 h 420"/>
                <a:gd name="T30" fmla="*/ 23 w 274"/>
                <a:gd name="T31" fmla="*/ 414 h 420"/>
                <a:gd name="T32" fmla="*/ 272 w 274"/>
                <a:gd name="T33" fmla="*/ 19 h 420"/>
                <a:gd name="T34" fmla="*/ 274 w 274"/>
                <a:gd name="T35" fmla="*/ 12 h 420"/>
                <a:gd name="T36" fmla="*/ 268 w 274"/>
                <a:gd name="T37" fmla="*/ 1 h 420"/>
                <a:gd name="T38" fmla="*/ 261 w 274"/>
                <a:gd name="T39" fmla="*/ 0 h 420"/>
                <a:gd name="T40" fmla="*/ 250 w 274"/>
                <a:gd name="T41" fmla="*/ 5 h 420"/>
                <a:gd name="T42" fmla="*/ 2 w 274"/>
                <a:gd name="T43" fmla="*/ 401 h 420"/>
                <a:gd name="T44" fmla="*/ 0 w 274"/>
                <a:gd name="T45" fmla="*/ 408 h 420"/>
                <a:gd name="T46" fmla="*/ 6 w 274"/>
                <a:gd name="T47" fmla="*/ 41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4" h="420">
                  <a:moveTo>
                    <a:pt x="6" y="418"/>
                  </a:moveTo>
                  <a:cubicBezTo>
                    <a:pt x="7" y="417"/>
                    <a:pt x="7" y="417"/>
                    <a:pt x="7" y="417"/>
                  </a:cubicBezTo>
                  <a:cubicBezTo>
                    <a:pt x="4" y="415"/>
                    <a:pt x="2" y="411"/>
                    <a:pt x="2" y="408"/>
                  </a:cubicBezTo>
                  <a:cubicBezTo>
                    <a:pt x="2" y="406"/>
                    <a:pt x="2" y="404"/>
                    <a:pt x="3" y="402"/>
                  </a:cubicBezTo>
                  <a:cubicBezTo>
                    <a:pt x="252" y="6"/>
                    <a:pt x="252" y="6"/>
                    <a:pt x="252" y="6"/>
                  </a:cubicBezTo>
                  <a:cubicBezTo>
                    <a:pt x="254" y="3"/>
                    <a:pt x="257" y="1"/>
                    <a:pt x="261" y="1"/>
                  </a:cubicBezTo>
                  <a:cubicBezTo>
                    <a:pt x="263" y="1"/>
                    <a:pt x="265" y="2"/>
                    <a:pt x="267" y="3"/>
                  </a:cubicBezTo>
                  <a:cubicBezTo>
                    <a:pt x="270" y="5"/>
                    <a:pt x="272" y="9"/>
                    <a:pt x="272" y="12"/>
                  </a:cubicBezTo>
                  <a:cubicBezTo>
                    <a:pt x="272" y="14"/>
                    <a:pt x="271" y="16"/>
                    <a:pt x="270" y="18"/>
                  </a:cubicBezTo>
                  <a:cubicBezTo>
                    <a:pt x="22" y="414"/>
                    <a:pt x="22" y="414"/>
                    <a:pt x="22" y="414"/>
                  </a:cubicBezTo>
                  <a:cubicBezTo>
                    <a:pt x="20" y="417"/>
                    <a:pt x="16" y="419"/>
                    <a:pt x="13" y="419"/>
                  </a:cubicBezTo>
                  <a:cubicBezTo>
                    <a:pt x="11" y="419"/>
                    <a:pt x="9" y="418"/>
                    <a:pt x="7" y="417"/>
                  </a:cubicBezTo>
                  <a:cubicBezTo>
                    <a:pt x="6" y="418"/>
                    <a:pt x="6" y="418"/>
                    <a:pt x="6" y="418"/>
                  </a:cubicBezTo>
                  <a:cubicBezTo>
                    <a:pt x="6" y="418"/>
                    <a:pt x="6" y="418"/>
                    <a:pt x="6" y="418"/>
                  </a:cubicBezTo>
                  <a:cubicBezTo>
                    <a:pt x="8" y="420"/>
                    <a:pt x="10" y="420"/>
                    <a:pt x="13" y="420"/>
                  </a:cubicBezTo>
                  <a:cubicBezTo>
                    <a:pt x="17" y="420"/>
                    <a:pt x="21" y="418"/>
                    <a:pt x="23" y="414"/>
                  </a:cubicBezTo>
                  <a:cubicBezTo>
                    <a:pt x="272" y="19"/>
                    <a:pt x="272" y="19"/>
                    <a:pt x="272" y="19"/>
                  </a:cubicBezTo>
                  <a:cubicBezTo>
                    <a:pt x="273" y="17"/>
                    <a:pt x="274" y="15"/>
                    <a:pt x="274" y="12"/>
                  </a:cubicBezTo>
                  <a:cubicBezTo>
                    <a:pt x="274" y="8"/>
                    <a:pt x="272" y="4"/>
                    <a:pt x="268" y="1"/>
                  </a:cubicBezTo>
                  <a:cubicBezTo>
                    <a:pt x="266" y="0"/>
                    <a:pt x="263" y="0"/>
                    <a:pt x="261" y="0"/>
                  </a:cubicBezTo>
                  <a:cubicBezTo>
                    <a:pt x="257" y="0"/>
                    <a:pt x="253" y="2"/>
                    <a:pt x="250" y="5"/>
                  </a:cubicBezTo>
                  <a:cubicBezTo>
                    <a:pt x="2" y="401"/>
                    <a:pt x="2" y="401"/>
                    <a:pt x="2" y="401"/>
                  </a:cubicBezTo>
                  <a:cubicBezTo>
                    <a:pt x="1" y="403"/>
                    <a:pt x="0" y="405"/>
                    <a:pt x="0" y="408"/>
                  </a:cubicBezTo>
                  <a:cubicBezTo>
                    <a:pt x="0" y="412"/>
                    <a:pt x="2" y="416"/>
                    <a:pt x="6" y="418"/>
                  </a:cubicBez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2" name="ïślïďé">
              <a:extLst>
                <a:ext uri="{FF2B5EF4-FFF2-40B4-BE49-F238E27FC236}">
                  <a16:creationId xmlns:a16="http://schemas.microsoft.com/office/drawing/2014/main" id="{A367A9FD-3ECB-C779-70F1-FA5956B1CFFA}"/>
                </a:ext>
              </a:extLst>
            </p:cNvPr>
            <p:cNvSpPr/>
            <p:nvPr/>
          </p:nvSpPr>
          <p:spPr bwMode="auto">
            <a:xfrm>
              <a:off x="6513513" y="2511425"/>
              <a:ext cx="309563"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3" y="0"/>
                    <a:pt x="60" y="11"/>
                  </a:cubicBezTo>
                  <a:cubicBezTo>
                    <a:pt x="77" y="21"/>
                    <a:pt x="82"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3" name="îśḷïḍè">
              <a:extLst>
                <a:ext uri="{FF2B5EF4-FFF2-40B4-BE49-F238E27FC236}">
                  <a16:creationId xmlns:a16="http://schemas.microsoft.com/office/drawing/2014/main" id="{E6BF774D-514E-73A4-0E2E-8565E02D588D}"/>
                </a:ext>
              </a:extLst>
            </p:cNvPr>
            <p:cNvSpPr/>
            <p:nvPr/>
          </p:nvSpPr>
          <p:spPr bwMode="auto">
            <a:xfrm>
              <a:off x="6508751" y="2492375"/>
              <a:ext cx="311150" cy="306388"/>
            </a:xfrm>
            <a:custGeom>
              <a:avLst/>
              <a:gdLst>
                <a:gd name="T0" fmla="*/ 71 w 82"/>
                <a:gd name="T1" fmla="*/ 60 h 81"/>
                <a:gd name="T2" fmla="*/ 22 w 82"/>
                <a:gd name="T3" fmla="*/ 71 h 81"/>
                <a:gd name="T4" fmla="*/ 11 w 82"/>
                <a:gd name="T5" fmla="*/ 22 h 81"/>
                <a:gd name="T6" fmla="*/ 60 w 82"/>
                <a:gd name="T7" fmla="*/ 10 h 81"/>
                <a:gd name="T8" fmla="*/ 71 w 82"/>
                <a:gd name="T9" fmla="*/ 60 h 81"/>
              </a:gdLst>
              <a:ahLst/>
              <a:cxnLst>
                <a:cxn ang="0">
                  <a:pos x="T0" y="T1"/>
                </a:cxn>
                <a:cxn ang="0">
                  <a:pos x="T2" y="T3"/>
                </a:cxn>
                <a:cxn ang="0">
                  <a:pos x="T4" y="T5"/>
                </a:cxn>
                <a:cxn ang="0">
                  <a:pos x="T6" y="T7"/>
                </a:cxn>
                <a:cxn ang="0">
                  <a:pos x="T8" y="T9"/>
                </a:cxn>
              </a:cxnLst>
              <a:rect l="0" t="0" r="r" b="b"/>
              <a:pathLst>
                <a:path w="82" h="81">
                  <a:moveTo>
                    <a:pt x="71" y="60"/>
                  </a:moveTo>
                  <a:cubicBezTo>
                    <a:pt x="61" y="76"/>
                    <a:pt x="39" y="81"/>
                    <a:pt x="22" y="71"/>
                  </a:cubicBezTo>
                  <a:cubicBezTo>
                    <a:pt x="5" y="60"/>
                    <a:pt x="0" y="38"/>
                    <a:pt x="11" y="22"/>
                  </a:cubicBezTo>
                  <a:cubicBezTo>
                    <a:pt x="21" y="5"/>
                    <a:pt x="43" y="0"/>
                    <a:pt x="60" y="10"/>
                  </a:cubicBezTo>
                  <a:cubicBezTo>
                    <a:pt x="77" y="21"/>
                    <a:pt x="82"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4" name="iṣļiďè">
              <a:extLst>
                <a:ext uri="{FF2B5EF4-FFF2-40B4-BE49-F238E27FC236}">
                  <a16:creationId xmlns:a16="http://schemas.microsoft.com/office/drawing/2014/main" id="{00BE387D-687A-221F-D498-B1D9791F01DB}"/>
                </a:ext>
              </a:extLst>
            </p:cNvPr>
            <p:cNvSpPr/>
            <p:nvPr/>
          </p:nvSpPr>
          <p:spPr bwMode="auto">
            <a:xfrm>
              <a:off x="6521451" y="2503488"/>
              <a:ext cx="285750" cy="287338"/>
            </a:xfrm>
            <a:custGeom>
              <a:avLst/>
              <a:gdLst>
                <a:gd name="T0" fmla="*/ 68 w 76"/>
                <a:gd name="T1" fmla="*/ 57 h 76"/>
                <a:gd name="T2" fmla="*/ 67 w 76"/>
                <a:gd name="T3" fmla="*/ 56 h 76"/>
                <a:gd name="T4" fmla="*/ 38 w 76"/>
                <a:gd name="T5" fmla="*/ 71 h 76"/>
                <a:gd name="T6" fmla="*/ 20 w 76"/>
                <a:gd name="T7" fmla="*/ 66 h 76"/>
                <a:gd name="T8" fmla="*/ 4 w 76"/>
                <a:gd name="T9" fmla="*/ 38 h 76"/>
                <a:gd name="T10" fmla="*/ 10 w 76"/>
                <a:gd name="T11" fmla="*/ 20 h 76"/>
                <a:gd name="T12" fmla="*/ 38 w 76"/>
                <a:gd name="T13" fmla="*/ 4 h 76"/>
                <a:gd name="T14" fmla="*/ 56 w 76"/>
                <a:gd name="T15" fmla="*/ 9 h 76"/>
                <a:gd name="T16" fmla="*/ 72 w 76"/>
                <a:gd name="T17" fmla="*/ 38 h 76"/>
                <a:gd name="T18" fmla="*/ 67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7" y="56"/>
                    <a:pt x="67" y="56"/>
                    <a:pt x="67" y="56"/>
                  </a:cubicBezTo>
                  <a:cubicBezTo>
                    <a:pt x="60" y="66"/>
                    <a:pt x="49" y="71"/>
                    <a:pt x="38" y="71"/>
                  </a:cubicBezTo>
                  <a:cubicBezTo>
                    <a:pt x="32" y="71"/>
                    <a:pt x="26" y="70"/>
                    <a:pt x="20" y="66"/>
                  </a:cubicBezTo>
                  <a:cubicBezTo>
                    <a:pt x="10" y="60"/>
                    <a:pt x="4" y="49"/>
                    <a:pt x="4" y="38"/>
                  </a:cubicBezTo>
                  <a:cubicBezTo>
                    <a:pt x="4" y="32"/>
                    <a:pt x="6" y="25"/>
                    <a:pt x="10" y="20"/>
                  </a:cubicBezTo>
                  <a:cubicBezTo>
                    <a:pt x="16" y="10"/>
                    <a:pt x="27" y="4"/>
                    <a:pt x="38" y="4"/>
                  </a:cubicBezTo>
                  <a:cubicBezTo>
                    <a:pt x="44" y="4"/>
                    <a:pt x="50" y="6"/>
                    <a:pt x="56" y="9"/>
                  </a:cubicBezTo>
                  <a:cubicBezTo>
                    <a:pt x="66" y="16"/>
                    <a:pt x="72" y="27"/>
                    <a:pt x="72" y="38"/>
                  </a:cubicBezTo>
                  <a:cubicBezTo>
                    <a:pt x="72" y="44"/>
                    <a:pt x="70" y="50"/>
                    <a:pt x="67" y="56"/>
                  </a:cubicBezTo>
                  <a:cubicBezTo>
                    <a:pt x="68" y="57"/>
                    <a:pt x="68" y="57"/>
                    <a:pt x="68" y="57"/>
                  </a:cubicBezTo>
                  <a:cubicBezTo>
                    <a:pt x="70" y="58"/>
                    <a:pt x="70" y="58"/>
                    <a:pt x="70" y="58"/>
                  </a:cubicBezTo>
                  <a:cubicBezTo>
                    <a:pt x="74" y="52"/>
                    <a:pt x="76" y="45"/>
                    <a:pt x="76" y="38"/>
                  </a:cubicBezTo>
                  <a:cubicBezTo>
                    <a:pt x="76" y="25"/>
                    <a:pt x="70" y="13"/>
                    <a:pt x="58" y="6"/>
                  </a:cubicBezTo>
                  <a:cubicBezTo>
                    <a:pt x="52" y="2"/>
                    <a:pt x="45" y="0"/>
                    <a:pt x="38" y="0"/>
                  </a:cubicBezTo>
                  <a:cubicBezTo>
                    <a:pt x="26" y="0"/>
                    <a:pt x="13" y="6"/>
                    <a:pt x="6" y="18"/>
                  </a:cubicBezTo>
                  <a:cubicBezTo>
                    <a:pt x="2" y="24"/>
                    <a:pt x="0" y="31"/>
                    <a:pt x="0" y="38"/>
                  </a:cubicBezTo>
                  <a:cubicBezTo>
                    <a:pt x="0" y="50"/>
                    <a:pt x="6" y="63"/>
                    <a:pt x="18" y="70"/>
                  </a:cubicBezTo>
                  <a:cubicBezTo>
                    <a:pt x="24" y="74"/>
                    <a:pt x="31" y="76"/>
                    <a:pt x="38" y="76"/>
                  </a:cubicBezTo>
                  <a:cubicBezTo>
                    <a:pt x="51" y="76"/>
                    <a:pt x="63"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5" name="îṩlîḍé">
              <a:extLst>
                <a:ext uri="{FF2B5EF4-FFF2-40B4-BE49-F238E27FC236}">
                  <a16:creationId xmlns:a16="http://schemas.microsoft.com/office/drawing/2014/main" id="{78B3B79D-6E35-8361-A4E3-E31DEA6E8719}"/>
                </a:ext>
              </a:extLst>
            </p:cNvPr>
            <p:cNvSpPr/>
            <p:nvPr/>
          </p:nvSpPr>
          <p:spPr bwMode="auto">
            <a:xfrm>
              <a:off x="6294438" y="2862263"/>
              <a:ext cx="309563" cy="306388"/>
            </a:xfrm>
            <a:custGeom>
              <a:avLst/>
              <a:gdLst>
                <a:gd name="T0" fmla="*/ 71 w 82"/>
                <a:gd name="T1" fmla="*/ 59 h 81"/>
                <a:gd name="T2" fmla="*/ 22 w 82"/>
                <a:gd name="T3" fmla="*/ 71 h 81"/>
                <a:gd name="T4" fmla="*/ 11 w 82"/>
                <a:gd name="T5" fmla="*/ 21 h 81"/>
                <a:gd name="T6" fmla="*/ 60 w 82"/>
                <a:gd name="T7" fmla="*/ 10 h 81"/>
                <a:gd name="T8" fmla="*/ 71 w 82"/>
                <a:gd name="T9" fmla="*/ 59 h 81"/>
              </a:gdLst>
              <a:ahLst/>
              <a:cxnLst>
                <a:cxn ang="0">
                  <a:pos x="T0" y="T1"/>
                </a:cxn>
                <a:cxn ang="0">
                  <a:pos x="T2" y="T3"/>
                </a:cxn>
                <a:cxn ang="0">
                  <a:pos x="T4" y="T5"/>
                </a:cxn>
                <a:cxn ang="0">
                  <a:pos x="T6" y="T7"/>
                </a:cxn>
                <a:cxn ang="0">
                  <a:pos x="T8" y="T9"/>
                </a:cxn>
              </a:cxnLst>
              <a:rect l="0" t="0" r="r" b="b"/>
              <a:pathLst>
                <a:path w="82" h="81">
                  <a:moveTo>
                    <a:pt x="71" y="59"/>
                  </a:moveTo>
                  <a:cubicBezTo>
                    <a:pt x="61" y="76"/>
                    <a:pt x="39" y="81"/>
                    <a:pt x="22" y="71"/>
                  </a:cubicBezTo>
                  <a:cubicBezTo>
                    <a:pt x="5" y="60"/>
                    <a:pt x="0" y="38"/>
                    <a:pt x="11" y="21"/>
                  </a:cubicBezTo>
                  <a:cubicBezTo>
                    <a:pt x="21" y="5"/>
                    <a:pt x="43" y="0"/>
                    <a:pt x="60" y="10"/>
                  </a:cubicBezTo>
                  <a:cubicBezTo>
                    <a:pt x="77" y="21"/>
                    <a:pt x="82" y="43"/>
                    <a:pt x="71" y="59"/>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6" name="îsľidè">
              <a:extLst>
                <a:ext uri="{FF2B5EF4-FFF2-40B4-BE49-F238E27FC236}">
                  <a16:creationId xmlns:a16="http://schemas.microsoft.com/office/drawing/2014/main" id="{BBD76F73-DA95-A3A5-90B8-1A2602C1967F}"/>
                </a:ext>
              </a:extLst>
            </p:cNvPr>
            <p:cNvSpPr/>
            <p:nvPr/>
          </p:nvSpPr>
          <p:spPr bwMode="auto">
            <a:xfrm>
              <a:off x="6289676" y="2840038"/>
              <a:ext cx="311150"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3" y="0"/>
                    <a:pt x="60" y="11"/>
                  </a:cubicBezTo>
                  <a:cubicBezTo>
                    <a:pt x="77" y="21"/>
                    <a:pt x="82"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7" name="îṡľïḑê">
              <a:extLst>
                <a:ext uri="{FF2B5EF4-FFF2-40B4-BE49-F238E27FC236}">
                  <a16:creationId xmlns:a16="http://schemas.microsoft.com/office/drawing/2014/main" id="{2CC927EC-C804-D8D0-2B64-605B3F2CE87C}"/>
                </a:ext>
              </a:extLst>
            </p:cNvPr>
            <p:cNvSpPr/>
            <p:nvPr/>
          </p:nvSpPr>
          <p:spPr bwMode="auto">
            <a:xfrm>
              <a:off x="6302376" y="2851150"/>
              <a:ext cx="285750" cy="287338"/>
            </a:xfrm>
            <a:custGeom>
              <a:avLst/>
              <a:gdLst>
                <a:gd name="T0" fmla="*/ 68 w 76"/>
                <a:gd name="T1" fmla="*/ 57 h 76"/>
                <a:gd name="T2" fmla="*/ 67 w 76"/>
                <a:gd name="T3" fmla="*/ 56 h 76"/>
                <a:gd name="T4" fmla="*/ 38 w 76"/>
                <a:gd name="T5" fmla="*/ 72 h 76"/>
                <a:gd name="T6" fmla="*/ 20 w 76"/>
                <a:gd name="T7" fmla="*/ 66 h 76"/>
                <a:gd name="T8" fmla="*/ 4 w 76"/>
                <a:gd name="T9" fmla="*/ 38 h 76"/>
                <a:gd name="T10" fmla="*/ 10 w 76"/>
                <a:gd name="T11" fmla="*/ 20 h 76"/>
                <a:gd name="T12" fmla="*/ 38 w 76"/>
                <a:gd name="T13" fmla="*/ 4 h 76"/>
                <a:gd name="T14" fmla="*/ 56 w 76"/>
                <a:gd name="T15" fmla="*/ 10 h 76"/>
                <a:gd name="T16" fmla="*/ 72 w 76"/>
                <a:gd name="T17" fmla="*/ 38 h 76"/>
                <a:gd name="T18" fmla="*/ 67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7" y="56"/>
                    <a:pt x="67" y="56"/>
                    <a:pt x="67" y="56"/>
                  </a:cubicBezTo>
                  <a:cubicBezTo>
                    <a:pt x="60" y="66"/>
                    <a:pt x="49" y="72"/>
                    <a:pt x="38" y="72"/>
                  </a:cubicBezTo>
                  <a:cubicBezTo>
                    <a:pt x="32" y="72"/>
                    <a:pt x="26" y="70"/>
                    <a:pt x="20" y="66"/>
                  </a:cubicBezTo>
                  <a:cubicBezTo>
                    <a:pt x="10" y="60"/>
                    <a:pt x="4" y="49"/>
                    <a:pt x="4" y="38"/>
                  </a:cubicBezTo>
                  <a:cubicBezTo>
                    <a:pt x="4" y="32"/>
                    <a:pt x="6" y="26"/>
                    <a:pt x="10" y="20"/>
                  </a:cubicBezTo>
                  <a:cubicBezTo>
                    <a:pt x="16" y="10"/>
                    <a:pt x="27" y="4"/>
                    <a:pt x="38" y="4"/>
                  </a:cubicBezTo>
                  <a:cubicBezTo>
                    <a:pt x="44" y="4"/>
                    <a:pt x="50" y="6"/>
                    <a:pt x="56" y="10"/>
                  </a:cubicBezTo>
                  <a:cubicBezTo>
                    <a:pt x="66" y="16"/>
                    <a:pt x="72" y="27"/>
                    <a:pt x="72" y="38"/>
                  </a:cubicBezTo>
                  <a:cubicBezTo>
                    <a:pt x="72" y="44"/>
                    <a:pt x="70" y="50"/>
                    <a:pt x="67" y="56"/>
                  </a:cubicBezTo>
                  <a:cubicBezTo>
                    <a:pt x="68" y="57"/>
                    <a:pt x="68" y="57"/>
                    <a:pt x="68" y="57"/>
                  </a:cubicBezTo>
                  <a:cubicBezTo>
                    <a:pt x="70" y="58"/>
                    <a:pt x="70" y="58"/>
                    <a:pt x="70" y="58"/>
                  </a:cubicBezTo>
                  <a:cubicBezTo>
                    <a:pt x="74" y="52"/>
                    <a:pt x="76" y="45"/>
                    <a:pt x="76" y="38"/>
                  </a:cubicBezTo>
                  <a:cubicBezTo>
                    <a:pt x="76" y="25"/>
                    <a:pt x="70" y="13"/>
                    <a:pt x="58" y="6"/>
                  </a:cubicBezTo>
                  <a:cubicBezTo>
                    <a:pt x="52" y="2"/>
                    <a:pt x="45" y="0"/>
                    <a:pt x="38" y="0"/>
                  </a:cubicBezTo>
                  <a:cubicBezTo>
                    <a:pt x="26" y="0"/>
                    <a:pt x="13" y="6"/>
                    <a:pt x="6" y="18"/>
                  </a:cubicBezTo>
                  <a:cubicBezTo>
                    <a:pt x="2" y="24"/>
                    <a:pt x="0" y="31"/>
                    <a:pt x="0" y="38"/>
                  </a:cubicBezTo>
                  <a:cubicBezTo>
                    <a:pt x="0" y="51"/>
                    <a:pt x="6" y="63"/>
                    <a:pt x="18" y="70"/>
                  </a:cubicBezTo>
                  <a:cubicBezTo>
                    <a:pt x="24" y="74"/>
                    <a:pt x="31" y="76"/>
                    <a:pt x="38" y="76"/>
                  </a:cubicBezTo>
                  <a:cubicBezTo>
                    <a:pt x="51" y="76"/>
                    <a:pt x="63" y="70"/>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8" name="iṡ1îḓé">
              <a:extLst>
                <a:ext uri="{FF2B5EF4-FFF2-40B4-BE49-F238E27FC236}">
                  <a16:creationId xmlns:a16="http://schemas.microsoft.com/office/drawing/2014/main" id="{52E88F87-3C1B-1090-813A-E9BF380984FF}"/>
                </a:ext>
              </a:extLst>
            </p:cNvPr>
            <p:cNvSpPr/>
            <p:nvPr/>
          </p:nvSpPr>
          <p:spPr bwMode="auto">
            <a:xfrm>
              <a:off x="6072188" y="3217863"/>
              <a:ext cx="304800" cy="309563"/>
            </a:xfrm>
            <a:custGeom>
              <a:avLst/>
              <a:gdLst>
                <a:gd name="T0" fmla="*/ 71 w 81"/>
                <a:gd name="T1" fmla="*/ 60 h 82"/>
                <a:gd name="T2" fmla="*/ 22 w 81"/>
                <a:gd name="T3" fmla="*/ 71 h 82"/>
                <a:gd name="T4" fmla="*/ 10 w 81"/>
                <a:gd name="T5" fmla="*/ 22 h 82"/>
                <a:gd name="T6" fmla="*/ 60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2" y="71"/>
                  </a:cubicBezTo>
                  <a:cubicBezTo>
                    <a:pt x="5" y="61"/>
                    <a:pt x="0" y="39"/>
                    <a:pt x="10" y="22"/>
                  </a:cubicBezTo>
                  <a:cubicBezTo>
                    <a:pt x="21" y="5"/>
                    <a:pt x="43" y="0"/>
                    <a:pt x="60" y="11"/>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09" name="ïślîḓe">
              <a:extLst>
                <a:ext uri="{FF2B5EF4-FFF2-40B4-BE49-F238E27FC236}">
                  <a16:creationId xmlns:a16="http://schemas.microsoft.com/office/drawing/2014/main" id="{70059D9F-BAAE-E211-14AC-406C08C30C6C}"/>
                </a:ext>
              </a:extLst>
            </p:cNvPr>
            <p:cNvSpPr/>
            <p:nvPr/>
          </p:nvSpPr>
          <p:spPr bwMode="auto">
            <a:xfrm>
              <a:off x="6067426" y="3198813"/>
              <a:ext cx="306388" cy="306388"/>
            </a:xfrm>
            <a:custGeom>
              <a:avLst/>
              <a:gdLst>
                <a:gd name="T0" fmla="*/ 71 w 81"/>
                <a:gd name="T1" fmla="*/ 60 h 81"/>
                <a:gd name="T2" fmla="*/ 22 w 81"/>
                <a:gd name="T3" fmla="*/ 71 h 81"/>
                <a:gd name="T4" fmla="*/ 10 w 81"/>
                <a:gd name="T5" fmla="*/ 22 h 81"/>
                <a:gd name="T6" fmla="*/ 60 w 81"/>
                <a:gd name="T7" fmla="*/ 10 h 81"/>
                <a:gd name="T8" fmla="*/ 71 w 81"/>
                <a:gd name="T9" fmla="*/ 60 h 81"/>
              </a:gdLst>
              <a:ahLst/>
              <a:cxnLst>
                <a:cxn ang="0">
                  <a:pos x="T0" y="T1"/>
                </a:cxn>
                <a:cxn ang="0">
                  <a:pos x="T2" y="T3"/>
                </a:cxn>
                <a:cxn ang="0">
                  <a:pos x="T4" y="T5"/>
                </a:cxn>
                <a:cxn ang="0">
                  <a:pos x="T6" y="T7"/>
                </a:cxn>
                <a:cxn ang="0">
                  <a:pos x="T8" y="T9"/>
                </a:cxn>
              </a:cxnLst>
              <a:rect l="0" t="0" r="r" b="b"/>
              <a:pathLst>
                <a:path w="81" h="81">
                  <a:moveTo>
                    <a:pt x="71" y="60"/>
                  </a:moveTo>
                  <a:cubicBezTo>
                    <a:pt x="60" y="76"/>
                    <a:pt x="38" y="81"/>
                    <a:pt x="22" y="71"/>
                  </a:cubicBezTo>
                  <a:cubicBezTo>
                    <a:pt x="5" y="60"/>
                    <a:pt x="0" y="38"/>
                    <a:pt x="10" y="22"/>
                  </a:cubicBezTo>
                  <a:cubicBezTo>
                    <a:pt x="21" y="5"/>
                    <a:pt x="43" y="0"/>
                    <a:pt x="60" y="10"/>
                  </a:cubicBezTo>
                  <a:cubicBezTo>
                    <a:pt x="76" y="21"/>
                    <a:pt x="81"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 name="ïṡḷïḍê">
              <a:extLst>
                <a:ext uri="{FF2B5EF4-FFF2-40B4-BE49-F238E27FC236}">
                  <a16:creationId xmlns:a16="http://schemas.microsoft.com/office/drawing/2014/main" id="{4FA51537-9798-CDDE-EF63-AEDBC58840F0}"/>
                </a:ext>
              </a:extLst>
            </p:cNvPr>
            <p:cNvSpPr/>
            <p:nvPr/>
          </p:nvSpPr>
          <p:spPr bwMode="auto">
            <a:xfrm>
              <a:off x="6078538" y="3209925"/>
              <a:ext cx="287338" cy="287338"/>
            </a:xfrm>
            <a:custGeom>
              <a:avLst/>
              <a:gdLst>
                <a:gd name="T0" fmla="*/ 68 w 76"/>
                <a:gd name="T1" fmla="*/ 57 h 76"/>
                <a:gd name="T2" fmla="*/ 66 w 76"/>
                <a:gd name="T3" fmla="*/ 56 h 76"/>
                <a:gd name="T4" fmla="*/ 38 w 76"/>
                <a:gd name="T5" fmla="*/ 71 h 76"/>
                <a:gd name="T6" fmla="*/ 20 w 76"/>
                <a:gd name="T7" fmla="*/ 66 h 76"/>
                <a:gd name="T8" fmla="*/ 4 w 76"/>
                <a:gd name="T9" fmla="*/ 38 h 76"/>
                <a:gd name="T10" fmla="*/ 9 w 76"/>
                <a:gd name="T11" fmla="*/ 20 h 76"/>
                <a:gd name="T12" fmla="*/ 38 w 76"/>
                <a:gd name="T13" fmla="*/ 4 h 76"/>
                <a:gd name="T14" fmla="*/ 55 w 76"/>
                <a:gd name="T15" fmla="*/ 9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7 h 76"/>
                <a:gd name="T32" fmla="*/ 0 w 76"/>
                <a:gd name="T33" fmla="*/ 38 h 76"/>
                <a:gd name="T34" fmla="*/ 17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1"/>
                    <a:pt x="38" y="71"/>
                  </a:cubicBezTo>
                  <a:cubicBezTo>
                    <a:pt x="31" y="71"/>
                    <a:pt x="25" y="70"/>
                    <a:pt x="20" y="66"/>
                  </a:cubicBezTo>
                  <a:cubicBezTo>
                    <a:pt x="10" y="60"/>
                    <a:pt x="4" y="49"/>
                    <a:pt x="4" y="38"/>
                  </a:cubicBezTo>
                  <a:cubicBezTo>
                    <a:pt x="4" y="31"/>
                    <a:pt x="6" y="25"/>
                    <a:pt x="9" y="20"/>
                  </a:cubicBezTo>
                  <a:cubicBezTo>
                    <a:pt x="16" y="10"/>
                    <a:pt x="26" y="4"/>
                    <a:pt x="38" y="4"/>
                  </a:cubicBezTo>
                  <a:cubicBezTo>
                    <a:pt x="44" y="4"/>
                    <a:pt x="50" y="6"/>
                    <a:pt x="55" y="9"/>
                  </a:cubicBezTo>
                  <a:cubicBezTo>
                    <a:pt x="66" y="16"/>
                    <a:pt x="71" y="26"/>
                    <a:pt x="71" y="38"/>
                  </a:cubicBezTo>
                  <a:cubicBezTo>
                    <a:pt x="71" y="44"/>
                    <a:pt x="70" y="50"/>
                    <a:pt x="66" y="56"/>
                  </a:cubicBezTo>
                  <a:cubicBezTo>
                    <a:pt x="68" y="57"/>
                    <a:pt x="68" y="57"/>
                    <a:pt x="68" y="57"/>
                  </a:cubicBezTo>
                  <a:cubicBezTo>
                    <a:pt x="70" y="58"/>
                    <a:pt x="70" y="58"/>
                    <a:pt x="70" y="58"/>
                  </a:cubicBezTo>
                  <a:cubicBezTo>
                    <a:pt x="74" y="52"/>
                    <a:pt x="76" y="45"/>
                    <a:pt x="76" y="38"/>
                  </a:cubicBezTo>
                  <a:cubicBezTo>
                    <a:pt x="76" y="25"/>
                    <a:pt x="69" y="13"/>
                    <a:pt x="58" y="6"/>
                  </a:cubicBezTo>
                  <a:cubicBezTo>
                    <a:pt x="52" y="2"/>
                    <a:pt x="45" y="0"/>
                    <a:pt x="38" y="0"/>
                  </a:cubicBezTo>
                  <a:cubicBezTo>
                    <a:pt x="25" y="0"/>
                    <a:pt x="13" y="6"/>
                    <a:pt x="6" y="17"/>
                  </a:cubicBezTo>
                  <a:cubicBezTo>
                    <a:pt x="2" y="24"/>
                    <a:pt x="0" y="31"/>
                    <a:pt x="0" y="38"/>
                  </a:cubicBezTo>
                  <a:cubicBezTo>
                    <a:pt x="0" y="50"/>
                    <a:pt x="6" y="63"/>
                    <a:pt x="17" y="70"/>
                  </a:cubicBezTo>
                  <a:cubicBezTo>
                    <a:pt x="24" y="74"/>
                    <a:pt x="31" y="76"/>
                    <a:pt x="38" y="76"/>
                  </a:cubicBezTo>
                  <a:cubicBezTo>
                    <a:pt x="50" y="76"/>
                    <a:pt x="62"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1" name="iśḻîḍê">
              <a:extLst>
                <a:ext uri="{FF2B5EF4-FFF2-40B4-BE49-F238E27FC236}">
                  <a16:creationId xmlns:a16="http://schemas.microsoft.com/office/drawing/2014/main" id="{F3758DA2-22D9-F019-C025-36D05E7DF9E9}"/>
                </a:ext>
              </a:extLst>
            </p:cNvPr>
            <p:cNvSpPr/>
            <p:nvPr/>
          </p:nvSpPr>
          <p:spPr bwMode="auto">
            <a:xfrm>
              <a:off x="5829301" y="3602038"/>
              <a:ext cx="306388" cy="306388"/>
            </a:xfrm>
            <a:custGeom>
              <a:avLst/>
              <a:gdLst>
                <a:gd name="T0" fmla="*/ 71 w 81"/>
                <a:gd name="T1" fmla="*/ 60 h 81"/>
                <a:gd name="T2" fmla="*/ 22 w 81"/>
                <a:gd name="T3" fmla="*/ 71 h 81"/>
                <a:gd name="T4" fmla="*/ 10 w 81"/>
                <a:gd name="T5" fmla="*/ 22 h 81"/>
                <a:gd name="T6" fmla="*/ 60 w 81"/>
                <a:gd name="T7" fmla="*/ 10 h 81"/>
                <a:gd name="T8" fmla="*/ 71 w 81"/>
                <a:gd name="T9" fmla="*/ 60 h 81"/>
              </a:gdLst>
              <a:ahLst/>
              <a:cxnLst>
                <a:cxn ang="0">
                  <a:pos x="T0" y="T1"/>
                </a:cxn>
                <a:cxn ang="0">
                  <a:pos x="T2" y="T3"/>
                </a:cxn>
                <a:cxn ang="0">
                  <a:pos x="T4" y="T5"/>
                </a:cxn>
                <a:cxn ang="0">
                  <a:pos x="T6" y="T7"/>
                </a:cxn>
                <a:cxn ang="0">
                  <a:pos x="T8" y="T9"/>
                </a:cxn>
              </a:cxnLst>
              <a:rect l="0" t="0" r="r" b="b"/>
              <a:pathLst>
                <a:path w="81" h="81">
                  <a:moveTo>
                    <a:pt x="71" y="60"/>
                  </a:moveTo>
                  <a:cubicBezTo>
                    <a:pt x="60" y="76"/>
                    <a:pt x="38" y="81"/>
                    <a:pt x="22" y="71"/>
                  </a:cubicBezTo>
                  <a:cubicBezTo>
                    <a:pt x="5" y="60"/>
                    <a:pt x="0" y="38"/>
                    <a:pt x="10" y="22"/>
                  </a:cubicBezTo>
                  <a:cubicBezTo>
                    <a:pt x="21" y="5"/>
                    <a:pt x="43" y="0"/>
                    <a:pt x="60" y="10"/>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2" name="iṩlíde">
              <a:extLst>
                <a:ext uri="{FF2B5EF4-FFF2-40B4-BE49-F238E27FC236}">
                  <a16:creationId xmlns:a16="http://schemas.microsoft.com/office/drawing/2014/main" id="{0806D483-ADE7-9E07-D099-08D7E1BF141C}"/>
                </a:ext>
              </a:extLst>
            </p:cNvPr>
            <p:cNvSpPr/>
            <p:nvPr/>
          </p:nvSpPr>
          <p:spPr bwMode="auto">
            <a:xfrm>
              <a:off x="5826126" y="3579813"/>
              <a:ext cx="309563"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3" y="0"/>
                    <a:pt x="60" y="11"/>
                  </a:cubicBezTo>
                  <a:cubicBezTo>
                    <a:pt x="77" y="21"/>
                    <a:pt x="82" y="44"/>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3" name="ïṡ1îďé">
              <a:extLst>
                <a:ext uri="{FF2B5EF4-FFF2-40B4-BE49-F238E27FC236}">
                  <a16:creationId xmlns:a16="http://schemas.microsoft.com/office/drawing/2014/main" id="{4A89A8A7-A4BF-EF01-CA3A-7060D66C07D1}"/>
                </a:ext>
              </a:extLst>
            </p:cNvPr>
            <p:cNvSpPr/>
            <p:nvPr/>
          </p:nvSpPr>
          <p:spPr bwMode="auto">
            <a:xfrm>
              <a:off x="5837238" y="3590925"/>
              <a:ext cx="287338" cy="287338"/>
            </a:xfrm>
            <a:custGeom>
              <a:avLst/>
              <a:gdLst>
                <a:gd name="T0" fmla="*/ 68 w 76"/>
                <a:gd name="T1" fmla="*/ 57 h 76"/>
                <a:gd name="T2" fmla="*/ 66 w 76"/>
                <a:gd name="T3" fmla="*/ 56 h 76"/>
                <a:gd name="T4" fmla="*/ 38 w 76"/>
                <a:gd name="T5" fmla="*/ 72 h 76"/>
                <a:gd name="T6" fmla="*/ 20 w 76"/>
                <a:gd name="T7" fmla="*/ 67 h 76"/>
                <a:gd name="T8" fmla="*/ 4 w 76"/>
                <a:gd name="T9" fmla="*/ 38 h 76"/>
                <a:gd name="T10" fmla="*/ 9 w 76"/>
                <a:gd name="T11" fmla="*/ 20 h 76"/>
                <a:gd name="T12" fmla="*/ 38 w 76"/>
                <a:gd name="T13" fmla="*/ 5 h 76"/>
                <a:gd name="T14" fmla="*/ 56 w 76"/>
                <a:gd name="T15" fmla="*/ 10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2"/>
                    <a:pt x="38" y="72"/>
                  </a:cubicBezTo>
                  <a:cubicBezTo>
                    <a:pt x="32" y="72"/>
                    <a:pt x="25" y="70"/>
                    <a:pt x="20" y="67"/>
                  </a:cubicBezTo>
                  <a:cubicBezTo>
                    <a:pt x="10" y="60"/>
                    <a:pt x="4" y="49"/>
                    <a:pt x="4" y="38"/>
                  </a:cubicBezTo>
                  <a:cubicBezTo>
                    <a:pt x="4" y="32"/>
                    <a:pt x="6" y="26"/>
                    <a:pt x="9" y="20"/>
                  </a:cubicBezTo>
                  <a:cubicBezTo>
                    <a:pt x="16" y="10"/>
                    <a:pt x="27" y="5"/>
                    <a:pt x="38" y="5"/>
                  </a:cubicBezTo>
                  <a:cubicBezTo>
                    <a:pt x="44" y="5"/>
                    <a:pt x="50" y="6"/>
                    <a:pt x="56" y="10"/>
                  </a:cubicBezTo>
                  <a:cubicBezTo>
                    <a:pt x="66" y="16"/>
                    <a:pt x="71" y="27"/>
                    <a:pt x="71" y="38"/>
                  </a:cubicBezTo>
                  <a:cubicBezTo>
                    <a:pt x="71" y="44"/>
                    <a:pt x="70" y="51"/>
                    <a:pt x="66" y="56"/>
                  </a:cubicBezTo>
                  <a:cubicBezTo>
                    <a:pt x="68" y="57"/>
                    <a:pt x="68" y="57"/>
                    <a:pt x="68" y="57"/>
                  </a:cubicBezTo>
                  <a:cubicBezTo>
                    <a:pt x="70" y="58"/>
                    <a:pt x="70" y="58"/>
                    <a:pt x="70" y="58"/>
                  </a:cubicBezTo>
                  <a:cubicBezTo>
                    <a:pt x="74" y="52"/>
                    <a:pt x="76" y="45"/>
                    <a:pt x="76" y="38"/>
                  </a:cubicBezTo>
                  <a:cubicBezTo>
                    <a:pt x="76" y="26"/>
                    <a:pt x="69" y="13"/>
                    <a:pt x="58" y="6"/>
                  </a:cubicBezTo>
                  <a:cubicBezTo>
                    <a:pt x="52" y="2"/>
                    <a:pt x="45" y="0"/>
                    <a:pt x="38" y="0"/>
                  </a:cubicBezTo>
                  <a:cubicBezTo>
                    <a:pt x="25" y="0"/>
                    <a:pt x="13" y="7"/>
                    <a:pt x="6" y="18"/>
                  </a:cubicBezTo>
                  <a:cubicBezTo>
                    <a:pt x="2" y="24"/>
                    <a:pt x="0" y="31"/>
                    <a:pt x="0" y="38"/>
                  </a:cubicBezTo>
                  <a:cubicBezTo>
                    <a:pt x="0" y="51"/>
                    <a:pt x="6" y="63"/>
                    <a:pt x="18" y="70"/>
                  </a:cubicBezTo>
                  <a:cubicBezTo>
                    <a:pt x="24" y="74"/>
                    <a:pt x="31" y="76"/>
                    <a:pt x="38" y="76"/>
                  </a:cubicBezTo>
                  <a:cubicBezTo>
                    <a:pt x="50" y="76"/>
                    <a:pt x="63" y="70"/>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4" name="íšḷïḓe">
              <a:extLst>
                <a:ext uri="{FF2B5EF4-FFF2-40B4-BE49-F238E27FC236}">
                  <a16:creationId xmlns:a16="http://schemas.microsoft.com/office/drawing/2014/main" id="{2105024B-A5DA-2DC5-5394-230EF515EF32}"/>
                </a:ext>
              </a:extLst>
            </p:cNvPr>
            <p:cNvSpPr/>
            <p:nvPr/>
          </p:nvSpPr>
          <p:spPr bwMode="auto">
            <a:xfrm>
              <a:off x="7086601" y="2873375"/>
              <a:ext cx="306388" cy="306388"/>
            </a:xfrm>
            <a:custGeom>
              <a:avLst/>
              <a:gdLst>
                <a:gd name="T0" fmla="*/ 71 w 81"/>
                <a:gd name="T1" fmla="*/ 59 h 81"/>
                <a:gd name="T2" fmla="*/ 22 w 81"/>
                <a:gd name="T3" fmla="*/ 71 h 81"/>
                <a:gd name="T4" fmla="*/ 10 w 81"/>
                <a:gd name="T5" fmla="*/ 21 h 81"/>
                <a:gd name="T6" fmla="*/ 60 w 81"/>
                <a:gd name="T7" fmla="*/ 10 h 81"/>
                <a:gd name="T8" fmla="*/ 71 w 81"/>
                <a:gd name="T9" fmla="*/ 59 h 81"/>
              </a:gdLst>
              <a:ahLst/>
              <a:cxnLst>
                <a:cxn ang="0">
                  <a:pos x="T0" y="T1"/>
                </a:cxn>
                <a:cxn ang="0">
                  <a:pos x="T2" y="T3"/>
                </a:cxn>
                <a:cxn ang="0">
                  <a:pos x="T4" y="T5"/>
                </a:cxn>
                <a:cxn ang="0">
                  <a:pos x="T6" y="T7"/>
                </a:cxn>
                <a:cxn ang="0">
                  <a:pos x="T8" y="T9"/>
                </a:cxn>
              </a:cxnLst>
              <a:rect l="0" t="0" r="r" b="b"/>
              <a:pathLst>
                <a:path w="81" h="81">
                  <a:moveTo>
                    <a:pt x="71" y="59"/>
                  </a:moveTo>
                  <a:cubicBezTo>
                    <a:pt x="60" y="76"/>
                    <a:pt x="38" y="81"/>
                    <a:pt x="22" y="71"/>
                  </a:cubicBezTo>
                  <a:cubicBezTo>
                    <a:pt x="5" y="60"/>
                    <a:pt x="0" y="38"/>
                    <a:pt x="10" y="21"/>
                  </a:cubicBezTo>
                  <a:cubicBezTo>
                    <a:pt x="21" y="5"/>
                    <a:pt x="43" y="0"/>
                    <a:pt x="60" y="10"/>
                  </a:cubicBezTo>
                  <a:cubicBezTo>
                    <a:pt x="76" y="21"/>
                    <a:pt x="81" y="43"/>
                    <a:pt x="71" y="59"/>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5" name="íşlidé">
              <a:extLst>
                <a:ext uri="{FF2B5EF4-FFF2-40B4-BE49-F238E27FC236}">
                  <a16:creationId xmlns:a16="http://schemas.microsoft.com/office/drawing/2014/main" id="{42BB481D-2BFE-C6C0-6EA7-6445231ADBE2}"/>
                </a:ext>
              </a:extLst>
            </p:cNvPr>
            <p:cNvSpPr/>
            <p:nvPr/>
          </p:nvSpPr>
          <p:spPr bwMode="auto">
            <a:xfrm>
              <a:off x="7083426" y="2851150"/>
              <a:ext cx="306388" cy="309563"/>
            </a:xfrm>
            <a:custGeom>
              <a:avLst/>
              <a:gdLst>
                <a:gd name="T0" fmla="*/ 71 w 81"/>
                <a:gd name="T1" fmla="*/ 60 h 82"/>
                <a:gd name="T2" fmla="*/ 22 w 81"/>
                <a:gd name="T3" fmla="*/ 71 h 82"/>
                <a:gd name="T4" fmla="*/ 10 w 81"/>
                <a:gd name="T5" fmla="*/ 22 h 82"/>
                <a:gd name="T6" fmla="*/ 60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2" y="71"/>
                  </a:cubicBezTo>
                  <a:cubicBezTo>
                    <a:pt x="5" y="61"/>
                    <a:pt x="0" y="39"/>
                    <a:pt x="10" y="22"/>
                  </a:cubicBezTo>
                  <a:cubicBezTo>
                    <a:pt x="21" y="5"/>
                    <a:pt x="43" y="0"/>
                    <a:pt x="60" y="11"/>
                  </a:cubicBezTo>
                  <a:cubicBezTo>
                    <a:pt x="76" y="21"/>
                    <a:pt x="81"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6" name="îṧḻîḑè">
              <a:extLst>
                <a:ext uri="{FF2B5EF4-FFF2-40B4-BE49-F238E27FC236}">
                  <a16:creationId xmlns:a16="http://schemas.microsoft.com/office/drawing/2014/main" id="{96DBB3C1-1753-1A5F-FD52-20D1136B4F9D}"/>
                </a:ext>
              </a:extLst>
            </p:cNvPr>
            <p:cNvSpPr/>
            <p:nvPr/>
          </p:nvSpPr>
          <p:spPr bwMode="auto">
            <a:xfrm>
              <a:off x="7094538" y="2862263"/>
              <a:ext cx="287338" cy="287338"/>
            </a:xfrm>
            <a:custGeom>
              <a:avLst/>
              <a:gdLst>
                <a:gd name="T0" fmla="*/ 68 w 76"/>
                <a:gd name="T1" fmla="*/ 57 h 76"/>
                <a:gd name="T2" fmla="*/ 66 w 76"/>
                <a:gd name="T3" fmla="*/ 56 h 76"/>
                <a:gd name="T4" fmla="*/ 38 w 76"/>
                <a:gd name="T5" fmla="*/ 72 h 76"/>
                <a:gd name="T6" fmla="*/ 20 w 76"/>
                <a:gd name="T7" fmla="*/ 66 h 76"/>
                <a:gd name="T8" fmla="*/ 4 w 76"/>
                <a:gd name="T9" fmla="*/ 38 h 76"/>
                <a:gd name="T10" fmla="*/ 9 w 76"/>
                <a:gd name="T11" fmla="*/ 20 h 76"/>
                <a:gd name="T12" fmla="*/ 38 w 76"/>
                <a:gd name="T13" fmla="*/ 4 h 76"/>
                <a:gd name="T14" fmla="*/ 56 w 76"/>
                <a:gd name="T15" fmla="*/ 9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2"/>
                    <a:pt x="38" y="72"/>
                  </a:cubicBezTo>
                  <a:cubicBezTo>
                    <a:pt x="32" y="72"/>
                    <a:pt x="25" y="70"/>
                    <a:pt x="20" y="66"/>
                  </a:cubicBezTo>
                  <a:cubicBezTo>
                    <a:pt x="10" y="60"/>
                    <a:pt x="4" y="49"/>
                    <a:pt x="4" y="38"/>
                  </a:cubicBezTo>
                  <a:cubicBezTo>
                    <a:pt x="4" y="32"/>
                    <a:pt x="6" y="26"/>
                    <a:pt x="9" y="20"/>
                  </a:cubicBezTo>
                  <a:cubicBezTo>
                    <a:pt x="16" y="10"/>
                    <a:pt x="27" y="4"/>
                    <a:pt x="38" y="4"/>
                  </a:cubicBezTo>
                  <a:cubicBezTo>
                    <a:pt x="44" y="4"/>
                    <a:pt x="50" y="6"/>
                    <a:pt x="56" y="9"/>
                  </a:cubicBezTo>
                  <a:cubicBezTo>
                    <a:pt x="66" y="16"/>
                    <a:pt x="71" y="27"/>
                    <a:pt x="71" y="38"/>
                  </a:cubicBezTo>
                  <a:cubicBezTo>
                    <a:pt x="71" y="44"/>
                    <a:pt x="70" y="50"/>
                    <a:pt x="66" y="56"/>
                  </a:cubicBezTo>
                  <a:cubicBezTo>
                    <a:pt x="68" y="57"/>
                    <a:pt x="68" y="57"/>
                    <a:pt x="68" y="57"/>
                  </a:cubicBezTo>
                  <a:cubicBezTo>
                    <a:pt x="70" y="58"/>
                    <a:pt x="70" y="58"/>
                    <a:pt x="70" y="58"/>
                  </a:cubicBezTo>
                  <a:cubicBezTo>
                    <a:pt x="74" y="52"/>
                    <a:pt x="76" y="45"/>
                    <a:pt x="76" y="38"/>
                  </a:cubicBezTo>
                  <a:cubicBezTo>
                    <a:pt x="76" y="25"/>
                    <a:pt x="69" y="13"/>
                    <a:pt x="58" y="6"/>
                  </a:cubicBezTo>
                  <a:cubicBezTo>
                    <a:pt x="52" y="2"/>
                    <a:pt x="45" y="0"/>
                    <a:pt x="38" y="0"/>
                  </a:cubicBezTo>
                  <a:cubicBezTo>
                    <a:pt x="25" y="0"/>
                    <a:pt x="13" y="6"/>
                    <a:pt x="6" y="18"/>
                  </a:cubicBezTo>
                  <a:cubicBezTo>
                    <a:pt x="2" y="24"/>
                    <a:pt x="0" y="31"/>
                    <a:pt x="0" y="38"/>
                  </a:cubicBezTo>
                  <a:cubicBezTo>
                    <a:pt x="0" y="50"/>
                    <a:pt x="6" y="63"/>
                    <a:pt x="18" y="70"/>
                  </a:cubicBezTo>
                  <a:cubicBezTo>
                    <a:pt x="24" y="74"/>
                    <a:pt x="31" y="76"/>
                    <a:pt x="38" y="76"/>
                  </a:cubicBezTo>
                  <a:cubicBezTo>
                    <a:pt x="50" y="76"/>
                    <a:pt x="63"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7" name="iṣḻíḑè">
              <a:extLst>
                <a:ext uri="{FF2B5EF4-FFF2-40B4-BE49-F238E27FC236}">
                  <a16:creationId xmlns:a16="http://schemas.microsoft.com/office/drawing/2014/main" id="{CDBE2ABA-FCA6-5304-DF34-2446203E9A79}"/>
                </a:ext>
              </a:extLst>
            </p:cNvPr>
            <p:cNvSpPr/>
            <p:nvPr/>
          </p:nvSpPr>
          <p:spPr bwMode="auto">
            <a:xfrm>
              <a:off x="6867526" y="3221038"/>
              <a:ext cx="306388" cy="306388"/>
            </a:xfrm>
            <a:custGeom>
              <a:avLst/>
              <a:gdLst>
                <a:gd name="T0" fmla="*/ 71 w 81"/>
                <a:gd name="T1" fmla="*/ 60 h 81"/>
                <a:gd name="T2" fmla="*/ 22 w 81"/>
                <a:gd name="T3" fmla="*/ 71 h 81"/>
                <a:gd name="T4" fmla="*/ 10 w 81"/>
                <a:gd name="T5" fmla="*/ 22 h 81"/>
                <a:gd name="T6" fmla="*/ 60 w 81"/>
                <a:gd name="T7" fmla="*/ 10 h 81"/>
                <a:gd name="T8" fmla="*/ 71 w 81"/>
                <a:gd name="T9" fmla="*/ 60 h 81"/>
              </a:gdLst>
              <a:ahLst/>
              <a:cxnLst>
                <a:cxn ang="0">
                  <a:pos x="T0" y="T1"/>
                </a:cxn>
                <a:cxn ang="0">
                  <a:pos x="T2" y="T3"/>
                </a:cxn>
                <a:cxn ang="0">
                  <a:pos x="T4" y="T5"/>
                </a:cxn>
                <a:cxn ang="0">
                  <a:pos x="T6" y="T7"/>
                </a:cxn>
                <a:cxn ang="0">
                  <a:pos x="T8" y="T9"/>
                </a:cxn>
              </a:cxnLst>
              <a:rect l="0" t="0" r="r" b="b"/>
              <a:pathLst>
                <a:path w="81" h="81">
                  <a:moveTo>
                    <a:pt x="71" y="60"/>
                  </a:moveTo>
                  <a:cubicBezTo>
                    <a:pt x="60" y="76"/>
                    <a:pt x="38" y="81"/>
                    <a:pt x="22" y="71"/>
                  </a:cubicBezTo>
                  <a:cubicBezTo>
                    <a:pt x="5" y="60"/>
                    <a:pt x="0" y="38"/>
                    <a:pt x="10" y="22"/>
                  </a:cubicBezTo>
                  <a:cubicBezTo>
                    <a:pt x="21" y="5"/>
                    <a:pt x="43" y="0"/>
                    <a:pt x="60" y="10"/>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8" name="iṥliḓè">
              <a:extLst>
                <a:ext uri="{FF2B5EF4-FFF2-40B4-BE49-F238E27FC236}">
                  <a16:creationId xmlns:a16="http://schemas.microsoft.com/office/drawing/2014/main" id="{74079C97-99FE-753E-8601-263672BD409F}"/>
                </a:ext>
              </a:extLst>
            </p:cNvPr>
            <p:cNvSpPr/>
            <p:nvPr/>
          </p:nvSpPr>
          <p:spPr bwMode="auto">
            <a:xfrm>
              <a:off x="6864351" y="3198813"/>
              <a:ext cx="306388" cy="309563"/>
            </a:xfrm>
            <a:custGeom>
              <a:avLst/>
              <a:gdLst>
                <a:gd name="T0" fmla="*/ 71 w 81"/>
                <a:gd name="T1" fmla="*/ 60 h 82"/>
                <a:gd name="T2" fmla="*/ 22 w 81"/>
                <a:gd name="T3" fmla="*/ 71 h 82"/>
                <a:gd name="T4" fmla="*/ 10 w 81"/>
                <a:gd name="T5" fmla="*/ 22 h 82"/>
                <a:gd name="T6" fmla="*/ 60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2" y="71"/>
                  </a:cubicBezTo>
                  <a:cubicBezTo>
                    <a:pt x="5" y="61"/>
                    <a:pt x="0" y="39"/>
                    <a:pt x="10" y="22"/>
                  </a:cubicBezTo>
                  <a:cubicBezTo>
                    <a:pt x="21" y="5"/>
                    <a:pt x="43" y="0"/>
                    <a:pt x="60" y="11"/>
                  </a:cubicBezTo>
                  <a:cubicBezTo>
                    <a:pt x="76" y="21"/>
                    <a:pt x="81" y="44"/>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9" name="iśľiḑé">
              <a:extLst>
                <a:ext uri="{FF2B5EF4-FFF2-40B4-BE49-F238E27FC236}">
                  <a16:creationId xmlns:a16="http://schemas.microsoft.com/office/drawing/2014/main" id="{DD3D1DDC-D077-B5E2-69F1-4E496F21439E}"/>
                </a:ext>
              </a:extLst>
            </p:cNvPr>
            <p:cNvSpPr/>
            <p:nvPr/>
          </p:nvSpPr>
          <p:spPr bwMode="auto">
            <a:xfrm>
              <a:off x="6875463" y="3209925"/>
              <a:ext cx="287338" cy="287338"/>
            </a:xfrm>
            <a:custGeom>
              <a:avLst/>
              <a:gdLst>
                <a:gd name="T0" fmla="*/ 68 w 76"/>
                <a:gd name="T1" fmla="*/ 57 h 76"/>
                <a:gd name="T2" fmla="*/ 66 w 76"/>
                <a:gd name="T3" fmla="*/ 56 h 76"/>
                <a:gd name="T4" fmla="*/ 38 w 76"/>
                <a:gd name="T5" fmla="*/ 72 h 76"/>
                <a:gd name="T6" fmla="*/ 20 w 76"/>
                <a:gd name="T7" fmla="*/ 67 h 76"/>
                <a:gd name="T8" fmla="*/ 4 w 76"/>
                <a:gd name="T9" fmla="*/ 38 h 76"/>
                <a:gd name="T10" fmla="*/ 9 w 76"/>
                <a:gd name="T11" fmla="*/ 20 h 76"/>
                <a:gd name="T12" fmla="*/ 38 w 76"/>
                <a:gd name="T13" fmla="*/ 5 h 76"/>
                <a:gd name="T14" fmla="*/ 56 w 76"/>
                <a:gd name="T15" fmla="*/ 10 h 76"/>
                <a:gd name="T16" fmla="*/ 71 w 76"/>
                <a:gd name="T17" fmla="*/ 38 h 76"/>
                <a:gd name="T18" fmla="*/ 66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6" y="56"/>
                    <a:pt x="66" y="56"/>
                    <a:pt x="66" y="56"/>
                  </a:cubicBezTo>
                  <a:cubicBezTo>
                    <a:pt x="60" y="66"/>
                    <a:pt x="49" y="72"/>
                    <a:pt x="38" y="72"/>
                  </a:cubicBezTo>
                  <a:cubicBezTo>
                    <a:pt x="32" y="72"/>
                    <a:pt x="25" y="70"/>
                    <a:pt x="20" y="67"/>
                  </a:cubicBezTo>
                  <a:cubicBezTo>
                    <a:pt x="10" y="60"/>
                    <a:pt x="4" y="49"/>
                    <a:pt x="4" y="38"/>
                  </a:cubicBezTo>
                  <a:cubicBezTo>
                    <a:pt x="4" y="32"/>
                    <a:pt x="6" y="26"/>
                    <a:pt x="9" y="20"/>
                  </a:cubicBezTo>
                  <a:cubicBezTo>
                    <a:pt x="16" y="10"/>
                    <a:pt x="27" y="5"/>
                    <a:pt x="38" y="5"/>
                  </a:cubicBezTo>
                  <a:cubicBezTo>
                    <a:pt x="44" y="5"/>
                    <a:pt x="50" y="6"/>
                    <a:pt x="56" y="10"/>
                  </a:cubicBezTo>
                  <a:cubicBezTo>
                    <a:pt x="66" y="16"/>
                    <a:pt x="71" y="27"/>
                    <a:pt x="71" y="38"/>
                  </a:cubicBezTo>
                  <a:cubicBezTo>
                    <a:pt x="71" y="44"/>
                    <a:pt x="70" y="51"/>
                    <a:pt x="66" y="56"/>
                  </a:cubicBezTo>
                  <a:cubicBezTo>
                    <a:pt x="68" y="57"/>
                    <a:pt x="68" y="57"/>
                    <a:pt x="68" y="57"/>
                  </a:cubicBezTo>
                  <a:cubicBezTo>
                    <a:pt x="70" y="58"/>
                    <a:pt x="70" y="58"/>
                    <a:pt x="70" y="58"/>
                  </a:cubicBezTo>
                  <a:cubicBezTo>
                    <a:pt x="74" y="52"/>
                    <a:pt x="76" y="45"/>
                    <a:pt x="76" y="38"/>
                  </a:cubicBezTo>
                  <a:cubicBezTo>
                    <a:pt x="76" y="26"/>
                    <a:pt x="69" y="13"/>
                    <a:pt x="58" y="6"/>
                  </a:cubicBezTo>
                  <a:cubicBezTo>
                    <a:pt x="52" y="2"/>
                    <a:pt x="45" y="0"/>
                    <a:pt x="38" y="0"/>
                  </a:cubicBezTo>
                  <a:cubicBezTo>
                    <a:pt x="25" y="0"/>
                    <a:pt x="13" y="7"/>
                    <a:pt x="6" y="18"/>
                  </a:cubicBezTo>
                  <a:cubicBezTo>
                    <a:pt x="2" y="24"/>
                    <a:pt x="0" y="31"/>
                    <a:pt x="0" y="38"/>
                  </a:cubicBezTo>
                  <a:cubicBezTo>
                    <a:pt x="0" y="51"/>
                    <a:pt x="6" y="63"/>
                    <a:pt x="18" y="70"/>
                  </a:cubicBezTo>
                  <a:cubicBezTo>
                    <a:pt x="24" y="74"/>
                    <a:pt x="31" y="76"/>
                    <a:pt x="38" y="76"/>
                  </a:cubicBezTo>
                  <a:cubicBezTo>
                    <a:pt x="50" y="76"/>
                    <a:pt x="63" y="70"/>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0" name="iṡļïdé">
              <a:extLst>
                <a:ext uri="{FF2B5EF4-FFF2-40B4-BE49-F238E27FC236}">
                  <a16:creationId xmlns:a16="http://schemas.microsoft.com/office/drawing/2014/main" id="{03EAFAB9-48C2-EB7D-E8FD-69141215F139}"/>
                </a:ext>
              </a:extLst>
            </p:cNvPr>
            <p:cNvSpPr/>
            <p:nvPr/>
          </p:nvSpPr>
          <p:spPr bwMode="auto">
            <a:xfrm>
              <a:off x="6642101" y="3576638"/>
              <a:ext cx="309563" cy="309563"/>
            </a:xfrm>
            <a:custGeom>
              <a:avLst/>
              <a:gdLst>
                <a:gd name="T0" fmla="*/ 71 w 82"/>
                <a:gd name="T1" fmla="*/ 60 h 82"/>
                <a:gd name="T2" fmla="*/ 22 w 82"/>
                <a:gd name="T3" fmla="*/ 72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2"/>
                  </a:cubicBezTo>
                  <a:cubicBezTo>
                    <a:pt x="5" y="61"/>
                    <a:pt x="0" y="39"/>
                    <a:pt x="11" y="22"/>
                  </a:cubicBezTo>
                  <a:cubicBezTo>
                    <a:pt x="21" y="6"/>
                    <a:pt x="43" y="0"/>
                    <a:pt x="60" y="11"/>
                  </a:cubicBezTo>
                  <a:cubicBezTo>
                    <a:pt x="77" y="21"/>
                    <a:pt x="82" y="44"/>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1" name="îSľîḑè">
              <a:extLst>
                <a:ext uri="{FF2B5EF4-FFF2-40B4-BE49-F238E27FC236}">
                  <a16:creationId xmlns:a16="http://schemas.microsoft.com/office/drawing/2014/main" id="{0FB150DB-C87D-6831-0E78-D413D72E56BD}"/>
                </a:ext>
              </a:extLst>
            </p:cNvPr>
            <p:cNvSpPr/>
            <p:nvPr/>
          </p:nvSpPr>
          <p:spPr bwMode="auto">
            <a:xfrm>
              <a:off x="6637338" y="3557588"/>
              <a:ext cx="309563" cy="309563"/>
            </a:xfrm>
            <a:custGeom>
              <a:avLst/>
              <a:gdLst>
                <a:gd name="T0" fmla="*/ 71 w 82"/>
                <a:gd name="T1" fmla="*/ 60 h 82"/>
                <a:gd name="T2" fmla="*/ 22 w 82"/>
                <a:gd name="T3" fmla="*/ 71 h 82"/>
                <a:gd name="T4" fmla="*/ 11 w 82"/>
                <a:gd name="T5" fmla="*/ 22 h 82"/>
                <a:gd name="T6" fmla="*/ 60 w 82"/>
                <a:gd name="T7" fmla="*/ 11 h 82"/>
                <a:gd name="T8" fmla="*/ 71 w 82"/>
                <a:gd name="T9" fmla="*/ 60 h 82"/>
              </a:gdLst>
              <a:ahLst/>
              <a:cxnLst>
                <a:cxn ang="0">
                  <a:pos x="T0" y="T1"/>
                </a:cxn>
                <a:cxn ang="0">
                  <a:pos x="T2" y="T3"/>
                </a:cxn>
                <a:cxn ang="0">
                  <a:pos x="T4" y="T5"/>
                </a:cxn>
                <a:cxn ang="0">
                  <a:pos x="T6" y="T7"/>
                </a:cxn>
                <a:cxn ang="0">
                  <a:pos x="T8" y="T9"/>
                </a:cxn>
              </a:cxnLst>
              <a:rect l="0" t="0" r="r" b="b"/>
              <a:pathLst>
                <a:path w="82" h="82">
                  <a:moveTo>
                    <a:pt x="71" y="60"/>
                  </a:moveTo>
                  <a:cubicBezTo>
                    <a:pt x="61" y="77"/>
                    <a:pt x="39" y="82"/>
                    <a:pt x="22" y="71"/>
                  </a:cubicBezTo>
                  <a:cubicBezTo>
                    <a:pt x="5" y="61"/>
                    <a:pt x="0" y="39"/>
                    <a:pt x="11" y="22"/>
                  </a:cubicBezTo>
                  <a:cubicBezTo>
                    <a:pt x="21" y="5"/>
                    <a:pt x="44" y="0"/>
                    <a:pt x="60" y="11"/>
                  </a:cubicBezTo>
                  <a:cubicBezTo>
                    <a:pt x="77" y="21"/>
                    <a:pt x="82" y="43"/>
                    <a:pt x="71" y="60"/>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2" name="iṡḷïḑè">
              <a:extLst>
                <a:ext uri="{FF2B5EF4-FFF2-40B4-BE49-F238E27FC236}">
                  <a16:creationId xmlns:a16="http://schemas.microsoft.com/office/drawing/2014/main" id="{764423D9-1DA0-52FE-587E-A7A3B31D9C52}"/>
                </a:ext>
              </a:extLst>
            </p:cNvPr>
            <p:cNvSpPr/>
            <p:nvPr/>
          </p:nvSpPr>
          <p:spPr bwMode="auto">
            <a:xfrm>
              <a:off x="6648451" y="3568700"/>
              <a:ext cx="287338" cy="287338"/>
            </a:xfrm>
            <a:custGeom>
              <a:avLst/>
              <a:gdLst>
                <a:gd name="T0" fmla="*/ 68 w 76"/>
                <a:gd name="T1" fmla="*/ 57 h 76"/>
                <a:gd name="T2" fmla="*/ 67 w 76"/>
                <a:gd name="T3" fmla="*/ 56 h 76"/>
                <a:gd name="T4" fmla="*/ 38 w 76"/>
                <a:gd name="T5" fmla="*/ 71 h 76"/>
                <a:gd name="T6" fmla="*/ 20 w 76"/>
                <a:gd name="T7" fmla="*/ 66 h 76"/>
                <a:gd name="T8" fmla="*/ 5 w 76"/>
                <a:gd name="T9" fmla="*/ 38 h 76"/>
                <a:gd name="T10" fmla="*/ 10 w 76"/>
                <a:gd name="T11" fmla="*/ 20 h 76"/>
                <a:gd name="T12" fmla="*/ 38 w 76"/>
                <a:gd name="T13" fmla="*/ 4 h 76"/>
                <a:gd name="T14" fmla="*/ 56 w 76"/>
                <a:gd name="T15" fmla="*/ 9 h 76"/>
                <a:gd name="T16" fmla="*/ 72 w 76"/>
                <a:gd name="T17" fmla="*/ 38 h 76"/>
                <a:gd name="T18" fmla="*/ 67 w 76"/>
                <a:gd name="T19" fmla="*/ 56 h 76"/>
                <a:gd name="T20" fmla="*/ 68 w 76"/>
                <a:gd name="T21" fmla="*/ 57 h 76"/>
                <a:gd name="T22" fmla="*/ 70 w 76"/>
                <a:gd name="T23" fmla="*/ 58 h 76"/>
                <a:gd name="T24" fmla="*/ 76 w 76"/>
                <a:gd name="T25" fmla="*/ 38 h 76"/>
                <a:gd name="T26" fmla="*/ 58 w 76"/>
                <a:gd name="T27" fmla="*/ 6 h 76"/>
                <a:gd name="T28" fmla="*/ 38 w 76"/>
                <a:gd name="T29" fmla="*/ 0 h 76"/>
                <a:gd name="T30" fmla="*/ 6 w 76"/>
                <a:gd name="T31" fmla="*/ 18 h 76"/>
                <a:gd name="T32" fmla="*/ 0 w 76"/>
                <a:gd name="T33" fmla="*/ 38 h 76"/>
                <a:gd name="T34" fmla="*/ 18 w 76"/>
                <a:gd name="T35" fmla="*/ 70 h 76"/>
                <a:gd name="T36" fmla="*/ 38 w 76"/>
                <a:gd name="T37" fmla="*/ 76 h 76"/>
                <a:gd name="T38" fmla="*/ 70 w 76"/>
                <a:gd name="T39" fmla="*/ 58 h 76"/>
                <a:gd name="T40" fmla="*/ 68 w 76"/>
                <a:gd name="T41" fmla="*/ 5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76">
                  <a:moveTo>
                    <a:pt x="68" y="57"/>
                  </a:moveTo>
                  <a:cubicBezTo>
                    <a:pt x="67" y="56"/>
                    <a:pt x="67" y="56"/>
                    <a:pt x="67" y="56"/>
                  </a:cubicBezTo>
                  <a:cubicBezTo>
                    <a:pt x="60" y="66"/>
                    <a:pt x="49" y="71"/>
                    <a:pt x="38" y="71"/>
                  </a:cubicBezTo>
                  <a:cubicBezTo>
                    <a:pt x="32" y="71"/>
                    <a:pt x="26" y="70"/>
                    <a:pt x="20" y="66"/>
                  </a:cubicBezTo>
                  <a:cubicBezTo>
                    <a:pt x="10" y="60"/>
                    <a:pt x="5" y="49"/>
                    <a:pt x="5" y="38"/>
                  </a:cubicBezTo>
                  <a:cubicBezTo>
                    <a:pt x="5" y="32"/>
                    <a:pt x="6" y="26"/>
                    <a:pt x="10" y="20"/>
                  </a:cubicBezTo>
                  <a:cubicBezTo>
                    <a:pt x="16" y="10"/>
                    <a:pt x="27" y="4"/>
                    <a:pt x="38" y="4"/>
                  </a:cubicBezTo>
                  <a:cubicBezTo>
                    <a:pt x="44" y="4"/>
                    <a:pt x="51" y="6"/>
                    <a:pt x="56" y="9"/>
                  </a:cubicBezTo>
                  <a:cubicBezTo>
                    <a:pt x="66" y="16"/>
                    <a:pt x="72" y="27"/>
                    <a:pt x="72" y="38"/>
                  </a:cubicBezTo>
                  <a:cubicBezTo>
                    <a:pt x="72" y="44"/>
                    <a:pt x="70" y="50"/>
                    <a:pt x="67" y="56"/>
                  </a:cubicBezTo>
                  <a:cubicBezTo>
                    <a:pt x="68" y="57"/>
                    <a:pt x="68" y="57"/>
                    <a:pt x="68" y="57"/>
                  </a:cubicBezTo>
                  <a:cubicBezTo>
                    <a:pt x="70" y="58"/>
                    <a:pt x="70" y="58"/>
                    <a:pt x="70" y="58"/>
                  </a:cubicBezTo>
                  <a:cubicBezTo>
                    <a:pt x="74" y="52"/>
                    <a:pt x="76" y="45"/>
                    <a:pt x="76" y="38"/>
                  </a:cubicBezTo>
                  <a:cubicBezTo>
                    <a:pt x="76" y="25"/>
                    <a:pt x="70" y="13"/>
                    <a:pt x="58" y="6"/>
                  </a:cubicBezTo>
                  <a:cubicBezTo>
                    <a:pt x="52" y="2"/>
                    <a:pt x="45" y="0"/>
                    <a:pt x="38" y="0"/>
                  </a:cubicBezTo>
                  <a:cubicBezTo>
                    <a:pt x="26" y="0"/>
                    <a:pt x="13" y="6"/>
                    <a:pt x="6" y="18"/>
                  </a:cubicBezTo>
                  <a:cubicBezTo>
                    <a:pt x="2" y="24"/>
                    <a:pt x="0" y="31"/>
                    <a:pt x="0" y="38"/>
                  </a:cubicBezTo>
                  <a:cubicBezTo>
                    <a:pt x="0" y="50"/>
                    <a:pt x="7" y="63"/>
                    <a:pt x="18" y="70"/>
                  </a:cubicBezTo>
                  <a:cubicBezTo>
                    <a:pt x="24" y="74"/>
                    <a:pt x="31" y="76"/>
                    <a:pt x="38" y="76"/>
                  </a:cubicBezTo>
                  <a:cubicBezTo>
                    <a:pt x="51" y="76"/>
                    <a:pt x="63" y="69"/>
                    <a:pt x="70" y="58"/>
                  </a:cubicBezTo>
                  <a:lnTo>
                    <a:pt x="68" y="57"/>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3" name="îSľíḑe">
              <a:extLst>
                <a:ext uri="{FF2B5EF4-FFF2-40B4-BE49-F238E27FC236}">
                  <a16:creationId xmlns:a16="http://schemas.microsoft.com/office/drawing/2014/main" id="{0C88471E-1309-D0DF-C557-CBE53D082BE6}"/>
                </a:ext>
              </a:extLst>
            </p:cNvPr>
            <p:cNvSpPr/>
            <p:nvPr/>
          </p:nvSpPr>
          <p:spPr bwMode="auto">
            <a:xfrm>
              <a:off x="6403976" y="3960813"/>
              <a:ext cx="306388" cy="311150"/>
            </a:xfrm>
            <a:custGeom>
              <a:avLst/>
              <a:gdLst>
                <a:gd name="T0" fmla="*/ 71 w 81"/>
                <a:gd name="T1" fmla="*/ 60 h 82"/>
                <a:gd name="T2" fmla="*/ 21 w 81"/>
                <a:gd name="T3" fmla="*/ 71 h 82"/>
                <a:gd name="T4" fmla="*/ 10 w 81"/>
                <a:gd name="T5" fmla="*/ 22 h 82"/>
                <a:gd name="T6" fmla="*/ 59 w 81"/>
                <a:gd name="T7" fmla="*/ 11 h 82"/>
                <a:gd name="T8" fmla="*/ 71 w 81"/>
                <a:gd name="T9" fmla="*/ 60 h 82"/>
              </a:gdLst>
              <a:ahLst/>
              <a:cxnLst>
                <a:cxn ang="0">
                  <a:pos x="T0" y="T1"/>
                </a:cxn>
                <a:cxn ang="0">
                  <a:pos x="T2" y="T3"/>
                </a:cxn>
                <a:cxn ang="0">
                  <a:pos x="T4" y="T5"/>
                </a:cxn>
                <a:cxn ang="0">
                  <a:pos x="T6" y="T7"/>
                </a:cxn>
                <a:cxn ang="0">
                  <a:pos x="T8" y="T9"/>
                </a:cxn>
              </a:cxnLst>
              <a:rect l="0" t="0" r="r" b="b"/>
              <a:pathLst>
                <a:path w="81" h="82">
                  <a:moveTo>
                    <a:pt x="71" y="60"/>
                  </a:moveTo>
                  <a:cubicBezTo>
                    <a:pt x="60" y="77"/>
                    <a:pt x="38" y="82"/>
                    <a:pt x="21" y="71"/>
                  </a:cubicBezTo>
                  <a:cubicBezTo>
                    <a:pt x="5" y="61"/>
                    <a:pt x="0" y="39"/>
                    <a:pt x="10" y="22"/>
                  </a:cubicBezTo>
                  <a:cubicBezTo>
                    <a:pt x="21" y="5"/>
                    <a:pt x="43" y="0"/>
                    <a:pt x="59" y="11"/>
                  </a:cubicBezTo>
                  <a:cubicBezTo>
                    <a:pt x="76" y="21"/>
                    <a:pt x="81" y="43"/>
                    <a:pt x="71" y="60"/>
                  </a:cubicBez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4" name="ï$lïdê">
              <a:extLst>
                <a:ext uri="{FF2B5EF4-FFF2-40B4-BE49-F238E27FC236}">
                  <a16:creationId xmlns:a16="http://schemas.microsoft.com/office/drawing/2014/main" id="{558C77EA-F5A5-58CE-E996-C1BF5D0E4BCA}"/>
                </a:ext>
              </a:extLst>
            </p:cNvPr>
            <p:cNvSpPr/>
            <p:nvPr/>
          </p:nvSpPr>
          <p:spPr bwMode="auto">
            <a:xfrm>
              <a:off x="6399213" y="3943350"/>
              <a:ext cx="306388" cy="304800"/>
            </a:xfrm>
            <a:custGeom>
              <a:avLst/>
              <a:gdLst>
                <a:gd name="T0" fmla="*/ 71 w 81"/>
                <a:gd name="T1" fmla="*/ 59 h 81"/>
                <a:gd name="T2" fmla="*/ 21 w 81"/>
                <a:gd name="T3" fmla="*/ 71 h 81"/>
                <a:gd name="T4" fmla="*/ 10 w 81"/>
                <a:gd name="T5" fmla="*/ 21 h 81"/>
                <a:gd name="T6" fmla="*/ 59 w 81"/>
                <a:gd name="T7" fmla="*/ 10 h 81"/>
                <a:gd name="T8" fmla="*/ 71 w 81"/>
                <a:gd name="T9" fmla="*/ 59 h 81"/>
              </a:gdLst>
              <a:ahLst/>
              <a:cxnLst>
                <a:cxn ang="0">
                  <a:pos x="T0" y="T1"/>
                </a:cxn>
                <a:cxn ang="0">
                  <a:pos x="T2" y="T3"/>
                </a:cxn>
                <a:cxn ang="0">
                  <a:pos x="T4" y="T5"/>
                </a:cxn>
                <a:cxn ang="0">
                  <a:pos x="T6" y="T7"/>
                </a:cxn>
                <a:cxn ang="0">
                  <a:pos x="T8" y="T9"/>
                </a:cxn>
              </a:cxnLst>
              <a:rect l="0" t="0" r="r" b="b"/>
              <a:pathLst>
                <a:path w="81" h="81">
                  <a:moveTo>
                    <a:pt x="71" y="59"/>
                  </a:moveTo>
                  <a:cubicBezTo>
                    <a:pt x="60" y="76"/>
                    <a:pt x="38" y="81"/>
                    <a:pt x="21" y="71"/>
                  </a:cubicBezTo>
                  <a:cubicBezTo>
                    <a:pt x="5" y="60"/>
                    <a:pt x="0" y="38"/>
                    <a:pt x="10" y="21"/>
                  </a:cubicBezTo>
                  <a:cubicBezTo>
                    <a:pt x="21" y="5"/>
                    <a:pt x="43" y="0"/>
                    <a:pt x="59" y="10"/>
                  </a:cubicBezTo>
                  <a:cubicBezTo>
                    <a:pt x="76" y="21"/>
                    <a:pt x="81" y="43"/>
                    <a:pt x="71" y="59"/>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5" name="iṣ1íḍe">
              <a:extLst>
                <a:ext uri="{FF2B5EF4-FFF2-40B4-BE49-F238E27FC236}">
                  <a16:creationId xmlns:a16="http://schemas.microsoft.com/office/drawing/2014/main" id="{4056C192-3E0C-071F-1D6C-367677C5E902}"/>
                </a:ext>
              </a:extLst>
            </p:cNvPr>
            <p:cNvSpPr/>
            <p:nvPr/>
          </p:nvSpPr>
          <p:spPr bwMode="auto">
            <a:xfrm>
              <a:off x="6411913" y="3954463"/>
              <a:ext cx="282575" cy="282575"/>
            </a:xfrm>
            <a:custGeom>
              <a:avLst/>
              <a:gdLst>
                <a:gd name="T0" fmla="*/ 68 w 75"/>
                <a:gd name="T1" fmla="*/ 56 h 75"/>
                <a:gd name="T2" fmla="*/ 66 w 75"/>
                <a:gd name="T3" fmla="*/ 55 h 75"/>
                <a:gd name="T4" fmla="*/ 37 w 75"/>
                <a:gd name="T5" fmla="*/ 71 h 75"/>
                <a:gd name="T6" fmla="*/ 20 w 75"/>
                <a:gd name="T7" fmla="*/ 66 h 75"/>
                <a:gd name="T8" fmla="*/ 4 w 75"/>
                <a:gd name="T9" fmla="*/ 37 h 75"/>
                <a:gd name="T10" fmla="*/ 9 w 75"/>
                <a:gd name="T11" fmla="*/ 20 h 75"/>
                <a:gd name="T12" fmla="*/ 37 w 75"/>
                <a:gd name="T13" fmla="*/ 4 h 75"/>
                <a:gd name="T14" fmla="*/ 55 w 75"/>
                <a:gd name="T15" fmla="*/ 9 h 75"/>
                <a:gd name="T16" fmla="*/ 71 w 75"/>
                <a:gd name="T17" fmla="*/ 37 h 75"/>
                <a:gd name="T18" fmla="*/ 66 w 75"/>
                <a:gd name="T19" fmla="*/ 55 h 75"/>
                <a:gd name="T20" fmla="*/ 68 w 75"/>
                <a:gd name="T21" fmla="*/ 56 h 75"/>
                <a:gd name="T22" fmla="*/ 69 w 75"/>
                <a:gd name="T23" fmla="*/ 58 h 75"/>
                <a:gd name="T24" fmla="*/ 75 w 75"/>
                <a:gd name="T25" fmla="*/ 37 h 75"/>
                <a:gd name="T26" fmla="*/ 58 w 75"/>
                <a:gd name="T27" fmla="*/ 5 h 75"/>
                <a:gd name="T28" fmla="*/ 37 w 75"/>
                <a:gd name="T29" fmla="*/ 0 h 75"/>
                <a:gd name="T30" fmla="*/ 5 w 75"/>
                <a:gd name="T31" fmla="*/ 17 h 75"/>
                <a:gd name="T32" fmla="*/ 0 w 75"/>
                <a:gd name="T33" fmla="*/ 37 h 75"/>
                <a:gd name="T34" fmla="*/ 17 w 75"/>
                <a:gd name="T35" fmla="*/ 70 h 75"/>
                <a:gd name="T36" fmla="*/ 37 w 75"/>
                <a:gd name="T37" fmla="*/ 75 h 75"/>
                <a:gd name="T38" fmla="*/ 69 w 75"/>
                <a:gd name="T39" fmla="*/ 58 h 75"/>
                <a:gd name="T40" fmla="*/ 68 w 75"/>
                <a:gd name="T41" fmla="*/ 5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75">
                  <a:moveTo>
                    <a:pt x="68" y="56"/>
                  </a:moveTo>
                  <a:cubicBezTo>
                    <a:pt x="66" y="55"/>
                    <a:pt x="66" y="55"/>
                    <a:pt x="66" y="55"/>
                  </a:cubicBezTo>
                  <a:cubicBezTo>
                    <a:pt x="59" y="65"/>
                    <a:pt x="49" y="71"/>
                    <a:pt x="37" y="71"/>
                  </a:cubicBezTo>
                  <a:cubicBezTo>
                    <a:pt x="31" y="71"/>
                    <a:pt x="25" y="69"/>
                    <a:pt x="20" y="66"/>
                  </a:cubicBezTo>
                  <a:cubicBezTo>
                    <a:pt x="9" y="60"/>
                    <a:pt x="4" y="49"/>
                    <a:pt x="4" y="37"/>
                  </a:cubicBezTo>
                  <a:cubicBezTo>
                    <a:pt x="4" y="31"/>
                    <a:pt x="5" y="25"/>
                    <a:pt x="9" y="20"/>
                  </a:cubicBezTo>
                  <a:cubicBezTo>
                    <a:pt x="15" y="9"/>
                    <a:pt x="26" y="4"/>
                    <a:pt x="37" y="4"/>
                  </a:cubicBezTo>
                  <a:cubicBezTo>
                    <a:pt x="44" y="4"/>
                    <a:pt x="50" y="5"/>
                    <a:pt x="55" y="9"/>
                  </a:cubicBezTo>
                  <a:cubicBezTo>
                    <a:pt x="65" y="15"/>
                    <a:pt x="71" y="26"/>
                    <a:pt x="71" y="37"/>
                  </a:cubicBezTo>
                  <a:cubicBezTo>
                    <a:pt x="71" y="44"/>
                    <a:pt x="69" y="50"/>
                    <a:pt x="66" y="55"/>
                  </a:cubicBezTo>
                  <a:cubicBezTo>
                    <a:pt x="68" y="56"/>
                    <a:pt x="68" y="56"/>
                    <a:pt x="68" y="56"/>
                  </a:cubicBezTo>
                  <a:cubicBezTo>
                    <a:pt x="69" y="58"/>
                    <a:pt x="69" y="58"/>
                    <a:pt x="69" y="58"/>
                  </a:cubicBezTo>
                  <a:cubicBezTo>
                    <a:pt x="73" y="51"/>
                    <a:pt x="75" y="44"/>
                    <a:pt x="75" y="37"/>
                  </a:cubicBezTo>
                  <a:cubicBezTo>
                    <a:pt x="75" y="25"/>
                    <a:pt x="69" y="13"/>
                    <a:pt x="58" y="5"/>
                  </a:cubicBezTo>
                  <a:cubicBezTo>
                    <a:pt x="51" y="1"/>
                    <a:pt x="44" y="0"/>
                    <a:pt x="37" y="0"/>
                  </a:cubicBezTo>
                  <a:cubicBezTo>
                    <a:pt x="25" y="0"/>
                    <a:pt x="13" y="6"/>
                    <a:pt x="5" y="17"/>
                  </a:cubicBezTo>
                  <a:cubicBezTo>
                    <a:pt x="1" y="24"/>
                    <a:pt x="0" y="31"/>
                    <a:pt x="0" y="37"/>
                  </a:cubicBezTo>
                  <a:cubicBezTo>
                    <a:pt x="0" y="50"/>
                    <a:pt x="6" y="62"/>
                    <a:pt x="17" y="70"/>
                  </a:cubicBezTo>
                  <a:cubicBezTo>
                    <a:pt x="23" y="73"/>
                    <a:pt x="30" y="75"/>
                    <a:pt x="37" y="75"/>
                  </a:cubicBezTo>
                  <a:cubicBezTo>
                    <a:pt x="50" y="75"/>
                    <a:pt x="62" y="69"/>
                    <a:pt x="69" y="58"/>
                  </a:cubicBezTo>
                  <a:lnTo>
                    <a:pt x="68" y="56"/>
                  </a:ln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6" name="ïśļíḓè">
              <a:extLst>
                <a:ext uri="{FF2B5EF4-FFF2-40B4-BE49-F238E27FC236}">
                  <a16:creationId xmlns:a16="http://schemas.microsoft.com/office/drawing/2014/main" id="{54B3DAA2-AA05-7E51-882D-6BE418841CCE}"/>
                </a:ext>
              </a:extLst>
            </p:cNvPr>
            <p:cNvSpPr/>
            <p:nvPr/>
          </p:nvSpPr>
          <p:spPr bwMode="auto">
            <a:xfrm>
              <a:off x="4821238" y="2598738"/>
              <a:ext cx="1657350" cy="2073275"/>
            </a:xfrm>
            <a:custGeom>
              <a:avLst/>
              <a:gdLst>
                <a:gd name="T0" fmla="*/ 433 w 439"/>
                <a:gd name="T1" fmla="*/ 459 h 549"/>
                <a:gd name="T2" fmla="*/ 290 w 439"/>
                <a:gd name="T3" fmla="*/ 529 h 549"/>
                <a:gd name="T4" fmla="*/ 290 w 439"/>
                <a:gd name="T5" fmla="*/ 529 h 549"/>
                <a:gd name="T6" fmla="*/ 285 w 439"/>
                <a:gd name="T7" fmla="*/ 531 h 549"/>
                <a:gd name="T8" fmla="*/ 285 w 439"/>
                <a:gd name="T9" fmla="*/ 531 h 549"/>
                <a:gd name="T10" fmla="*/ 215 w 439"/>
                <a:gd name="T11" fmla="*/ 545 h 549"/>
                <a:gd name="T12" fmla="*/ 136 w 439"/>
                <a:gd name="T13" fmla="*/ 545 h 549"/>
                <a:gd name="T14" fmla="*/ 126 w 439"/>
                <a:gd name="T15" fmla="*/ 544 h 549"/>
                <a:gd name="T16" fmla="*/ 115 w 439"/>
                <a:gd name="T17" fmla="*/ 534 h 549"/>
                <a:gd name="T18" fmla="*/ 95 w 439"/>
                <a:gd name="T19" fmla="*/ 479 h 549"/>
                <a:gd name="T20" fmla="*/ 95 w 439"/>
                <a:gd name="T21" fmla="*/ 477 h 549"/>
                <a:gd name="T22" fmla="*/ 23 w 439"/>
                <a:gd name="T23" fmla="*/ 253 h 549"/>
                <a:gd name="T24" fmla="*/ 13 w 439"/>
                <a:gd name="T25" fmla="*/ 207 h 549"/>
                <a:gd name="T26" fmla="*/ 12 w 439"/>
                <a:gd name="T27" fmla="*/ 204 h 549"/>
                <a:gd name="T28" fmla="*/ 45 w 439"/>
                <a:gd name="T29" fmla="*/ 101 h 549"/>
                <a:gd name="T30" fmla="*/ 43 w 439"/>
                <a:gd name="T31" fmla="*/ 94 h 549"/>
                <a:gd name="T32" fmla="*/ 35 w 439"/>
                <a:gd name="T33" fmla="*/ 63 h 549"/>
                <a:gd name="T34" fmla="*/ 77 w 439"/>
                <a:gd name="T35" fmla="*/ 41 h 549"/>
                <a:gd name="T36" fmla="*/ 149 w 439"/>
                <a:gd name="T37" fmla="*/ 26 h 549"/>
                <a:gd name="T38" fmla="*/ 265 w 439"/>
                <a:gd name="T39" fmla="*/ 0 h 549"/>
                <a:gd name="T40" fmla="*/ 276 w 439"/>
                <a:gd name="T41" fmla="*/ 38 h 549"/>
                <a:gd name="T42" fmla="*/ 350 w 439"/>
                <a:gd name="T43" fmla="*/ 95 h 549"/>
                <a:gd name="T44" fmla="*/ 357 w 439"/>
                <a:gd name="T45" fmla="*/ 109 h 549"/>
                <a:gd name="T46" fmla="*/ 366 w 439"/>
                <a:gd name="T47" fmla="*/ 136 h 549"/>
                <a:gd name="T48" fmla="*/ 421 w 439"/>
                <a:gd name="T49" fmla="*/ 364 h 549"/>
                <a:gd name="T50" fmla="*/ 423 w 439"/>
                <a:gd name="T51" fmla="*/ 373 h 549"/>
                <a:gd name="T52" fmla="*/ 438 w 439"/>
                <a:gd name="T53" fmla="*/ 445 h 549"/>
                <a:gd name="T54" fmla="*/ 433 w 439"/>
                <a:gd name="T55" fmla="*/ 45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9" h="549">
                  <a:moveTo>
                    <a:pt x="433" y="459"/>
                  </a:moveTo>
                  <a:cubicBezTo>
                    <a:pt x="418" y="473"/>
                    <a:pt x="375" y="505"/>
                    <a:pt x="290" y="529"/>
                  </a:cubicBezTo>
                  <a:cubicBezTo>
                    <a:pt x="290" y="529"/>
                    <a:pt x="290" y="529"/>
                    <a:pt x="290" y="529"/>
                  </a:cubicBezTo>
                  <a:cubicBezTo>
                    <a:pt x="285" y="531"/>
                    <a:pt x="285" y="531"/>
                    <a:pt x="285" y="531"/>
                  </a:cubicBezTo>
                  <a:cubicBezTo>
                    <a:pt x="285" y="531"/>
                    <a:pt x="285" y="531"/>
                    <a:pt x="285" y="531"/>
                  </a:cubicBezTo>
                  <a:cubicBezTo>
                    <a:pt x="258" y="538"/>
                    <a:pt x="235" y="542"/>
                    <a:pt x="215" y="545"/>
                  </a:cubicBezTo>
                  <a:cubicBezTo>
                    <a:pt x="178" y="549"/>
                    <a:pt x="152" y="547"/>
                    <a:pt x="136" y="545"/>
                  </a:cubicBezTo>
                  <a:cubicBezTo>
                    <a:pt x="132" y="545"/>
                    <a:pt x="129" y="544"/>
                    <a:pt x="126" y="544"/>
                  </a:cubicBezTo>
                  <a:cubicBezTo>
                    <a:pt x="121" y="543"/>
                    <a:pt x="116" y="539"/>
                    <a:pt x="115" y="534"/>
                  </a:cubicBezTo>
                  <a:cubicBezTo>
                    <a:pt x="111" y="523"/>
                    <a:pt x="104" y="504"/>
                    <a:pt x="95" y="479"/>
                  </a:cubicBezTo>
                  <a:cubicBezTo>
                    <a:pt x="95" y="478"/>
                    <a:pt x="95" y="478"/>
                    <a:pt x="95" y="477"/>
                  </a:cubicBezTo>
                  <a:cubicBezTo>
                    <a:pt x="73" y="414"/>
                    <a:pt x="41" y="318"/>
                    <a:pt x="23" y="253"/>
                  </a:cubicBezTo>
                  <a:cubicBezTo>
                    <a:pt x="18" y="235"/>
                    <a:pt x="15" y="219"/>
                    <a:pt x="13" y="207"/>
                  </a:cubicBezTo>
                  <a:cubicBezTo>
                    <a:pt x="13" y="206"/>
                    <a:pt x="12" y="205"/>
                    <a:pt x="12" y="204"/>
                  </a:cubicBezTo>
                  <a:cubicBezTo>
                    <a:pt x="0" y="126"/>
                    <a:pt x="45" y="101"/>
                    <a:pt x="45" y="101"/>
                  </a:cubicBezTo>
                  <a:cubicBezTo>
                    <a:pt x="43" y="94"/>
                    <a:pt x="43" y="94"/>
                    <a:pt x="43" y="94"/>
                  </a:cubicBezTo>
                  <a:cubicBezTo>
                    <a:pt x="35" y="63"/>
                    <a:pt x="35" y="63"/>
                    <a:pt x="35" y="63"/>
                  </a:cubicBezTo>
                  <a:cubicBezTo>
                    <a:pt x="77" y="41"/>
                    <a:pt x="77" y="41"/>
                    <a:pt x="77" y="41"/>
                  </a:cubicBezTo>
                  <a:cubicBezTo>
                    <a:pt x="149" y="26"/>
                    <a:pt x="149" y="26"/>
                    <a:pt x="149" y="26"/>
                  </a:cubicBezTo>
                  <a:cubicBezTo>
                    <a:pt x="265" y="0"/>
                    <a:pt x="265" y="0"/>
                    <a:pt x="265" y="0"/>
                  </a:cubicBezTo>
                  <a:cubicBezTo>
                    <a:pt x="276" y="38"/>
                    <a:pt x="276" y="38"/>
                    <a:pt x="276" y="38"/>
                  </a:cubicBezTo>
                  <a:cubicBezTo>
                    <a:pt x="276" y="38"/>
                    <a:pt x="320" y="36"/>
                    <a:pt x="350" y="95"/>
                  </a:cubicBezTo>
                  <a:cubicBezTo>
                    <a:pt x="353" y="100"/>
                    <a:pt x="355" y="104"/>
                    <a:pt x="357" y="109"/>
                  </a:cubicBezTo>
                  <a:cubicBezTo>
                    <a:pt x="360" y="117"/>
                    <a:pt x="363" y="126"/>
                    <a:pt x="366" y="136"/>
                  </a:cubicBezTo>
                  <a:cubicBezTo>
                    <a:pt x="384" y="193"/>
                    <a:pt x="406" y="292"/>
                    <a:pt x="421" y="364"/>
                  </a:cubicBezTo>
                  <a:cubicBezTo>
                    <a:pt x="422" y="367"/>
                    <a:pt x="422" y="370"/>
                    <a:pt x="423" y="373"/>
                  </a:cubicBezTo>
                  <a:cubicBezTo>
                    <a:pt x="430" y="406"/>
                    <a:pt x="435" y="432"/>
                    <a:pt x="438" y="445"/>
                  </a:cubicBezTo>
                  <a:cubicBezTo>
                    <a:pt x="439" y="450"/>
                    <a:pt x="437" y="456"/>
                    <a:pt x="433" y="459"/>
                  </a:cubicBezTo>
                </a:path>
              </a:pathLst>
            </a:custGeom>
            <a:solidFill>
              <a:srgbClr val="FFA2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7" name="ïṩ1ïdè">
              <a:extLst>
                <a:ext uri="{FF2B5EF4-FFF2-40B4-BE49-F238E27FC236}">
                  <a16:creationId xmlns:a16="http://schemas.microsoft.com/office/drawing/2014/main" id="{6417E074-F36B-C0F4-4922-80E8DFF8FB7B}"/>
                </a:ext>
              </a:extLst>
            </p:cNvPr>
            <p:cNvSpPr/>
            <p:nvPr/>
          </p:nvSpPr>
          <p:spPr bwMode="auto">
            <a:xfrm>
              <a:off x="4870451" y="2957513"/>
              <a:ext cx="1541463" cy="1441450"/>
            </a:xfrm>
            <a:custGeom>
              <a:avLst/>
              <a:gdLst>
                <a:gd name="T0" fmla="*/ 408 w 408"/>
                <a:gd name="T1" fmla="*/ 269 h 382"/>
                <a:gd name="T2" fmla="*/ 304 w 408"/>
                <a:gd name="T3" fmla="*/ 334 h 382"/>
                <a:gd name="T4" fmla="*/ 82 w 408"/>
                <a:gd name="T5" fmla="*/ 382 h 382"/>
                <a:gd name="T6" fmla="*/ 10 w 408"/>
                <a:gd name="T7" fmla="*/ 158 h 382"/>
                <a:gd name="T8" fmla="*/ 0 w 408"/>
                <a:gd name="T9" fmla="*/ 112 h 382"/>
                <a:gd name="T10" fmla="*/ 337 w 408"/>
                <a:gd name="T11" fmla="*/ 0 h 382"/>
                <a:gd name="T12" fmla="*/ 344 w 408"/>
                <a:gd name="T13" fmla="*/ 14 h 382"/>
                <a:gd name="T14" fmla="*/ 353 w 408"/>
                <a:gd name="T15" fmla="*/ 41 h 382"/>
                <a:gd name="T16" fmla="*/ 408 w 408"/>
                <a:gd name="T17" fmla="*/ 2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8" h="382">
                  <a:moveTo>
                    <a:pt x="408" y="269"/>
                  </a:moveTo>
                  <a:cubicBezTo>
                    <a:pt x="385" y="294"/>
                    <a:pt x="366" y="309"/>
                    <a:pt x="304" y="334"/>
                  </a:cubicBezTo>
                  <a:cubicBezTo>
                    <a:pt x="234" y="362"/>
                    <a:pt x="158" y="376"/>
                    <a:pt x="82" y="382"/>
                  </a:cubicBezTo>
                  <a:cubicBezTo>
                    <a:pt x="60" y="319"/>
                    <a:pt x="28" y="223"/>
                    <a:pt x="10" y="158"/>
                  </a:cubicBezTo>
                  <a:cubicBezTo>
                    <a:pt x="5" y="140"/>
                    <a:pt x="2" y="124"/>
                    <a:pt x="0" y="112"/>
                  </a:cubicBezTo>
                  <a:cubicBezTo>
                    <a:pt x="119" y="104"/>
                    <a:pt x="237" y="65"/>
                    <a:pt x="337" y="0"/>
                  </a:cubicBezTo>
                  <a:cubicBezTo>
                    <a:pt x="340" y="5"/>
                    <a:pt x="342" y="9"/>
                    <a:pt x="344" y="14"/>
                  </a:cubicBezTo>
                  <a:cubicBezTo>
                    <a:pt x="347" y="22"/>
                    <a:pt x="350" y="31"/>
                    <a:pt x="353" y="41"/>
                  </a:cubicBezTo>
                  <a:cubicBezTo>
                    <a:pt x="371" y="98"/>
                    <a:pt x="393" y="197"/>
                    <a:pt x="408" y="269"/>
                  </a:cubicBezTo>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8" name="îśḷiḍé">
              <a:extLst>
                <a:ext uri="{FF2B5EF4-FFF2-40B4-BE49-F238E27FC236}">
                  <a16:creationId xmlns:a16="http://schemas.microsoft.com/office/drawing/2014/main" id="{984AF88B-7AC8-B546-A492-41AE52173131}"/>
                </a:ext>
              </a:extLst>
            </p:cNvPr>
            <p:cNvSpPr/>
            <p:nvPr/>
          </p:nvSpPr>
          <p:spPr bwMode="auto">
            <a:xfrm>
              <a:off x="5568951" y="3443288"/>
              <a:ext cx="295275" cy="620713"/>
            </a:xfrm>
            <a:custGeom>
              <a:avLst/>
              <a:gdLst>
                <a:gd name="T0" fmla="*/ 186 w 186"/>
                <a:gd name="T1" fmla="*/ 372 h 391"/>
                <a:gd name="T2" fmla="*/ 119 w 186"/>
                <a:gd name="T3" fmla="*/ 391 h 391"/>
                <a:gd name="T4" fmla="*/ 0 w 186"/>
                <a:gd name="T5" fmla="*/ 22 h 391"/>
                <a:gd name="T6" fmla="*/ 64 w 186"/>
                <a:gd name="T7" fmla="*/ 0 h 391"/>
                <a:gd name="T8" fmla="*/ 186 w 186"/>
                <a:gd name="T9" fmla="*/ 372 h 391"/>
              </a:gdLst>
              <a:ahLst/>
              <a:cxnLst>
                <a:cxn ang="0">
                  <a:pos x="T0" y="T1"/>
                </a:cxn>
                <a:cxn ang="0">
                  <a:pos x="T2" y="T3"/>
                </a:cxn>
                <a:cxn ang="0">
                  <a:pos x="T4" y="T5"/>
                </a:cxn>
                <a:cxn ang="0">
                  <a:pos x="T6" y="T7"/>
                </a:cxn>
                <a:cxn ang="0">
                  <a:pos x="T8" y="T9"/>
                </a:cxn>
              </a:cxnLst>
              <a:rect l="0" t="0" r="r" b="b"/>
              <a:pathLst>
                <a:path w="186" h="391">
                  <a:moveTo>
                    <a:pt x="186" y="372"/>
                  </a:moveTo>
                  <a:lnTo>
                    <a:pt x="119" y="391"/>
                  </a:lnTo>
                  <a:lnTo>
                    <a:pt x="0" y="22"/>
                  </a:lnTo>
                  <a:lnTo>
                    <a:pt x="64" y="0"/>
                  </a:lnTo>
                  <a:lnTo>
                    <a:pt x="186" y="372"/>
                  </a:lnTo>
                  <a:close/>
                </a:path>
              </a:pathLst>
            </a:custGeom>
            <a:solidFill>
              <a:srgbClr val="FE6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29" name="iŝḷíďê">
              <a:extLst>
                <a:ext uri="{FF2B5EF4-FFF2-40B4-BE49-F238E27FC236}">
                  <a16:creationId xmlns:a16="http://schemas.microsoft.com/office/drawing/2014/main" id="{BEBF6805-D1ED-753A-AE99-25A5E26DD91C}"/>
                </a:ext>
              </a:extLst>
            </p:cNvPr>
            <p:cNvSpPr/>
            <p:nvPr/>
          </p:nvSpPr>
          <p:spPr bwMode="auto">
            <a:xfrm>
              <a:off x="5440363" y="3614738"/>
              <a:ext cx="547688" cy="282575"/>
            </a:xfrm>
            <a:custGeom>
              <a:avLst/>
              <a:gdLst>
                <a:gd name="T0" fmla="*/ 24 w 345"/>
                <a:gd name="T1" fmla="*/ 178 h 178"/>
                <a:gd name="T2" fmla="*/ 0 w 345"/>
                <a:gd name="T3" fmla="*/ 102 h 178"/>
                <a:gd name="T4" fmla="*/ 321 w 345"/>
                <a:gd name="T5" fmla="*/ 0 h 178"/>
                <a:gd name="T6" fmla="*/ 345 w 345"/>
                <a:gd name="T7" fmla="*/ 73 h 178"/>
                <a:gd name="T8" fmla="*/ 24 w 345"/>
                <a:gd name="T9" fmla="*/ 178 h 178"/>
              </a:gdLst>
              <a:ahLst/>
              <a:cxnLst>
                <a:cxn ang="0">
                  <a:pos x="T0" y="T1"/>
                </a:cxn>
                <a:cxn ang="0">
                  <a:pos x="T2" y="T3"/>
                </a:cxn>
                <a:cxn ang="0">
                  <a:pos x="T4" y="T5"/>
                </a:cxn>
                <a:cxn ang="0">
                  <a:pos x="T6" y="T7"/>
                </a:cxn>
                <a:cxn ang="0">
                  <a:pos x="T8" y="T9"/>
                </a:cxn>
              </a:cxnLst>
              <a:rect l="0" t="0" r="r" b="b"/>
              <a:pathLst>
                <a:path w="345" h="178">
                  <a:moveTo>
                    <a:pt x="24" y="178"/>
                  </a:moveTo>
                  <a:lnTo>
                    <a:pt x="0" y="102"/>
                  </a:lnTo>
                  <a:lnTo>
                    <a:pt x="321" y="0"/>
                  </a:lnTo>
                  <a:lnTo>
                    <a:pt x="345" y="73"/>
                  </a:lnTo>
                  <a:lnTo>
                    <a:pt x="24" y="178"/>
                  </a:lnTo>
                  <a:close/>
                </a:path>
              </a:pathLst>
            </a:custGeom>
            <a:solidFill>
              <a:srgbClr val="FE69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0" name="íṣḻîḍê">
              <a:extLst>
                <a:ext uri="{FF2B5EF4-FFF2-40B4-BE49-F238E27FC236}">
                  <a16:creationId xmlns:a16="http://schemas.microsoft.com/office/drawing/2014/main" id="{9E3A8F59-2F4F-FA91-5CC3-08EC05427FAC}"/>
                </a:ext>
              </a:extLst>
            </p:cNvPr>
            <p:cNvSpPr/>
            <p:nvPr/>
          </p:nvSpPr>
          <p:spPr bwMode="auto">
            <a:xfrm>
              <a:off x="5889626" y="2835275"/>
              <a:ext cx="193675" cy="242888"/>
            </a:xfrm>
            <a:custGeom>
              <a:avLst/>
              <a:gdLst>
                <a:gd name="T0" fmla="*/ 6 w 51"/>
                <a:gd name="T1" fmla="*/ 38 h 64"/>
                <a:gd name="T2" fmla="*/ 23 w 51"/>
                <a:gd name="T3" fmla="*/ 61 h 64"/>
                <a:gd name="T4" fmla="*/ 34 w 51"/>
                <a:gd name="T5" fmla="*/ 64 h 64"/>
                <a:gd name="T6" fmla="*/ 49 w 51"/>
                <a:gd name="T7" fmla="*/ 49 h 64"/>
                <a:gd name="T8" fmla="*/ 44 w 51"/>
                <a:gd name="T9" fmla="*/ 27 h 64"/>
                <a:gd name="T10" fmla="*/ 37 w 51"/>
                <a:gd name="T11" fmla="*/ 17 h 64"/>
                <a:gd name="T12" fmla="*/ 6 w 51"/>
                <a:gd name="T13" fmla="*/ 38 h 64"/>
              </a:gdLst>
              <a:ahLst/>
              <a:cxnLst>
                <a:cxn ang="0">
                  <a:pos x="T0" y="T1"/>
                </a:cxn>
                <a:cxn ang="0">
                  <a:pos x="T2" y="T3"/>
                </a:cxn>
                <a:cxn ang="0">
                  <a:pos x="T4" y="T5"/>
                </a:cxn>
                <a:cxn ang="0">
                  <a:pos x="T6" y="T7"/>
                </a:cxn>
                <a:cxn ang="0">
                  <a:pos x="T8" y="T9"/>
                </a:cxn>
                <a:cxn ang="0">
                  <a:pos x="T10" y="T11"/>
                </a:cxn>
                <a:cxn ang="0">
                  <a:pos x="T12" y="T13"/>
                </a:cxn>
              </a:cxnLst>
              <a:rect l="0" t="0" r="r" b="b"/>
              <a:pathLst>
                <a:path w="51" h="64">
                  <a:moveTo>
                    <a:pt x="6" y="38"/>
                  </a:moveTo>
                  <a:cubicBezTo>
                    <a:pt x="8" y="48"/>
                    <a:pt x="15" y="56"/>
                    <a:pt x="23" y="61"/>
                  </a:cubicBezTo>
                  <a:cubicBezTo>
                    <a:pt x="26" y="63"/>
                    <a:pt x="30" y="64"/>
                    <a:pt x="34" y="64"/>
                  </a:cubicBezTo>
                  <a:cubicBezTo>
                    <a:pt x="42" y="64"/>
                    <a:pt x="48" y="57"/>
                    <a:pt x="49" y="49"/>
                  </a:cubicBezTo>
                  <a:cubicBezTo>
                    <a:pt x="51" y="41"/>
                    <a:pt x="48" y="34"/>
                    <a:pt x="44" y="27"/>
                  </a:cubicBezTo>
                  <a:cubicBezTo>
                    <a:pt x="42" y="23"/>
                    <a:pt x="40" y="20"/>
                    <a:pt x="37" y="17"/>
                  </a:cubicBezTo>
                  <a:cubicBezTo>
                    <a:pt x="17" y="0"/>
                    <a:pt x="0" y="16"/>
                    <a:pt x="6" y="3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1" name="iŝḻîdè">
              <a:extLst>
                <a:ext uri="{FF2B5EF4-FFF2-40B4-BE49-F238E27FC236}">
                  <a16:creationId xmlns:a16="http://schemas.microsoft.com/office/drawing/2014/main" id="{04E6B382-3A61-8BCC-D072-0287BF15C088}"/>
                </a:ext>
              </a:extLst>
            </p:cNvPr>
            <p:cNvSpPr/>
            <p:nvPr/>
          </p:nvSpPr>
          <p:spPr bwMode="auto">
            <a:xfrm>
              <a:off x="6015038" y="3100388"/>
              <a:ext cx="184150" cy="246063"/>
            </a:xfrm>
            <a:custGeom>
              <a:avLst/>
              <a:gdLst>
                <a:gd name="T0" fmla="*/ 15 w 49"/>
                <a:gd name="T1" fmla="*/ 51 h 65"/>
                <a:gd name="T2" fmla="*/ 25 w 49"/>
                <a:gd name="T3" fmla="*/ 62 h 65"/>
                <a:gd name="T4" fmla="*/ 40 w 49"/>
                <a:gd name="T5" fmla="*/ 63 h 65"/>
                <a:gd name="T6" fmla="*/ 49 w 49"/>
                <a:gd name="T7" fmla="*/ 43 h 65"/>
                <a:gd name="T8" fmla="*/ 22 w 49"/>
                <a:gd name="T9" fmla="*/ 1 h 65"/>
                <a:gd name="T10" fmla="*/ 15 w 49"/>
                <a:gd name="T11" fmla="*/ 51 h 65"/>
              </a:gdLst>
              <a:ahLst/>
              <a:cxnLst>
                <a:cxn ang="0">
                  <a:pos x="T0" y="T1"/>
                </a:cxn>
                <a:cxn ang="0">
                  <a:pos x="T2" y="T3"/>
                </a:cxn>
                <a:cxn ang="0">
                  <a:pos x="T4" y="T5"/>
                </a:cxn>
                <a:cxn ang="0">
                  <a:pos x="T6" y="T7"/>
                </a:cxn>
                <a:cxn ang="0">
                  <a:pos x="T8" y="T9"/>
                </a:cxn>
                <a:cxn ang="0">
                  <a:pos x="T10" y="T11"/>
                </a:cxn>
              </a:cxnLst>
              <a:rect l="0" t="0" r="r" b="b"/>
              <a:pathLst>
                <a:path w="49" h="65">
                  <a:moveTo>
                    <a:pt x="15" y="51"/>
                  </a:moveTo>
                  <a:cubicBezTo>
                    <a:pt x="17" y="55"/>
                    <a:pt x="21" y="59"/>
                    <a:pt x="25" y="62"/>
                  </a:cubicBezTo>
                  <a:cubicBezTo>
                    <a:pt x="30" y="64"/>
                    <a:pt x="35" y="65"/>
                    <a:pt x="40" y="63"/>
                  </a:cubicBezTo>
                  <a:cubicBezTo>
                    <a:pt x="47" y="59"/>
                    <a:pt x="49" y="51"/>
                    <a:pt x="49" y="43"/>
                  </a:cubicBezTo>
                  <a:cubicBezTo>
                    <a:pt x="48" y="29"/>
                    <a:pt x="40" y="0"/>
                    <a:pt x="22" y="1"/>
                  </a:cubicBezTo>
                  <a:cubicBezTo>
                    <a:pt x="0" y="4"/>
                    <a:pt x="8" y="39"/>
                    <a:pt x="15"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2" name="ïṡlïḑe">
              <a:extLst>
                <a:ext uri="{FF2B5EF4-FFF2-40B4-BE49-F238E27FC236}">
                  <a16:creationId xmlns:a16="http://schemas.microsoft.com/office/drawing/2014/main" id="{E404DB82-5E28-9F9F-23DD-CD9C72767C75}"/>
                </a:ext>
              </a:extLst>
            </p:cNvPr>
            <p:cNvSpPr/>
            <p:nvPr/>
          </p:nvSpPr>
          <p:spPr bwMode="auto">
            <a:xfrm>
              <a:off x="4859338" y="2952750"/>
              <a:ext cx="476250" cy="1703388"/>
            </a:xfrm>
            <a:custGeom>
              <a:avLst/>
              <a:gdLst>
                <a:gd name="T0" fmla="*/ 97 w 126"/>
                <a:gd name="T1" fmla="*/ 382 h 451"/>
                <a:gd name="T2" fmla="*/ 85 w 126"/>
                <a:gd name="T3" fmla="*/ 383 h 451"/>
                <a:gd name="T4" fmla="*/ 85 w 126"/>
                <a:gd name="T5" fmla="*/ 385 h 451"/>
                <a:gd name="T6" fmla="*/ 105 w 126"/>
                <a:gd name="T7" fmla="*/ 440 h 451"/>
                <a:gd name="T8" fmla="*/ 116 w 126"/>
                <a:gd name="T9" fmla="*/ 450 h 451"/>
                <a:gd name="T10" fmla="*/ 126 w 126"/>
                <a:gd name="T11" fmla="*/ 451 h 451"/>
                <a:gd name="T12" fmla="*/ 97 w 126"/>
                <a:gd name="T13" fmla="*/ 382 h 451"/>
                <a:gd name="T14" fmla="*/ 33 w 126"/>
                <a:gd name="T15" fmla="*/ 0 h 451"/>
                <a:gd name="T16" fmla="*/ 35 w 126"/>
                <a:gd name="T17" fmla="*/ 7 h 451"/>
                <a:gd name="T18" fmla="*/ 35 w 126"/>
                <a:gd name="T19" fmla="*/ 7 h 451"/>
                <a:gd name="T20" fmla="*/ 0 w 126"/>
                <a:gd name="T21" fmla="*/ 85 h 451"/>
                <a:gd name="T22" fmla="*/ 2 w 126"/>
                <a:gd name="T23" fmla="*/ 110 h 451"/>
                <a:gd name="T24" fmla="*/ 3 w 126"/>
                <a:gd name="T25" fmla="*/ 113 h 451"/>
                <a:gd name="T26" fmla="*/ 3 w 126"/>
                <a:gd name="T27" fmla="*/ 113 h 451"/>
                <a:gd name="T28" fmla="*/ 37 w 126"/>
                <a:gd name="T29" fmla="*/ 110 h 451"/>
                <a:gd name="T30" fmla="*/ 35 w 126"/>
                <a:gd name="T31" fmla="*/ 67 h 451"/>
                <a:gd name="T32" fmla="*/ 38 w 126"/>
                <a:gd name="T33" fmla="*/ 38 h 451"/>
                <a:gd name="T34" fmla="*/ 44 w 126"/>
                <a:gd name="T35" fmla="*/ 14 h 451"/>
                <a:gd name="T36" fmla="*/ 33 w 126"/>
                <a:gd name="T37" fmla="*/ 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451">
                  <a:moveTo>
                    <a:pt x="97" y="382"/>
                  </a:moveTo>
                  <a:cubicBezTo>
                    <a:pt x="93" y="382"/>
                    <a:pt x="89" y="383"/>
                    <a:pt x="85" y="383"/>
                  </a:cubicBezTo>
                  <a:cubicBezTo>
                    <a:pt x="85" y="384"/>
                    <a:pt x="85" y="384"/>
                    <a:pt x="85" y="385"/>
                  </a:cubicBezTo>
                  <a:cubicBezTo>
                    <a:pt x="94" y="410"/>
                    <a:pt x="101" y="429"/>
                    <a:pt x="105" y="440"/>
                  </a:cubicBezTo>
                  <a:cubicBezTo>
                    <a:pt x="106" y="445"/>
                    <a:pt x="111" y="449"/>
                    <a:pt x="116" y="450"/>
                  </a:cubicBezTo>
                  <a:cubicBezTo>
                    <a:pt x="119" y="450"/>
                    <a:pt x="122" y="451"/>
                    <a:pt x="126" y="451"/>
                  </a:cubicBezTo>
                  <a:cubicBezTo>
                    <a:pt x="115" y="429"/>
                    <a:pt x="105" y="406"/>
                    <a:pt x="97" y="382"/>
                  </a:cubicBezTo>
                  <a:moveTo>
                    <a:pt x="33" y="0"/>
                  </a:moveTo>
                  <a:cubicBezTo>
                    <a:pt x="35" y="7"/>
                    <a:pt x="35" y="7"/>
                    <a:pt x="35" y="7"/>
                  </a:cubicBezTo>
                  <a:cubicBezTo>
                    <a:pt x="35" y="7"/>
                    <a:pt x="35" y="7"/>
                    <a:pt x="35" y="7"/>
                  </a:cubicBezTo>
                  <a:cubicBezTo>
                    <a:pt x="35" y="7"/>
                    <a:pt x="0" y="26"/>
                    <a:pt x="0" y="85"/>
                  </a:cubicBezTo>
                  <a:cubicBezTo>
                    <a:pt x="0" y="92"/>
                    <a:pt x="1" y="101"/>
                    <a:pt x="2" y="110"/>
                  </a:cubicBezTo>
                  <a:cubicBezTo>
                    <a:pt x="2" y="111"/>
                    <a:pt x="3" y="112"/>
                    <a:pt x="3" y="113"/>
                  </a:cubicBezTo>
                  <a:cubicBezTo>
                    <a:pt x="3" y="113"/>
                    <a:pt x="3" y="113"/>
                    <a:pt x="3" y="113"/>
                  </a:cubicBezTo>
                  <a:cubicBezTo>
                    <a:pt x="14" y="112"/>
                    <a:pt x="26" y="111"/>
                    <a:pt x="37" y="110"/>
                  </a:cubicBezTo>
                  <a:cubicBezTo>
                    <a:pt x="35" y="96"/>
                    <a:pt x="34" y="81"/>
                    <a:pt x="35" y="67"/>
                  </a:cubicBezTo>
                  <a:cubicBezTo>
                    <a:pt x="35" y="57"/>
                    <a:pt x="36" y="48"/>
                    <a:pt x="38" y="38"/>
                  </a:cubicBezTo>
                  <a:cubicBezTo>
                    <a:pt x="39" y="30"/>
                    <a:pt x="44" y="22"/>
                    <a:pt x="44" y="14"/>
                  </a:cubicBezTo>
                  <a:cubicBezTo>
                    <a:pt x="44" y="6"/>
                    <a:pt x="39" y="2"/>
                    <a:pt x="33" y="0"/>
                  </a:cubicBezTo>
                </a:path>
              </a:pathLst>
            </a:custGeom>
            <a:solidFill>
              <a:srgbClr val="D88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3" name="iS1ïḋê">
              <a:extLst>
                <a:ext uri="{FF2B5EF4-FFF2-40B4-BE49-F238E27FC236}">
                  <a16:creationId xmlns:a16="http://schemas.microsoft.com/office/drawing/2014/main" id="{F2693AB3-F406-7852-785A-9ADE665CE47D}"/>
                </a:ext>
              </a:extLst>
            </p:cNvPr>
            <p:cNvSpPr/>
            <p:nvPr/>
          </p:nvSpPr>
          <p:spPr bwMode="auto">
            <a:xfrm>
              <a:off x="4870451" y="3368675"/>
              <a:ext cx="355600" cy="1030288"/>
            </a:xfrm>
            <a:custGeom>
              <a:avLst/>
              <a:gdLst>
                <a:gd name="T0" fmla="*/ 34 w 94"/>
                <a:gd name="T1" fmla="*/ 0 h 273"/>
                <a:gd name="T2" fmla="*/ 0 w 94"/>
                <a:gd name="T3" fmla="*/ 3 h 273"/>
                <a:gd name="T4" fmla="*/ 10 w 94"/>
                <a:gd name="T5" fmla="*/ 49 h 273"/>
                <a:gd name="T6" fmla="*/ 82 w 94"/>
                <a:gd name="T7" fmla="*/ 273 h 273"/>
                <a:gd name="T8" fmla="*/ 82 w 94"/>
                <a:gd name="T9" fmla="*/ 273 h 273"/>
                <a:gd name="T10" fmla="*/ 94 w 94"/>
                <a:gd name="T11" fmla="*/ 272 h 273"/>
                <a:gd name="T12" fmla="*/ 69 w 94"/>
                <a:gd name="T13" fmla="*/ 186 h 273"/>
                <a:gd name="T14" fmla="*/ 37 w 94"/>
                <a:gd name="T15" fmla="*/ 25 h 273"/>
                <a:gd name="T16" fmla="*/ 34 w 94"/>
                <a:gd name="T17"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273">
                  <a:moveTo>
                    <a:pt x="34" y="0"/>
                  </a:moveTo>
                  <a:cubicBezTo>
                    <a:pt x="23" y="1"/>
                    <a:pt x="11" y="2"/>
                    <a:pt x="0" y="3"/>
                  </a:cubicBezTo>
                  <a:cubicBezTo>
                    <a:pt x="2" y="15"/>
                    <a:pt x="5" y="31"/>
                    <a:pt x="10" y="49"/>
                  </a:cubicBezTo>
                  <a:cubicBezTo>
                    <a:pt x="28" y="114"/>
                    <a:pt x="60" y="210"/>
                    <a:pt x="82" y="273"/>
                  </a:cubicBezTo>
                  <a:cubicBezTo>
                    <a:pt x="82" y="273"/>
                    <a:pt x="82" y="273"/>
                    <a:pt x="82" y="273"/>
                  </a:cubicBezTo>
                  <a:cubicBezTo>
                    <a:pt x="86" y="273"/>
                    <a:pt x="90" y="272"/>
                    <a:pt x="94" y="272"/>
                  </a:cubicBezTo>
                  <a:cubicBezTo>
                    <a:pt x="84" y="244"/>
                    <a:pt x="77" y="215"/>
                    <a:pt x="69" y="186"/>
                  </a:cubicBezTo>
                  <a:cubicBezTo>
                    <a:pt x="56" y="133"/>
                    <a:pt x="46" y="79"/>
                    <a:pt x="37" y="25"/>
                  </a:cubicBezTo>
                  <a:cubicBezTo>
                    <a:pt x="36" y="16"/>
                    <a:pt x="35" y="8"/>
                    <a:pt x="34" y="0"/>
                  </a:cubicBezTo>
                </a:path>
              </a:pathLst>
            </a:custGeom>
            <a:solidFill>
              <a:srgbClr val="D4C6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4" name="islîḋé">
              <a:extLst>
                <a:ext uri="{FF2B5EF4-FFF2-40B4-BE49-F238E27FC236}">
                  <a16:creationId xmlns:a16="http://schemas.microsoft.com/office/drawing/2014/main" id="{FC6C7E4C-C59B-4BDC-AD37-B5BF1AE34D94}"/>
                </a:ext>
              </a:extLst>
            </p:cNvPr>
            <p:cNvSpPr/>
            <p:nvPr/>
          </p:nvSpPr>
          <p:spPr bwMode="auto">
            <a:xfrm>
              <a:off x="4791076" y="2238375"/>
              <a:ext cx="1076325" cy="692150"/>
            </a:xfrm>
            <a:custGeom>
              <a:avLst/>
              <a:gdLst>
                <a:gd name="T0" fmla="*/ 285 w 285"/>
                <a:gd name="T1" fmla="*/ 93 h 183"/>
                <a:gd name="T2" fmla="*/ 265 w 285"/>
                <a:gd name="T3" fmla="*/ 112 h 183"/>
                <a:gd name="T4" fmla="*/ 264 w 285"/>
                <a:gd name="T5" fmla="*/ 113 h 183"/>
                <a:gd name="T6" fmla="*/ 236 w 285"/>
                <a:gd name="T7" fmla="*/ 132 h 183"/>
                <a:gd name="T8" fmla="*/ 235 w 285"/>
                <a:gd name="T9" fmla="*/ 132 h 183"/>
                <a:gd name="T10" fmla="*/ 201 w 285"/>
                <a:gd name="T11" fmla="*/ 149 h 183"/>
                <a:gd name="T12" fmla="*/ 200 w 285"/>
                <a:gd name="T13" fmla="*/ 150 h 183"/>
                <a:gd name="T14" fmla="*/ 169 w 285"/>
                <a:gd name="T15" fmla="*/ 162 h 183"/>
                <a:gd name="T16" fmla="*/ 162 w 285"/>
                <a:gd name="T17" fmla="*/ 164 h 183"/>
                <a:gd name="T18" fmla="*/ 161 w 285"/>
                <a:gd name="T19" fmla="*/ 165 h 183"/>
                <a:gd name="T20" fmla="*/ 161 w 285"/>
                <a:gd name="T21" fmla="*/ 165 h 183"/>
                <a:gd name="T22" fmla="*/ 119 w 285"/>
                <a:gd name="T23" fmla="*/ 177 h 183"/>
                <a:gd name="T24" fmla="*/ 118 w 285"/>
                <a:gd name="T25" fmla="*/ 177 h 183"/>
                <a:gd name="T26" fmla="*/ 81 w 285"/>
                <a:gd name="T27" fmla="*/ 182 h 183"/>
                <a:gd name="T28" fmla="*/ 80 w 285"/>
                <a:gd name="T29" fmla="*/ 182 h 183"/>
                <a:gd name="T30" fmla="*/ 46 w 285"/>
                <a:gd name="T31" fmla="*/ 182 h 183"/>
                <a:gd name="T32" fmla="*/ 44 w 285"/>
                <a:gd name="T33" fmla="*/ 181 h 183"/>
                <a:gd name="T34" fmla="*/ 23 w 285"/>
                <a:gd name="T35" fmla="*/ 177 h 183"/>
                <a:gd name="T36" fmla="*/ 1 w 285"/>
                <a:gd name="T37" fmla="*/ 89 h 183"/>
                <a:gd name="T38" fmla="*/ 1 w 285"/>
                <a:gd name="T39" fmla="*/ 80 h 183"/>
                <a:gd name="T40" fmla="*/ 1 w 285"/>
                <a:gd name="T41" fmla="*/ 78 h 183"/>
                <a:gd name="T42" fmla="*/ 13 w 285"/>
                <a:gd name="T43" fmla="*/ 61 h 183"/>
                <a:gd name="T44" fmla="*/ 237 w 285"/>
                <a:gd name="T45" fmla="*/ 0 h 183"/>
                <a:gd name="T46" fmla="*/ 250 w 285"/>
                <a:gd name="T47" fmla="*/ 2 h 183"/>
                <a:gd name="T48" fmla="*/ 251 w 285"/>
                <a:gd name="T49" fmla="*/ 3 h 183"/>
                <a:gd name="T50" fmla="*/ 263 w 285"/>
                <a:gd name="T51" fmla="*/ 18 h 183"/>
                <a:gd name="T52" fmla="*/ 285 w 285"/>
                <a:gd name="T53" fmla="*/ 9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5" h="183">
                  <a:moveTo>
                    <a:pt x="285" y="93"/>
                  </a:moveTo>
                  <a:cubicBezTo>
                    <a:pt x="285" y="93"/>
                    <a:pt x="281" y="100"/>
                    <a:pt x="265" y="112"/>
                  </a:cubicBezTo>
                  <a:cubicBezTo>
                    <a:pt x="264" y="113"/>
                    <a:pt x="264" y="113"/>
                    <a:pt x="264" y="113"/>
                  </a:cubicBezTo>
                  <a:cubicBezTo>
                    <a:pt x="257" y="119"/>
                    <a:pt x="248" y="125"/>
                    <a:pt x="236" y="132"/>
                  </a:cubicBezTo>
                  <a:cubicBezTo>
                    <a:pt x="236" y="132"/>
                    <a:pt x="235" y="132"/>
                    <a:pt x="235" y="132"/>
                  </a:cubicBezTo>
                  <a:cubicBezTo>
                    <a:pt x="225" y="138"/>
                    <a:pt x="214" y="143"/>
                    <a:pt x="201" y="149"/>
                  </a:cubicBezTo>
                  <a:cubicBezTo>
                    <a:pt x="200" y="149"/>
                    <a:pt x="200" y="149"/>
                    <a:pt x="200" y="150"/>
                  </a:cubicBezTo>
                  <a:cubicBezTo>
                    <a:pt x="190" y="154"/>
                    <a:pt x="180" y="158"/>
                    <a:pt x="169" y="162"/>
                  </a:cubicBezTo>
                  <a:cubicBezTo>
                    <a:pt x="167" y="163"/>
                    <a:pt x="165" y="163"/>
                    <a:pt x="162" y="164"/>
                  </a:cubicBezTo>
                  <a:cubicBezTo>
                    <a:pt x="162" y="164"/>
                    <a:pt x="161" y="165"/>
                    <a:pt x="161" y="165"/>
                  </a:cubicBezTo>
                  <a:cubicBezTo>
                    <a:pt x="161" y="165"/>
                    <a:pt x="161" y="165"/>
                    <a:pt x="161" y="165"/>
                  </a:cubicBezTo>
                  <a:cubicBezTo>
                    <a:pt x="146" y="170"/>
                    <a:pt x="132" y="174"/>
                    <a:pt x="119" y="177"/>
                  </a:cubicBezTo>
                  <a:cubicBezTo>
                    <a:pt x="118" y="177"/>
                    <a:pt x="118" y="177"/>
                    <a:pt x="118" y="177"/>
                  </a:cubicBezTo>
                  <a:cubicBezTo>
                    <a:pt x="104" y="180"/>
                    <a:pt x="92" y="181"/>
                    <a:pt x="81" y="182"/>
                  </a:cubicBezTo>
                  <a:cubicBezTo>
                    <a:pt x="80" y="182"/>
                    <a:pt x="80" y="182"/>
                    <a:pt x="80" y="182"/>
                  </a:cubicBezTo>
                  <a:cubicBezTo>
                    <a:pt x="66" y="183"/>
                    <a:pt x="54" y="183"/>
                    <a:pt x="46" y="182"/>
                  </a:cubicBezTo>
                  <a:cubicBezTo>
                    <a:pt x="45" y="181"/>
                    <a:pt x="45" y="181"/>
                    <a:pt x="44" y="181"/>
                  </a:cubicBezTo>
                  <a:cubicBezTo>
                    <a:pt x="30" y="180"/>
                    <a:pt x="23" y="177"/>
                    <a:pt x="23" y="177"/>
                  </a:cubicBezTo>
                  <a:cubicBezTo>
                    <a:pt x="1" y="89"/>
                    <a:pt x="1" y="89"/>
                    <a:pt x="1" y="89"/>
                  </a:cubicBezTo>
                  <a:cubicBezTo>
                    <a:pt x="1" y="86"/>
                    <a:pt x="0" y="83"/>
                    <a:pt x="1" y="80"/>
                  </a:cubicBezTo>
                  <a:cubicBezTo>
                    <a:pt x="1" y="79"/>
                    <a:pt x="1" y="79"/>
                    <a:pt x="1" y="78"/>
                  </a:cubicBezTo>
                  <a:cubicBezTo>
                    <a:pt x="2" y="71"/>
                    <a:pt x="7" y="65"/>
                    <a:pt x="13" y="61"/>
                  </a:cubicBezTo>
                  <a:cubicBezTo>
                    <a:pt x="91" y="14"/>
                    <a:pt x="194" y="3"/>
                    <a:pt x="237" y="0"/>
                  </a:cubicBezTo>
                  <a:cubicBezTo>
                    <a:pt x="242" y="0"/>
                    <a:pt x="246" y="0"/>
                    <a:pt x="250" y="2"/>
                  </a:cubicBezTo>
                  <a:cubicBezTo>
                    <a:pt x="250" y="3"/>
                    <a:pt x="251" y="3"/>
                    <a:pt x="251" y="3"/>
                  </a:cubicBezTo>
                  <a:cubicBezTo>
                    <a:pt x="257" y="6"/>
                    <a:pt x="261" y="12"/>
                    <a:pt x="263" y="18"/>
                  </a:cubicBezTo>
                  <a:lnTo>
                    <a:pt x="285" y="93"/>
                  </a:ln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5" name="íṡľîde">
              <a:extLst>
                <a:ext uri="{FF2B5EF4-FFF2-40B4-BE49-F238E27FC236}">
                  <a16:creationId xmlns:a16="http://schemas.microsoft.com/office/drawing/2014/main" id="{E947BAFA-AA30-5FC8-8926-33D75E2C684F}"/>
                </a:ext>
              </a:extLst>
            </p:cNvPr>
            <p:cNvSpPr/>
            <p:nvPr/>
          </p:nvSpPr>
          <p:spPr bwMode="auto">
            <a:xfrm>
              <a:off x="4794251" y="2246313"/>
              <a:ext cx="944563" cy="303213"/>
            </a:xfrm>
            <a:custGeom>
              <a:avLst/>
              <a:gdLst>
                <a:gd name="T0" fmla="*/ 250 w 250"/>
                <a:gd name="T1" fmla="*/ 1 h 80"/>
                <a:gd name="T2" fmla="*/ 227 w 250"/>
                <a:gd name="T3" fmla="*/ 18 h 80"/>
                <a:gd name="T4" fmla="*/ 226 w 250"/>
                <a:gd name="T5" fmla="*/ 19 h 80"/>
                <a:gd name="T6" fmla="*/ 194 w 250"/>
                <a:gd name="T7" fmla="*/ 36 h 80"/>
                <a:gd name="T8" fmla="*/ 193 w 250"/>
                <a:gd name="T9" fmla="*/ 37 h 80"/>
                <a:gd name="T10" fmla="*/ 161 w 250"/>
                <a:gd name="T11" fmla="*/ 50 h 80"/>
                <a:gd name="T12" fmla="*/ 161 w 250"/>
                <a:gd name="T13" fmla="*/ 50 h 80"/>
                <a:gd name="T14" fmla="*/ 160 w 250"/>
                <a:gd name="T15" fmla="*/ 50 h 80"/>
                <a:gd name="T16" fmla="*/ 160 w 250"/>
                <a:gd name="T17" fmla="*/ 51 h 80"/>
                <a:gd name="T18" fmla="*/ 134 w 250"/>
                <a:gd name="T19" fmla="*/ 59 h 80"/>
                <a:gd name="T20" fmla="*/ 127 w 250"/>
                <a:gd name="T21" fmla="*/ 62 h 80"/>
                <a:gd name="T22" fmla="*/ 125 w 250"/>
                <a:gd name="T23" fmla="*/ 62 h 80"/>
                <a:gd name="T24" fmla="*/ 90 w 250"/>
                <a:gd name="T25" fmla="*/ 71 h 80"/>
                <a:gd name="T26" fmla="*/ 89 w 250"/>
                <a:gd name="T27" fmla="*/ 71 h 80"/>
                <a:gd name="T28" fmla="*/ 64 w 250"/>
                <a:gd name="T29" fmla="*/ 75 h 80"/>
                <a:gd name="T30" fmla="*/ 52 w 250"/>
                <a:gd name="T31" fmla="*/ 77 h 80"/>
                <a:gd name="T32" fmla="*/ 51 w 250"/>
                <a:gd name="T33" fmla="*/ 77 h 80"/>
                <a:gd name="T34" fmla="*/ 20 w 250"/>
                <a:gd name="T35" fmla="*/ 80 h 80"/>
                <a:gd name="T36" fmla="*/ 17 w 250"/>
                <a:gd name="T37" fmla="*/ 80 h 80"/>
                <a:gd name="T38" fmla="*/ 16 w 250"/>
                <a:gd name="T39" fmla="*/ 80 h 80"/>
                <a:gd name="T40" fmla="*/ 0 w 250"/>
                <a:gd name="T41" fmla="*/ 78 h 80"/>
                <a:gd name="T42" fmla="*/ 0 w 250"/>
                <a:gd name="T43" fmla="*/ 76 h 80"/>
                <a:gd name="T44" fmla="*/ 64 w 250"/>
                <a:gd name="T45" fmla="*/ 74 h 80"/>
                <a:gd name="T46" fmla="*/ 133 w 250"/>
                <a:gd name="T47" fmla="*/ 58 h 80"/>
                <a:gd name="T48" fmla="*/ 225 w 250"/>
                <a:gd name="T49" fmla="*/ 18 h 80"/>
                <a:gd name="T50" fmla="*/ 225 w 250"/>
                <a:gd name="T51" fmla="*/ 18 h 80"/>
                <a:gd name="T52" fmla="*/ 225 w 250"/>
                <a:gd name="T53" fmla="*/ 18 h 80"/>
                <a:gd name="T54" fmla="*/ 249 w 250"/>
                <a:gd name="T55" fmla="*/ 0 h 80"/>
                <a:gd name="T56" fmla="*/ 250 w 250"/>
                <a:gd name="T57" fmla="*/ 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0" h="80">
                  <a:moveTo>
                    <a:pt x="250" y="1"/>
                  </a:moveTo>
                  <a:cubicBezTo>
                    <a:pt x="243" y="7"/>
                    <a:pt x="235" y="13"/>
                    <a:pt x="227" y="18"/>
                  </a:cubicBezTo>
                  <a:cubicBezTo>
                    <a:pt x="226" y="19"/>
                    <a:pt x="226" y="19"/>
                    <a:pt x="226" y="19"/>
                  </a:cubicBezTo>
                  <a:cubicBezTo>
                    <a:pt x="216" y="26"/>
                    <a:pt x="205" y="31"/>
                    <a:pt x="194" y="36"/>
                  </a:cubicBezTo>
                  <a:cubicBezTo>
                    <a:pt x="194" y="37"/>
                    <a:pt x="193" y="37"/>
                    <a:pt x="193" y="37"/>
                  </a:cubicBezTo>
                  <a:cubicBezTo>
                    <a:pt x="182" y="42"/>
                    <a:pt x="172" y="46"/>
                    <a:pt x="161" y="50"/>
                  </a:cubicBezTo>
                  <a:cubicBezTo>
                    <a:pt x="161" y="50"/>
                    <a:pt x="161" y="50"/>
                    <a:pt x="161" y="50"/>
                  </a:cubicBezTo>
                  <a:cubicBezTo>
                    <a:pt x="161" y="50"/>
                    <a:pt x="160" y="50"/>
                    <a:pt x="160" y="50"/>
                  </a:cubicBezTo>
                  <a:cubicBezTo>
                    <a:pt x="160" y="51"/>
                    <a:pt x="160" y="51"/>
                    <a:pt x="160" y="51"/>
                  </a:cubicBezTo>
                  <a:cubicBezTo>
                    <a:pt x="151" y="54"/>
                    <a:pt x="142" y="57"/>
                    <a:pt x="134" y="59"/>
                  </a:cubicBezTo>
                  <a:cubicBezTo>
                    <a:pt x="131" y="60"/>
                    <a:pt x="129" y="61"/>
                    <a:pt x="127" y="62"/>
                  </a:cubicBezTo>
                  <a:cubicBezTo>
                    <a:pt x="126" y="62"/>
                    <a:pt x="126" y="62"/>
                    <a:pt x="125" y="62"/>
                  </a:cubicBezTo>
                  <a:cubicBezTo>
                    <a:pt x="114" y="65"/>
                    <a:pt x="103" y="68"/>
                    <a:pt x="90" y="71"/>
                  </a:cubicBezTo>
                  <a:cubicBezTo>
                    <a:pt x="90" y="71"/>
                    <a:pt x="89" y="71"/>
                    <a:pt x="89" y="71"/>
                  </a:cubicBezTo>
                  <a:cubicBezTo>
                    <a:pt x="81" y="72"/>
                    <a:pt x="73" y="74"/>
                    <a:pt x="64" y="75"/>
                  </a:cubicBezTo>
                  <a:cubicBezTo>
                    <a:pt x="60" y="76"/>
                    <a:pt x="56" y="76"/>
                    <a:pt x="52" y="77"/>
                  </a:cubicBezTo>
                  <a:cubicBezTo>
                    <a:pt x="52" y="77"/>
                    <a:pt x="51" y="77"/>
                    <a:pt x="51" y="77"/>
                  </a:cubicBezTo>
                  <a:cubicBezTo>
                    <a:pt x="39" y="79"/>
                    <a:pt x="29" y="80"/>
                    <a:pt x="20" y="80"/>
                  </a:cubicBezTo>
                  <a:cubicBezTo>
                    <a:pt x="19" y="80"/>
                    <a:pt x="18" y="80"/>
                    <a:pt x="17" y="80"/>
                  </a:cubicBezTo>
                  <a:cubicBezTo>
                    <a:pt x="17" y="80"/>
                    <a:pt x="16" y="80"/>
                    <a:pt x="16" y="80"/>
                  </a:cubicBezTo>
                  <a:cubicBezTo>
                    <a:pt x="10" y="80"/>
                    <a:pt x="5" y="79"/>
                    <a:pt x="0" y="78"/>
                  </a:cubicBezTo>
                  <a:cubicBezTo>
                    <a:pt x="0" y="77"/>
                    <a:pt x="0" y="77"/>
                    <a:pt x="0" y="76"/>
                  </a:cubicBezTo>
                  <a:cubicBezTo>
                    <a:pt x="17" y="80"/>
                    <a:pt x="35" y="78"/>
                    <a:pt x="64" y="74"/>
                  </a:cubicBezTo>
                  <a:cubicBezTo>
                    <a:pt x="90" y="70"/>
                    <a:pt x="113" y="65"/>
                    <a:pt x="133" y="58"/>
                  </a:cubicBezTo>
                  <a:cubicBezTo>
                    <a:pt x="163" y="49"/>
                    <a:pt x="196" y="36"/>
                    <a:pt x="225" y="18"/>
                  </a:cubicBezTo>
                  <a:cubicBezTo>
                    <a:pt x="225" y="18"/>
                    <a:pt x="225" y="18"/>
                    <a:pt x="225" y="18"/>
                  </a:cubicBezTo>
                  <a:cubicBezTo>
                    <a:pt x="225" y="18"/>
                    <a:pt x="225" y="18"/>
                    <a:pt x="225" y="18"/>
                  </a:cubicBezTo>
                  <a:cubicBezTo>
                    <a:pt x="234" y="13"/>
                    <a:pt x="241" y="7"/>
                    <a:pt x="249" y="0"/>
                  </a:cubicBezTo>
                  <a:cubicBezTo>
                    <a:pt x="249" y="1"/>
                    <a:pt x="250" y="1"/>
                    <a:pt x="250" y="1"/>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6" name="îṡḻiḑè">
              <a:extLst>
                <a:ext uri="{FF2B5EF4-FFF2-40B4-BE49-F238E27FC236}">
                  <a16:creationId xmlns:a16="http://schemas.microsoft.com/office/drawing/2014/main" id="{AE1F5607-E5EA-9F72-EF58-C9DB7524F2AD}"/>
                </a:ext>
              </a:extLst>
            </p:cNvPr>
            <p:cNvSpPr/>
            <p:nvPr/>
          </p:nvSpPr>
          <p:spPr bwMode="auto">
            <a:xfrm>
              <a:off x="4854576" y="2544763"/>
              <a:ext cx="109538" cy="382588"/>
            </a:xfrm>
            <a:custGeom>
              <a:avLst/>
              <a:gdLst>
                <a:gd name="T0" fmla="*/ 29 w 29"/>
                <a:gd name="T1" fmla="*/ 101 h 101"/>
                <a:gd name="T2" fmla="*/ 27 w 29"/>
                <a:gd name="T3" fmla="*/ 100 h 101"/>
                <a:gd name="T4" fmla="*/ 0 w 29"/>
                <a:gd name="T5" fmla="*/ 1 h 101"/>
                <a:gd name="T6" fmla="*/ 0 w 29"/>
                <a:gd name="T7" fmla="*/ 1 h 101"/>
                <a:gd name="T8" fmla="*/ 1 w 29"/>
                <a:gd name="T9" fmla="*/ 0 h 101"/>
                <a:gd name="T10" fmla="*/ 1 w 29"/>
                <a:gd name="T11" fmla="*/ 1 h 101"/>
                <a:gd name="T12" fmla="*/ 29 w 29"/>
                <a:gd name="T13" fmla="*/ 101 h 101"/>
              </a:gdLst>
              <a:ahLst/>
              <a:cxnLst>
                <a:cxn ang="0">
                  <a:pos x="T0" y="T1"/>
                </a:cxn>
                <a:cxn ang="0">
                  <a:pos x="T2" y="T3"/>
                </a:cxn>
                <a:cxn ang="0">
                  <a:pos x="T4" y="T5"/>
                </a:cxn>
                <a:cxn ang="0">
                  <a:pos x="T6" y="T7"/>
                </a:cxn>
                <a:cxn ang="0">
                  <a:pos x="T8" y="T9"/>
                </a:cxn>
                <a:cxn ang="0">
                  <a:pos x="T10" y="T11"/>
                </a:cxn>
                <a:cxn ang="0">
                  <a:pos x="T12" y="T13"/>
                </a:cxn>
              </a:cxnLst>
              <a:rect l="0" t="0" r="r" b="b"/>
              <a:pathLst>
                <a:path w="29" h="101">
                  <a:moveTo>
                    <a:pt x="29" y="101"/>
                  </a:moveTo>
                  <a:cubicBezTo>
                    <a:pt x="28" y="100"/>
                    <a:pt x="28" y="100"/>
                    <a:pt x="27" y="100"/>
                  </a:cubicBezTo>
                  <a:cubicBezTo>
                    <a:pt x="0" y="1"/>
                    <a:pt x="0" y="1"/>
                    <a:pt x="0" y="1"/>
                  </a:cubicBezTo>
                  <a:cubicBezTo>
                    <a:pt x="0" y="1"/>
                    <a:pt x="0" y="1"/>
                    <a:pt x="0" y="1"/>
                  </a:cubicBezTo>
                  <a:cubicBezTo>
                    <a:pt x="1" y="0"/>
                    <a:pt x="1" y="0"/>
                    <a:pt x="1" y="0"/>
                  </a:cubicBezTo>
                  <a:cubicBezTo>
                    <a:pt x="1" y="1"/>
                    <a:pt x="1" y="1"/>
                    <a:pt x="1" y="1"/>
                  </a:cubicBezTo>
                  <a:lnTo>
                    <a:pt x="29" y="101"/>
                  </a:ln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7" name="íSlíḋe">
              <a:extLst>
                <a:ext uri="{FF2B5EF4-FFF2-40B4-BE49-F238E27FC236}">
                  <a16:creationId xmlns:a16="http://schemas.microsoft.com/office/drawing/2014/main" id="{67C13462-14EF-046C-3103-2AC69A0AE296}"/>
                </a:ext>
              </a:extLst>
            </p:cNvPr>
            <p:cNvSpPr/>
            <p:nvPr/>
          </p:nvSpPr>
          <p:spPr bwMode="auto">
            <a:xfrm>
              <a:off x="4987926" y="2533650"/>
              <a:ext cx="109538" cy="393700"/>
            </a:xfrm>
            <a:custGeom>
              <a:avLst/>
              <a:gdLst>
                <a:gd name="T0" fmla="*/ 29 w 29"/>
                <a:gd name="T1" fmla="*/ 104 h 104"/>
                <a:gd name="T2" fmla="*/ 28 w 29"/>
                <a:gd name="T3" fmla="*/ 104 h 104"/>
                <a:gd name="T4" fmla="*/ 15 w 29"/>
                <a:gd name="T5" fmla="*/ 56 h 104"/>
                <a:gd name="T6" fmla="*/ 0 w 29"/>
                <a:gd name="T7" fmla="*/ 1 h 104"/>
                <a:gd name="T8" fmla="*/ 0 w 29"/>
                <a:gd name="T9" fmla="*/ 1 h 104"/>
                <a:gd name="T10" fmla="*/ 1 w 29"/>
                <a:gd name="T11" fmla="*/ 0 h 104"/>
                <a:gd name="T12" fmla="*/ 1 w 29"/>
                <a:gd name="T13" fmla="*/ 1 h 104"/>
                <a:gd name="T14" fmla="*/ 16 w 29"/>
                <a:gd name="T15" fmla="*/ 56 h 104"/>
                <a:gd name="T16" fmla="*/ 29 w 29"/>
                <a:gd name="T17"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04">
                  <a:moveTo>
                    <a:pt x="29" y="104"/>
                  </a:moveTo>
                  <a:cubicBezTo>
                    <a:pt x="28" y="104"/>
                    <a:pt x="28" y="104"/>
                    <a:pt x="28" y="104"/>
                  </a:cubicBezTo>
                  <a:cubicBezTo>
                    <a:pt x="23" y="88"/>
                    <a:pt x="19" y="72"/>
                    <a:pt x="15" y="56"/>
                  </a:cubicBezTo>
                  <a:cubicBezTo>
                    <a:pt x="10" y="38"/>
                    <a:pt x="5" y="19"/>
                    <a:pt x="0" y="1"/>
                  </a:cubicBezTo>
                  <a:cubicBezTo>
                    <a:pt x="0" y="1"/>
                    <a:pt x="0" y="1"/>
                    <a:pt x="0" y="1"/>
                  </a:cubicBezTo>
                  <a:cubicBezTo>
                    <a:pt x="1" y="0"/>
                    <a:pt x="1" y="0"/>
                    <a:pt x="1" y="0"/>
                  </a:cubicBezTo>
                  <a:cubicBezTo>
                    <a:pt x="1" y="1"/>
                    <a:pt x="1" y="1"/>
                    <a:pt x="1" y="1"/>
                  </a:cubicBezTo>
                  <a:cubicBezTo>
                    <a:pt x="6" y="19"/>
                    <a:pt x="11" y="38"/>
                    <a:pt x="16" y="56"/>
                  </a:cubicBezTo>
                  <a:cubicBezTo>
                    <a:pt x="20" y="72"/>
                    <a:pt x="25" y="88"/>
                    <a:pt x="29" y="104"/>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8" name="í$lîḋê">
              <a:extLst>
                <a:ext uri="{FF2B5EF4-FFF2-40B4-BE49-F238E27FC236}">
                  <a16:creationId xmlns:a16="http://schemas.microsoft.com/office/drawing/2014/main" id="{2ADA687E-C0B2-7A2A-908D-8C42015F142B}"/>
                </a:ext>
              </a:extLst>
            </p:cNvPr>
            <p:cNvSpPr/>
            <p:nvPr/>
          </p:nvSpPr>
          <p:spPr bwMode="auto">
            <a:xfrm>
              <a:off x="5130801" y="2511425"/>
              <a:ext cx="109538" cy="396875"/>
            </a:xfrm>
            <a:custGeom>
              <a:avLst/>
              <a:gdLst>
                <a:gd name="T0" fmla="*/ 29 w 29"/>
                <a:gd name="T1" fmla="*/ 105 h 105"/>
                <a:gd name="T2" fmla="*/ 28 w 29"/>
                <a:gd name="T3" fmla="*/ 105 h 105"/>
                <a:gd name="T4" fmla="*/ 0 w 29"/>
                <a:gd name="T5" fmla="*/ 1 h 105"/>
                <a:gd name="T6" fmla="*/ 0 w 29"/>
                <a:gd name="T7" fmla="*/ 0 h 105"/>
                <a:gd name="T8" fmla="*/ 1 w 29"/>
                <a:gd name="T9" fmla="*/ 0 h 105"/>
                <a:gd name="T10" fmla="*/ 1 w 29"/>
                <a:gd name="T11" fmla="*/ 1 h 105"/>
                <a:gd name="T12" fmla="*/ 29 w 29"/>
                <a:gd name="T13" fmla="*/ 105 h 105"/>
              </a:gdLst>
              <a:ahLst/>
              <a:cxnLst>
                <a:cxn ang="0">
                  <a:pos x="T0" y="T1"/>
                </a:cxn>
                <a:cxn ang="0">
                  <a:pos x="T2" y="T3"/>
                </a:cxn>
                <a:cxn ang="0">
                  <a:pos x="T4" y="T5"/>
                </a:cxn>
                <a:cxn ang="0">
                  <a:pos x="T6" y="T7"/>
                </a:cxn>
                <a:cxn ang="0">
                  <a:pos x="T8" y="T9"/>
                </a:cxn>
                <a:cxn ang="0">
                  <a:pos x="T10" y="T11"/>
                </a:cxn>
                <a:cxn ang="0">
                  <a:pos x="T12" y="T13"/>
                </a:cxn>
              </a:cxnLst>
              <a:rect l="0" t="0" r="r" b="b"/>
              <a:pathLst>
                <a:path w="29" h="105">
                  <a:moveTo>
                    <a:pt x="29" y="105"/>
                  </a:moveTo>
                  <a:cubicBezTo>
                    <a:pt x="28" y="105"/>
                    <a:pt x="28" y="105"/>
                    <a:pt x="28" y="105"/>
                  </a:cubicBezTo>
                  <a:cubicBezTo>
                    <a:pt x="18" y="70"/>
                    <a:pt x="9" y="35"/>
                    <a:pt x="0" y="1"/>
                  </a:cubicBezTo>
                  <a:cubicBezTo>
                    <a:pt x="0" y="0"/>
                    <a:pt x="0" y="0"/>
                    <a:pt x="0" y="0"/>
                  </a:cubicBezTo>
                  <a:cubicBezTo>
                    <a:pt x="1" y="0"/>
                    <a:pt x="1" y="0"/>
                    <a:pt x="1" y="0"/>
                  </a:cubicBezTo>
                  <a:cubicBezTo>
                    <a:pt x="1" y="1"/>
                    <a:pt x="1" y="1"/>
                    <a:pt x="1" y="1"/>
                  </a:cubicBezTo>
                  <a:cubicBezTo>
                    <a:pt x="10" y="35"/>
                    <a:pt x="19" y="70"/>
                    <a:pt x="29" y="105"/>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39" name="ïṡľiḑè">
              <a:extLst>
                <a:ext uri="{FF2B5EF4-FFF2-40B4-BE49-F238E27FC236}">
                  <a16:creationId xmlns:a16="http://schemas.microsoft.com/office/drawing/2014/main" id="{DB225D9C-9623-960A-B974-7D288840BAB1}"/>
                </a:ext>
              </a:extLst>
            </p:cNvPr>
            <p:cNvSpPr/>
            <p:nvPr/>
          </p:nvSpPr>
          <p:spPr bwMode="auto">
            <a:xfrm>
              <a:off x="5267326" y="2476500"/>
              <a:ext cx="134938" cy="385763"/>
            </a:xfrm>
            <a:custGeom>
              <a:avLst/>
              <a:gdLst>
                <a:gd name="T0" fmla="*/ 36 w 36"/>
                <a:gd name="T1" fmla="*/ 101 h 102"/>
                <a:gd name="T2" fmla="*/ 35 w 36"/>
                <a:gd name="T3" fmla="*/ 102 h 102"/>
                <a:gd name="T4" fmla="*/ 35 w 36"/>
                <a:gd name="T5" fmla="*/ 102 h 102"/>
                <a:gd name="T6" fmla="*/ 0 w 36"/>
                <a:gd name="T7" fmla="*/ 1 h 102"/>
                <a:gd name="T8" fmla="*/ 0 w 36"/>
                <a:gd name="T9" fmla="*/ 0 h 102"/>
                <a:gd name="T10" fmla="*/ 1 w 36"/>
                <a:gd name="T11" fmla="*/ 0 h 102"/>
                <a:gd name="T12" fmla="*/ 2 w 36"/>
                <a:gd name="T13" fmla="*/ 1 h 102"/>
                <a:gd name="T14" fmla="*/ 36 w 36"/>
                <a:gd name="T15" fmla="*/ 101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102">
                  <a:moveTo>
                    <a:pt x="36" y="101"/>
                  </a:moveTo>
                  <a:cubicBezTo>
                    <a:pt x="36" y="101"/>
                    <a:pt x="35" y="102"/>
                    <a:pt x="35" y="102"/>
                  </a:cubicBezTo>
                  <a:cubicBezTo>
                    <a:pt x="35" y="102"/>
                    <a:pt x="35" y="102"/>
                    <a:pt x="35" y="102"/>
                  </a:cubicBezTo>
                  <a:cubicBezTo>
                    <a:pt x="24" y="68"/>
                    <a:pt x="12" y="34"/>
                    <a:pt x="0" y="1"/>
                  </a:cubicBezTo>
                  <a:cubicBezTo>
                    <a:pt x="0" y="0"/>
                    <a:pt x="0" y="0"/>
                    <a:pt x="0" y="0"/>
                  </a:cubicBezTo>
                  <a:cubicBezTo>
                    <a:pt x="1" y="0"/>
                    <a:pt x="1" y="0"/>
                    <a:pt x="1" y="0"/>
                  </a:cubicBezTo>
                  <a:cubicBezTo>
                    <a:pt x="2" y="1"/>
                    <a:pt x="2" y="1"/>
                    <a:pt x="2" y="1"/>
                  </a:cubicBezTo>
                  <a:cubicBezTo>
                    <a:pt x="13" y="34"/>
                    <a:pt x="25" y="68"/>
                    <a:pt x="36" y="101"/>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0" name="îŝľíḋé">
              <a:extLst>
                <a:ext uri="{FF2B5EF4-FFF2-40B4-BE49-F238E27FC236}">
                  <a16:creationId xmlns:a16="http://schemas.microsoft.com/office/drawing/2014/main" id="{8756ED6F-22DB-514B-ABC7-5B7DF47AE8F4}"/>
                </a:ext>
              </a:extLst>
            </p:cNvPr>
            <p:cNvSpPr/>
            <p:nvPr/>
          </p:nvSpPr>
          <p:spPr bwMode="auto">
            <a:xfrm>
              <a:off x="5399088" y="2432050"/>
              <a:ext cx="150813" cy="373063"/>
            </a:xfrm>
            <a:custGeom>
              <a:avLst/>
              <a:gdLst>
                <a:gd name="T0" fmla="*/ 40 w 40"/>
                <a:gd name="T1" fmla="*/ 98 h 99"/>
                <a:gd name="T2" fmla="*/ 39 w 40"/>
                <a:gd name="T3" fmla="*/ 99 h 99"/>
                <a:gd name="T4" fmla="*/ 0 w 40"/>
                <a:gd name="T5" fmla="*/ 2 h 99"/>
                <a:gd name="T6" fmla="*/ 0 w 40"/>
                <a:gd name="T7" fmla="*/ 0 h 99"/>
                <a:gd name="T8" fmla="*/ 1 w 40"/>
                <a:gd name="T9" fmla="*/ 0 h 99"/>
                <a:gd name="T10" fmla="*/ 1 w 40"/>
                <a:gd name="T11" fmla="*/ 1 h 99"/>
                <a:gd name="T12" fmla="*/ 40 w 40"/>
                <a:gd name="T13" fmla="*/ 98 h 99"/>
              </a:gdLst>
              <a:ahLst/>
              <a:cxnLst>
                <a:cxn ang="0">
                  <a:pos x="T0" y="T1"/>
                </a:cxn>
                <a:cxn ang="0">
                  <a:pos x="T2" y="T3"/>
                </a:cxn>
                <a:cxn ang="0">
                  <a:pos x="T4" y="T5"/>
                </a:cxn>
                <a:cxn ang="0">
                  <a:pos x="T6" y="T7"/>
                </a:cxn>
                <a:cxn ang="0">
                  <a:pos x="T8" y="T9"/>
                </a:cxn>
                <a:cxn ang="0">
                  <a:pos x="T10" y="T11"/>
                </a:cxn>
                <a:cxn ang="0">
                  <a:pos x="T12" y="T13"/>
                </a:cxn>
              </a:cxnLst>
              <a:rect l="0" t="0" r="r" b="b"/>
              <a:pathLst>
                <a:path w="40" h="99">
                  <a:moveTo>
                    <a:pt x="40" y="98"/>
                  </a:moveTo>
                  <a:cubicBezTo>
                    <a:pt x="39" y="98"/>
                    <a:pt x="39" y="98"/>
                    <a:pt x="39" y="99"/>
                  </a:cubicBezTo>
                  <a:cubicBezTo>
                    <a:pt x="0" y="2"/>
                    <a:pt x="0" y="2"/>
                    <a:pt x="0" y="2"/>
                  </a:cubicBezTo>
                  <a:cubicBezTo>
                    <a:pt x="0" y="0"/>
                    <a:pt x="0" y="0"/>
                    <a:pt x="0" y="0"/>
                  </a:cubicBezTo>
                  <a:cubicBezTo>
                    <a:pt x="1" y="0"/>
                    <a:pt x="1" y="0"/>
                    <a:pt x="1" y="0"/>
                  </a:cubicBezTo>
                  <a:cubicBezTo>
                    <a:pt x="1" y="1"/>
                    <a:pt x="1" y="1"/>
                    <a:pt x="1" y="1"/>
                  </a:cubicBezTo>
                  <a:lnTo>
                    <a:pt x="40" y="98"/>
                  </a:ln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1" name="ï$liḍe">
              <a:extLst>
                <a:ext uri="{FF2B5EF4-FFF2-40B4-BE49-F238E27FC236}">
                  <a16:creationId xmlns:a16="http://schemas.microsoft.com/office/drawing/2014/main" id="{7C2E004A-2DCD-590A-04A0-8613E4C20938}"/>
                </a:ext>
              </a:extLst>
            </p:cNvPr>
            <p:cNvSpPr/>
            <p:nvPr/>
          </p:nvSpPr>
          <p:spPr bwMode="auto">
            <a:xfrm>
              <a:off x="5524501" y="2382838"/>
              <a:ext cx="157163" cy="355600"/>
            </a:xfrm>
            <a:custGeom>
              <a:avLst/>
              <a:gdLst>
                <a:gd name="T0" fmla="*/ 42 w 42"/>
                <a:gd name="T1" fmla="*/ 94 h 94"/>
                <a:gd name="T2" fmla="*/ 41 w 42"/>
                <a:gd name="T3" fmla="*/ 94 h 94"/>
                <a:gd name="T4" fmla="*/ 0 w 42"/>
                <a:gd name="T5" fmla="*/ 1 h 94"/>
                <a:gd name="T6" fmla="*/ 0 w 42"/>
                <a:gd name="T7" fmla="*/ 1 h 94"/>
                <a:gd name="T8" fmla="*/ 1 w 42"/>
                <a:gd name="T9" fmla="*/ 0 h 94"/>
                <a:gd name="T10" fmla="*/ 1 w 42"/>
                <a:gd name="T11" fmla="*/ 0 h 94"/>
                <a:gd name="T12" fmla="*/ 42 w 42"/>
                <a:gd name="T13" fmla="*/ 94 h 94"/>
              </a:gdLst>
              <a:ahLst/>
              <a:cxnLst>
                <a:cxn ang="0">
                  <a:pos x="T0" y="T1"/>
                </a:cxn>
                <a:cxn ang="0">
                  <a:pos x="T2" y="T3"/>
                </a:cxn>
                <a:cxn ang="0">
                  <a:pos x="T4" y="T5"/>
                </a:cxn>
                <a:cxn ang="0">
                  <a:pos x="T6" y="T7"/>
                </a:cxn>
                <a:cxn ang="0">
                  <a:pos x="T8" y="T9"/>
                </a:cxn>
                <a:cxn ang="0">
                  <a:pos x="T10" y="T11"/>
                </a:cxn>
                <a:cxn ang="0">
                  <a:pos x="T12" y="T13"/>
                </a:cxn>
              </a:cxnLst>
              <a:rect l="0" t="0" r="r" b="b"/>
              <a:pathLst>
                <a:path w="42" h="94">
                  <a:moveTo>
                    <a:pt x="42" y="94"/>
                  </a:moveTo>
                  <a:cubicBezTo>
                    <a:pt x="42" y="94"/>
                    <a:pt x="41" y="94"/>
                    <a:pt x="41" y="94"/>
                  </a:cubicBezTo>
                  <a:cubicBezTo>
                    <a:pt x="26" y="64"/>
                    <a:pt x="13" y="32"/>
                    <a:pt x="0" y="1"/>
                  </a:cubicBezTo>
                  <a:cubicBezTo>
                    <a:pt x="0" y="1"/>
                    <a:pt x="0" y="1"/>
                    <a:pt x="0" y="1"/>
                  </a:cubicBezTo>
                  <a:cubicBezTo>
                    <a:pt x="1" y="0"/>
                    <a:pt x="1" y="0"/>
                    <a:pt x="1" y="0"/>
                  </a:cubicBezTo>
                  <a:cubicBezTo>
                    <a:pt x="1" y="0"/>
                    <a:pt x="1" y="0"/>
                    <a:pt x="1" y="0"/>
                  </a:cubicBezTo>
                  <a:cubicBezTo>
                    <a:pt x="14" y="32"/>
                    <a:pt x="28" y="63"/>
                    <a:pt x="42" y="94"/>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2" name="isľïḑe">
              <a:extLst>
                <a:ext uri="{FF2B5EF4-FFF2-40B4-BE49-F238E27FC236}">
                  <a16:creationId xmlns:a16="http://schemas.microsoft.com/office/drawing/2014/main" id="{EDA89E10-38C3-FD13-3055-97918AA7A4ED}"/>
                </a:ext>
              </a:extLst>
            </p:cNvPr>
            <p:cNvSpPr/>
            <p:nvPr/>
          </p:nvSpPr>
          <p:spPr bwMode="auto">
            <a:xfrm>
              <a:off x="5645151" y="2311400"/>
              <a:ext cx="146050" cy="354013"/>
            </a:xfrm>
            <a:custGeom>
              <a:avLst/>
              <a:gdLst>
                <a:gd name="T0" fmla="*/ 39 w 39"/>
                <a:gd name="T1" fmla="*/ 93 h 94"/>
                <a:gd name="T2" fmla="*/ 38 w 39"/>
                <a:gd name="T3" fmla="*/ 94 h 94"/>
                <a:gd name="T4" fmla="*/ 1 w 39"/>
                <a:gd name="T5" fmla="*/ 2 h 94"/>
                <a:gd name="T6" fmla="*/ 0 w 39"/>
                <a:gd name="T7" fmla="*/ 1 h 94"/>
                <a:gd name="T8" fmla="*/ 0 w 39"/>
                <a:gd name="T9" fmla="*/ 1 h 94"/>
                <a:gd name="T10" fmla="*/ 2 w 39"/>
                <a:gd name="T11" fmla="*/ 0 h 94"/>
                <a:gd name="T12" fmla="*/ 2 w 39"/>
                <a:gd name="T13" fmla="*/ 1 h 94"/>
                <a:gd name="T14" fmla="*/ 39 w 39"/>
                <a:gd name="T15" fmla="*/ 93 h 9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94">
                  <a:moveTo>
                    <a:pt x="39" y="93"/>
                  </a:moveTo>
                  <a:cubicBezTo>
                    <a:pt x="38" y="94"/>
                    <a:pt x="38" y="94"/>
                    <a:pt x="38" y="94"/>
                  </a:cubicBezTo>
                  <a:cubicBezTo>
                    <a:pt x="27" y="63"/>
                    <a:pt x="14" y="32"/>
                    <a:pt x="1" y="2"/>
                  </a:cubicBezTo>
                  <a:cubicBezTo>
                    <a:pt x="1" y="2"/>
                    <a:pt x="1" y="1"/>
                    <a:pt x="0" y="1"/>
                  </a:cubicBezTo>
                  <a:cubicBezTo>
                    <a:pt x="0" y="1"/>
                    <a:pt x="0" y="1"/>
                    <a:pt x="0" y="1"/>
                  </a:cubicBezTo>
                  <a:cubicBezTo>
                    <a:pt x="2" y="0"/>
                    <a:pt x="2" y="0"/>
                    <a:pt x="2" y="0"/>
                  </a:cubicBezTo>
                  <a:cubicBezTo>
                    <a:pt x="2" y="1"/>
                    <a:pt x="2" y="1"/>
                    <a:pt x="2" y="1"/>
                  </a:cubicBezTo>
                  <a:cubicBezTo>
                    <a:pt x="16" y="31"/>
                    <a:pt x="28" y="62"/>
                    <a:pt x="39" y="93"/>
                  </a:cubicBezTo>
                  <a:close/>
                </a:path>
              </a:pathLst>
            </a:custGeom>
            <a:solidFill>
              <a:srgbClr val="B0D8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3" name="íṣḻiḋe">
              <a:extLst>
                <a:ext uri="{FF2B5EF4-FFF2-40B4-BE49-F238E27FC236}">
                  <a16:creationId xmlns:a16="http://schemas.microsoft.com/office/drawing/2014/main" id="{444A6AED-D2EC-12AA-FF5C-64328AAC00AE}"/>
                </a:ext>
              </a:extLst>
            </p:cNvPr>
            <p:cNvSpPr/>
            <p:nvPr/>
          </p:nvSpPr>
          <p:spPr bwMode="auto">
            <a:xfrm>
              <a:off x="4591051" y="3365500"/>
              <a:ext cx="415925" cy="565150"/>
            </a:xfrm>
            <a:custGeom>
              <a:avLst/>
              <a:gdLst>
                <a:gd name="T0" fmla="*/ 29 w 110"/>
                <a:gd name="T1" fmla="*/ 141 h 150"/>
                <a:gd name="T2" fmla="*/ 22 w 110"/>
                <a:gd name="T3" fmla="*/ 137 h 150"/>
                <a:gd name="T4" fmla="*/ 12 w 110"/>
                <a:gd name="T5" fmla="*/ 58 h 150"/>
                <a:gd name="T6" fmla="*/ 13 w 110"/>
                <a:gd name="T7" fmla="*/ 58 h 150"/>
                <a:gd name="T8" fmla="*/ 79 w 110"/>
                <a:gd name="T9" fmla="*/ 8 h 150"/>
                <a:gd name="T10" fmla="*/ 80 w 110"/>
                <a:gd name="T11" fmla="*/ 9 h 150"/>
                <a:gd name="T12" fmla="*/ 99 w 110"/>
                <a:gd name="T13" fmla="*/ 84 h 150"/>
                <a:gd name="T14" fmla="*/ 97 w 110"/>
                <a:gd name="T15" fmla="*/ 91 h 150"/>
                <a:gd name="T16" fmla="*/ 29 w 110"/>
                <a:gd name="T17" fmla="*/ 14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50">
                  <a:moveTo>
                    <a:pt x="29" y="141"/>
                  </a:moveTo>
                  <a:cubicBezTo>
                    <a:pt x="27" y="140"/>
                    <a:pt x="24" y="139"/>
                    <a:pt x="22" y="137"/>
                  </a:cubicBezTo>
                  <a:cubicBezTo>
                    <a:pt x="4" y="124"/>
                    <a:pt x="0" y="91"/>
                    <a:pt x="12" y="58"/>
                  </a:cubicBezTo>
                  <a:cubicBezTo>
                    <a:pt x="13" y="58"/>
                    <a:pt x="13" y="58"/>
                    <a:pt x="13" y="58"/>
                  </a:cubicBezTo>
                  <a:cubicBezTo>
                    <a:pt x="27" y="22"/>
                    <a:pt x="56" y="0"/>
                    <a:pt x="79" y="8"/>
                  </a:cubicBezTo>
                  <a:cubicBezTo>
                    <a:pt x="80" y="8"/>
                    <a:pt x="80" y="8"/>
                    <a:pt x="80" y="9"/>
                  </a:cubicBezTo>
                  <a:cubicBezTo>
                    <a:pt x="102" y="17"/>
                    <a:pt x="110" y="50"/>
                    <a:pt x="99" y="84"/>
                  </a:cubicBezTo>
                  <a:cubicBezTo>
                    <a:pt x="99" y="86"/>
                    <a:pt x="98" y="89"/>
                    <a:pt x="97" y="91"/>
                  </a:cubicBezTo>
                  <a:cubicBezTo>
                    <a:pt x="83" y="128"/>
                    <a:pt x="52" y="150"/>
                    <a:pt x="29" y="141"/>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4" name="íṧlîďé">
              <a:extLst>
                <a:ext uri="{FF2B5EF4-FFF2-40B4-BE49-F238E27FC236}">
                  <a16:creationId xmlns:a16="http://schemas.microsoft.com/office/drawing/2014/main" id="{D64CD6C7-206E-A49B-D66A-7F424BD1D9F4}"/>
                </a:ext>
              </a:extLst>
            </p:cNvPr>
            <p:cNvSpPr/>
            <p:nvPr/>
          </p:nvSpPr>
          <p:spPr bwMode="auto">
            <a:xfrm>
              <a:off x="4552951" y="3349625"/>
              <a:ext cx="419100" cy="563563"/>
            </a:xfrm>
            <a:custGeom>
              <a:avLst/>
              <a:gdLst>
                <a:gd name="T0" fmla="*/ 32 w 111"/>
                <a:gd name="T1" fmla="*/ 141 h 149"/>
                <a:gd name="T2" fmla="*/ 31 w 111"/>
                <a:gd name="T3" fmla="*/ 141 h 149"/>
                <a:gd name="T4" fmla="*/ 15 w 111"/>
                <a:gd name="T5" fmla="*/ 58 h 149"/>
                <a:gd name="T6" fmla="*/ 15 w 111"/>
                <a:gd name="T7" fmla="*/ 57 h 149"/>
                <a:gd name="T8" fmla="*/ 83 w 111"/>
                <a:gd name="T9" fmla="*/ 9 h 149"/>
                <a:gd name="T10" fmla="*/ 89 w 111"/>
                <a:gd name="T11" fmla="*/ 12 h 149"/>
                <a:gd name="T12" fmla="*/ 101 w 111"/>
                <a:gd name="T13" fmla="*/ 87 h 149"/>
                <a:gd name="T14" fmla="*/ 99 w 111"/>
                <a:gd name="T15" fmla="*/ 91 h 149"/>
                <a:gd name="T16" fmla="*/ 32 w 111"/>
                <a:gd name="T17" fmla="*/ 141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149">
                  <a:moveTo>
                    <a:pt x="32" y="141"/>
                  </a:moveTo>
                  <a:cubicBezTo>
                    <a:pt x="31" y="141"/>
                    <a:pt x="31" y="141"/>
                    <a:pt x="31" y="141"/>
                  </a:cubicBezTo>
                  <a:cubicBezTo>
                    <a:pt x="8" y="132"/>
                    <a:pt x="0" y="95"/>
                    <a:pt x="15" y="58"/>
                  </a:cubicBezTo>
                  <a:cubicBezTo>
                    <a:pt x="15" y="57"/>
                    <a:pt x="15" y="57"/>
                    <a:pt x="15" y="57"/>
                  </a:cubicBezTo>
                  <a:cubicBezTo>
                    <a:pt x="29" y="21"/>
                    <a:pt x="59" y="0"/>
                    <a:pt x="83" y="9"/>
                  </a:cubicBezTo>
                  <a:cubicBezTo>
                    <a:pt x="85" y="9"/>
                    <a:pt x="87" y="11"/>
                    <a:pt x="89" y="12"/>
                  </a:cubicBezTo>
                  <a:cubicBezTo>
                    <a:pt x="106" y="25"/>
                    <a:pt x="111" y="56"/>
                    <a:pt x="101" y="87"/>
                  </a:cubicBezTo>
                  <a:cubicBezTo>
                    <a:pt x="100" y="88"/>
                    <a:pt x="100" y="90"/>
                    <a:pt x="99" y="91"/>
                  </a:cubicBezTo>
                  <a:cubicBezTo>
                    <a:pt x="85" y="127"/>
                    <a:pt x="55" y="149"/>
                    <a:pt x="32" y="141"/>
                  </a:cubicBez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5" name="îśḻîḋê">
              <a:extLst>
                <a:ext uri="{FF2B5EF4-FFF2-40B4-BE49-F238E27FC236}">
                  <a16:creationId xmlns:a16="http://schemas.microsoft.com/office/drawing/2014/main" id="{1867D1A0-7145-C407-C843-E810DEB5C433}"/>
                </a:ext>
              </a:extLst>
            </p:cNvPr>
            <p:cNvSpPr/>
            <p:nvPr/>
          </p:nvSpPr>
          <p:spPr bwMode="auto">
            <a:xfrm>
              <a:off x="4610101" y="3349625"/>
              <a:ext cx="361950" cy="328613"/>
            </a:xfrm>
            <a:custGeom>
              <a:avLst/>
              <a:gdLst>
                <a:gd name="T0" fmla="*/ 86 w 96"/>
                <a:gd name="T1" fmla="*/ 87 h 87"/>
                <a:gd name="T2" fmla="*/ 62 w 96"/>
                <a:gd name="T3" fmla="*/ 82 h 87"/>
                <a:gd name="T4" fmla="*/ 8 w 96"/>
                <a:gd name="T5" fmla="*/ 62 h 87"/>
                <a:gd name="T6" fmla="*/ 0 w 96"/>
                <a:gd name="T7" fmla="*/ 57 h 87"/>
                <a:gd name="T8" fmla="*/ 68 w 96"/>
                <a:gd name="T9" fmla="*/ 9 h 87"/>
                <a:gd name="T10" fmla="*/ 74 w 96"/>
                <a:gd name="T11" fmla="*/ 12 h 87"/>
                <a:gd name="T12" fmla="*/ 86 w 96"/>
                <a:gd name="T13" fmla="*/ 87 h 87"/>
              </a:gdLst>
              <a:ahLst/>
              <a:cxnLst>
                <a:cxn ang="0">
                  <a:pos x="T0" y="T1"/>
                </a:cxn>
                <a:cxn ang="0">
                  <a:pos x="T2" y="T3"/>
                </a:cxn>
                <a:cxn ang="0">
                  <a:pos x="T4" y="T5"/>
                </a:cxn>
                <a:cxn ang="0">
                  <a:pos x="T6" y="T7"/>
                </a:cxn>
                <a:cxn ang="0">
                  <a:pos x="T8" y="T9"/>
                </a:cxn>
                <a:cxn ang="0">
                  <a:pos x="T10" y="T11"/>
                </a:cxn>
                <a:cxn ang="0">
                  <a:pos x="T12" y="T13"/>
                </a:cxn>
              </a:cxnLst>
              <a:rect l="0" t="0" r="r" b="b"/>
              <a:pathLst>
                <a:path w="96" h="87">
                  <a:moveTo>
                    <a:pt x="86" y="87"/>
                  </a:moveTo>
                  <a:cubicBezTo>
                    <a:pt x="78" y="86"/>
                    <a:pt x="70" y="84"/>
                    <a:pt x="62" y="82"/>
                  </a:cubicBezTo>
                  <a:cubicBezTo>
                    <a:pt x="43" y="77"/>
                    <a:pt x="25" y="71"/>
                    <a:pt x="8" y="62"/>
                  </a:cubicBezTo>
                  <a:cubicBezTo>
                    <a:pt x="5" y="60"/>
                    <a:pt x="3" y="59"/>
                    <a:pt x="0" y="57"/>
                  </a:cubicBezTo>
                  <a:cubicBezTo>
                    <a:pt x="14" y="21"/>
                    <a:pt x="44" y="0"/>
                    <a:pt x="68" y="9"/>
                  </a:cubicBezTo>
                  <a:cubicBezTo>
                    <a:pt x="70" y="9"/>
                    <a:pt x="72" y="11"/>
                    <a:pt x="74" y="12"/>
                  </a:cubicBezTo>
                  <a:cubicBezTo>
                    <a:pt x="91" y="25"/>
                    <a:pt x="96" y="56"/>
                    <a:pt x="86" y="87"/>
                  </a:cubicBezTo>
                  <a:close/>
                </a:path>
              </a:pathLst>
            </a:custGeom>
            <a:solidFill>
              <a:srgbClr val="4EBC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6" name="ïSḷîḑe">
              <a:extLst>
                <a:ext uri="{FF2B5EF4-FFF2-40B4-BE49-F238E27FC236}">
                  <a16:creationId xmlns:a16="http://schemas.microsoft.com/office/drawing/2014/main" id="{4E717DE2-6921-07EC-B28A-F814C236DBF6}"/>
                </a:ext>
              </a:extLst>
            </p:cNvPr>
            <p:cNvSpPr/>
            <p:nvPr/>
          </p:nvSpPr>
          <p:spPr bwMode="auto">
            <a:xfrm>
              <a:off x="5919788" y="2216150"/>
              <a:ext cx="446088" cy="552450"/>
            </a:xfrm>
            <a:custGeom>
              <a:avLst/>
              <a:gdLst>
                <a:gd name="T0" fmla="*/ 21 w 118"/>
                <a:gd name="T1" fmla="*/ 133 h 146"/>
                <a:gd name="T2" fmla="*/ 15 w 118"/>
                <a:gd name="T3" fmla="*/ 128 h 146"/>
                <a:gd name="T4" fmla="*/ 20 w 118"/>
                <a:gd name="T5" fmla="*/ 49 h 146"/>
                <a:gd name="T6" fmla="*/ 21 w 118"/>
                <a:gd name="T7" fmla="*/ 48 h 146"/>
                <a:gd name="T8" fmla="*/ 95 w 118"/>
                <a:gd name="T9" fmla="*/ 12 h 146"/>
                <a:gd name="T10" fmla="*/ 96 w 118"/>
                <a:gd name="T11" fmla="*/ 12 h 146"/>
                <a:gd name="T12" fmla="*/ 101 w 118"/>
                <a:gd name="T13" fmla="*/ 90 h 146"/>
                <a:gd name="T14" fmla="*/ 97 w 118"/>
                <a:gd name="T15" fmla="*/ 97 h 146"/>
                <a:gd name="T16" fmla="*/ 21 w 118"/>
                <a:gd name="T17" fmla="*/ 133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8" h="146">
                  <a:moveTo>
                    <a:pt x="21" y="133"/>
                  </a:moveTo>
                  <a:cubicBezTo>
                    <a:pt x="19" y="131"/>
                    <a:pt x="17" y="130"/>
                    <a:pt x="15" y="128"/>
                  </a:cubicBezTo>
                  <a:cubicBezTo>
                    <a:pt x="0" y="112"/>
                    <a:pt x="2" y="78"/>
                    <a:pt x="20" y="49"/>
                  </a:cubicBezTo>
                  <a:cubicBezTo>
                    <a:pt x="21" y="48"/>
                    <a:pt x="21" y="48"/>
                    <a:pt x="21" y="48"/>
                  </a:cubicBezTo>
                  <a:cubicBezTo>
                    <a:pt x="41" y="16"/>
                    <a:pt x="74" y="0"/>
                    <a:pt x="95" y="12"/>
                  </a:cubicBezTo>
                  <a:cubicBezTo>
                    <a:pt x="96" y="12"/>
                    <a:pt x="96" y="12"/>
                    <a:pt x="96" y="12"/>
                  </a:cubicBezTo>
                  <a:cubicBezTo>
                    <a:pt x="116" y="25"/>
                    <a:pt x="118" y="58"/>
                    <a:pt x="101" y="90"/>
                  </a:cubicBezTo>
                  <a:cubicBezTo>
                    <a:pt x="100" y="92"/>
                    <a:pt x="99" y="94"/>
                    <a:pt x="97" y="97"/>
                  </a:cubicBezTo>
                  <a:cubicBezTo>
                    <a:pt x="77" y="130"/>
                    <a:pt x="43" y="146"/>
                    <a:pt x="21" y="133"/>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7" name="ïsḷiḍe">
              <a:extLst>
                <a:ext uri="{FF2B5EF4-FFF2-40B4-BE49-F238E27FC236}">
                  <a16:creationId xmlns:a16="http://schemas.microsoft.com/office/drawing/2014/main" id="{BC8A7EC3-F904-21F5-081E-A56E3AE8F204}"/>
                </a:ext>
              </a:extLst>
            </p:cNvPr>
            <p:cNvSpPr/>
            <p:nvPr/>
          </p:nvSpPr>
          <p:spPr bwMode="auto">
            <a:xfrm>
              <a:off x="5894388" y="2193925"/>
              <a:ext cx="441325" cy="550863"/>
            </a:xfrm>
            <a:custGeom>
              <a:avLst/>
              <a:gdLst>
                <a:gd name="T0" fmla="*/ 22 w 117"/>
                <a:gd name="T1" fmla="*/ 134 h 146"/>
                <a:gd name="T2" fmla="*/ 21 w 117"/>
                <a:gd name="T3" fmla="*/ 133 h 146"/>
                <a:gd name="T4" fmla="*/ 21 w 117"/>
                <a:gd name="T5" fmla="*/ 49 h 146"/>
                <a:gd name="T6" fmla="*/ 21 w 117"/>
                <a:gd name="T7" fmla="*/ 48 h 146"/>
                <a:gd name="T8" fmla="*/ 97 w 117"/>
                <a:gd name="T9" fmla="*/ 13 h 146"/>
                <a:gd name="T10" fmla="*/ 102 w 117"/>
                <a:gd name="T11" fmla="*/ 18 h 146"/>
                <a:gd name="T12" fmla="*/ 100 w 117"/>
                <a:gd name="T13" fmla="*/ 93 h 146"/>
                <a:gd name="T14" fmla="*/ 97 w 117"/>
                <a:gd name="T15" fmla="*/ 97 h 146"/>
                <a:gd name="T16" fmla="*/ 22 w 117"/>
                <a:gd name="T17" fmla="*/ 13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7" h="146">
                  <a:moveTo>
                    <a:pt x="22" y="134"/>
                  </a:moveTo>
                  <a:cubicBezTo>
                    <a:pt x="21" y="133"/>
                    <a:pt x="21" y="133"/>
                    <a:pt x="21" y="133"/>
                  </a:cubicBezTo>
                  <a:cubicBezTo>
                    <a:pt x="0" y="120"/>
                    <a:pt x="0" y="82"/>
                    <a:pt x="21" y="49"/>
                  </a:cubicBezTo>
                  <a:cubicBezTo>
                    <a:pt x="21" y="48"/>
                    <a:pt x="21" y="48"/>
                    <a:pt x="21" y="48"/>
                  </a:cubicBezTo>
                  <a:cubicBezTo>
                    <a:pt x="42" y="16"/>
                    <a:pt x="75" y="0"/>
                    <a:pt x="97" y="13"/>
                  </a:cubicBezTo>
                  <a:cubicBezTo>
                    <a:pt x="99" y="14"/>
                    <a:pt x="101" y="16"/>
                    <a:pt x="102" y="18"/>
                  </a:cubicBezTo>
                  <a:cubicBezTo>
                    <a:pt x="117" y="33"/>
                    <a:pt x="116" y="65"/>
                    <a:pt x="100" y="93"/>
                  </a:cubicBezTo>
                  <a:cubicBezTo>
                    <a:pt x="99" y="95"/>
                    <a:pt x="98" y="96"/>
                    <a:pt x="97" y="97"/>
                  </a:cubicBezTo>
                  <a:cubicBezTo>
                    <a:pt x="77" y="130"/>
                    <a:pt x="44" y="146"/>
                    <a:pt x="22" y="134"/>
                  </a:cubicBezTo>
                  <a:close/>
                </a:path>
              </a:pathLst>
            </a:cu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8" name="íşḷiḓê">
              <a:extLst>
                <a:ext uri="{FF2B5EF4-FFF2-40B4-BE49-F238E27FC236}">
                  <a16:creationId xmlns:a16="http://schemas.microsoft.com/office/drawing/2014/main" id="{D4A014CF-ED16-DEAF-901E-920797B9EDDA}"/>
                </a:ext>
              </a:extLst>
            </p:cNvPr>
            <p:cNvSpPr/>
            <p:nvPr/>
          </p:nvSpPr>
          <p:spPr bwMode="auto">
            <a:xfrm>
              <a:off x="5973763" y="2193925"/>
              <a:ext cx="361950" cy="350838"/>
            </a:xfrm>
            <a:custGeom>
              <a:avLst/>
              <a:gdLst>
                <a:gd name="T0" fmla="*/ 79 w 96"/>
                <a:gd name="T1" fmla="*/ 93 h 93"/>
                <a:gd name="T2" fmla="*/ 56 w 96"/>
                <a:gd name="T3" fmla="*/ 84 h 93"/>
                <a:gd name="T4" fmla="*/ 7 w 96"/>
                <a:gd name="T5" fmla="*/ 54 h 93"/>
                <a:gd name="T6" fmla="*/ 0 w 96"/>
                <a:gd name="T7" fmla="*/ 48 h 93"/>
                <a:gd name="T8" fmla="*/ 76 w 96"/>
                <a:gd name="T9" fmla="*/ 13 h 93"/>
                <a:gd name="T10" fmla="*/ 81 w 96"/>
                <a:gd name="T11" fmla="*/ 18 h 93"/>
                <a:gd name="T12" fmla="*/ 79 w 96"/>
                <a:gd name="T13" fmla="*/ 93 h 93"/>
              </a:gdLst>
              <a:ahLst/>
              <a:cxnLst>
                <a:cxn ang="0">
                  <a:pos x="T0" y="T1"/>
                </a:cxn>
                <a:cxn ang="0">
                  <a:pos x="T2" y="T3"/>
                </a:cxn>
                <a:cxn ang="0">
                  <a:pos x="T4" y="T5"/>
                </a:cxn>
                <a:cxn ang="0">
                  <a:pos x="T6" y="T7"/>
                </a:cxn>
                <a:cxn ang="0">
                  <a:pos x="T8" y="T9"/>
                </a:cxn>
                <a:cxn ang="0">
                  <a:pos x="T10" y="T11"/>
                </a:cxn>
                <a:cxn ang="0">
                  <a:pos x="T12" y="T13"/>
                </a:cxn>
              </a:cxnLst>
              <a:rect l="0" t="0" r="r" b="b"/>
              <a:pathLst>
                <a:path w="96" h="93">
                  <a:moveTo>
                    <a:pt x="79" y="93"/>
                  </a:moveTo>
                  <a:cubicBezTo>
                    <a:pt x="71" y="91"/>
                    <a:pt x="64" y="88"/>
                    <a:pt x="56" y="84"/>
                  </a:cubicBezTo>
                  <a:cubicBezTo>
                    <a:pt x="39" y="76"/>
                    <a:pt x="22" y="66"/>
                    <a:pt x="7" y="54"/>
                  </a:cubicBezTo>
                  <a:cubicBezTo>
                    <a:pt x="4" y="52"/>
                    <a:pt x="2" y="50"/>
                    <a:pt x="0" y="48"/>
                  </a:cubicBezTo>
                  <a:cubicBezTo>
                    <a:pt x="21" y="16"/>
                    <a:pt x="54" y="0"/>
                    <a:pt x="76" y="13"/>
                  </a:cubicBezTo>
                  <a:cubicBezTo>
                    <a:pt x="78" y="14"/>
                    <a:pt x="80" y="16"/>
                    <a:pt x="81" y="18"/>
                  </a:cubicBezTo>
                  <a:cubicBezTo>
                    <a:pt x="96" y="33"/>
                    <a:pt x="95" y="65"/>
                    <a:pt x="79" y="93"/>
                  </a:cubicBezTo>
                  <a:close/>
                </a:path>
              </a:pathLst>
            </a:custGeom>
            <a:solidFill>
              <a:srgbClr val="FF98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49" name="íṣľíḓè">
              <a:extLst>
                <a:ext uri="{FF2B5EF4-FFF2-40B4-BE49-F238E27FC236}">
                  <a16:creationId xmlns:a16="http://schemas.microsoft.com/office/drawing/2014/main" id="{3E3843C3-8AAD-5B8A-3EC6-727EE33A804A}"/>
                </a:ext>
              </a:extLst>
            </p:cNvPr>
            <p:cNvSpPr/>
            <p:nvPr/>
          </p:nvSpPr>
          <p:spPr bwMode="auto">
            <a:xfrm>
              <a:off x="4659313" y="4297363"/>
              <a:ext cx="962025" cy="276225"/>
            </a:xfrm>
            <a:custGeom>
              <a:avLst/>
              <a:gdLst>
                <a:gd name="T0" fmla="*/ 230 w 255"/>
                <a:gd name="T1" fmla="*/ 73 h 73"/>
                <a:gd name="T2" fmla="*/ 24 w 255"/>
                <a:gd name="T3" fmla="*/ 73 h 73"/>
                <a:gd name="T4" fmla="*/ 0 w 255"/>
                <a:gd name="T5" fmla="*/ 48 h 73"/>
                <a:gd name="T6" fmla="*/ 0 w 255"/>
                <a:gd name="T7" fmla="*/ 25 h 73"/>
                <a:gd name="T8" fmla="*/ 24 w 255"/>
                <a:gd name="T9" fmla="*/ 0 h 73"/>
                <a:gd name="T10" fmla="*/ 230 w 255"/>
                <a:gd name="T11" fmla="*/ 0 h 73"/>
                <a:gd name="T12" fmla="*/ 255 w 255"/>
                <a:gd name="T13" fmla="*/ 25 h 73"/>
                <a:gd name="T14" fmla="*/ 255 w 255"/>
                <a:gd name="T15" fmla="*/ 48 h 73"/>
                <a:gd name="T16" fmla="*/ 230 w 255"/>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73">
                  <a:moveTo>
                    <a:pt x="230" y="73"/>
                  </a:moveTo>
                  <a:cubicBezTo>
                    <a:pt x="24" y="73"/>
                    <a:pt x="24" y="73"/>
                    <a:pt x="24" y="73"/>
                  </a:cubicBezTo>
                  <a:cubicBezTo>
                    <a:pt x="11" y="73"/>
                    <a:pt x="0" y="62"/>
                    <a:pt x="0" y="48"/>
                  </a:cubicBezTo>
                  <a:cubicBezTo>
                    <a:pt x="0" y="25"/>
                    <a:pt x="0" y="25"/>
                    <a:pt x="0" y="25"/>
                  </a:cubicBezTo>
                  <a:cubicBezTo>
                    <a:pt x="0" y="11"/>
                    <a:pt x="11" y="0"/>
                    <a:pt x="24" y="0"/>
                  </a:cubicBezTo>
                  <a:cubicBezTo>
                    <a:pt x="230" y="0"/>
                    <a:pt x="230" y="0"/>
                    <a:pt x="230" y="0"/>
                  </a:cubicBezTo>
                  <a:cubicBezTo>
                    <a:pt x="244" y="0"/>
                    <a:pt x="255" y="11"/>
                    <a:pt x="255" y="25"/>
                  </a:cubicBezTo>
                  <a:cubicBezTo>
                    <a:pt x="255" y="48"/>
                    <a:pt x="255" y="48"/>
                    <a:pt x="255" y="48"/>
                  </a:cubicBezTo>
                  <a:cubicBezTo>
                    <a:pt x="255" y="62"/>
                    <a:pt x="244" y="73"/>
                    <a:pt x="230" y="73"/>
                  </a:cubicBezTo>
                  <a:close/>
                </a:path>
              </a:pathLst>
            </a:custGeom>
            <a:solidFill>
              <a:srgbClr val="E7D8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0" name="í$ľîḍe">
              <a:extLst>
                <a:ext uri="{FF2B5EF4-FFF2-40B4-BE49-F238E27FC236}">
                  <a16:creationId xmlns:a16="http://schemas.microsoft.com/office/drawing/2014/main" id="{94D2E16A-9D4C-6190-3A22-B56A635CD26C}"/>
                </a:ext>
              </a:extLst>
            </p:cNvPr>
            <p:cNvSpPr/>
            <p:nvPr/>
          </p:nvSpPr>
          <p:spPr bwMode="auto">
            <a:xfrm>
              <a:off x="4957763" y="4324350"/>
              <a:ext cx="320675" cy="219075"/>
            </a:xfrm>
            <a:custGeom>
              <a:avLst/>
              <a:gdLst>
                <a:gd name="T0" fmla="*/ 200 w 202"/>
                <a:gd name="T1" fmla="*/ 138 h 138"/>
                <a:gd name="T2" fmla="*/ 200 w 202"/>
                <a:gd name="T3" fmla="*/ 138 h 138"/>
                <a:gd name="T4" fmla="*/ 2 w 202"/>
                <a:gd name="T5" fmla="*/ 138 h 138"/>
                <a:gd name="T6" fmla="*/ 2 w 202"/>
                <a:gd name="T7" fmla="*/ 2 h 138"/>
                <a:gd name="T8" fmla="*/ 200 w 202"/>
                <a:gd name="T9" fmla="*/ 2 h 138"/>
                <a:gd name="T10" fmla="*/ 200 w 202"/>
                <a:gd name="T11" fmla="*/ 138 h 138"/>
                <a:gd name="T12" fmla="*/ 200 w 202"/>
                <a:gd name="T13" fmla="*/ 138 h 138"/>
                <a:gd name="T14" fmla="*/ 200 w 202"/>
                <a:gd name="T15" fmla="*/ 138 h 138"/>
                <a:gd name="T16" fmla="*/ 200 w 202"/>
                <a:gd name="T17" fmla="*/ 138 h 138"/>
                <a:gd name="T18" fmla="*/ 202 w 202"/>
                <a:gd name="T19" fmla="*/ 138 h 138"/>
                <a:gd name="T20" fmla="*/ 202 w 202"/>
                <a:gd name="T21" fmla="*/ 0 h 138"/>
                <a:gd name="T22" fmla="*/ 0 w 202"/>
                <a:gd name="T23" fmla="*/ 0 h 138"/>
                <a:gd name="T24" fmla="*/ 0 w 202"/>
                <a:gd name="T25" fmla="*/ 138 h 138"/>
                <a:gd name="T26" fmla="*/ 202 w 202"/>
                <a:gd name="T27" fmla="*/ 138 h 138"/>
                <a:gd name="T28" fmla="*/ 202 w 202"/>
                <a:gd name="T29" fmla="*/ 138 h 138"/>
                <a:gd name="T30" fmla="*/ 200 w 202"/>
                <a:gd name="T31"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2" h="138">
                  <a:moveTo>
                    <a:pt x="200" y="138"/>
                  </a:moveTo>
                  <a:lnTo>
                    <a:pt x="200" y="138"/>
                  </a:lnTo>
                  <a:lnTo>
                    <a:pt x="2" y="138"/>
                  </a:lnTo>
                  <a:lnTo>
                    <a:pt x="2" y="2"/>
                  </a:lnTo>
                  <a:lnTo>
                    <a:pt x="200" y="2"/>
                  </a:lnTo>
                  <a:lnTo>
                    <a:pt x="200" y="138"/>
                  </a:lnTo>
                  <a:lnTo>
                    <a:pt x="200" y="138"/>
                  </a:lnTo>
                  <a:lnTo>
                    <a:pt x="200" y="138"/>
                  </a:lnTo>
                  <a:lnTo>
                    <a:pt x="200" y="138"/>
                  </a:lnTo>
                  <a:lnTo>
                    <a:pt x="202" y="138"/>
                  </a:lnTo>
                  <a:lnTo>
                    <a:pt x="202" y="0"/>
                  </a:lnTo>
                  <a:lnTo>
                    <a:pt x="0" y="0"/>
                  </a:lnTo>
                  <a:lnTo>
                    <a:pt x="0" y="138"/>
                  </a:lnTo>
                  <a:lnTo>
                    <a:pt x="202" y="138"/>
                  </a:lnTo>
                  <a:lnTo>
                    <a:pt x="202" y="138"/>
                  </a:lnTo>
                  <a:lnTo>
                    <a:pt x="200" y="138"/>
                  </a:lnTo>
                  <a:close/>
                </a:path>
              </a:pathLst>
            </a:cu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1" name="íṩḷíďé">
              <a:extLst>
                <a:ext uri="{FF2B5EF4-FFF2-40B4-BE49-F238E27FC236}">
                  <a16:creationId xmlns:a16="http://schemas.microsoft.com/office/drawing/2014/main" id="{F8ABD484-49DC-94E9-B0C8-0C364161FC02}"/>
                </a:ext>
              </a:extLst>
            </p:cNvPr>
            <p:cNvSpPr/>
            <p:nvPr/>
          </p:nvSpPr>
          <p:spPr bwMode="auto">
            <a:xfrm>
              <a:off x="4741863" y="4343400"/>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2" name="íṧḻïḍe">
              <a:extLst>
                <a:ext uri="{FF2B5EF4-FFF2-40B4-BE49-F238E27FC236}">
                  <a16:creationId xmlns:a16="http://schemas.microsoft.com/office/drawing/2014/main" id="{23C3FF0D-42C1-EAC3-23E3-ACBB32339589}"/>
                </a:ext>
              </a:extLst>
            </p:cNvPr>
            <p:cNvSpPr/>
            <p:nvPr/>
          </p:nvSpPr>
          <p:spPr bwMode="auto">
            <a:xfrm>
              <a:off x="4810126" y="4411663"/>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3" name="iṩliḋê">
              <a:extLst>
                <a:ext uri="{FF2B5EF4-FFF2-40B4-BE49-F238E27FC236}">
                  <a16:creationId xmlns:a16="http://schemas.microsoft.com/office/drawing/2014/main" id="{88C8B70C-207E-E3C7-5DF0-7AA5D9CC53A0}"/>
                </a:ext>
              </a:extLst>
            </p:cNvPr>
            <p:cNvSpPr/>
            <p:nvPr/>
          </p:nvSpPr>
          <p:spPr bwMode="auto">
            <a:xfrm>
              <a:off x="4745038" y="4478338"/>
              <a:ext cx="31750"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4" name="ïṩļïḋé">
              <a:extLst>
                <a:ext uri="{FF2B5EF4-FFF2-40B4-BE49-F238E27FC236}">
                  <a16:creationId xmlns:a16="http://schemas.microsoft.com/office/drawing/2014/main" id="{95ADC52C-C71D-72AC-31E4-44922DB0DDEF}"/>
                </a:ext>
              </a:extLst>
            </p:cNvPr>
            <p:cNvSpPr/>
            <p:nvPr/>
          </p:nvSpPr>
          <p:spPr bwMode="auto">
            <a:xfrm>
              <a:off x="5481638" y="4343400"/>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5" name="îṩlíḋè">
              <a:extLst>
                <a:ext uri="{FF2B5EF4-FFF2-40B4-BE49-F238E27FC236}">
                  <a16:creationId xmlns:a16="http://schemas.microsoft.com/office/drawing/2014/main" id="{4036BF99-502D-5ED9-29B3-041188617C1B}"/>
                </a:ext>
              </a:extLst>
            </p:cNvPr>
            <p:cNvSpPr/>
            <p:nvPr/>
          </p:nvSpPr>
          <p:spPr bwMode="auto">
            <a:xfrm>
              <a:off x="5414963" y="4411663"/>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6" name="îśļîḓe">
              <a:extLst>
                <a:ext uri="{FF2B5EF4-FFF2-40B4-BE49-F238E27FC236}">
                  <a16:creationId xmlns:a16="http://schemas.microsoft.com/office/drawing/2014/main" id="{D390F894-6B70-A4D9-509B-F047528EBCA9}"/>
                </a:ext>
              </a:extLst>
            </p:cNvPr>
            <p:cNvSpPr/>
            <p:nvPr/>
          </p:nvSpPr>
          <p:spPr bwMode="auto">
            <a:xfrm>
              <a:off x="5478463" y="4478338"/>
              <a:ext cx="30163" cy="30163"/>
            </a:xfrm>
            <a:prstGeom prst="ellipse">
              <a:avLst/>
            </a:prstGeom>
            <a:solidFill>
              <a:srgbClr val="AD8B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7" name="íš1íďê">
              <a:extLst>
                <a:ext uri="{FF2B5EF4-FFF2-40B4-BE49-F238E27FC236}">
                  <a16:creationId xmlns:a16="http://schemas.microsoft.com/office/drawing/2014/main" id="{ED351580-2CA9-9F76-82E4-059ABAE583CC}"/>
                </a:ext>
              </a:extLst>
            </p:cNvPr>
            <p:cNvSpPr/>
            <p:nvPr/>
          </p:nvSpPr>
          <p:spPr bwMode="auto">
            <a:xfrm>
              <a:off x="6007101" y="4414838"/>
              <a:ext cx="215900" cy="211138"/>
            </a:xfrm>
            <a:prstGeom prst="ellipse">
              <a:avLst/>
            </a:prstGeom>
            <a:solidFill>
              <a:srgbClr val="FAED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58" name="ïṥlíḋè">
              <a:extLst>
                <a:ext uri="{FF2B5EF4-FFF2-40B4-BE49-F238E27FC236}">
                  <a16:creationId xmlns:a16="http://schemas.microsoft.com/office/drawing/2014/main" id="{B9714731-6188-94E3-06FB-BF82F4CBCFF8}"/>
                </a:ext>
              </a:extLst>
            </p:cNvPr>
            <p:cNvSpPr/>
            <p:nvPr/>
          </p:nvSpPr>
          <p:spPr bwMode="auto">
            <a:xfrm>
              <a:off x="4594226" y="3001963"/>
              <a:ext cx="223838" cy="222250"/>
            </a:xfrm>
            <a:custGeom>
              <a:avLst/>
              <a:gdLst>
                <a:gd name="T0" fmla="*/ 58 w 59"/>
                <a:gd name="T1" fmla="*/ 29 h 59"/>
                <a:gd name="T2" fmla="*/ 57 w 59"/>
                <a:gd name="T3" fmla="*/ 29 h 59"/>
                <a:gd name="T4" fmla="*/ 49 w 59"/>
                <a:gd name="T5" fmla="*/ 48 h 59"/>
                <a:gd name="T6" fmla="*/ 30 w 59"/>
                <a:gd name="T7" fmla="*/ 56 h 59"/>
                <a:gd name="T8" fmla="*/ 11 w 59"/>
                <a:gd name="T9" fmla="*/ 48 h 59"/>
                <a:gd name="T10" fmla="*/ 3 w 59"/>
                <a:gd name="T11" fmla="*/ 29 h 59"/>
                <a:gd name="T12" fmla="*/ 11 w 59"/>
                <a:gd name="T13" fmla="*/ 10 h 59"/>
                <a:gd name="T14" fmla="*/ 30 w 59"/>
                <a:gd name="T15" fmla="*/ 2 h 59"/>
                <a:gd name="T16" fmla="*/ 49 w 59"/>
                <a:gd name="T17" fmla="*/ 10 h 59"/>
                <a:gd name="T18" fmla="*/ 57 w 59"/>
                <a:gd name="T19" fmla="*/ 29 h 59"/>
                <a:gd name="T20" fmla="*/ 58 w 59"/>
                <a:gd name="T21" fmla="*/ 29 h 59"/>
                <a:gd name="T22" fmla="*/ 59 w 59"/>
                <a:gd name="T23" fmla="*/ 29 h 59"/>
                <a:gd name="T24" fmla="*/ 30 w 59"/>
                <a:gd name="T25" fmla="*/ 0 h 59"/>
                <a:gd name="T26" fmla="*/ 0 w 59"/>
                <a:gd name="T27" fmla="*/ 29 h 59"/>
                <a:gd name="T28" fmla="*/ 30 w 59"/>
                <a:gd name="T29" fmla="*/ 59 h 59"/>
                <a:gd name="T30" fmla="*/ 59 w 59"/>
                <a:gd name="T31" fmla="*/ 29 h 59"/>
                <a:gd name="T32" fmla="*/ 58 w 59"/>
                <a:gd name="T33" fmla="*/ 2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59">
                  <a:moveTo>
                    <a:pt x="58" y="29"/>
                  </a:moveTo>
                  <a:cubicBezTo>
                    <a:pt x="57" y="29"/>
                    <a:pt x="57" y="29"/>
                    <a:pt x="57" y="29"/>
                  </a:cubicBezTo>
                  <a:cubicBezTo>
                    <a:pt x="57" y="36"/>
                    <a:pt x="54" y="43"/>
                    <a:pt x="49" y="48"/>
                  </a:cubicBezTo>
                  <a:cubicBezTo>
                    <a:pt x="44" y="53"/>
                    <a:pt x="37" y="56"/>
                    <a:pt x="30" y="56"/>
                  </a:cubicBezTo>
                  <a:cubicBezTo>
                    <a:pt x="22" y="56"/>
                    <a:pt x="15" y="53"/>
                    <a:pt x="11" y="48"/>
                  </a:cubicBezTo>
                  <a:cubicBezTo>
                    <a:pt x="6" y="43"/>
                    <a:pt x="3" y="36"/>
                    <a:pt x="3" y="29"/>
                  </a:cubicBezTo>
                  <a:cubicBezTo>
                    <a:pt x="3" y="22"/>
                    <a:pt x="6" y="15"/>
                    <a:pt x="11" y="10"/>
                  </a:cubicBezTo>
                  <a:cubicBezTo>
                    <a:pt x="15" y="5"/>
                    <a:pt x="22" y="2"/>
                    <a:pt x="30" y="2"/>
                  </a:cubicBezTo>
                  <a:cubicBezTo>
                    <a:pt x="37" y="2"/>
                    <a:pt x="44" y="5"/>
                    <a:pt x="49" y="10"/>
                  </a:cubicBezTo>
                  <a:cubicBezTo>
                    <a:pt x="54" y="15"/>
                    <a:pt x="57" y="22"/>
                    <a:pt x="57" y="29"/>
                  </a:cubicBezTo>
                  <a:cubicBezTo>
                    <a:pt x="58" y="29"/>
                    <a:pt x="58" y="29"/>
                    <a:pt x="58" y="29"/>
                  </a:cubicBezTo>
                  <a:cubicBezTo>
                    <a:pt x="59" y="29"/>
                    <a:pt x="59" y="29"/>
                    <a:pt x="59" y="29"/>
                  </a:cubicBezTo>
                  <a:cubicBezTo>
                    <a:pt x="59" y="13"/>
                    <a:pt x="46" y="0"/>
                    <a:pt x="30" y="0"/>
                  </a:cubicBezTo>
                  <a:cubicBezTo>
                    <a:pt x="13" y="0"/>
                    <a:pt x="0" y="13"/>
                    <a:pt x="0" y="29"/>
                  </a:cubicBezTo>
                  <a:cubicBezTo>
                    <a:pt x="0" y="45"/>
                    <a:pt x="13" y="59"/>
                    <a:pt x="30" y="59"/>
                  </a:cubicBezTo>
                  <a:cubicBezTo>
                    <a:pt x="46" y="59"/>
                    <a:pt x="59" y="45"/>
                    <a:pt x="59" y="29"/>
                  </a:cubicBezTo>
                  <a:lnTo>
                    <a:pt x="58" y="29"/>
                  </a:lnTo>
                  <a:close/>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0" name="íṡliďè">
              <a:extLst>
                <a:ext uri="{FF2B5EF4-FFF2-40B4-BE49-F238E27FC236}">
                  <a16:creationId xmlns:a16="http://schemas.microsoft.com/office/drawing/2014/main" id="{5E0EEB65-67B9-DF5E-E957-2BF93665C612}"/>
                </a:ext>
              </a:extLst>
            </p:cNvPr>
            <p:cNvSpPr/>
            <p:nvPr/>
          </p:nvSpPr>
          <p:spPr bwMode="auto">
            <a:xfrm>
              <a:off x="4813301" y="4014788"/>
              <a:ext cx="219075" cy="71438"/>
            </a:xfrm>
            <a:custGeom>
              <a:avLst/>
              <a:gdLst>
                <a:gd name="T0" fmla="*/ 54 w 58"/>
                <a:gd name="T1" fmla="*/ 12 h 19"/>
                <a:gd name="T2" fmla="*/ 5 w 58"/>
                <a:gd name="T3" fmla="*/ 0 h 19"/>
                <a:gd name="T4" fmla="*/ 1 w 58"/>
                <a:gd name="T5" fmla="*/ 3 h 19"/>
                <a:gd name="T6" fmla="*/ 3 w 58"/>
                <a:gd name="T7" fmla="*/ 7 h 19"/>
                <a:gd name="T8" fmla="*/ 53 w 58"/>
                <a:gd name="T9" fmla="*/ 19 h 19"/>
                <a:gd name="T10" fmla="*/ 57 w 58"/>
                <a:gd name="T11" fmla="*/ 16 h 19"/>
                <a:gd name="T12" fmla="*/ 54 w 58"/>
                <a:gd name="T13" fmla="*/ 12 h 19"/>
              </a:gdLst>
              <a:ahLst/>
              <a:cxnLst>
                <a:cxn ang="0">
                  <a:pos x="T0" y="T1"/>
                </a:cxn>
                <a:cxn ang="0">
                  <a:pos x="T2" y="T3"/>
                </a:cxn>
                <a:cxn ang="0">
                  <a:pos x="T4" y="T5"/>
                </a:cxn>
                <a:cxn ang="0">
                  <a:pos x="T6" y="T7"/>
                </a:cxn>
                <a:cxn ang="0">
                  <a:pos x="T8" y="T9"/>
                </a:cxn>
                <a:cxn ang="0">
                  <a:pos x="T10" y="T11"/>
                </a:cxn>
                <a:cxn ang="0">
                  <a:pos x="T12" y="T13"/>
                </a:cxn>
              </a:cxnLst>
              <a:rect l="0" t="0" r="r" b="b"/>
              <a:pathLst>
                <a:path w="58" h="19">
                  <a:moveTo>
                    <a:pt x="54" y="12"/>
                  </a:moveTo>
                  <a:cubicBezTo>
                    <a:pt x="5" y="0"/>
                    <a:pt x="5" y="0"/>
                    <a:pt x="5" y="0"/>
                  </a:cubicBezTo>
                  <a:cubicBezTo>
                    <a:pt x="3" y="0"/>
                    <a:pt x="1" y="1"/>
                    <a:pt x="1" y="3"/>
                  </a:cubicBezTo>
                  <a:cubicBezTo>
                    <a:pt x="0" y="5"/>
                    <a:pt x="2" y="7"/>
                    <a:pt x="3" y="7"/>
                  </a:cubicBezTo>
                  <a:cubicBezTo>
                    <a:pt x="53" y="19"/>
                    <a:pt x="53" y="19"/>
                    <a:pt x="53" y="19"/>
                  </a:cubicBezTo>
                  <a:cubicBezTo>
                    <a:pt x="55" y="19"/>
                    <a:pt x="57" y="18"/>
                    <a:pt x="57" y="16"/>
                  </a:cubicBezTo>
                  <a:cubicBezTo>
                    <a:pt x="58" y="15"/>
                    <a:pt x="56" y="13"/>
                    <a:pt x="54" y="12"/>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1" name="işļîḋe">
              <a:extLst>
                <a:ext uri="{FF2B5EF4-FFF2-40B4-BE49-F238E27FC236}">
                  <a16:creationId xmlns:a16="http://schemas.microsoft.com/office/drawing/2014/main" id="{38614341-10AA-085C-429F-95AB9E035F73}"/>
                </a:ext>
              </a:extLst>
            </p:cNvPr>
            <p:cNvSpPr/>
            <p:nvPr/>
          </p:nvSpPr>
          <p:spPr bwMode="auto">
            <a:xfrm>
              <a:off x="4884738" y="3943350"/>
              <a:ext cx="76200" cy="214313"/>
            </a:xfrm>
            <a:custGeom>
              <a:avLst/>
              <a:gdLst>
                <a:gd name="T0" fmla="*/ 13 w 20"/>
                <a:gd name="T1" fmla="*/ 3 h 57"/>
                <a:gd name="T2" fmla="*/ 1 w 20"/>
                <a:gd name="T3" fmla="*/ 52 h 57"/>
                <a:gd name="T4" fmla="*/ 3 w 20"/>
                <a:gd name="T5" fmla="*/ 57 h 57"/>
                <a:gd name="T6" fmla="*/ 7 w 20"/>
                <a:gd name="T7" fmla="*/ 54 h 57"/>
                <a:gd name="T8" fmla="*/ 19 w 20"/>
                <a:gd name="T9" fmla="*/ 5 h 57"/>
                <a:gd name="T10" fmla="*/ 17 w 20"/>
                <a:gd name="T11" fmla="*/ 1 h 57"/>
                <a:gd name="T12" fmla="*/ 13 w 20"/>
                <a:gd name="T13" fmla="*/ 3 h 57"/>
              </a:gdLst>
              <a:ahLst/>
              <a:cxnLst>
                <a:cxn ang="0">
                  <a:pos x="T0" y="T1"/>
                </a:cxn>
                <a:cxn ang="0">
                  <a:pos x="T2" y="T3"/>
                </a:cxn>
                <a:cxn ang="0">
                  <a:pos x="T4" y="T5"/>
                </a:cxn>
                <a:cxn ang="0">
                  <a:pos x="T6" y="T7"/>
                </a:cxn>
                <a:cxn ang="0">
                  <a:pos x="T8" y="T9"/>
                </a:cxn>
                <a:cxn ang="0">
                  <a:pos x="T10" y="T11"/>
                </a:cxn>
                <a:cxn ang="0">
                  <a:pos x="T12" y="T13"/>
                </a:cxn>
              </a:cxnLst>
              <a:rect l="0" t="0" r="r" b="b"/>
              <a:pathLst>
                <a:path w="20" h="57">
                  <a:moveTo>
                    <a:pt x="13" y="3"/>
                  </a:moveTo>
                  <a:cubicBezTo>
                    <a:pt x="1" y="52"/>
                    <a:pt x="1" y="52"/>
                    <a:pt x="1" y="52"/>
                  </a:cubicBezTo>
                  <a:cubicBezTo>
                    <a:pt x="0" y="54"/>
                    <a:pt x="1" y="56"/>
                    <a:pt x="3" y="57"/>
                  </a:cubicBezTo>
                  <a:cubicBezTo>
                    <a:pt x="5" y="57"/>
                    <a:pt x="7" y="56"/>
                    <a:pt x="7" y="54"/>
                  </a:cubicBezTo>
                  <a:cubicBezTo>
                    <a:pt x="19" y="5"/>
                    <a:pt x="19" y="5"/>
                    <a:pt x="19" y="5"/>
                  </a:cubicBezTo>
                  <a:cubicBezTo>
                    <a:pt x="20" y="3"/>
                    <a:pt x="19" y="1"/>
                    <a:pt x="17" y="1"/>
                  </a:cubicBezTo>
                  <a:cubicBezTo>
                    <a:pt x="15" y="0"/>
                    <a:pt x="13" y="1"/>
                    <a:pt x="13" y="3"/>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2" name="îṩļíďè">
              <a:extLst>
                <a:ext uri="{FF2B5EF4-FFF2-40B4-BE49-F238E27FC236}">
                  <a16:creationId xmlns:a16="http://schemas.microsoft.com/office/drawing/2014/main" id="{CD7CCEA6-67E1-1EC8-3CC3-9D27CCD864C2}"/>
                </a:ext>
              </a:extLst>
            </p:cNvPr>
            <p:cNvSpPr/>
            <p:nvPr/>
          </p:nvSpPr>
          <p:spPr bwMode="auto">
            <a:xfrm>
              <a:off x="7015163" y="3738563"/>
              <a:ext cx="158750" cy="166688"/>
            </a:xfrm>
            <a:custGeom>
              <a:avLst/>
              <a:gdLst>
                <a:gd name="T0" fmla="*/ 36 w 42"/>
                <a:gd name="T1" fmla="*/ 1 h 44"/>
                <a:gd name="T2" fmla="*/ 1 w 42"/>
                <a:gd name="T3" fmla="*/ 38 h 44"/>
                <a:gd name="T4" fmla="*/ 1 w 42"/>
                <a:gd name="T5" fmla="*/ 43 h 44"/>
                <a:gd name="T6" fmla="*/ 6 w 42"/>
                <a:gd name="T7" fmla="*/ 43 h 44"/>
                <a:gd name="T8" fmla="*/ 41 w 42"/>
                <a:gd name="T9" fmla="*/ 6 h 44"/>
                <a:gd name="T10" fmla="*/ 41 w 42"/>
                <a:gd name="T11" fmla="*/ 1 h 44"/>
                <a:gd name="T12" fmla="*/ 36 w 42"/>
                <a:gd name="T13" fmla="*/ 1 h 44"/>
              </a:gdLst>
              <a:ahLst/>
              <a:cxnLst>
                <a:cxn ang="0">
                  <a:pos x="T0" y="T1"/>
                </a:cxn>
                <a:cxn ang="0">
                  <a:pos x="T2" y="T3"/>
                </a:cxn>
                <a:cxn ang="0">
                  <a:pos x="T4" y="T5"/>
                </a:cxn>
                <a:cxn ang="0">
                  <a:pos x="T6" y="T7"/>
                </a:cxn>
                <a:cxn ang="0">
                  <a:pos x="T8" y="T9"/>
                </a:cxn>
                <a:cxn ang="0">
                  <a:pos x="T10" y="T11"/>
                </a:cxn>
                <a:cxn ang="0">
                  <a:pos x="T12" y="T13"/>
                </a:cxn>
              </a:cxnLst>
              <a:rect l="0" t="0" r="r" b="b"/>
              <a:pathLst>
                <a:path w="42" h="44">
                  <a:moveTo>
                    <a:pt x="36" y="1"/>
                  </a:moveTo>
                  <a:cubicBezTo>
                    <a:pt x="1" y="38"/>
                    <a:pt x="1" y="38"/>
                    <a:pt x="1" y="38"/>
                  </a:cubicBezTo>
                  <a:cubicBezTo>
                    <a:pt x="0" y="40"/>
                    <a:pt x="0" y="42"/>
                    <a:pt x="1" y="43"/>
                  </a:cubicBezTo>
                  <a:cubicBezTo>
                    <a:pt x="2" y="44"/>
                    <a:pt x="5" y="44"/>
                    <a:pt x="6" y="43"/>
                  </a:cubicBezTo>
                  <a:cubicBezTo>
                    <a:pt x="41" y="6"/>
                    <a:pt x="41" y="6"/>
                    <a:pt x="41" y="6"/>
                  </a:cubicBezTo>
                  <a:cubicBezTo>
                    <a:pt x="42" y="5"/>
                    <a:pt x="42" y="3"/>
                    <a:pt x="41" y="1"/>
                  </a:cubicBezTo>
                  <a:cubicBezTo>
                    <a:pt x="40" y="0"/>
                    <a:pt x="37" y="0"/>
                    <a:pt x="36" y="1"/>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63" name="ïṣļîďé">
              <a:extLst>
                <a:ext uri="{FF2B5EF4-FFF2-40B4-BE49-F238E27FC236}">
                  <a16:creationId xmlns:a16="http://schemas.microsoft.com/office/drawing/2014/main" id="{2C957B9F-D2C8-C84C-6082-00F2E7A64406}"/>
                </a:ext>
              </a:extLst>
            </p:cNvPr>
            <p:cNvSpPr/>
            <p:nvPr/>
          </p:nvSpPr>
          <p:spPr bwMode="auto">
            <a:xfrm>
              <a:off x="7011988" y="3741738"/>
              <a:ext cx="166688" cy="163513"/>
            </a:xfrm>
            <a:custGeom>
              <a:avLst/>
              <a:gdLst>
                <a:gd name="T0" fmla="*/ 1 w 44"/>
                <a:gd name="T1" fmla="*/ 6 h 43"/>
                <a:gd name="T2" fmla="*/ 38 w 44"/>
                <a:gd name="T3" fmla="*/ 41 h 43"/>
                <a:gd name="T4" fmla="*/ 43 w 44"/>
                <a:gd name="T5" fmla="*/ 41 h 43"/>
                <a:gd name="T6" fmla="*/ 43 w 44"/>
                <a:gd name="T7" fmla="*/ 36 h 43"/>
                <a:gd name="T8" fmla="*/ 6 w 44"/>
                <a:gd name="T9" fmla="*/ 1 h 43"/>
                <a:gd name="T10" fmla="*/ 1 w 44"/>
                <a:gd name="T11" fmla="*/ 1 h 43"/>
                <a:gd name="T12" fmla="*/ 1 w 44"/>
                <a:gd name="T13" fmla="*/ 6 h 43"/>
              </a:gdLst>
              <a:ahLst/>
              <a:cxnLst>
                <a:cxn ang="0">
                  <a:pos x="T0" y="T1"/>
                </a:cxn>
                <a:cxn ang="0">
                  <a:pos x="T2" y="T3"/>
                </a:cxn>
                <a:cxn ang="0">
                  <a:pos x="T4" y="T5"/>
                </a:cxn>
                <a:cxn ang="0">
                  <a:pos x="T6" y="T7"/>
                </a:cxn>
                <a:cxn ang="0">
                  <a:pos x="T8" y="T9"/>
                </a:cxn>
                <a:cxn ang="0">
                  <a:pos x="T10" y="T11"/>
                </a:cxn>
                <a:cxn ang="0">
                  <a:pos x="T12" y="T13"/>
                </a:cxn>
              </a:cxnLst>
              <a:rect l="0" t="0" r="r" b="b"/>
              <a:pathLst>
                <a:path w="44" h="43">
                  <a:moveTo>
                    <a:pt x="1" y="6"/>
                  </a:moveTo>
                  <a:cubicBezTo>
                    <a:pt x="38" y="41"/>
                    <a:pt x="38" y="41"/>
                    <a:pt x="38" y="41"/>
                  </a:cubicBezTo>
                  <a:cubicBezTo>
                    <a:pt x="39" y="43"/>
                    <a:pt x="42" y="43"/>
                    <a:pt x="43" y="41"/>
                  </a:cubicBezTo>
                  <a:cubicBezTo>
                    <a:pt x="44" y="40"/>
                    <a:pt x="44" y="38"/>
                    <a:pt x="43" y="36"/>
                  </a:cubicBezTo>
                  <a:cubicBezTo>
                    <a:pt x="6" y="1"/>
                    <a:pt x="6" y="1"/>
                    <a:pt x="6" y="1"/>
                  </a:cubicBezTo>
                  <a:cubicBezTo>
                    <a:pt x="5" y="0"/>
                    <a:pt x="2" y="0"/>
                    <a:pt x="1" y="1"/>
                  </a:cubicBezTo>
                  <a:cubicBezTo>
                    <a:pt x="0" y="3"/>
                    <a:pt x="0" y="5"/>
                    <a:pt x="1" y="6"/>
                  </a:cubicBezTo>
                </a:path>
              </a:pathLst>
            </a:custGeom>
            <a:solidFill>
              <a:srgbClr val="3D29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pic>
        <p:nvPicPr>
          <p:cNvPr id="12" name="图片 11"/>
          <p:cNvPicPr>
            <a:picLocks noChangeAspect="1"/>
          </p:cNvPicPr>
          <p:nvPr/>
        </p:nvPicPr>
        <p:blipFill rotWithShape="1">
          <a:blip r:embed="rId8" cstate="hqprint">
            <a:clrChange>
              <a:clrFrom>
                <a:srgbClr val="FFFFFF"/>
              </a:clrFrom>
              <a:clrTo>
                <a:srgbClr val="FFFFFF">
                  <a:alpha val="0"/>
                </a:srgbClr>
              </a:clrTo>
            </a:clrChange>
            <a:extLst>
              <a:ext uri="{28A0092B-C50C-407E-A947-70E740481C1C}">
                <a14:useLocalDpi xmlns:a14="http://schemas.microsoft.com/office/drawing/2010/main" val="0"/>
              </a:ext>
            </a:extLst>
          </a:blip>
          <a:srcRect l="10832" t="17250" r="12334" b="18916"/>
          <a:stretch/>
        </p:blipFill>
        <p:spPr>
          <a:xfrm>
            <a:off x="6816336" y="4672263"/>
            <a:ext cx="397568" cy="330300"/>
          </a:xfrm>
          <a:prstGeom prst="rect">
            <a:avLst/>
          </a:prstGeom>
        </p:spPr>
      </p:pic>
      <p:sp>
        <p:nvSpPr>
          <p:cNvPr id="167" name="平行四边形 166"/>
          <p:cNvSpPr/>
          <p:nvPr/>
        </p:nvSpPr>
        <p:spPr>
          <a:xfrm>
            <a:off x="4575964" y="5294416"/>
            <a:ext cx="2833942" cy="505828"/>
          </a:xfrm>
          <a:prstGeom prst="parallelogram">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68" name="矩形 167">
            <a:extLst>
              <a:ext uri="{FF2B5EF4-FFF2-40B4-BE49-F238E27FC236}">
                <a16:creationId xmlns:a16="http://schemas.microsoft.com/office/drawing/2014/main" id="{B331BD60-7D53-4C32-A0F8-B9B61E535009}"/>
              </a:ext>
            </a:extLst>
          </p:cNvPr>
          <p:cNvSpPr/>
          <p:nvPr/>
        </p:nvSpPr>
        <p:spPr>
          <a:xfrm>
            <a:off x="5198666" y="5303545"/>
            <a:ext cx="2015238" cy="487569"/>
          </a:xfrm>
          <a:prstGeom prst="rect">
            <a:avLst/>
          </a:prstGeom>
        </p:spPr>
        <p:txBody>
          <a:bodyPr wrap="square">
            <a:spAutoFit/>
          </a:bodyPr>
          <a:lstStyle/>
          <a:p>
            <a:pPr>
              <a:lnSpc>
                <a:spcPct val="107000"/>
              </a:lnSpc>
            </a:pPr>
            <a:r>
              <a:rPr lang="zh-CN" altLang="en-US" sz="1200" b="1" dirty="0">
                <a:solidFill>
                  <a:srgbClr val="FF0000"/>
                </a:solidFill>
                <a:latin typeface="Arial" panose="020B0604020202020204" pitchFamily="34" charset="0"/>
                <a:ea typeface="微软雅黑" panose="020B0503020204020204" pitchFamily="34" charset="-122"/>
                <a:sym typeface="Arial" panose="020B0604020202020204" pitchFamily="34" charset="0"/>
              </a:rPr>
              <a:t>竞争性药物靶点，易发生交叉耐药</a:t>
            </a:r>
            <a:endParaRPr lang="en-US" altLang="zh-CN" sz="1200" b="1"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3" name="组合 12"/>
          <p:cNvGrpSpPr/>
          <p:nvPr/>
        </p:nvGrpSpPr>
        <p:grpSpPr>
          <a:xfrm>
            <a:off x="4750138" y="5356225"/>
            <a:ext cx="389046" cy="387212"/>
            <a:chOff x="3145811" y="7089555"/>
            <a:chExt cx="596997" cy="594182"/>
          </a:xfrm>
        </p:grpSpPr>
        <p:sp>
          <p:nvSpPr>
            <p:cNvPr id="245" name="išļiḍé">
              <a:extLst>
                <a:ext uri="{FF2B5EF4-FFF2-40B4-BE49-F238E27FC236}">
                  <a16:creationId xmlns:a16="http://schemas.microsoft.com/office/drawing/2014/main" id="{A53A6A04-3EB3-469C-A640-6E12764F52C9}"/>
                </a:ext>
              </a:extLst>
            </p:cNvPr>
            <p:cNvSpPr/>
            <p:nvPr/>
          </p:nvSpPr>
          <p:spPr bwMode="auto">
            <a:xfrm>
              <a:off x="3604823" y="7158749"/>
              <a:ext cx="137985" cy="83274"/>
            </a:xfrm>
            <a:custGeom>
              <a:avLst/>
              <a:gdLst>
                <a:gd name="T0" fmla="*/ 0 w 114"/>
                <a:gd name="T1" fmla="*/ 60 h 69"/>
                <a:gd name="T2" fmla="*/ 61 w 114"/>
                <a:gd name="T3" fmla="*/ 69 h 69"/>
                <a:gd name="T4" fmla="*/ 74 w 114"/>
                <a:gd name="T5" fmla="*/ 64 h 69"/>
                <a:gd name="T6" fmla="*/ 104 w 114"/>
                <a:gd name="T7" fmla="*/ 37 h 69"/>
                <a:gd name="T8" fmla="*/ 96 w 114"/>
                <a:gd name="T9" fmla="*/ 8 h 69"/>
                <a:gd name="T10" fmla="*/ 58 w 114"/>
                <a:gd name="T11" fmla="*/ 0 h 69"/>
                <a:gd name="T12" fmla="*/ 0 w 114"/>
                <a:gd name="T13" fmla="*/ 60 h 69"/>
              </a:gdLst>
              <a:ahLst/>
              <a:cxnLst>
                <a:cxn ang="0">
                  <a:pos x="T0" y="T1"/>
                </a:cxn>
                <a:cxn ang="0">
                  <a:pos x="T2" y="T3"/>
                </a:cxn>
                <a:cxn ang="0">
                  <a:pos x="T4" y="T5"/>
                </a:cxn>
                <a:cxn ang="0">
                  <a:pos x="T6" y="T7"/>
                </a:cxn>
                <a:cxn ang="0">
                  <a:pos x="T8" y="T9"/>
                </a:cxn>
                <a:cxn ang="0">
                  <a:pos x="T10" y="T11"/>
                </a:cxn>
                <a:cxn ang="0">
                  <a:pos x="T12" y="T13"/>
                </a:cxn>
              </a:cxnLst>
              <a:rect l="0" t="0" r="r" b="b"/>
              <a:pathLst>
                <a:path w="114" h="69">
                  <a:moveTo>
                    <a:pt x="0" y="60"/>
                  </a:moveTo>
                  <a:cubicBezTo>
                    <a:pt x="1" y="61"/>
                    <a:pt x="43" y="66"/>
                    <a:pt x="61" y="69"/>
                  </a:cubicBezTo>
                  <a:cubicBezTo>
                    <a:pt x="66" y="69"/>
                    <a:pt x="70" y="68"/>
                    <a:pt x="74" y="64"/>
                  </a:cubicBezTo>
                  <a:cubicBezTo>
                    <a:pt x="104" y="37"/>
                    <a:pt x="104" y="37"/>
                    <a:pt x="104" y="37"/>
                  </a:cubicBezTo>
                  <a:cubicBezTo>
                    <a:pt x="114" y="27"/>
                    <a:pt x="109" y="11"/>
                    <a:pt x="96" y="8"/>
                  </a:cubicBezTo>
                  <a:cubicBezTo>
                    <a:pt x="58" y="0"/>
                    <a:pt x="58" y="0"/>
                    <a:pt x="58" y="0"/>
                  </a:cubicBezTo>
                  <a:lnTo>
                    <a:pt x="0" y="60"/>
                  </a:lnTo>
                  <a:close/>
                </a:path>
              </a:pathLst>
            </a:custGeom>
            <a:solidFill>
              <a:srgbClr val="E18D3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6" name="îŝ1ïḋé">
              <a:extLst>
                <a:ext uri="{FF2B5EF4-FFF2-40B4-BE49-F238E27FC236}">
                  <a16:creationId xmlns:a16="http://schemas.microsoft.com/office/drawing/2014/main" id="{272BEB18-C4B3-423A-A211-0AD1D3CFF1DA}"/>
                </a:ext>
              </a:extLst>
            </p:cNvPr>
            <p:cNvSpPr/>
            <p:nvPr/>
          </p:nvSpPr>
          <p:spPr bwMode="auto">
            <a:xfrm>
              <a:off x="3145811" y="7186507"/>
              <a:ext cx="497632" cy="497230"/>
            </a:xfrm>
            <a:custGeom>
              <a:avLst/>
              <a:gdLst>
                <a:gd name="T0" fmla="*/ 378 w 411"/>
                <a:gd name="T1" fmla="*/ 146 h 411"/>
                <a:gd name="T2" fmla="*/ 265 w 411"/>
                <a:gd name="T3" fmla="*/ 379 h 411"/>
                <a:gd name="T4" fmla="*/ 33 w 411"/>
                <a:gd name="T5" fmla="*/ 266 h 411"/>
                <a:gd name="T6" fmla="*/ 146 w 411"/>
                <a:gd name="T7" fmla="*/ 33 h 411"/>
                <a:gd name="T8" fmla="*/ 378 w 411"/>
                <a:gd name="T9" fmla="*/ 146 h 411"/>
              </a:gdLst>
              <a:ahLst/>
              <a:cxnLst>
                <a:cxn ang="0">
                  <a:pos x="T0" y="T1"/>
                </a:cxn>
                <a:cxn ang="0">
                  <a:pos x="T2" y="T3"/>
                </a:cxn>
                <a:cxn ang="0">
                  <a:pos x="T4" y="T5"/>
                </a:cxn>
                <a:cxn ang="0">
                  <a:pos x="T6" y="T7"/>
                </a:cxn>
                <a:cxn ang="0">
                  <a:pos x="T8" y="T9"/>
                </a:cxn>
              </a:cxnLst>
              <a:rect l="0" t="0" r="r" b="b"/>
              <a:pathLst>
                <a:path w="411" h="411">
                  <a:moveTo>
                    <a:pt x="378" y="146"/>
                  </a:moveTo>
                  <a:cubicBezTo>
                    <a:pt x="411" y="242"/>
                    <a:pt x="361" y="346"/>
                    <a:pt x="265" y="379"/>
                  </a:cubicBezTo>
                  <a:cubicBezTo>
                    <a:pt x="170" y="411"/>
                    <a:pt x="66" y="361"/>
                    <a:pt x="33" y="266"/>
                  </a:cubicBezTo>
                  <a:cubicBezTo>
                    <a:pt x="0" y="170"/>
                    <a:pt x="51" y="66"/>
                    <a:pt x="146" y="33"/>
                  </a:cubicBezTo>
                  <a:cubicBezTo>
                    <a:pt x="241" y="0"/>
                    <a:pt x="345" y="51"/>
                    <a:pt x="378" y="146"/>
                  </a:cubicBezTo>
                  <a:close/>
                </a:path>
              </a:pathLst>
            </a:custGeom>
            <a:solidFill>
              <a:srgbClr val="FEF8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7" name="ïṡ1ïḋê">
              <a:extLst>
                <a:ext uri="{FF2B5EF4-FFF2-40B4-BE49-F238E27FC236}">
                  <a16:creationId xmlns:a16="http://schemas.microsoft.com/office/drawing/2014/main" id="{4501EAF3-9AFC-4DC3-BAD2-57160C19E710}"/>
                </a:ext>
              </a:extLst>
            </p:cNvPr>
            <p:cNvSpPr/>
            <p:nvPr/>
          </p:nvSpPr>
          <p:spPr bwMode="auto">
            <a:xfrm>
              <a:off x="3202936" y="7243230"/>
              <a:ext cx="383784" cy="383784"/>
            </a:xfrm>
            <a:custGeom>
              <a:avLst/>
              <a:gdLst>
                <a:gd name="T0" fmla="*/ 292 w 317"/>
                <a:gd name="T1" fmla="*/ 113 h 317"/>
                <a:gd name="T2" fmla="*/ 205 w 317"/>
                <a:gd name="T3" fmla="*/ 292 h 317"/>
                <a:gd name="T4" fmla="*/ 26 w 317"/>
                <a:gd name="T5" fmla="*/ 205 h 317"/>
                <a:gd name="T6" fmla="*/ 113 w 317"/>
                <a:gd name="T7" fmla="*/ 26 h 317"/>
                <a:gd name="T8" fmla="*/ 292 w 317"/>
                <a:gd name="T9" fmla="*/ 113 h 317"/>
              </a:gdLst>
              <a:ahLst/>
              <a:cxnLst>
                <a:cxn ang="0">
                  <a:pos x="T0" y="T1"/>
                </a:cxn>
                <a:cxn ang="0">
                  <a:pos x="T2" y="T3"/>
                </a:cxn>
                <a:cxn ang="0">
                  <a:pos x="T4" y="T5"/>
                </a:cxn>
                <a:cxn ang="0">
                  <a:pos x="T6" y="T7"/>
                </a:cxn>
                <a:cxn ang="0">
                  <a:pos x="T8" y="T9"/>
                </a:cxn>
              </a:cxnLst>
              <a:rect l="0" t="0" r="r" b="b"/>
              <a:pathLst>
                <a:path w="317" h="317">
                  <a:moveTo>
                    <a:pt x="292" y="113"/>
                  </a:moveTo>
                  <a:cubicBezTo>
                    <a:pt x="317" y="186"/>
                    <a:pt x="278" y="267"/>
                    <a:pt x="205" y="292"/>
                  </a:cubicBezTo>
                  <a:cubicBezTo>
                    <a:pt x="131" y="317"/>
                    <a:pt x="51" y="278"/>
                    <a:pt x="26" y="205"/>
                  </a:cubicBezTo>
                  <a:cubicBezTo>
                    <a:pt x="0" y="131"/>
                    <a:pt x="39" y="51"/>
                    <a:pt x="113" y="26"/>
                  </a:cubicBezTo>
                  <a:cubicBezTo>
                    <a:pt x="186" y="0"/>
                    <a:pt x="266" y="39"/>
                    <a:pt x="292" y="113"/>
                  </a:cubicBezTo>
                  <a:close/>
                </a:path>
              </a:pathLst>
            </a:custGeom>
            <a:solidFill>
              <a:srgbClr val="D944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8" name="iŝļïde">
              <a:extLst>
                <a:ext uri="{FF2B5EF4-FFF2-40B4-BE49-F238E27FC236}">
                  <a16:creationId xmlns:a16="http://schemas.microsoft.com/office/drawing/2014/main" id="{7ACF9729-B9A6-480B-B230-BEF0B25BDF7A}"/>
                </a:ext>
              </a:extLst>
            </p:cNvPr>
            <p:cNvSpPr/>
            <p:nvPr/>
          </p:nvSpPr>
          <p:spPr bwMode="auto">
            <a:xfrm>
              <a:off x="3259659" y="7300355"/>
              <a:ext cx="271143" cy="270741"/>
            </a:xfrm>
            <a:custGeom>
              <a:avLst/>
              <a:gdLst>
                <a:gd name="T0" fmla="*/ 206 w 224"/>
                <a:gd name="T1" fmla="*/ 79 h 224"/>
                <a:gd name="T2" fmla="*/ 144 w 224"/>
                <a:gd name="T3" fmla="*/ 206 h 224"/>
                <a:gd name="T4" fmla="*/ 18 w 224"/>
                <a:gd name="T5" fmla="*/ 144 h 224"/>
                <a:gd name="T6" fmla="*/ 79 w 224"/>
                <a:gd name="T7" fmla="*/ 18 h 224"/>
                <a:gd name="T8" fmla="*/ 206 w 224"/>
                <a:gd name="T9" fmla="*/ 79 h 224"/>
              </a:gdLst>
              <a:ahLst/>
              <a:cxnLst>
                <a:cxn ang="0">
                  <a:pos x="T0" y="T1"/>
                </a:cxn>
                <a:cxn ang="0">
                  <a:pos x="T2" y="T3"/>
                </a:cxn>
                <a:cxn ang="0">
                  <a:pos x="T4" y="T5"/>
                </a:cxn>
                <a:cxn ang="0">
                  <a:pos x="T6" y="T7"/>
                </a:cxn>
                <a:cxn ang="0">
                  <a:pos x="T8" y="T9"/>
                </a:cxn>
              </a:cxnLst>
              <a:rect l="0" t="0" r="r" b="b"/>
              <a:pathLst>
                <a:path w="224" h="224">
                  <a:moveTo>
                    <a:pt x="206" y="79"/>
                  </a:moveTo>
                  <a:cubicBezTo>
                    <a:pt x="224" y="131"/>
                    <a:pt x="196" y="188"/>
                    <a:pt x="144" y="206"/>
                  </a:cubicBezTo>
                  <a:cubicBezTo>
                    <a:pt x="92" y="224"/>
                    <a:pt x="36" y="196"/>
                    <a:pt x="18" y="144"/>
                  </a:cubicBezTo>
                  <a:cubicBezTo>
                    <a:pt x="0" y="92"/>
                    <a:pt x="27" y="36"/>
                    <a:pt x="79" y="18"/>
                  </a:cubicBezTo>
                  <a:cubicBezTo>
                    <a:pt x="131" y="0"/>
                    <a:pt x="188" y="27"/>
                    <a:pt x="206" y="79"/>
                  </a:cubicBezTo>
                  <a:close/>
                </a:path>
              </a:pathLst>
            </a:custGeom>
            <a:solidFill>
              <a:srgbClr val="FEF8FA"/>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49" name="iş1íḍè">
              <a:extLst>
                <a:ext uri="{FF2B5EF4-FFF2-40B4-BE49-F238E27FC236}">
                  <a16:creationId xmlns:a16="http://schemas.microsoft.com/office/drawing/2014/main" id="{EC44D6B4-DADA-44D7-A9DC-10FEDC904B73}"/>
                </a:ext>
              </a:extLst>
            </p:cNvPr>
            <p:cNvSpPr/>
            <p:nvPr/>
          </p:nvSpPr>
          <p:spPr bwMode="auto">
            <a:xfrm>
              <a:off x="3326439" y="7366732"/>
              <a:ext cx="136778" cy="137985"/>
            </a:xfrm>
            <a:custGeom>
              <a:avLst/>
              <a:gdLst>
                <a:gd name="T0" fmla="*/ 104 w 113"/>
                <a:gd name="T1" fmla="*/ 40 h 114"/>
                <a:gd name="T2" fmla="*/ 73 w 113"/>
                <a:gd name="T3" fmla="*/ 105 h 114"/>
                <a:gd name="T4" fmla="*/ 9 w 113"/>
                <a:gd name="T5" fmla="*/ 73 h 114"/>
                <a:gd name="T6" fmla="*/ 40 w 113"/>
                <a:gd name="T7" fmla="*/ 9 h 114"/>
                <a:gd name="T8" fmla="*/ 104 w 113"/>
                <a:gd name="T9" fmla="*/ 40 h 114"/>
              </a:gdLst>
              <a:ahLst/>
              <a:cxnLst>
                <a:cxn ang="0">
                  <a:pos x="T0" y="T1"/>
                </a:cxn>
                <a:cxn ang="0">
                  <a:pos x="T2" y="T3"/>
                </a:cxn>
                <a:cxn ang="0">
                  <a:pos x="T4" y="T5"/>
                </a:cxn>
                <a:cxn ang="0">
                  <a:pos x="T6" y="T7"/>
                </a:cxn>
                <a:cxn ang="0">
                  <a:pos x="T8" y="T9"/>
                </a:cxn>
              </a:cxnLst>
              <a:rect l="0" t="0" r="r" b="b"/>
              <a:pathLst>
                <a:path w="113" h="114">
                  <a:moveTo>
                    <a:pt x="104" y="40"/>
                  </a:moveTo>
                  <a:cubicBezTo>
                    <a:pt x="113" y="67"/>
                    <a:pt x="100" y="95"/>
                    <a:pt x="73" y="105"/>
                  </a:cubicBezTo>
                  <a:cubicBezTo>
                    <a:pt x="47" y="114"/>
                    <a:pt x="18" y="100"/>
                    <a:pt x="9" y="73"/>
                  </a:cubicBezTo>
                  <a:cubicBezTo>
                    <a:pt x="0" y="47"/>
                    <a:pt x="14" y="18"/>
                    <a:pt x="40" y="9"/>
                  </a:cubicBezTo>
                  <a:cubicBezTo>
                    <a:pt x="67" y="0"/>
                    <a:pt x="95" y="14"/>
                    <a:pt x="104" y="40"/>
                  </a:cubicBezTo>
                  <a:close/>
                </a:path>
              </a:pathLst>
            </a:custGeom>
            <a:solidFill>
              <a:srgbClr val="D94446"/>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0" name="îSḻîḓê">
              <a:extLst>
                <a:ext uri="{FF2B5EF4-FFF2-40B4-BE49-F238E27FC236}">
                  <a16:creationId xmlns:a16="http://schemas.microsoft.com/office/drawing/2014/main" id="{5E17C40A-7105-49AB-920C-84B6E69F77FA}"/>
                </a:ext>
              </a:extLst>
            </p:cNvPr>
            <p:cNvSpPr/>
            <p:nvPr/>
          </p:nvSpPr>
          <p:spPr bwMode="auto">
            <a:xfrm>
              <a:off x="3266900" y="7272194"/>
              <a:ext cx="376543" cy="395853"/>
            </a:xfrm>
            <a:custGeom>
              <a:avLst/>
              <a:gdLst>
                <a:gd name="T0" fmla="*/ 0 w 311"/>
                <a:gd name="T1" fmla="*/ 283 h 327"/>
                <a:gd name="T2" fmla="*/ 165 w 311"/>
                <a:gd name="T3" fmla="*/ 308 h 327"/>
                <a:gd name="T4" fmla="*/ 278 w 311"/>
                <a:gd name="T5" fmla="*/ 75 h 327"/>
                <a:gd name="T6" fmla="*/ 228 w 311"/>
                <a:gd name="T7" fmla="*/ 0 h 327"/>
              </a:gdLst>
              <a:ahLst/>
              <a:cxnLst>
                <a:cxn ang="0">
                  <a:pos x="T0" y="T1"/>
                </a:cxn>
                <a:cxn ang="0">
                  <a:pos x="T2" y="T3"/>
                </a:cxn>
                <a:cxn ang="0">
                  <a:pos x="T4" y="T5"/>
                </a:cxn>
                <a:cxn ang="0">
                  <a:pos x="T6" y="T7"/>
                </a:cxn>
              </a:cxnLst>
              <a:rect l="0" t="0" r="r" b="b"/>
              <a:pathLst>
                <a:path w="311" h="327">
                  <a:moveTo>
                    <a:pt x="0" y="283"/>
                  </a:moveTo>
                  <a:cubicBezTo>
                    <a:pt x="57" y="327"/>
                    <a:pt x="125" y="321"/>
                    <a:pt x="165" y="308"/>
                  </a:cubicBezTo>
                  <a:cubicBezTo>
                    <a:pt x="261" y="275"/>
                    <a:pt x="311" y="171"/>
                    <a:pt x="278" y="75"/>
                  </a:cubicBezTo>
                  <a:cubicBezTo>
                    <a:pt x="268" y="45"/>
                    <a:pt x="251" y="19"/>
                    <a:pt x="228" y="0"/>
                  </a:cubicBezTo>
                </a:path>
              </a:pathLst>
            </a:custGeom>
            <a:gradFill>
              <a:gsLst>
                <a:gs pos="0">
                  <a:srgbClr val="7B1D74">
                    <a:alpha val="23000"/>
                  </a:srgbClr>
                </a:gs>
                <a:gs pos="100000">
                  <a:srgbClr val="9E1967">
                    <a:alpha val="18000"/>
                  </a:srgbClr>
                </a:gs>
              </a:gsLst>
              <a:lin ang="5400000" scaled="1"/>
            </a:gradFill>
            <a:ln>
              <a:noFill/>
            </a:ln>
          </p:spPr>
          <p:txBody>
            <a:bodyPr anchor="ctr"/>
            <a:lstStyle/>
            <a:p>
              <a:pPr algn="ctr"/>
              <a:endParaRPr/>
            </a:p>
          </p:txBody>
        </p:sp>
        <p:sp>
          <p:nvSpPr>
            <p:cNvPr id="251" name="ïsliḍe">
              <a:extLst>
                <a:ext uri="{FF2B5EF4-FFF2-40B4-BE49-F238E27FC236}">
                  <a16:creationId xmlns:a16="http://schemas.microsoft.com/office/drawing/2014/main" id="{11C61FCF-EAE2-48CF-B0BA-3165D12768FC}"/>
                </a:ext>
              </a:extLst>
            </p:cNvPr>
            <p:cNvSpPr/>
            <p:nvPr/>
          </p:nvSpPr>
          <p:spPr bwMode="auto">
            <a:xfrm>
              <a:off x="3390403" y="7119727"/>
              <a:ext cx="317004" cy="323441"/>
            </a:xfrm>
            <a:custGeom>
              <a:avLst/>
              <a:gdLst>
                <a:gd name="T0" fmla="*/ 0 w 788"/>
                <a:gd name="T1" fmla="*/ 804 h 804"/>
                <a:gd name="T2" fmla="*/ 788 w 788"/>
                <a:gd name="T3" fmla="*/ 0 h 804"/>
                <a:gd name="T4" fmla="*/ 0 w 788"/>
                <a:gd name="T5" fmla="*/ 804 h 804"/>
              </a:gdLst>
              <a:ahLst/>
              <a:cxnLst>
                <a:cxn ang="0">
                  <a:pos x="T0" y="T1"/>
                </a:cxn>
                <a:cxn ang="0">
                  <a:pos x="T2" y="T3"/>
                </a:cxn>
                <a:cxn ang="0">
                  <a:pos x="T4" y="T5"/>
                </a:cxn>
              </a:cxnLst>
              <a:rect l="0" t="0" r="r" b="b"/>
              <a:pathLst>
                <a:path w="788" h="804">
                  <a:moveTo>
                    <a:pt x="0" y="804"/>
                  </a:moveTo>
                  <a:lnTo>
                    <a:pt x="788" y="0"/>
                  </a:lnTo>
                  <a:lnTo>
                    <a:pt x="0" y="804"/>
                  </a:lnTo>
                  <a:close/>
                </a:path>
              </a:pathLst>
            </a:custGeom>
            <a:solidFill>
              <a:srgbClr val="FDC86C"/>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2" name="iṡ1ïdé">
              <a:extLst>
                <a:ext uri="{FF2B5EF4-FFF2-40B4-BE49-F238E27FC236}">
                  <a16:creationId xmlns:a16="http://schemas.microsoft.com/office/drawing/2014/main" id="{5281AAFE-3046-4B5D-819C-DB8DE4A9E96E}"/>
                </a:ext>
              </a:extLst>
            </p:cNvPr>
            <p:cNvSpPr/>
            <p:nvPr/>
          </p:nvSpPr>
          <p:spPr bwMode="auto">
            <a:xfrm flipV="1">
              <a:off x="3390403" y="7119727"/>
              <a:ext cx="317004" cy="32344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3" name="îṥļiḓê">
              <a:extLst>
                <a:ext uri="{FF2B5EF4-FFF2-40B4-BE49-F238E27FC236}">
                  <a16:creationId xmlns:a16="http://schemas.microsoft.com/office/drawing/2014/main" id="{D81A518B-FF20-4965-AA86-A7EB19DC7584}"/>
                </a:ext>
              </a:extLst>
            </p:cNvPr>
            <p:cNvSpPr/>
            <p:nvPr/>
          </p:nvSpPr>
          <p:spPr bwMode="auto">
            <a:xfrm>
              <a:off x="3383162" y="7113692"/>
              <a:ext cx="330280" cy="335509"/>
            </a:xfrm>
            <a:custGeom>
              <a:avLst/>
              <a:gdLst>
                <a:gd name="T0" fmla="*/ 5 w 273"/>
                <a:gd name="T1" fmla="*/ 272 h 277"/>
                <a:gd name="T2" fmla="*/ 5 w 273"/>
                <a:gd name="T3" fmla="*/ 272 h 277"/>
                <a:gd name="T4" fmla="*/ 5 w 273"/>
                <a:gd name="T5" fmla="*/ 253 h 277"/>
                <a:gd name="T6" fmla="*/ 249 w 273"/>
                <a:gd name="T7" fmla="*/ 6 h 277"/>
                <a:gd name="T8" fmla="*/ 268 w 273"/>
                <a:gd name="T9" fmla="*/ 5 h 277"/>
                <a:gd name="T10" fmla="*/ 268 w 273"/>
                <a:gd name="T11" fmla="*/ 25 h 277"/>
                <a:gd name="T12" fmla="*/ 25 w 273"/>
                <a:gd name="T13" fmla="*/ 272 h 277"/>
                <a:gd name="T14" fmla="*/ 5 w 273"/>
                <a:gd name="T15" fmla="*/ 272 h 2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3" h="277">
                  <a:moveTo>
                    <a:pt x="5" y="272"/>
                  </a:moveTo>
                  <a:cubicBezTo>
                    <a:pt x="5" y="272"/>
                    <a:pt x="5" y="272"/>
                    <a:pt x="5" y="272"/>
                  </a:cubicBezTo>
                  <a:cubicBezTo>
                    <a:pt x="0" y="267"/>
                    <a:pt x="0" y="258"/>
                    <a:pt x="5" y="253"/>
                  </a:cubicBezTo>
                  <a:cubicBezTo>
                    <a:pt x="249" y="6"/>
                    <a:pt x="249" y="6"/>
                    <a:pt x="249" y="6"/>
                  </a:cubicBezTo>
                  <a:cubicBezTo>
                    <a:pt x="254" y="0"/>
                    <a:pt x="263" y="0"/>
                    <a:pt x="268" y="5"/>
                  </a:cubicBezTo>
                  <a:cubicBezTo>
                    <a:pt x="273" y="11"/>
                    <a:pt x="273" y="19"/>
                    <a:pt x="268" y="25"/>
                  </a:cubicBezTo>
                  <a:cubicBezTo>
                    <a:pt x="25" y="272"/>
                    <a:pt x="25" y="272"/>
                    <a:pt x="25" y="272"/>
                  </a:cubicBezTo>
                  <a:cubicBezTo>
                    <a:pt x="19" y="277"/>
                    <a:pt x="11" y="277"/>
                    <a:pt x="5" y="272"/>
                  </a:cubicBezTo>
                  <a:close/>
                </a:path>
              </a:pathLst>
            </a:custGeom>
            <a:solidFill>
              <a:srgbClr val="FDE8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sp>
          <p:nvSpPr>
            <p:cNvPr id="254" name="isḷîďé">
              <a:extLst>
                <a:ext uri="{FF2B5EF4-FFF2-40B4-BE49-F238E27FC236}">
                  <a16:creationId xmlns:a16="http://schemas.microsoft.com/office/drawing/2014/main" id="{81D2D9FF-3BD0-46BB-9C9F-095BC5C38F3F}"/>
                </a:ext>
              </a:extLst>
            </p:cNvPr>
            <p:cNvSpPr/>
            <p:nvPr/>
          </p:nvSpPr>
          <p:spPr bwMode="auto">
            <a:xfrm>
              <a:off x="3590340" y="7089555"/>
              <a:ext cx="77240" cy="133158"/>
            </a:xfrm>
            <a:custGeom>
              <a:avLst/>
              <a:gdLst>
                <a:gd name="T0" fmla="*/ 6 w 64"/>
                <a:gd name="T1" fmla="*/ 110 h 110"/>
                <a:gd name="T2" fmla="*/ 0 w 64"/>
                <a:gd name="T3" fmla="*/ 56 h 110"/>
                <a:gd name="T4" fmla="*/ 2 w 64"/>
                <a:gd name="T5" fmla="*/ 48 h 110"/>
                <a:gd name="T6" fmla="*/ 37 w 64"/>
                <a:gd name="T7" fmla="*/ 7 h 110"/>
                <a:gd name="T8" fmla="*/ 56 w 64"/>
                <a:gd name="T9" fmla="*/ 12 h 110"/>
                <a:gd name="T10" fmla="*/ 64 w 64"/>
                <a:gd name="T11" fmla="*/ 50 h 110"/>
                <a:gd name="T12" fmla="*/ 6 w 64"/>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64" h="110">
                  <a:moveTo>
                    <a:pt x="6" y="110"/>
                  </a:moveTo>
                  <a:cubicBezTo>
                    <a:pt x="5" y="110"/>
                    <a:pt x="1" y="70"/>
                    <a:pt x="0" y="56"/>
                  </a:cubicBezTo>
                  <a:cubicBezTo>
                    <a:pt x="0" y="53"/>
                    <a:pt x="0" y="50"/>
                    <a:pt x="2" y="48"/>
                  </a:cubicBezTo>
                  <a:cubicBezTo>
                    <a:pt x="37" y="7"/>
                    <a:pt x="37" y="7"/>
                    <a:pt x="37" y="7"/>
                  </a:cubicBezTo>
                  <a:cubicBezTo>
                    <a:pt x="43" y="0"/>
                    <a:pt x="54" y="3"/>
                    <a:pt x="56" y="12"/>
                  </a:cubicBezTo>
                  <a:cubicBezTo>
                    <a:pt x="64" y="50"/>
                    <a:pt x="64" y="50"/>
                    <a:pt x="64" y="50"/>
                  </a:cubicBezTo>
                  <a:lnTo>
                    <a:pt x="6" y="110"/>
                  </a:lnTo>
                  <a:close/>
                </a:path>
              </a:pathLst>
            </a:custGeom>
            <a:solidFill>
              <a:srgbClr val="FDE85B"/>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sp>
        <p:nvSpPr>
          <p:cNvPr id="7" name="矩形 6"/>
          <p:cNvSpPr/>
          <p:nvPr/>
        </p:nvSpPr>
        <p:spPr>
          <a:xfrm>
            <a:off x="459632" y="6342223"/>
            <a:ext cx="7738070" cy="553998"/>
          </a:xfrm>
          <a:prstGeom prst="rect">
            <a:avLst/>
          </a:prstGeom>
        </p:spPr>
        <p:txBody>
          <a:bodyPr wrap="square">
            <a:spAutoFit/>
          </a:bodyPr>
          <a:lstStyle/>
          <a:p>
            <a:pPr marL="228600" indent="-228600">
              <a:buFont typeface="+mj-lt"/>
              <a:buAutoNum type="arabicPeriod"/>
              <a:defRPr/>
            </a:pPr>
            <a:r>
              <a:rPr lang="zh-CN" altLang="en-US" sz="1000" dirty="0">
                <a:solidFill>
                  <a:schemeClr val="bg1">
                    <a:lumMod val="65000"/>
                  </a:schemeClr>
                </a:solidFill>
                <a:latin typeface="+mn-ea"/>
                <a:sym typeface="+mn-lt"/>
              </a:rPr>
              <a:t>丁昊炜</a:t>
            </a:r>
            <a:r>
              <a:rPr lang="en-US" altLang="zh-CN" sz="1000" dirty="0">
                <a:solidFill>
                  <a:schemeClr val="bg1">
                    <a:lumMod val="65000"/>
                  </a:schemeClr>
                </a:solidFill>
                <a:latin typeface="+mn-ea"/>
                <a:sym typeface="+mn-lt"/>
              </a:rPr>
              <a:t>, </a:t>
            </a:r>
            <a:r>
              <a:rPr lang="zh-CN" altLang="en-US" sz="1000" dirty="0">
                <a:solidFill>
                  <a:schemeClr val="bg1">
                    <a:lumMod val="65000"/>
                  </a:schemeClr>
                </a:solidFill>
                <a:latin typeface="+mn-ea"/>
                <a:sym typeface="+mn-lt"/>
              </a:rPr>
              <a:t>等</a:t>
            </a:r>
            <a:r>
              <a:rPr lang="en-US" altLang="zh-CN" sz="1000" dirty="0">
                <a:solidFill>
                  <a:schemeClr val="bg1">
                    <a:lumMod val="65000"/>
                  </a:schemeClr>
                </a:solidFill>
                <a:latin typeface="+mn-ea"/>
                <a:sym typeface="+mn-lt"/>
              </a:rPr>
              <a:t>. </a:t>
            </a:r>
            <a:r>
              <a:rPr lang="zh-CN" altLang="en-US" sz="1000" dirty="0">
                <a:solidFill>
                  <a:schemeClr val="bg1">
                    <a:lumMod val="65000"/>
                  </a:schemeClr>
                </a:solidFill>
                <a:latin typeface="+mn-ea"/>
                <a:sym typeface="+mn-lt"/>
              </a:rPr>
              <a:t>北京大学学报</a:t>
            </a:r>
            <a:r>
              <a:rPr lang="en-US" altLang="zh-CN" sz="1000" dirty="0">
                <a:solidFill>
                  <a:schemeClr val="bg1">
                    <a:lumMod val="65000"/>
                  </a:schemeClr>
                </a:solidFill>
                <a:latin typeface="+mn-ea"/>
                <a:sym typeface="+mn-lt"/>
              </a:rPr>
              <a:t>(</a:t>
            </a:r>
            <a:r>
              <a:rPr lang="zh-CN" altLang="en-US" sz="1000" dirty="0">
                <a:solidFill>
                  <a:schemeClr val="bg1">
                    <a:lumMod val="65000"/>
                  </a:schemeClr>
                </a:solidFill>
                <a:latin typeface="+mn-ea"/>
                <a:sym typeface="+mn-lt"/>
              </a:rPr>
              <a:t>医学版</a:t>
            </a:r>
            <a:r>
              <a:rPr lang="en-US" altLang="zh-CN" sz="1000" dirty="0">
                <a:solidFill>
                  <a:schemeClr val="bg1">
                    <a:lumMod val="65000"/>
                  </a:schemeClr>
                </a:solidFill>
                <a:latin typeface="+mn-ea"/>
                <a:sym typeface="+mn-lt"/>
              </a:rPr>
              <a:t>). 2003;35(6):596-599.</a:t>
            </a:r>
          </a:p>
          <a:p>
            <a:pPr marL="228600" indent="-228600">
              <a:buFont typeface="+mj-lt"/>
              <a:buAutoNum type="arabicPeriod"/>
              <a:defRPr/>
            </a:pPr>
            <a:r>
              <a:rPr lang="en-US" altLang="zh-CN" sz="1000" dirty="0" err="1">
                <a:solidFill>
                  <a:schemeClr val="bg1">
                    <a:lumMod val="65000"/>
                  </a:schemeClr>
                </a:solidFill>
                <a:latin typeface="+mn-ea"/>
                <a:sym typeface="+mn-lt"/>
              </a:rPr>
              <a:t>Ljungman</a:t>
            </a:r>
            <a:r>
              <a:rPr lang="en-US" altLang="zh-CN" sz="1000" dirty="0">
                <a:solidFill>
                  <a:schemeClr val="bg1">
                    <a:lumMod val="65000"/>
                  </a:schemeClr>
                </a:solidFill>
                <a:latin typeface="+mn-ea"/>
                <a:sym typeface="+mn-lt"/>
              </a:rPr>
              <a:t>, P,  et al. </a:t>
            </a:r>
            <a:r>
              <a:rPr lang="en-US" altLang="zh-CN" sz="1000" dirty="0" err="1">
                <a:solidFill>
                  <a:schemeClr val="bg1">
                    <a:lumMod val="65000"/>
                  </a:schemeClr>
                </a:solidFill>
                <a:latin typeface="+mn-ea"/>
                <a:sym typeface="+mn-lt"/>
              </a:rPr>
              <a:t>Hematol</a:t>
            </a:r>
            <a:r>
              <a:rPr lang="en-US" altLang="zh-CN" sz="1000" dirty="0">
                <a:solidFill>
                  <a:schemeClr val="bg1">
                    <a:lumMod val="65000"/>
                  </a:schemeClr>
                </a:solidFill>
                <a:latin typeface="+mn-ea"/>
                <a:sym typeface="+mn-lt"/>
              </a:rPr>
              <a:t> </a:t>
            </a:r>
            <a:r>
              <a:rPr lang="en-US" altLang="zh-CN" sz="1000" dirty="0" err="1">
                <a:solidFill>
                  <a:schemeClr val="bg1">
                    <a:lumMod val="65000"/>
                  </a:schemeClr>
                </a:solidFill>
                <a:latin typeface="+mn-ea"/>
                <a:sym typeface="+mn-lt"/>
              </a:rPr>
              <a:t>Oncol</a:t>
            </a:r>
            <a:r>
              <a:rPr lang="en-US" altLang="zh-CN" sz="1000" dirty="0">
                <a:solidFill>
                  <a:schemeClr val="bg1">
                    <a:lumMod val="65000"/>
                  </a:schemeClr>
                </a:solidFill>
                <a:latin typeface="+mn-ea"/>
                <a:sym typeface="+mn-lt"/>
              </a:rPr>
              <a:t> </a:t>
            </a:r>
            <a:r>
              <a:rPr lang="en-US" altLang="zh-CN" sz="1000" dirty="0" err="1">
                <a:solidFill>
                  <a:schemeClr val="bg1">
                    <a:lumMod val="65000"/>
                  </a:schemeClr>
                </a:solidFill>
                <a:latin typeface="+mn-ea"/>
                <a:sym typeface="+mn-lt"/>
              </a:rPr>
              <a:t>Clin</a:t>
            </a:r>
            <a:r>
              <a:rPr lang="en-US" altLang="zh-CN" sz="1000" dirty="0">
                <a:solidFill>
                  <a:schemeClr val="bg1">
                    <a:lumMod val="65000"/>
                  </a:schemeClr>
                </a:solidFill>
                <a:latin typeface="+mn-ea"/>
                <a:sym typeface="+mn-lt"/>
              </a:rPr>
              <a:t> North Am. 2011 Feb;25(1)151-69</a:t>
            </a:r>
          </a:p>
          <a:p>
            <a:pPr marL="228600" indent="-228600">
              <a:buFont typeface="+mj-lt"/>
              <a:buAutoNum type="arabicPeriod"/>
              <a:defRPr/>
            </a:pPr>
            <a:r>
              <a:rPr kumimoji="0" lang="en-US" sz="1000" b="0" i="0" u="none" strike="noStrike" kern="1200" cap="none" spc="-5" normalizeH="0" baseline="0" noProof="0" dirty="0">
                <a:ln>
                  <a:noFill/>
                </a:ln>
                <a:solidFill>
                  <a:srgbClr val="A6A6A6"/>
                </a:solidFill>
                <a:effectLst/>
                <a:uLnTx/>
                <a:uFillTx/>
                <a:latin typeface="微软雅黑"/>
                <a:ea typeface="华文楷体"/>
                <a:cs typeface="微软雅黑"/>
              </a:rPr>
              <a:t>. </a:t>
            </a:r>
            <a:r>
              <a:rPr kumimoji="0" lang="en-US" sz="1000" b="0" i="0" u="none" strike="noStrike" kern="1200" cap="none" spc="-5" normalizeH="0" baseline="0" noProof="0" dirty="0" err="1">
                <a:ln>
                  <a:noFill/>
                </a:ln>
                <a:solidFill>
                  <a:srgbClr val="A6A6A6"/>
                </a:solidFill>
                <a:effectLst/>
                <a:uLnTx/>
                <a:uFillTx/>
                <a:latin typeface="微软雅黑"/>
                <a:ea typeface="华文楷体"/>
                <a:cs typeface="微软雅黑"/>
              </a:rPr>
              <a:t>BoeckhM</a:t>
            </a:r>
            <a:r>
              <a:rPr kumimoji="0" lang="en-US" sz="1000" b="0" i="0" u="none" strike="noStrike" kern="1200" cap="none" spc="-5" normalizeH="0" baseline="0" noProof="0" dirty="0">
                <a:ln>
                  <a:noFill/>
                </a:ln>
                <a:solidFill>
                  <a:srgbClr val="A6A6A6"/>
                </a:solidFill>
                <a:effectLst/>
                <a:uLnTx/>
                <a:uFillTx/>
                <a:latin typeface="微软雅黑"/>
                <a:ea typeface="华文楷体"/>
                <a:cs typeface="微软雅黑"/>
              </a:rPr>
              <a:t>, </a:t>
            </a:r>
            <a:r>
              <a:rPr kumimoji="0" lang="en-US" sz="1000" b="0" i="0" u="none" strike="noStrike" kern="1200" cap="none" spc="-5" normalizeH="0" baseline="0" noProof="0" dirty="0" err="1">
                <a:ln>
                  <a:noFill/>
                </a:ln>
                <a:solidFill>
                  <a:srgbClr val="A6A6A6"/>
                </a:solidFill>
                <a:effectLst/>
                <a:uLnTx/>
                <a:uFillTx/>
                <a:latin typeface="微软雅黑"/>
                <a:ea typeface="华文楷体"/>
                <a:cs typeface="微软雅黑"/>
              </a:rPr>
              <a:t>GeballeAP</a:t>
            </a:r>
            <a:r>
              <a:rPr kumimoji="0" lang="en-US" sz="1000" b="0" i="0" u="none" strike="noStrike" kern="1200" cap="none" spc="-5" normalizeH="0" baseline="0" noProof="0" dirty="0">
                <a:ln>
                  <a:noFill/>
                </a:ln>
                <a:solidFill>
                  <a:srgbClr val="A6A6A6"/>
                </a:solidFill>
                <a:effectLst/>
                <a:uLnTx/>
                <a:uFillTx/>
                <a:latin typeface="微软雅黑"/>
                <a:ea typeface="华文楷体"/>
                <a:cs typeface="微软雅黑"/>
              </a:rPr>
              <a:t>. Cytomegalovirus: pathogen, paradigm, and puzzles[J]. J Clin Invest, 2011, 121(5): 1673-1680.</a:t>
            </a:r>
            <a:endParaRPr lang="en-US" altLang="zh-CN" sz="1000" dirty="0">
              <a:solidFill>
                <a:schemeClr val="bg1">
                  <a:lumMod val="65000"/>
                </a:schemeClr>
              </a:solidFill>
              <a:latin typeface="+mn-ea"/>
              <a:sym typeface="+mn-lt"/>
            </a:endParaRPr>
          </a:p>
        </p:txBody>
      </p:sp>
      <p:sp>
        <p:nvSpPr>
          <p:cNvPr id="212" name="矩形 211">
            <a:extLst>
              <a:ext uri="{FF2B5EF4-FFF2-40B4-BE49-F238E27FC236}">
                <a16:creationId xmlns:a16="http://schemas.microsoft.com/office/drawing/2014/main" id="{12AA1274-561B-4333-BA3A-3DB14567BCDD}"/>
              </a:ext>
            </a:extLst>
          </p:cNvPr>
          <p:cNvSpPr/>
          <p:nvPr/>
        </p:nvSpPr>
        <p:spPr>
          <a:xfrm>
            <a:off x="1636759" y="2700759"/>
            <a:ext cx="2168223" cy="1272143"/>
          </a:xfrm>
          <a:prstGeom prst="rect">
            <a:avLst/>
          </a:prstGeom>
        </p:spPr>
        <p:txBody>
          <a:bodyPr wrap="square">
            <a:spAutoFit/>
          </a:bodyPr>
          <a:lstStyle/>
          <a:p>
            <a:pPr marL="12700" marR="0" lvl="0" indent="0" algn="l" defTabSz="914400" rtl="0" eaLnBrk="1" fontAlgn="auto" latinLnBrk="0" hangingPunct="1">
              <a:lnSpc>
                <a:spcPts val="2300"/>
              </a:lnSpc>
              <a:spcBef>
                <a:spcPts val="940"/>
              </a:spcBef>
              <a:spcAft>
                <a:spcPts val="0"/>
              </a:spcAft>
              <a:buClrTx/>
              <a:buSzTx/>
              <a:buFontTx/>
              <a:buNone/>
              <a:tabLst/>
              <a:defRPr/>
            </a:pPr>
            <a:r>
              <a:rPr lang="en-US" altLang="zh-CN" sz="1400" dirty="0">
                <a:solidFill>
                  <a:srgbClr val="2A2B2E"/>
                </a:solidFill>
                <a:latin typeface="Arial" panose="020B0604020202020204" pitchFamily="34" charset="0"/>
                <a:ea typeface="微软雅黑" panose="020B0503020204020204" pitchFamily="34" charset="-122"/>
              </a:rPr>
              <a:t>CMV</a:t>
            </a:r>
            <a:r>
              <a:rPr kumimoji="0" lang="zh-CN" altLang="en-US" sz="1400" b="0" i="0" u="none" strike="noStrike" kern="1200" cap="none" spc="0" normalizeH="0" baseline="0" noProof="0" dirty="0">
                <a:ln>
                  <a:noFill/>
                </a:ln>
                <a:solidFill>
                  <a:srgbClr val="2A2B2D"/>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感染后果严重，可累及肺部、胃肠道和神经系统等多器官，患者病死率达</a:t>
            </a:r>
            <a:r>
              <a:rPr kumimoji="0" lang="en-US" altLang="zh-CN" sz="2000" b="1" i="0" u="none" strike="noStrike" kern="1200" cap="none" spc="-15" normalizeH="0" baseline="0" noProof="0" dirty="0">
                <a:ln>
                  <a:noFill/>
                </a:ln>
                <a:solidFill>
                  <a:srgbClr val="00857B"/>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0%</a:t>
            </a:r>
            <a:r>
              <a:rPr kumimoji="0" lang="en-US" altLang="zh-CN" sz="1400" b="0" i="0" u="none" strike="noStrike" kern="1200" cap="none" spc="0" normalizeH="0" baseline="30000" noProof="0" dirty="0">
                <a:ln>
                  <a:noFill/>
                </a:ln>
                <a:solidFill>
                  <a:srgbClr val="2A2B2D"/>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3</a:t>
            </a:r>
          </a:p>
        </p:txBody>
      </p:sp>
    </p:spTree>
    <p:custDataLst>
      <p:tags r:id="rId1"/>
    </p:custData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圆角矩形 17"/>
          <p:cNvSpPr/>
          <p:nvPr/>
        </p:nvSpPr>
        <p:spPr>
          <a:xfrm>
            <a:off x="698500" y="1978402"/>
            <a:ext cx="7086600" cy="1207902"/>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a:extLst>
              <a:ext uri="{FF2B5EF4-FFF2-40B4-BE49-F238E27FC236}">
                <a16:creationId xmlns:a16="http://schemas.microsoft.com/office/drawing/2014/main" id="{4D450375-5D30-467E-8C7A-3DDE34A8CBED}"/>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2 </a:t>
            </a:r>
            <a:r>
              <a:rPr lang="zh-CN" altLang="en-US" dirty="0">
                <a:latin typeface="Arial" panose="020B0604020202020204" pitchFamily="34" charset="0"/>
                <a:sym typeface="Arial" panose="020B0604020202020204" pitchFamily="34" charset="0"/>
              </a:rPr>
              <a:t>安全性  </a:t>
            </a:r>
          </a:p>
        </p:txBody>
      </p:sp>
      <p:sp>
        <p:nvSpPr>
          <p:cNvPr id="4" name="灯片编号占位符 3">
            <a:extLst>
              <a:ext uri="{FF2B5EF4-FFF2-40B4-BE49-F238E27FC236}">
                <a16:creationId xmlns:a16="http://schemas.microsoft.com/office/drawing/2014/main" id="{997E47CA-CC93-46D3-97E5-9A3022F59446}"/>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5</a:t>
            </a:fld>
            <a:endParaRPr lang="en-GB">
              <a:latin typeface="Arial" panose="020B0604020202020204" pitchFamily="34" charset="0"/>
              <a:ea typeface="微软雅黑" panose="020B0503020204020204" pitchFamily="34" charset="-122"/>
              <a:sym typeface="Arial" panose="020B0604020202020204" pitchFamily="34" charset="0"/>
            </a:endParaRPr>
          </a:p>
        </p:txBody>
      </p:sp>
      <p:grpSp>
        <p:nvGrpSpPr>
          <p:cNvPr id="7" name="组合 6"/>
          <p:cNvGrpSpPr/>
          <p:nvPr/>
        </p:nvGrpSpPr>
        <p:grpSpPr>
          <a:xfrm>
            <a:off x="6561924" y="1410739"/>
            <a:ext cx="4988627" cy="4503187"/>
            <a:chOff x="5820939" y="1899951"/>
            <a:chExt cx="12423541" cy="3882372"/>
          </a:xfrm>
        </p:grpSpPr>
        <p:sp>
          <p:nvSpPr>
            <p:cNvPr id="8" name="圆角矩形 7"/>
            <p:cNvSpPr/>
            <p:nvPr/>
          </p:nvSpPr>
          <p:spPr>
            <a:xfrm>
              <a:off x="5820939" y="1899951"/>
              <a:ext cx="12423541" cy="3882372"/>
            </a:xfrm>
            <a:prstGeom prst="roundRect">
              <a:avLst>
                <a:gd name="adj" fmla="val 0"/>
              </a:avLst>
            </a:prstGeom>
            <a:solidFill>
              <a:schemeClr val="bg1"/>
            </a:solidFill>
            <a:ln w="12700">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2040">
                <a:latin typeface="Arial" panose="020B0604020202020204" pitchFamily="34" charset="0"/>
                <a:ea typeface="微软雅黑" panose="020B0503020204020204" pitchFamily="34" charset="-122"/>
                <a:sym typeface="Arial" panose="020B0604020202020204" pitchFamily="34" charset="0"/>
              </a:endParaRPr>
            </a:p>
          </p:txBody>
        </p:sp>
        <p:graphicFrame>
          <p:nvGraphicFramePr>
            <p:cNvPr id="12" name="图表 11"/>
            <p:cNvGraphicFramePr/>
            <p:nvPr>
              <p:extLst>
                <p:ext uri="{D42A27DB-BD31-4B8C-83A1-F6EECF244321}">
                  <p14:modId xmlns:p14="http://schemas.microsoft.com/office/powerpoint/2010/main" val="467536652"/>
                </p:ext>
              </p:extLst>
            </p:nvPr>
          </p:nvGraphicFramePr>
          <p:xfrm>
            <a:off x="5964855" y="1977516"/>
            <a:ext cx="12135709" cy="3793858"/>
          </p:xfrm>
          <a:graphic>
            <a:graphicData uri="http://schemas.openxmlformats.org/drawingml/2006/chart">
              <c:chart xmlns:c="http://schemas.openxmlformats.org/drawingml/2006/chart" xmlns:r="http://schemas.openxmlformats.org/officeDocument/2006/relationships" r:id="rId4"/>
            </a:graphicData>
          </a:graphic>
        </p:graphicFrame>
      </p:grpSp>
      <p:sp>
        <p:nvSpPr>
          <p:cNvPr id="15" name="内容占位符 2">
            <a:extLst>
              <a:ext uri="{FF2B5EF4-FFF2-40B4-BE49-F238E27FC236}">
                <a16:creationId xmlns:a16="http://schemas.microsoft.com/office/drawing/2014/main" id="{43DC84BD-8AF0-4A3C-9899-B37B7987304B}"/>
              </a:ext>
            </a:extLst>
          </p:cNvPr>
          <p:cNvSpPr txBox="1">
            <a:spLocks/>
          </p:cNvSpPr>
          <p:nvPr/>
        </p:nvSpPr>
        <p:spPr>
          <a:xfrm>
            <a:off x="1062187" y="2149904"/>
            <a:ext cx="5178593" cy="868956"/>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0"/>
              </a:spcBef>
              <a:spcAft>
                <a:spcPts val="1600"/>
              </a:spcAft>
              <a:buFont typeface="Arial" panose="020B0604020202020204" pitchFamily="34" charset="0"/>
              <a:buNone/>
              <a:defRPr sz="1200" kern="1200">
                <a:solidFill>
                  <a:schemeClr val="accent4"/>
                </a:solidFill>
                <a:latin typeface="微软雅黑" panose="020B0503020204020204" pitchFamily="34" charset="-122"/>
                <a:ea typeface="微软雅黑" panose="020B0503020204020204" pitchFamily="34" charset="-122"/>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b="0" kern="1200">
                <a:solidFill>
                  <a:schemeClr val="accent4"/>
                </a:solidFill>
                <a:latin typeface="微软雅黑" panose="020B0503020204020204" pitchFamily="34" charset="-122"/>
                <a:ea typeface="微软雅黑" panose="020B0503020204020204" pitchFamily="34" charset="-122"/>
                <a:cs typeface="+mn-cs"/>
              </a:defRPr>
            </a:lvl2pPr>
            <a:lvl3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微软雅黑" panose="020B0503020204020204" pitchFamily="34" charset="-122"/>
                <a:ea typeface="微软雅黑" panose="020B0503020204020204" pitchFamily="34" charset="-122"/>
                <a:cs typeface="+mn-cs"/>
              </a:defRPr>
            </a:lvl3pPr>
            <a:lvl4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微软雅黑" panose="020B0503020204020204" pitchFamily="34" charset="-122"/>
                <a:ea typeface="微软雅黑" panose="020B0503020204020204" pitchFamily="34" charset="-122"/>
                <a:cs typeface="+mn-cs"/>
              </a:defRPr>
            </a:lvl4pPr>
            <a:lvl5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kern="1200">
                <a:solidFill>
                  <a:schemeClr val="accent4"/>
                </a:solidFill>
                <a:latin typeface="微软雅黑" panose="020B0503020204020204" pitchFamily="34" charset="-122"/>
                <a:ea typeface="微软雅黑" panose="020B0503020204020204" pitchFamily="34" charset="-122"/>
                <a:cs typeface="+mn-cs"/>
              </a:defRPr>
            </a:lvl5pPr>
            <a:lvl6pPr marL="216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6pPr>
            <a:lvl7pPr marL="324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zh-CN" altLang="en-US" sz="1600" dirty="0">
                <a:solidFill>
                  <a:srgbClr val="0C2340"/>
                </a:solidFill>
                <a:latin typeface="Arial" panose="020B0604020202020204" pitchFamily="34" charset="0"/>
                <a:sym typeface="Arial" panose="020B0604020202020204" pitchFamily="34" charset="0"/>
              </a:rPr>
              <a:t>来特莫韦不良事件发生率</a:t>
            </a:r>
            <a:r>
              <a:rPr lang="zh-CN" altLang="en-US" sz="1600" b="1" i="1" u="sng" dirty="0">
                <a:solidFill>
                  <a:srgbClr val="C00000"/>
                </a:solidFill>
                <a:latin typeface="Arial" panose="020B0604020202020204" pitchFamily="34" charset="0"/>
                <a:sym typeface="Arial" panose="020B0604020202020204" pitchFamily="34" charset="0"/>
              </a:rPr>
              <a:t>与安慰剂相似</a:t>
            </a:r>
            <a:r>
              <a:rPr lang="zh-CN" altLang="en-US" sz="1600" dirty="0">
                <a:solidFill>
                  <a:srgbClr val="0C2340"/>
                </a:solidFill>
                <a:latin typeface="Arial" panose="020B0604020202020204" pitchFamily="34" charset="0"/>
                <a:sym typeface="Arial" panose="020B0604020202020204" pitchFamily="34" charset="0"/>
              </a:rPr>
              <a:t>，</a:t>
            </a:r>
            <a:r>
              <a:rPr lang="zh-CN" altLang="en-US" sz="2000" b="1" dirty="0">
                <a:solidFill>
                  <a:schemeClr val="accent1"/>
                </a:solidFill>
                <a:latin typeface="Arial" panose="020B0604020202020204" pitchFamily="34" charset="0"/>
                <a:sym typeface="Arial" panose="020B0604020202020204" pitchFamily="34" charset="0"/>
              </a:rPr>
              <a:t>无骨髓抑制或肾毒性</a:t>
            </a:r>
            <a:r>
              <a:rPr lang="zh-CN" altLang="en-US" sz="1600" dirty="0">
                <a:solidFill>
                  <a:srgbClr val="0C2340"/>
                </a:solidFill>
                <a:latin typeface="Arial" panose="020B0604020202020204" pitchFamily="34" charset="0"/>
                <a:sym typeface="Arial" panose="020B0604020202020204" pitchFamily="34" charset="0"/>
              </a:rPr>
              <a:t>（</a:t>
            </a:r>
            <a:r>
              <a:rPr lang="en-US" altLang="zh-CN" sz="1600" dirty="0">
                <a:solidFill>
                  <a:srgbClr val="0C2340"/>
                </a:solidFill>
                <a:latin typeface="Arial" panose="020B0604020202020204" pitchFamily="34" charset="0"/>
                <a:sym typeface="Arial" panose="020B0604020202020204" pitchFamily="34" charset="0"/>
              </a:rPr>
              <a:t>vs </a:t>
            </a:r>
            <a:r>
              <a:rPr lang="zh-CN" altLang="en-US" sz="1600" dirty="0">
                <a:solidFill>
                  <a:srgbClr val="0C2340"/>
                </a:solidFill>
                <a:latin typeface="Arial" panose="020B0604020202020204" pitchFamily="34" charset="0"/>
                <a:sym typeface="Arial" panose="020B0604020202020204" pitchFamily="34" charset="0"/>
              </a:rPr>
              <a:t>安慰剂）</a:t>
            </a:r>
            <a:r>
              <a:rPr lang="en-US" altLang="zh-CN" sz="1600" baseline="30000" dirty="0">
                <a:solidFill>
                  <a:srgbClr val="0C2340"/>
                </a:solidFill>
                <a:latin typeface="Arial" panose="020B0604020202020204" pitchFamily="34" charset="0"/>
                <a:sym typeface="Arial" panose="020B0604020202020204" pitchFamily="34" charset="0"/>
              </a:rPr>
              <a:t>1-2</a:t>
            </a:r>
            <a:endParaRPr lang="en-US" altLang="zh-CN" sz="1600" dirty="0">
              <a:solidFill>
                <a:srgbClr val="0C2340"/>
              </a:solidFill>
              <a:latin typeface="Arial" panose="020B0604020202020204" pitchFamily="34" charset="0"/>
              <a:sym typeface="Arial" panose="020B0604020202020204" pitchFamily="34" charset="0"/>
            </a:endParaRPr>
          </a:p>
        </p:txBody>
      </p:sp>
      <p:sp>
        <p:nvSpPr>
          <p:cNvPr id="19" name="stomach-ache_10665">
            <a:extLst>
              <a:ext uri="{FF2B5EF4-FFF2-40B4-BE49-F238E27FC236}">
                <a16:creationId xmlns:a16="http://schemas.microsoft.com/office/drawing/2014/main" id="{54405246-CCE2-4201-BBB1-D3F3EB6E740D}"/>
              </a:ext>
            </a:extLst>
          </p:cNvPr>
          <p:cNvSpPr/>
          <p:nvPr/>
        </p:nvSpPr>
        <p:spPr>
          <a:xfrm>
            <a:off x="1025417" y="4004333"/>
            <a:ext cx="611554" cy="819712"/>
          </a:xfrm>
          <a:custGeom>
            <a:avLst/>
            <a:gdLst>
              <a:gd name="connsiteX0" fmla="*/ 149760 w 444804"/>
              <a:gd name="connsiteY0" fmla="*/ 323740 h 596204"/>
              <a:gd name="connsiteX1" fmla="*/ 159803 w 444804"/>
              <a:gd name="connsiteY1" fmla="*/ 325172 h 596204"/>
              <a:gd name="connsiteX2" fmla="*/ 158368 w 444804"/>
              <a:gd name="connsiteY2" fmla="*/ 335202 h 596204"/>
              <a:gd name="connsiteX3" fmla="*/ 67981 w 444804"/>
              <a:gd name="connsiteY3" fmla="*/ 419741 h 596204"/>
              <a:gd name="connsiteX4" fmla="*/ 60090 w 444804"/>
              <a:gd name="connsiteY4" fmla="*/ 421890 h 596204"/>
              <a:gd name="connsiteX5" fmla="*/ 55069 w 444804"/>
              <a:gd name="connsiteY5" fmla="*/ 414726 h 596204"/>
              <a:gd name="connsiteX6" fmla="*/ 55069 w 444804"/>
              <a:gd name="connsiteY6" fmla="*/ 403263 h 596204"/>
              <a:gd name="connsiteX7" fmla="*/ 13462 w 444804"/>
              <a:gd name="connsiteY7" fmla="*/ 464160 h 596204"/>
              <a:gd name="connsiteX8" fmla="*/ 7006 w 444804"/>
              <a:gd name="connsiteY8" fmla="*/ 468458 h 596204"/>
              <a:gd name="connsiteX9" fmla="*/ 4137 w 444804"/>
              <a:gd name="connsiteY9" fmla="*/ 467025 h 596204"/>
              <a:gd name="connsiteX10" fmla="*/ 550 w 444804"/>
              <a:gd name="connsiteY10" fmla="*/ 457712 h 596204"/>
              <a:gd name="connsiteX11" fmla="*/ 55786 w 444804"/>
              <a:gd name="connsiteY11" fmla="*/ 380337 h 596204"/>
              <a:gd name="connsiteX12" fmla="*/ 64395 w 444804"/>
              <a:gd name="connsiteY12" fmla="*/ 378188 h 596204"/>
              <a:gd name="connsiteX13" fmla="*/ 68699 w 444804"/>
              <a:gd name="connsiteY13" fmla="*/ 385352 h 596204"/>
              <a:gd name="connsiteX14" fmla="*/ 69416 w 444804"/>
              <a:gd name="connsiteY14" fmla="*/ 397532 h 596204"/>
              <a:gd name="connsiteX15" fmla="*/ 149760 w 444804"/>
              <a:gd name="connsiteY15" fmla="*/ 323740 h 596204"/>
              <a:gd name="connsiteX16" fmla="*/ 121114 w 444804"/>
              <a:gd name="connsiteY16" fmla="*/ 292955 h 596204"/>
              <a:gd name="connsiteX17" fmla="*/ 126850 w 444804"/>
              <a:gd name="connsiteY17" fmla="*/ 295103 h 596204"/>
              <a:gd name="connsiteX18" fmla="*/ 124699 w 444804"/>
              <a:gd name="connsiteY18" fmla="*/ 300117 h 596204"/>
              <a:gd name="connsiteX19" fmla="*/ 66624 w 444804"/>
              <a:gd name="connsiteY19" fmla="*/ 336642 h 596204"/>
              <a:gd name="connsiteX20" fmla="*/ 62322 w 444804"/>
              <a:gd name="connsiteY20" fmla="*/ 336642 h 596204"/>
              <a:gd name="connsiteX21" fmla="*/ 60171 w 444804"/>
              <a:gd name="connsiteY21" fmla="*/ 332345 h 596204"/>
              <a:gd name="connsiteX22" fmla="*/ 61605 w 444804"/>
              <a:gd name="connsiteY22" fmla="*/ 325900 h 596204"/>
              <a:gd name="connsiteX23" fmla="*/ 32209 w 444804"/>
              <a:gd name="connsiteY23" fmla="*/ 354547 h 596204"/>
              <a:gd name="connsiteX24" fmla="*/ 28624 w 444804"/>
              <a:gd name="connsiteY24" fmla="*/ 355979 h 596204"/>
              <a:gd name="connsiteX25" fmla="*/ 26473 w 444804"/>
              <a:gd name="connsiteY25" fmla="*/ 355263 h 596204"/>
              <a:gd name="connsiteX26" fmla="*/ 25756 w 444804"/>
              <a:gd name="connsiteY26" fmla="*/ 349533 h 596204"/>
              <a:gd name="connsiteX27" fmla="*/ 64473 w 444804"/>
              <a:gd name="connsiteY27" fmla="*/ 313724 h 596204"/>
              <a:gd name="connsiteX28" fmla="*/ 68775 w 444804"/>
              <a:gd name="connsiteY28" fmla="*/ 313008 h 596204"/>
              <a:gd name="connsiteX29" fmla="*/ 70926 w 444804"/>
              <a:gd name="connsiteY29" fmla="*/ 317305 h 596204"/>
              <a:gd name="connsiteX30" fmla="*/ 69492 w 444804"/>
              <a:gd name="connsiteY30" fmla="*/ 324467 h 596204"/>
              <a:gd name="connsiteX31" fmla="*/ 121114 w 444804"/>
              <a:gd name="connsiteY31" fmla="*/ 292955 h 596204"/>
              <a:gd name="connsiteX32" fmla="*/ 167717 w 444804"/>
              <a:gd name="connsiteY32" fmla="*/ 231367 h 596204"/>
              <a:gd name="connsiteX33" fmla="*/ 167717 w 444804"/>
              <a:gd name="connsiteY33" fmla="*/ 232083 h 596204"/>
              <a:gd name="connsiteX34" fmla="*/ 167000 w 444804"/>
              <a:gd name="connsiteY34" fmla="*/ 234231 h 596204"/>
              <a:gd name="connsiteX35" fmla="*/ 168434 w 444804"/>
              <a:gd name="connsiteY35" fmla="*/ 232083 h 596204"/>
              <a:gd name="connsiteX36" fmla="*/ 167717 w 444804"/>
              <a:gd name="connsiteY36" fmla="*/ 231367 h 596204"/>
              <a:gd name="connsiteX37" fmla="*/ 245396 w 444804"/>
              <a:gd name="connsiteY37" fmla="*/ 118756 h 596204"/>
              <a:gd name="connsiteX38" fmla="*/ 271738 w 444804"/>
              <a:gd name="connsiteY38" fmla="*/ 120356 h 596204"/>
              <a:gd name="connsiteX39" fmla="*/ 439606 w 444804"/>
              <a:gd name="connsiteY39" fmla="*/ 250704 h 596204"/>
              <a:gd name="connsiteX40" fmla="*/ 389389 w 444804"/>
              <a:gd name="connsiteY40" fmla="*/ 280068 h 596204"/>
              <a:gd name="connsiteX41" fmla="*/ 352085 w 444804"/>
              <a:gd name="connsiteY41" fmla="*/ 236380 h 596204"/>
              <a:gd name="connsiteX42" fmla="*/ 369302 w 444804"/>
              <a:gd name="connsiteY42" fmla="*/ 290811 h 596204"/>
              <a:gd name="connsiteX43" fmla="*/ 374324 w 444804"/>
              <a:gd name="connsiteY43" fmla="*/ 318026 h 596204"/>
              <a:gd name="connsiteX44" fmla="*/ 406606 w 444804"/>
              <a:gd name="connsiteY44" fmla="*/ 546494 h 596204"/>
              <a:gd name="connsiteX45" fmla="*/ 329128 w 444804"/>
              <a:gd name="connsiteY45" fmla="*/ 567980 h 596204"/>
              <a:gd name="connsiteX46" fmla="*/ 294694 w 444804"/>
              <a:gd name="connsiteY46" fmla="*/ 367445 h 596204"/>
              <a:gd name="connsiteX47" fmla="*/ 283216 w 444804"/>
              <a:gd name="connsiteY47" fmla="*/ 363147 h 596204"/>
              <a:gd name="connsiteX48" fmla="*/ 256673 w 444804"/>
              <a:gd name="connsiteY48" fmla="*/ 550791 h 596204"/>
              <a:gd name="connsiteX49" fmla="*/ 175608 w 444804"/>
              <a:gd name="connsiteY49" fmla="*/ 550791 h 596204"/>
              <a:gd name="connsiteX50" fmla="*/ 217934 w 444804"/>
              <a:gd name="connsiteY50" fmla="*/ 309432 h 596204"/>
              <a:gd name="connsiteX51" fmla="*/ 281064 w 444804"/>
              <a:gd name="connsiteY51" fmla="*/ 304419 h 596204"/>
              <a:gd name="connsiteX52" fmla="*/ 319802 w 444804"/>
              <a:gd name="connsiteY52" fmla="*/ 264312 h 596204"/>
              <a:gd name="connsiteX53" fmla="*/ 278912 w 444804"/>
              <a:gd name="connsiteY53" fmla="*/ 224921 h 596204"/>
              <a:gd name="connsiteX54" fmla="*/ 204304 w 444804"/>
              <a:gd name="connsiteY54" fmla="*/ 228502 h 596204"/>
              <a:gd name="connsiteX55" fmla="*/ 197130 w 444804"/>
              <a:gd name="connsiteY55" fmla="*/ 219191 h 596204"/>
              <a:gd name="connsiteX56" fmla="*/ 188521 w 444804"/>
              <a:gd name="connsiteY56" fmla="*/ 207732 h 596204"/>
              <a:gd name="connsiteX57" fmla="*/ 172021 w 444804"/>
              <a:gd name="connsiteY57" fmla="*/ 224205 h 596204"/>
              <a:gd name="connsiteX58" fmla="*/ 168434 w 444804"/>
              <a:gd name="connsiteY58" fmla="*/ 229934 h 596204"/>
              <a:gd name="connsiteX59" fmla="*/ 174173 w 444804"/>
              <a:gd name="connsiteY59" fmla="*/ 232799 h 596204"/>
              <a:gd name="connsiteX60" fmla="*/ 194260 w 444804"/>
              <a:gd name="connsiteY60" fmla="*/ 237096 h 596204"/>
              <a:gd name="connsiteX61" fmla="*/ 273172 w 444804"/>
              <a:gd name="connsiteY61" fmla="*/ 234231 h 596204"/>
              <a:gd name="connsiteX62" fmla="*/ 299716 w 444804"/>
              <a:gd name="connsiteY62" fmla="*/ 250704 h 596204"/>
              <a:gd name="connsiteX63" fmla="*/ 304020 w 444804"/>
              <a:gd name="connsiteY63" fmla="*/ 264312 h 596204"/>
              <a:gd name="connsiteX64" fmla="*/ 295411 w 444804"/>
              <a:gd name="connsiteY64" fmla="*/ 282217 h 596204"/>
              <a:gd name="connsiteX65" fmla="*/ 273172 w 444804"/>
              <a:gd name="connsiteY65" fmla="*/ 292960 h 596204"/>
              <a:gd name="connsiteX66" fmla="*/ 115348 w 444804"/>
              <a:gd name="connsiteY66" fmla="*/ 257150 h 596204"/>
              <a:gd name="connsiteX67" fmla="*/ 187086 w 444804"/>
              <a:gd name="connsiteY67" fmla="*/ 137545 h 596204"/>
              <a:gd name="connsiteX68" fmla="*/ 193543 w 444804"/>
              <a:gd name="connsiteY68" fmla="*/ 133964 h 596204"/>
              <a:gd name="connsiteX69" fmla="*/ 245396 w 444804"/>
              <a:gd name="connsiteY69" fmla="*/ 118756 h 596204"/>
              <a:gd name="connsiteX70" fmla="*/ 172053 w 444804"/>
              <a:gd name="connsiteY70" fmla="*/ 0 h 596204"/>
              <a:gd name="connsiteX71" fmla="*/ 232308 w 444804"/>
              <a:gd name="connsiteY71" fmla="*/ 60140 h 596204"/>
              <a:gd name="connsiteX72" fmla="*/ 172053 w 444804"/>
              <a:gd name="connsiteY72" fmla="*/ 120280 h 596204"/>
              <a:gd name="connsiteX73" fmla="*/ 111798 w 444804"/>
              <a:gd name="connsiteY73" fmla="*/ 60140 h 596204"/>
              <a:gd name="connsiteX74" fmla="*/ 172053 w 444804"/>
              <a:gd name="connsiteY74" fmla="*/ 0 h 596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44804" h="596204">
                <a:moveTo>
                  <a:pt x="149760" y="323740"/>
                </a:moveTo>
                <a:cubicBezTo>
                  <a:pt x="152629" y="321590"/>
                  <a:pt x="157651" y="322307"/>
                  <a:pt x="159803" y="325172"/>
                </a:cubicBezTo>
                <a:cubicBezTo>
                  <a:pt x="162672" y="328755"/>
                  <a:pt x="161955" y="333053"/>
                  <a:pt x="158368" y="335202"/>
                </a:cubicBezTo>
                <a:cubicBezTo>
                  <a:pt x="122500" y="362427"/>
                  <a:pt x="90937" y="394666"/>
                  <a:pt x="67981" y="419741"/>
                </a:cubicBezTo>
                <a:cubicBezTo>
                  <a:pt x="65829" y="422607"/>
                  <a:pt x="62960" y="423323"/>
                  <a:pt x="60090" y="421890"/>
                </a:cubicBezTo>
                <a:cubicBezTo>
                  <a:pt x="57221" y="421174"/>
                  <a:pt x="55069" y="418308"/>
                  <a:pt x="55069" y="414726"/>
                </a:cubicBezTo>
                <a:cubicBezTo>
                  <a:pt x="55069" y="411144"/>
                  <a:pt x="55069" y="407562"/>
                  <a:pt x="55069" y="403263"/>
                </a:cubicBezTo>
                <a:cubicBezTo>
                  <a:pt x="37852" y="422607"/>
                  <a:pt x="24223" y="443383"/>
                  <a:pt x="13462" y="464160"/>
                </a:cubicBezTo>
                <a:cubicBezTo>
                  <a:pt x="12745" y="466309"/>
                  <a:pt x="9876" y="468458"/>
                  <a:pt x="7006" y="468458"/>
                </a:cubicBezTo>
                <a:cubicBezTo>
                  <a:pt x="6289" y="468458"/>
                  <a:pt x="4854" y="467742"/>
                  <a:pt x="4137" y="467025"/>
                </a:cubicBezTo>
                <a:cubicBezTo>
                  <a:pt x="550" y="465593"/>
                  <a:pt x="-885" y="461294"/>
                  <a:pt x="550" y="457712"/>
                </a:cubicBezTo>
                <a:cubicBezTo>
                  <a:pt x="14180" y="431204"/>
                  <a:pt x="32831" y="403980"/>
                  <a:pt x="55786" y="380337"/>
                </a:cubicBezTo>
                <a:cubicBezTo>
                  <a:pt x="57938" y="377472"/>
                  <a:pt x="61525" y="377472"/>
                  <a:pt x="64395" y="378188"/>
                </a:cubicBezTo>
                <a:cubicBezTo>
                  <a:pt x="67264" y="379621"/>
                  <a:pt x="68699" y="381770"/>
                  <a:pt x="68699" y="385352"/>
                </a:cubicBezTo>
                <a:cubicBezTo>
                  <a:pt x="68699" y="388935"/>
                  <a:pt x="68699" y="393233"/>
                  <a:pt x="69416" y="397532"/>
                </a:cubicBezTo>
                <a:cubicBezTo>
                  <a:pt x="90937" y="373890"/>
                  <a:pt x="118196" y="347382"/>
                  <a:pt x="149760" y="323740"/>
                </a:cubicBezTo>
                <a:close/>
                <a:moveTo>
                  <a:pt x="121114" y="292955"/>
                </a:moveTo>
                <a:cubicBezTo>
                  <a:pt x="123265" y="292239"/>
                  <a:pt x="126133" y="292955"/>
                  <a:pt x="126850" y="295103"/>
                </a:cubicBezTo>
                <a:cubicBezTo>
                  <a:pt x="127567" y="296536"/>
                  <a:pt x="126850" y="299401"/>
                  <a:pt x="124699" y="300117"/>
                </a:cubicBezTo>
                <a:cubicBezTo>
                  <a:pt x="102473" y="310859"/>
                  <a:pt x="81681" y="325183"/>
                  <a:pt x="66624" y="336642"/>
                </a:cubicBezTo>
                <a:cubicBezTo>
                  <a:pt x="65190" y="337358"/>
                  <a:pt x="63756" y="337358"/>
                  <a:pt x="62322" y="336642"/>
                </a:cubicBezTo>
                <a:cubicBezTo>
                  <a:pt x="60888" y="335926"/>
                  <a:pt x="60171" y="334494"/>
                  <a:pt x="60171" y="332345"/>
                </a:cubicBezTo>
                <a:cubicBezTo>
                  <a:pt x="60888" y="330197"/>
                  <a:pt x="60888" y="328048"/>
                  <a:pt x="61605" y="325900"/>
                </a:cubicBezTo>
                <a:cubicBezTo>
                  <a:pt x="50133" y="334494"/>
                  <a:pt x="40096" y="344520"/>
                  <a:pt x="32209" y="354547"/>
                </a:cubicBezTo>
                <a:cubicBezTo>
                  <a:pt x="31492" y="355979"/>
                  <a:pt x="30058" y="356695"/>
                  <a:pt x="28624" y="355979"/>
                </a:cubicBezTo>
                <a:cubicBezTo>
                  <a:pt x="27907" y="355979"/>
                  <a:pt x="27190" y="355979"/>
                  <a:pt x="26473" y="355263"/>
                </a:cubicBezTo>
                <a:cubicBezTo>
                  <a:pt x="25039" y="353831"/>
                  <a:pt x="24322" y="351682"/>
                  <a:pt x="25756" y="349533"/>
                </a:cubicBezTo>
                <a:cubicBezTo>
                  <a:pt x="35794" y="336642"/>
                  <a:pt x="49417" y="324467"/>
                  <a:pt x="64473" y="313724"/>
                </a:cubicBezTo>
                <a:cubicBezTo>
                  <a:pt x="65907" y="312292"/>
                  <a:pt x="67341" y="312292"/>
                  <a:pt x="68775" y="313008"/>
                </a:cubicBezTo>
                <a:cubicBezTo>
                  <a:pt x="70209" y="314440"/>
                  <a:pt x="70926" y="315873"/>
                  <a:pt x="70926" y="317305"/>
                </a:cubicBezTo>
                <a:cubicBezTo>
                  <a:pt x="70209" y="319454"/>
                  <a:pt x="70209" y="322319"/>
                  <a:pt x="69492" y="324467"/>
                </a:cubicBezTo>
                <a:cubicBezTo>
                  <a:pt x="83832" y="313724"/>
                  <a:pt x="101756" y="302265"/>
                  <a:pt x="121114" y="292955"/>
                </a:cubicBezTo>
                <a:close/>
                <a:moveTo>
                  <a:pt x="167717" y="231367"/>
                </a:moveTo>
                <a:cubicBezTo>
                  <a:pt x="167717" y="232083"/>
                  <a:pt x="167717" y="232083"/>
                  <a:pt x="167717" y="232083"/>
                </a:cubicBezTo>
                <a:cubicBezTo>
                  <a:pt x="167717" y="232799"/>
                  <a:pt x="167717" y="233515"/>
                  <a:pt x="167000" y="234231"/>
                </a:cubicBezTo>
                <a:cubicBezTo>
                  <a:pt x="167717" y="232799"/>
                  <a:pt x="167717" y="232083"/>
                  <a:pt x="168434" y="232083"/>
                </a:cubicBezTo>
                <a:cubicBezTo>
                  <a:pt x="167717" y="232083"/>
                  <a:pt x="167717" y="231367"/>
                  <a:pt x="167717" y="231367"/>
                </a:cubicBezTo>
                <a:close/>
                <a:moveTo>
                  <a:pt x="245396" y="118756"/>
                </a:moveTo>
                <a:cubicBezTo>
                  <a:pt x="254252" y="117939"/>
                  <a:pt x="263308" y="118208"/>
                  <a:pt x="271738" y="120356"/>
                </a:cubicBezTo>
                <a:cubicBezTo>
                  <a:pt x="340607" y="146139"/>
                  <a:pt x="397997" y="188395"/>
                  <a:pt x="439606" y="250704"/>
                </a:cubicBezTo>
                <a:cubicBezTo>
                  <a:pt x="461127" y="282217"/>
                  <a:pt x="410193" y="311581"/>
                  <a:pt x="389389" y="280068"/>
                </a:cubicBezTo>
                <a:cubicBezTo>
                  <a:pt x="377911" y="263595"/>
                  <a:pt x="365715" y="249272"/>
                  <a:pt x="352085" y="236380"/>
                </a:cubicBezTo>
                <a:cubicBezTo>
                  <a:pt x="359259" y="253569"/>
                  <a:pt x="364998" y="271474"/>
                  <a:pt x="369302" y="290811"/>
                </a:cubicBezTo>
                <a:cubicBezTo>
                  <a:pt x="370019" y="294392"/>
                  <a:pt x="374324" y="311581"/>
                  <a:pt x="374324" y="318026"/>
                </a:cubicBezTo>
                <a:cubicBezTo>
                  <a:pt x="374324" y="396092"/>
                  <a:pt x="384367" y="471293"/>
                  <a:pt x="406606" y="546494"/>
                </a:cubicBezTo>
                <a:cubicBezTo>
                  <a:pt x="421671" y="596628"/>
                  <a:pt x="344194" y="617397"/>
                  <a:pt x="329128" y="567980"/>
                </a:cubicBezTo>
                <a:cubicBezTo>
                  <a:pt x="309042" y="502090"/>
                  <a:pt x="298998" y="435483"/>
                  <a:pt x="294694" y="367445"/>
                </a:cubicBezTo>
                <a:cubicBezTo>
                  <a:pt x="291107" y="366012"/>
                  <a:pt x="286803" y="364580"/>
                  <a:pt x="283216" y="363147"/>
                </a:cubicBezTo>
                <a:cubicBezTo>
                  <a:pt x="261694" y="424024"/>
                  <a:pt x="253803" y="486333"/>
                  <a:pt x="256673" y="550791"/>
                </a:cubicBezTo>
                <a:cubicBezTo>
                  <a:pt x="258825" y="603073"/>
                  <a:pt x="178478" y="603073"/>
                  <a:pt x="175608" y="550791"/>
                </a:cubicBezTo>
                <a:cubicBezTo>
                  <a:pt x="172021" y="466280"/>
                  <a:pt x="187086" y="387498"/>
                  <a:pt x="217934" y="309432"/>
                </a:cubicBezTo>
                <a:cubicBezTo>
                  <a:pt x="240890" y="308716"/>
                  <a:pt x="262412" y="306567"/>
                  <a:pt x="281064" y="304419"/>
                </a:cubicBezTo>
                <a:cubicBezTo>
                  <a:pt x="304737" y="300838"/>
                  <a:pt x="319802" y="285798"/>
                  <a:pt x="319802" y="264312"/>
                </a:cubicBezTo>
                <a:cubicBezTo>
                  <a:pt x="319802" y="244974"/>
                  <a:pt x="301150" y="222056"/>
                  <a:pt x="278912" y="224921"/>
                </a:cubicBezTo>
                <a:cubicBezTo>
                  <a:pt x="248781" y="228502"/>
                  <a:pt x="225825" y="229934"/>
                  <a:pt x="204304" y="228502"/>
                </a:cubicBezTo>
                <a:cubicBezTo>
                  <a:pt x="202151" y="225637"/>
                  <a:pt x="199282" y="222056"/>
                  <a:pt x="197130" y="219191"/>
                </a:cubicBezTo>
                <a:cubicBezTo>
                  <a:pt x="193543" y="215610"/>
                  <a:pt x="190673" y="211313"/>
                  <a:pt x="188521" y="207732"/>
                </a:cubicBezTo>
                <a:cubicBezTo>
                  <a:pt x="182065" y="212746"/>
                  <a:pt x="177043" y="217759"/>
                  <a:pt x="172021" y="224205"/>
                </a:cubicBezTo>
                <a:cubicBezTo>
                  <a:pt x="169869" y="226353"/>
                  <a:pt x="169152" y="228502"/>
                  <a:pt x="168434" y="229934"/>
                </a:cubicBezTo>
                <a:cubicBezTo>
                  <a:pt x="169869" y="231367"/>
                  <a:pt x="170586" y="231367"/>
                  <a:pt x="174173" y="232799"/>
                </a:cubicBezTo>
                <a:cubicBezTo>
                  <a:pt x="180630" y="234948"/>
                  <a:pt x="187804" y="236380"/>
                  <a:pt x="194260" y="237096"/>
                </a:cubicBezTo>
                <a:cubicBezTo>
                  <a:pt x="220803" y="239245"/>
                  <a:pt x="247347" y="237096"/>
                  <a:pt x="273172" y="234231"/>
                </a:cubicBezTo>
                <a:cubicBezTo>
                  <a:pt x="284651" y="232799"/>
                  <a:pt x="294694" y="240677"/>
                  <a:pt x="299716" y="250704"/>
                </a:cubicBezTo>
                <a:cubicBezTo>
                  <a:pt x="301868" y="255001"/>
                  <a:pt x="304020" y="260015"/>
                  <a:pt x="304020" y="264312"/>
                </a:cubicBezTo>
                <a:cubicBezTo>
                  <a:pt x="304020" y="272906"/>
                  <a:pt x="299716" y="278636"/>
                  <a:pt x="295411" y="282217"/>
                </a:cubicBezTo>
                <a:cubicBezTo>
                  <a:pt x="289672" y="287946"/>
                  <a:pt x="281781" y="291527"/>
                  <a:pt x="273172" y="292960"/>
                </a:cubicBezTo>
                <a:cubicBezTo>
                  <a:pt x="226542" y="298689"/>
                  <a:pt x="142608" y="308000"/>
                  <a:pt x="115348" y="257150"/>
                </a:cubicBezTo>
                <a:cubicBezTo>
                  <a:pt x="88087" y="205584"/>
                  <a:pt x="149782" y="160463"/>
                  <a:pt x="187086" y="137545"/>
                </a:cubicBezTo>
                <a:cubicBezTo>
                  <a:pt x="189238" y="136112"/>
                  <a:pt x="191391" y="134680"/>
                  <a:pt x="193543" y="133964"/>
                </a:cubicBezTo>
                <a:cubicBezTo>
                  <a:pt x="194081" y="133427"/>
                  <a:pt x="218831" y="121207"/>
                  <a:pt x="245396" y="118756"/>
                </a:cubicBezTo>
                <a:close/>
                <a:moveTo>
                  <a:pt x="172053" y="0"/>
                </a:moveTo>
                <a:cubicBezTo>
                  <a:pt x="205331" y="0"/>
                  <a:pt x="232308" y="26926"/>
                  <a:pt x="232308" y="60140"/>
                </a:cubicBezTo>
                <a:cubicBezTo>
                  <a:pt x="232308" y="93354"/>
                  <a:pt x="205331" y="120280"/>
                  <a:pt x="172053" y="120280"/>
                </a:cubicBezTo>
                <a:cubicBezTo>
                  <a:pt x="138775" y="120280"/>
                  <a:pt x="111798" y="93354"/>
                  <a:pt x="111798" y="60140"/>
                </a:cubicBezTo>
                <a:cubicBezTo>
                  <a:pt x="111798" y="26926"/>
                  <a:pt x="138775" y="0"/>
                  <a:pt x="17205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a typeface="微软雅黑" panose="020B0503020204020204" pitchFamily="34" charset="-122"/>
              <a:sym typeface="Arial" panose="020B0604020202020204" pitchFamily="34" charset="0"/>
            </a:endParaRPr>
          </a:p>
        </p:txBody>
      </p:sp>
      <p:sp>
        <p:nvSpPr>
          <p:cNvPr id="5" name="矩形 4"/>
          <p:cNvSpPr/>
          <p:nvPr/>
        </p:nvSpPr>
        <p:spPr>
          <a:xfrm>
            <a:off x="1949234" y="4100235"/>
            <a:ext cx="4585132" cy="738664"/>
          </a:xfrm>
          <a:prstGeom prst="rect">
            <a:avLst/>
          </a:prstGeom>
        </p:spPr>
        <p:txBody>
          <a:bodyPr wrap="square">
            <a:spAutoFit/>
          </a:bodyPr>
          <a:lstStyle/>
          <a:p>
            <a:pPr>
              <a:lnSpc>
                <a:spcPct val="150000"/>
              </a:lnSpc>
              <a:spcAft>
                <a:spcPts val="600"/>
              </a:spcAft>
            </a:pP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来特莫韦常见不良反应为</a:t>
            </a:r>
            <a:r>
              <a:rPr lang="zh-CN" altLang="en-US" sz="1400" b="1" dirty="0">
                <a:solidFill>
                  <a:schemeClr val="accent1"/>
                </a:solidFill>
                <a:latin typeface="Arial" panose="020B0604020202020204" pitchFamily="34" charset="0"/>
                <a:ea typeface="微软雅黑" panose="020B0503020204020204" pitchFamily="34" charset="-122"/>
                <a:sym typeface="Arial" panose="020B0604020202020204" pitchFamily="34" charset="0"/>
              </a:rPr>
              <a:t>胃肠道不良反应</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恶心（</a:t>
            </a:r>
            <a:r>
              <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7.2%</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腹泻（</a:t>
            </a:r>
            <a:r>
              <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2.4%</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和呕吐（</a:t>
            </a:r>
            <a:r>
              <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1.9%</a:t>
            </a:r>
            <a:r>
              <a:rPr lang="zh-CN" altLang="en-US"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a:t>
            </a:r>
            <a:r>
              <a:rPr lang="en-US" altLang="zh-CN" sz="1400" baseline="300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rPr>
              <a:t>1-2</a:t>
            </a:r>
            <a:endParaRPr lang="en-US" altLang="zh-CN" sz="1400" dirty="0">
              <a:solidFill>
                <a:schemeClr val="bg1">
                  <a:lumMod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3" name="矩形 2"/>
          <p:cNvSpPr/>
          <p:nvPr/>
        </p:nvSpPr>
        <p:spPr>
          <a:xfrm>
            <a:off x="9202577" y="2375015"/>
            <a:ext cx="2089999" cy="824200"/>
          </a:xfrm>
          <a:prstGeom prst="rect">
            <a:avLst/>
          </a:prstGeom>
          <a:solidFill>
            <a:schemeClr val="bg2">
              <a:lumMod val="20000"/>
              <a:lumOff val="80000"/>
            </a:schemeClr>
          </a:solidFill>
          <a:ln>
            <a:solidFill>
              <a:schemeClr val="tx1">
                <a:lumMod val="50000"/>
                <a:lumOff val="50000"/>
              </a:schemeClr>
            </a:solidFill>
          </a:ln>
        </p:spPr>
        <p:txBody>
          <a:bodyPr wrap="square">
            <a:spAutoFit/>
          </a:bodyPr>
          <a:lstStyle/>
          <a:p>
            <a:pPr>
              <a:lnSpc>
                <a:spcPct val="150000"/>
              </a:lnSpc>
            </a:pPr>
            <a:r>
              <a:rPr lang="zh-CN" altLang="en-US" sz="1100" dirty="0"/>
              <a:t>来特莫韦和安慰剂之间任何不良事件的频率和严重程度无统计学差异</a:t>
            </a:r>
          </a:p>
        </p:txBody>
      </p:sp>
      <p:sp>
        <p:nvSpPr>
          <p:cNvPr id="13" name="矩形 12">
            <a:extLst>
              <a:ext uri="{FF2B5EF4-FFF2-40B4-BE49-F238E27FC236}">
                <a16:creationId xmlns:a16="http://schemas.microsoft.com/office/drawing/2014/main" id="{226BD936-1D56-4DA6-8FE9-D00188849BE9}"/>
              </a:ext>
            </a:extLst>
          </p:cNvPr>
          <p:cNvSpPr/>
          <p:nvPr/>
        </p:nvSpPr>
        <p:spPr>
          <a:xfrm>
            <a:off x="0" y="6400800"/>
            <a:ext cx="906032" cy="457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16" name="矩形 15"/>
          <p:cNvSpPr/>
          <p:nvPr/>
        </p:nvSpPr>
        <p:spPr>
          <a:xfrm>
            <a:off x="438366" y="6023809"/>
            <a:ext cx="6096000" cy="553998"/>
          </a:xfrm>
          <a:prstGeom prst="rect">
            <a:avLst/>
          </a:prstGeom>
        </p:spPr>
        <p:txBody>
          <a:bodyPr>
            <a:spAutoFit/>
          </a:bodyPr>
          <a:lstStyle/>
          <a:p>
            <a:pPr marL="228600" indent="-228600">
              <a:buFont typeface="+mj-lt"/>
              <a:buAutoNum type="arabicPeriod"/>
              <a:defRPr/>
            </a:pPr>
            <a:r>
              <a:rPr lang="zh-CN" altLang="en-US" sz="1000" dirty="0">
                <a:solidFill>
                  <a:schemeClr val="bg1">
                    <a:lumMod val="65000"/>
                  </a:schemeClr>
                </a:solidFill>
                <a:latin typeface="+mn-ea"/>
                <a:sym typeface="微软雅黑" panose="020B0503020204020204" pitchFamily="34" charset="-122"/>
              </a:rPr>
              <a:t>普瑞明</a:t>
            </a:r>
            <a:r>
              <a:rPr lang="en-US" altLang="zh-CN" sz="1000" dirty="0">
                <a:solidFill>
                  <a:schemeClr val="bg1">
                    <a:lumMod val="65000"/>
                  </a:schemeClr>
                </a:solidFill>
                <a:latin typeface="+mn-ea"/>
                <a:sym typeface="微软雅黑" panose="020B0503020204020204" pitchFamily="34" charset="-122"/>
              </a:rPr>
              <a:t>®</a:t>
            </a:r>
            <a:r>
              <a:rPr lang="zh-CN" altLang="en-US" sz="1000" dirty="0">
                <a:solidFill>
                  <a:schemeClr val="bg1">
                    <a:lumMod val="65000"/>
                  </a:schemeClr>
                </a:solidFill>
                <a:latin typeface="+mn-ea"/>
                <a:sym typeface="微软雅黑" panose="020B0503020204020204" pitchFamily="34" charset="-122"/>
              </a:rPr>
              <a:t>（来特莫韦）片剂说明书</a:t>
            </a:r>
            <a:r>
              <a:rPr lang="en-US" altLang="zh-CN" sz="1000" dirty="0">
                <a:solidFill>
                  <a:schemeClr val="bg1">
                    <a:lumMod val="65000"/>
                  </a:schemeClr>
                </a:solidFill>
                <a:latin typeface="+mn-ea"/>
                <a:sym typeface="微软雅黑" panose="020B0503020204020204" pitchFamily="34" charset="-122"/>
              </a:rPr>
              <a:t>.2021</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New England Journal of Medicine.2017,377(25): 2433-2444.</a:t>
            </a:r>
          </a:p>
          <a:p>
            <a:pPr marL="228600" indent="-228600">
              <a:buFont typeface="+mj-lt"/>
              <a:buAutoNum type="arabicPeriod"/>
              <a:defRPr/>
            </a:pPr>
            <a:r>
              <a:rPr lang="en-US" altLang="zh-CN" sz="1000" dirty="0" err="1">
                <a:solidFill>
                  <a:schemeClr val="bg1">
                    <a:lumMod val="65000"/>
                  </a:schemeClr>
                </a:solidFill>
                <a:latin typeface="+mn-ea"/>
                <a:sym typeface="微软雅黑" panose="020B0503020204020204" pitchFamily="34" charset="-122"/>
              </a:rPr>
              <a:t>Shigle</a:t>
            </a:r>
            <a:r>
              <a:rPr lang="en-US" altLang="zh-CN" sz="1000" dirty="0">
                <a:solidFill>
                  <a:schemeClr val="bg1">
                    <a:lumMod val="65000"/>
                  </a:schemeClr>
                </a:solidFill>
                <a:latin typeface="+mn-ea"/>
                <a:sym typeface="微软雅黑" panose="020B0503020204020204" pitchFamily="34" charset="-122"/>
              </a:rPr>
              <a:t> TL, et al. </a:t>
            </a:r>
            <a:r>
              <a:rPr lang="en-US" altLang="zh-CN" sz="1000" dirty="0" err="1">
                <a:solidFill>
                  <a:schemeClr val="bg1">
                    <a:lumMod val="65000"/>
                  </a:schemeClr>
                </a:solidFill>
                <a:latin typeface="+mn-ea"/>
                <a:sym typeface="微软雅黑" panose="020B0503020204020204" pitchFamily="34" charset="-122"/>
              </a:rPr>
              <a:t>Ther</a:t>
            </a:r>
            <a:r>
              <a:rPr lang="en-US" altLang="zh-CN" sz="1000" dirty="0">
                <a:solidFill>
                  <a:schemeClr val="bg1">
                    <a:lumMod val="65000"/>
                  </a:schemeClr>
                </a:solidFill>
                <a:latin typeface="+mn-ea"/>
                <a:sym typeface="微软雅黑" panose="020B0503020204020204" pitchFamily="34" charset="-122"/>
              </a:rPr>
              <a:t> </a:t>
            </a:r>
            <a:r>
              <a:rPr lang="en-US" altLang="zh-CN" sz="1000" dirty="0" err="1">
                <a:solidFill>
                  <a:schemeClr val="bg1">
                    <a:lumMod val="65000"/>
                  </a:schemeClr>
                </a:solidFill>
                <a:latin typeface="+mn-ea"/>
                <a:sym typeface="微软雅黑" panose="020B0503020204020204" pitchFamily="34" charset="-122"/>
              </a:rPr>
              <a:t>Adv</a:t>
            </a:r>
            <a:r>
              <a:rPr lang="en-US" altLang="zh-CN" sz="1000" dirty="0">
                <a:solidFill>
                  <a:schemeClr val="bg1">
                    <a:lumMod val="65000"/>
                  </a:schemeClr>
                </a:solidFill>
                <a:latin typeface="+mn-ea"/>
                <a:sym typeface="微软雅黑" panose="020B0503020204020204" pitchFamily="34" charset="-122"/>
              </a:rPr>
              <a:t> </a:t>
            </a:r>
            <a:r>
              <a:rPr lang="en-US" altLang="zh-CN" sz="1000" dirty="0" err="1">
                <a:solidFill>
                  <a:schemeClr val="bg1">
                    <a:lumMod val="65000"/>
                  </a:schemeClr>
                </a:solidFill>
                <a:latin typeface="+mn-ea"/>
                <a:sym typeface="微软雅黑" panose="020B0503020204020204" pitchFamily="34" charset="-122"/>
              </a:rPr>
              <a:t>Hematol</a:t>
            </a:r>
            <a:r>
              <a:rPr lang="en-US" altLang="zh-CN" sz="1000" dirty="0">
                <a:solidFill>
                  <a:schemeClr val="bg1">
                    <a:lumMod val="65000"/>
                  </a:schemeClr>
                </a:solidFill>
                <a:latin typeface="+mn-ea"/>
                <a:sym typeface="微软雅黑" panose="020B0503020204020204" pitchFamily="34" charset="-122"/>
              </a:rPr>
              <a:t>. 2020 Jun 24;11:2040620720937150</a:t>
            </a:r>
          </a:p>
        </p:txBody>
      </p:sp>
    </p:spTree>
    <p:custDataLst>
      <p:tags r:id="rId1"/>
    </p:custDataLst>
    <p:extLst>
      <p:ext uri="{BB962C8B-B14F-4D97-AF65-F5344CB8AC3E}">
        <p14:creationId xmlns:p14="http://schemas.microsoft.com/office/powerpoint/2010/main" val="126253133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圆角矩形 46"/>
          <p:cNvSpPr/>
          <p:nvPr/>
        </p:nvSpPr>
        <p:spPr>
          <a:xfrm>
            <a:off x="8260128" y="1558912"/>
            <a:ext cx="3393568" cy="92069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2" name="标题 1">
            <a:extLst>
              <a:ext uri="{FF2B5EF4-FFF2-40B4-BE49-F238E27FC236}">
                <a16:creationId xmlns:a16="http://schemas.microsoft.com/office/drawing/2014/main" id="{4D450375-5D30-467E-8C7A-3DDE34A8CBED}"/>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3 </a:t>
            </a:r>
            <a:r>
              <a:rPr lang="zh-CN" altLang="en-US" dirty="0">
                <a:latin typeface="Arial" panose="020B0604020202020204" pitchFamily="34" charset="0"/>
                <a:sym typeface="Arial" panose="020B0604020202020204" pitchFamily="34" charset="0"/>
              </a:rPr>
              <a:t>有效性</a:t>
            </a:r>
          </a:p>
        </p:txBody>
      </p:sp>
      <p:sp>
        <p:nvSpPr>
          <p:cNvPr id="4" name="灯片编号占位符 3">
            <a:extLst>
              <a:ext uri="{FF2B5EF4-FFF2-40B4-BE49-F238E27FC236}">
                <a16:creationId xmlns:a16="http://schemas.microsoft.com/office/drawing/2014/main" id="{997E47CA-CC93-46D3-97E5-9A3022F59446}"/>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6</a:t>
            </a:fld>
            <a:endParaRPr lang="en-GB">
              <a:latin typeface="Arial" panose="020B0604020202020204" pitchFamily="34" charset="0"/>
              <a:ea typeface="微软雅黑" panose="020B0503020204020204" pitchFamily="34" charset="-122"/>
              <a:sym typeface="Arial" panose="020B0604020202020204" pitchFamily="34" charset="0"/>
            </a:endParaRPr>
          </a:p>
        </p:txBody>
      </p:sp>
      <p:grpSp>
        <p:nvGrpSpPr>
          <p:cNvPr id="116" name="组合 115"/>
          <p:cNvGrpSpPr/>
          <p:nvPr/>
        </p:nvGrpSpPr>
        <p:grpSpPr>
          <a:xfrm>
            <a:off x="8151437" y="2648295"/>
            <a:ext cx="3547371" cy="3124262"/>
            <a:chOff x="-54740" y="3393269"/>
            <a:chExt cx="6010194" cy="3079943"/>
          </a:xfrm>
        </p:grpSpPr>
        <p:pic>
          <p:nvPicPr>
            <p:cNvPr id="117" name="Picture 433"/>
            <p:cNvPicPr>
              <a:picLocks noChangeAspect="1"/>
            </p:cNvPicPr>
            <p:nvPr/>
          </p:nvPicPr>
          <p:blipFill rotWithShape="1">
            <a:blip r:embed="rId3"/>
            <a:srcRect l="1" t="35034" r="637"/>
            <a:stretch/>
          </p:blipFill>
          <p:spPr>
            <a:xfrm>
              <a:off x="564237" y="3796670"/>
              <a:ext cx="5391217" cy="2357519"/>
            </a:xfrm>
            <a:prstGeom prst="rect">
              <a:avLst/>
            </a:prstGeom>
          </p:spPr>
        </p:pic>
        <p:sp>
          <p:nvSpPr>
            <p:cNvPr id="118" name="Freeform 434"/>
            <p:cNvSpPr/>
            <p:nvPr/>
          </p:nvSpPr>
          <p:spPr>
            <a:xfrm>
              <a:off x="3090847" y="4606593"/>
              <a:ext cx="113034" cy="1194577"/>
            </a:xfrm>
            <a:custGeom>
              <a:avLst/>
              <a:gdLst>
                <a:gd name="connsiteX0" fmla="*/ 4572 w 9144"/>
                <a:gd name="connsiteY0" fmla="*/ 841400 h 845972"/>
                <a:gd name="connsiteX1" fmla="*/ 4572 w 9144"/>
                <a:gd name="connsiteY1" fmla="*/ 4571 h 845972"/>
              </a:gdLst>
              <a:ahLst/>
              <a:cxnLst>
                <a:cxn ang="0">
                  <a:pos x="connsiteX0" y="connsiteY0"/>
                </a:cxn>
                <a:cxn ang="0">
                  <a:pos x="connsiteX1" y="connsiteY1"/>
                </a:cxn>
              </a:cxnLst>
              <a:rect l="l" t="t" r="r" b="b"/>
              <a:pathLst>
                <a:path w="9144" h="845972">
                  <a:moveTo>
                    <a:pt x="4572" y="841400"/>
                  </a:moveTo>
                  <a:lnTo>
                    <a:pt x="4572" y="4571"/>
                  </a:lnTo>
                </a:path>
              </a:pathLst>
            </a:custGeom>
            <a:ln w="14">
              <a:solidFill>
                <a:srgbClr val="808080">
                  <a:alpha val="100000"/>
                </a:srgb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40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0" name="文本框 119"/>
            <p:cNvSpPr txBox="1"/>
            <p:nvPr/>
          </p:nvSpPr>
          <p:spPr>
            <a:xfrm>
              <a:off x="1418788" y="3393269"/>
              <a:ext cx="3659320" cy="291807"/>
            </a:xfrm>
            <a:prstGeom prst="rect">
              <a:avLst/>
            </a:prstGeom>
            <a:noFill/>
          </p:spPr>
          <p:txBody>
            <a:bodyPr wrap="square" rtlCol="0">
              <a:spAutoFit/>
            </a:bodyPr>
            <a:lstStyle/>
            <a:p>
              <a:pPr algn="ct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移植后</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24</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周的</a:t>
              </a:r>
              <a:r>
                <a:rPr lang="zh-CN" altLang="en-US" sz="1200" b="1" dirty="0">
                  <a:latin typeface="Arial" panose="020B0604020202020204" pitchFamily="34" charset="0"/>
                  <a:ea typeface="微软雅黑" panose="020B0503020204020204" pitchFamily="34" charset="-122"/>
                  <a:sym typeface="Arial" panose="020B0604020202020204" pitchFamily="34" charset="0"/>
                </a:rPr>
                <a:t>全因死亡率</a:t>
              </a:r>
            </a:p>
          </p:txBody>
        </p:sp>
        <p:sp>
          <p:nvSpPr>
            <p:cNvPr id="121" name="文本框 120"/>
            <p:cNvSpPr txBox="1"/>
            <p:nvPr/>
          </p:nvSpPr>
          <p:spPr>
            <a:xfrm>
              <a:off x="1972652" y="4363188"/>
              <a:ext cx="1142642" cy="258671"/>
            </a:xfrm>
            <a:prstGeom prst="rect">
              <a:avLst/>
            </a:prstGeom>
            <a:noFill/>
          </p:spPr>
          <p:txBody>
            <a:bodyPr wrap="square" rtlCol="0">
              <a:spAutoFit/>
            </a:bodyPr>
            <a:lstStyle/>
            <a:p>
              <a:r>
                <a:rPr lang="zh-CN" altLang="en-US" sz="1050" b="1" dirty="0">
                  <a:latin typeface="Arial" panose="020B0604020202020204" pitchFamily="34" charset="0"/>
                  <a:ea typeface="微软雅黑" panose="020B0503020204020204" pitchFamily="34" charset="-122"/>
                  <a:cs typeface="+mn-ea"/>
                  <a:sym typeface="Arial" panose="020B0604020202020204" pitchFamily="34" charset="0"/>
                </a:rPr>
                <a:t>安慰剂</a:t>
              </a:r>
            </a:p>
          </p:txBody>
        </p:sp>
        <p:sp>
          <p:nvSpPr>
            <p:cNvPr id="123" name="文本框 122"/>
            <p:cNvSpPr txBox="1"/>
            <p:nvPr/>
          </p:nvSpPr>
          <p:spPr>
            <a:xfrm>
              <a:off x="2949849" y="4096678"/>
              <a:ext cx="1142644" cy="266510"/>
            </a:xfrm>
            <a:prstGeom prst="rect">
              <a:avLst/>
            </a:prstGeom>
            <a:noFill/>
          </p:spPr>
          <p:txBody>
            <a:bodyPr wrap="square" rtlCol="0">
              <a:spAutoFit/>
            </a:bodyPr>
            <a:lstStyle/>
            <a:p>
              <a:r>
                <a:rPr lang="en-US" altLang="zh-CN" sz="1100" b="1" dirty="0">
                  <a:latin typeface="Arial" panose="020B0604020202020204" pitchFamily="34" charset="0"/>
                  <a:ea typeface="微软雅黑" panose="020B0503020204020204" pitchFamily="34" charset="-122"/>
                  <a:cs typeface="+mn-ea"/>
                  <a:sym typeface="Arial" panose="020B0604020202020204" pitchFamily="34" charset="0"/>
                </a:rPr>
                <a:t>15.9%</a:t>
              </a:r>
              <a:endParaRPr lang="zh-CN" altLang="en-US" sz="1100" b="1"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4" name="文本框 123"/>
            <p:cNvSpPr txBox="1"/>
            <p:nvPr/>
          </p:nvSpPr>
          <p:spPr>
            <a:xfrm>
              <a:off x="3115295" y="5022210"/>
              <a:ext cx="1142644" cy="266510"/>
            </a:xfrm>
            <a:prstGeom prst="rect">
              <a:avLst/>
            </a:prstGeom>
            <a:noFill/>
          </p:spPr>
          <p:txBody>
            <a:bodyPr wrap="square" rtlCol="0">
              <a:spAutoFit/>
            </a:bodyPr>
            <a:lstStyle/>
            <a:p>
              <a:r>
                <a:rPr lang="en-US" altLang="zh-CN" sz="1100" b="1" dirty="0">
                  <a:solidFill>
                    <a:srgbClr val="B7D230"/>
                  </a:solidFill>
                  <a:latin typeface="Arial" panose="020B0604020202020204" pitchFamily="34" charset="0"/>
                  <a:ea typeface="微软雅黑" panose="020B0503020204020204" pitchFamily="34" charset="-122"/>
                  <a:cs typeface="+mn-ea"/>
                  <a:sym typeface="Arial" panose="020B0604020202020204" pitchFamily="34" charset="0"/>
                </a:rPr>
                <a:t>10.2%</a:t>
              </a:r>
              <a:endParaRPr lang="zh-CN" altLang="en-US" sz="1100" b="1" dirty="0">
                <a:solidFill>
                  <a:srgbClr val="B7D23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6" name="文本框 125"/>
            <p:cNvSpPr txBox="1"/>
            <p:nvPr/>
          </p:nvSpPr>
          <p:spPr>
            <a:xfrm>
              <a:off x="4092494" y="4813633"/>
              <a:ext cx="1268179" cy="223902"/>
            </a:xfrm>
            <a:prstGeom prst="rect">
              <a:avLst/>
            </a:prstGeom>
            <a:noFill/>
          </p:spPr>
          <p:txBody>
            <a:bodyPr wrap="square" lIns="0" tIns="0" rIns="0" bIns="0" rtlCol="0">
              <a:spAutoFit/>
            </a:bodyPr>
            <a:lstStyle>
              <a:defPPr>
                <a:defRPr lang="en-US"/>
              </a:defPPr>
              <a:lvl1pPr>
                <a:lnSpc>
                  <a:spcPct val="120000"/>
                </a:lnSpc>
                <a:defRPr sz="1200" b="1">
                  <a:solidFill>
                    <a:srgbClr val="B7D332"/>
                  </a:solidFill>
                  <a:cs typeface="+mn-ea"/>
                </a:defRPr>
              </a:lvl1pPr>
            </a:lstStyle>
            <a:p>
              <a:r>
                <a:rPr lang="zh-CN" altLang="en-US" dirty="0">
                  <a:latin typeface="Arial" panose="020B0604020202020204" pitchFamily="34" charset="0"/>
                  <a:ea typeface="微软雅黑" panose="020B0503020204020204" pitchFamily="34" charset="-122"/>
                  <a:sym typeface="Arial" panose="020B0604020202020204" pitchFamily="34" charset="0"/>
                </a:rPr>
                <a:t>来特莫韦</a:t>
              </a:r>
            </a:p>
          </p:txBody>
        </p:sp>
        <p:sp>
          <p:nvSpPr>
            <p:cNvPr id="128" name="TextBox 416"/>
            <p:cNvSpPr txBox="1"/>
            <p:nvPr/>
          </p:nvSpPr>
          <p:spPr>
            <a:xfrm>
              <a:off x="-54740" y="6061204"/>
              <a:ext cx="1927759" cy="156770"/>
            </a:xfrm>
            <a:prstGeom prst="rect">
              <a:avLst/>
            </a:prstGeom>
            <a:noFill/>
          </p:spPr>
          <p:txBody>
            <a:bodyPr wrap="square" lIns="0" tIns="0" rIns="0" bIns="0" rtlCol="0">
              <a:spAutoFit/>
            </a:bodyPr>
            <a:lstStyle/>
            <a:p>
              <a:pPr indent="560070"/>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第</a:t>
              </a:r>
              <a:r>
                <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0</a:t>
              </a: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周</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0" name="TextBox 416"/>
            <p:cNvSpPr txBox="1"/>
            <p:nvPr/>
          </p:nvSpPr>
          <p:spPr>
            <a:xfrm>
              <a:off x="1207996" y="6061204"/>
              <a:ext cx="1927759" cy="156770"/>
            </a:xfrm>
            <a:prstGeom prst="rect">
              <a:avLst/>
            </a:prstGeom>
            <a:noFill/>
          </p:spPr>
          <p:txBody>
            <a:bodyPr wrap="square" lIns="0" tIns="0" rIns="0" bIns="0" rtlCol="0">
              <a:spAutoFit/>
            </a:bodyPr>
            <a:lstStyle/>
            <a:p>
              <a:pPr indent="560070"/>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第</a:t>
              </a:r>
              <a:r>
                <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14</a:t>
              </a: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周</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1" name="TextBox 416"/>
            <p:cNvSpPr txBox="1"/>
            <p:nvPr/>
          </p:nvSpPr>
          <p:spPr>
            <a:xfrm>
              <a:off x="2172015" y="6061204"/>
              <a:ext cx="1927759" cy="156770"/>
            </a:xfrm>
            <a:prstGeom prst="rect">
              <a:avLst/>
            </a:prstGeom>
            <a:noFill/>
          </p:spPr>
          <p:txBody>
            <a:bodyPr wrap="square" lIns="0" tIns="0" rIns="0" bIns="0" rtlCol="0">
              <a:spAutoFit/>
            </a:bodyPr>
            <a:lstStyle/>
            <a:p>
              <a:pPr indent="560070"/>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第</a:t>
              </a:r>
              <a:r>
                <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24</a:t>
              </a: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周</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2" name="TextBox 416"/>
            <p:cNvSpPr txBox="1"/>
            <p:nvPr/>
          </p:nvSpPr>
          <p:spPr>
            <a:xfrm>
              <a:off x="1985968" y="6303423"/>
              <a:ext cx="1927759" cy="169789"/>
            </a:xfrm>
            <a:prstGeom prst="rect">
              <a:avLst/>
            </a:prstGeom>
            <a:noFill/>
          </p:spPr>
          <p:txBody>
            <a:bodyPr wrap="square" lIns="0" tIns="0" rIns="0" bIns="0" rtlCol="0">
              <a:spAutoFit/>
            </a:bodyPr>
            <a:lstStyle/>
            <a:p>
              <a:pPr algn="ctr"/>
              <a:r>
                <a:rPr lang="zh-CN" altLang="en-US"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移植后的时间</a:t>
              </a:r>
              <a:endParaRPr lang="en-US" altLang="zh-CN" sz="1000" spc="14"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3" name="文本框 132"/>
            <p:cNvSpPr txBox="1"/>
            <p:nvPr/>
          </p:nvSpPr>
          <p:spPr>
            <a:xfrm>
              <a:off x="446203" y="5593750"/>
              <a:ext cx="388614" cy="250832"/>
            </a:xfrm>
            <a:prstGeom prst="rect">
              <a:avLst/>
            </a:prstGeom>
            <a:noFill/>
          </p:spPr>
          <p:txBody>
            <a:bodyPr wrap="square" rtlCol="0">
              <a:spAutoFit/>
            </a:bodyPr>
            <a:lstStyle/>
            <a:p>
              <a:pPr algn="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0</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4" name="文本框 133"/>
            <p:cNvSpPr txBox="1"/>
            <p:nvPr/>
          </p:nvSpPr>
          <p:spPr>
            <a:xfrm>
              <a:off x="218085" y="4839762"/>
              <a:ext cx="616733" cy="250832"/>
            </a:xfrm>
            <a:prstGeom prst="rect">
              <a:avLst/>
            </a:prstGeom>
            <a:noFill/>
          </p:spPr>
          <p:txBody>
            <a:bodyPr wrap="square" rtlCol="0">
              <a:spAutoFit/>
            </a:bodyPr>
            <a:lstStyle/>
            <a:p>
              <a:pPr algn="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10</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5" name="文本框 134"/>
            <p:cNvSpPr txBox="1"/>
            <p:nvPr/>
          </p:nvSpPr>
          <p:spPr>
            <a:xfrm>
              <a:off x="218085" y="4085770"/>
              <a:ext cx="616733" cy="250832"/>
            </a:xfrm>
            <a:prstGeom prst="rect">
              <a:avLst/>
            </a:prstGeom>
            <a:noFill/>
          </p:spPr>
          <p:txBody>
            <a:bodyPr wrap="square" rtlCol="0">
              <a:spAutoFit/>
            </a:bodyPr>
            <a:lstStyle/>
            <a:p>
              <a:pPr algn="r"/>
              <a:r>
                <a:rPr lang="en-US" altLang="zh-CN" sz="1000" dirty="0">
                  <a:latin typeface="Arial" panose="020B0604020202020204" pitchFamily="34" charset="0"/>
                  <a:ea typeface="微软雅黑" panose="020B0503020204020204" pitchFamily="34" charset="-122"/>
                  <a:cs typeface="+mn-ea"/>
                  <a:sym typeface="Arial" panose="020B0604020202020204" pitchFamily="34" charset="0"/>
                </a:rPr>
                <a:t>20</a:t>
              </a:r>
              <a:endParaRPr lang="zh-CN" altLang="en-US" sz="1000" dirty="0">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8" name="TextBox 424"/>
            <p:cNvSpPr txBox="1"/>
            <p:nvPr/>
          </p:nvSpPr>
          <p:spPr>
            <a:xfrm rot="16200000">
              <a:off x="-870962" y="4678497"/>
              <a:ext cx="2390793" cy="267582"/>
            </a:xfrm>
            <a:prstGeom prst="rect">
              <a:avLst/>
            </a:prstGeom>
            <a:noFill/>
          </p:spPr>
          <p:txBody>
            <a:bodyPr wrap="square" lIns="0" tIns="0" rIns="0" bIns="0" rtlCol="0">
              <a:spAutoFit/>
            </a:bodyPr>
            <a:lstStyle/>
            <a:p>
              <a:pPr algn="ctr">
                <a:lnSpc>
                  <a:spcPct val="120000"/>
                </a:lnSpc>
              </a:pPr>
              <a:r>
                <a:rPr lang="zh-CN" altLang="en-US" sz="80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累积率 </a:t>
              </a:r>
              <a:r>
                <a:rPr lang="en-US" altLang="zh-CN" sz="800" dirty="0">
                  <a:solidFill>
                    <a:srgbClr val="000000"/>
                  </a:solidFill>
                  <a:latin typeface="Arial" panose="020B0604020202020204" pitchFamily="34" charset="0"/>
                  <a:ea typeface="微软雅黑" panose="020B0503020204020204" pitchFamily="34" charset="-122"/>
                  <a:cs typeface="+mn-ea"/>
                  <a:sym typeface="Arial" panose="020B0604020202020204" pitchFamily="34" charset="0"/>
                </a:rPr>
                <a:t>(%)</a:t>
              </a:r>
            </a:p>
          </p:txBody>
        </p:sp>
      </p:grpSp>
      <p:sp>
        <p:nvSpPr>
          <p:cNvPr id="7" name="矩形 6"/>
          <p:cNvSpPr/>
          <p:nvPr/>
        </p:nvSpPr>
        <p:spPr>
          <a:xfrm>
            <a:off x="611259" y="5999521"/>
            <a:ext cx="11108099" cy="400110"/>
          </a:xfrm>
          <a:prstGeom prst="rect">
            <a:avLst/>
          </a:prstGeom>
        </p:spPr>
        <p:txBody>
          <a:bodyPr wrap="square">
            <a:spAutoFit/>
          </a:bodyPr>
          <a:lstStyle/>
          <a:p>
            <a:r>
              <a:rPr lang="zh-CN" altLang="en-US" sz="1000" dirty="0">
                <a:solidFill>
                  <a:srgbClr val="0C2340"/>
                </a:solidFill>
                <a:latin typeface="+mn-ea"/>
              </a:rPr>
              <a:t>另外，一项旨在评估来特莫韦上市后安全性和有效性的日本单臂回顾性真实世界研究显示，在有效性分析的患者中，</a:t>
            </a:r>
            <a:r>
              <a:rPr lang="en-US" altLang="zh-CN" sz="1000" dirty="0">
                <a:solidFill>
                  <a:srgbClr val="0C2340"/>
                </a:solidFill>
                <a:latin typeface="+mn-ea"/>
              </a:rPr>
              <a:t>allo-HSCT </a:t>
            </a:r>
            <a:r>
              <a:rPr lang="zh-CN" altLang="en-US" sz="1000" dirty="0">
                <a:solidFill>
                  <a:srgbClr val="0C2340"/>
                </a:solidFill>
                <a:latin typeface="+mn-ea"/>
              </a:rPr>
              <a:t>后第 </a:t>
            </a:r>
            <a:r>
              <a:rPr lang="en-US" altLang="zh-CN" sz="1000" dirty="0">
                <a:solidFill>
                  <a:srgbClr val="0C2340"/>
                </a:solidFill>
                <a:latin typeface="+mn-ea"/>
              </a:rPr>
              <a:t>14 </a:t>
            </a:r>
            <a:r>
              <a:rPr lang="zh-CN" altLang="en-US" sz="1000" dirty="0">
                <a:solidFill>
                  <a:srgbClr val="0C2340"/>
                </a:solidFill>
                <a:latin typeface="+mn-ea"/>
              </a:rPr>
              <a:t>周的总体 </a:t>
            </a:r>
            <a:r>
              <a:rPr lang="en-US" altLang="zh-CN" sz="1000" dirty="0">
                <a:solidFill>
                  <a:srgbClr val="0C2340"/>
                </a:solidFill>
                <a:latin typeface="+mn-ea"/>
              </a:rPr>
              <a:t>CMV </a:t>
            </a:r>
            <a:r>
              <a:rPr lang="zh-CN" altLang="en-US" sz="1000" dirty="0">
                <a:solidFill>
                  <a:srgbClr val="0C2340"/>
                </a:solidFill>
                <a:latin typeface="+mn-ea"/>
              </a:rPr>
              <a:t>抗原阳性率为 </a:t>
            </a:r>
            <a:r>
              <a:rPr lang="en-US" altLang="zh-CN" sz="1000" dirty="0">
                <a:solidFill>
                  <a:srgbClr val="0C2340"/>
                </a:solidFill>
                <a:latin typeface="+mn-ea"/>
              </a:rPr>
              <a:t>21.2%</a:t>
            </a:r>
            <a:r>
              <a:rPr lang="zh-CN" altLang="en-US" sz="1000" dirty="0">
                <a:solidFill>
                  <a:srgbClr val="0C2340"/>
                </a:solidFill>
                <a:latin typeface="+mn-ea"/>
              </a:rPr>
              <a:t>，第 </a:t>
            </a:r>
            <a:r>
              <a:rPr lang="en-US" altLang="zh-CN" sz="1000" dirty="0">
                <a:solidFill>
                  <a:srgbClr val="0C2340"/>
                </a:solidFill>
                <a:latin typeface="+mn-ea"/>
              </a:rPr>
              <a:t>24 </a:t>
            </a:r>
            <a:r>
              <a:rPr lang="zh-CN" altLang="en-US" sz="1000" dirty="0">
                <a:solidFill>
                  <a:srgbClr val="0C2340"/>
                </a:solidFill>
                <a:latin typeface="+mn-ea"/>
              </a:rPr>
              <a:t>周为 </a:t>
            </a:r>
            <a:r>
              <a:rPr lang="en-US" altLang="zh-CN" sz="1000" dirty="0">
                <a:solidFill>
                  <a:srgbClr val="0C2340"/>
                </a:solidFill>
                <a:latin typeface="+mn-ea"/>
              </a:rPr>
              <a:t>37.5%</a:t>
            </a:r>
            <a:r>
              <a:rPr lang="zh-CN" altLang="en-US" sz="1000" dirty="0">
                <a:solidFill>
                  <a:srgbClr val="0C2340"/>
                </a:solidFill>
                <a:latin typeface="+mn-ea"/>
              </a:rPr>
              <a:t>。这项真实世界研究的中期数据证实了来特莫韦在日本 </a:t>
            </a:r>
            <a:r>
              <a:rPr lang="en-US" altLang="zh-CN" sz="1000" dirty="0">
                <a:solidFill>
                  <a:srgbClr val="0C2340"/>
                </a:solidFill>
                <a:latin typeface="+mn-ea"/>
              </a:rPr>
              <a:t>allo-HSCT </a:t>
            </a:r>
            <a:r>
              <a:rPr lang="zh-CN" altLang="en-US" sz="1000" dirty="0">
                <a:solidFill>
                  <a:srgbClr val="0C2340"/>
                </a:solidFill>
                <a:latin typeface="+mn-ea"/>
              </a:rPr>
              <a:t>受者中预防 </a:t>
            </a:r>
            <a:r>
              <a:rPr lang="en-US" altLang="zh-CN" sz="1000" dirty="0">
                <a:solidFill>
                  <a:srgbClr val="0C2340"/>
                </a:solidFill>
                <a:latin typeface="+mn-ea"/>
              </a:rPr>
              <a:t>CMV </a:t>
            </a:r>
            <a:r>
              <a:rPr lang="zh-CN" altLang="en-US" sz="1000" dirty="0">
                <a:solidFill>
                  <a:srgbClr val="0C2340"/>
                </a:solidFill>
                <a:latin typeface="+mn-ea"/>
              </a:rPr>
              <a:t>的安全性和有效性，与来特莫韦的 </a:t>
            </a:r>
            <a:r>
              <a:rPr lang="en-US" altLang="zh-CN" sz="1000" dirty="0">
                <a:solidFill>
                  <a:srgbClr val="0C2340"/>
                </a:solidFill>
                <a:latin typeface="+mn-ea"/>
              </a:rPr>
              <a:t>III </a:t>
            </a:r>
            <a:r>
              <a:rPr lang="zh-CN" altLang="en-US" sz="1000" dirty="0">
                <a:solidFill>
                  <a:srgbClr val="0C2340"/>
                </a:solidFill>
                <a:latin typeface="+mn-ea"/>
              </a:rPr>
              <a:t>期临床试验研究结果一致</a:t>
            </a:r>
            <a:r>
              <a:rPr lang="en-US" altLang="zh-CN" sz="1000" baseline="30000" dirty="0">
                <a:solidFill>
                  <a:srgbClr val="0C2340"/>
                </a:solidFill>
                <a:latin typeface="+mn-ea"/>
              </a:rPr>
              <a:t>2</a:t>
            </a:r>
            <a:endParaRPr lang="en-US" altLang="zh-CN" sz="1000" dirty="0">
              <a:solidFill>
                <a:srgbClr val="0C2340"/>
              </a:solidFill>
              <a:latin typeface="+mn-ea"/>
            </a:endParaRPr>
          </a:p>
        </p:txBody>
      </p:sp>
      <p:sp>
        <p:nvSpPr>
          <p:cNvPr id="5" name="矩形 4"/>
          <p:cNvSpPr/>
          <p:nvPr/>
        </p:nvSpPr>
        <p:spPr>
          <a:xfrm>
            <a:off x="8289721" y="1584686"/>
            <a:ext cx="3244732" cy="701346"/>
          </a:xfrm>
          <a:prstGeom prst="rect">
            <a:avLst/>
          </a:prstGeom>
        </p:spPr>
        <p:txBody>
          <a:bodyPr wrap="square">
            <a:spAutoFit/>
          </a:bodyPr>
          <a:lstStyle/>
          <a:p>
            <a:pPr marL="285750" indent="-285750">
              <a:lnSpc>
                <a:spcPct val="130000"/>
              </a:lnSpc>
              <a:buFont typeface="Arial" panose="020B0604020202020204" pitchFamily="34" charset="0"/>
              <a:buChar char="•"/>
              <a:defRPr/>
            </a:pPr>
            <a:r>
              <a:rPr lang="zh-CN" altLang="en-US" sz="1200" b="1" dirty="0">
                <a:solidFill>
                  <a:srgbClr val="FF0000"/>
                </a:solidFill>
                <a:latin typeface="+mn-ea"/>
                <a:cs typeface="+mn-ea"/>
                <a:sym typeface="Arial" panose="020B0604020202020204" pitchFamily="34" charset="0"/>
              </a:rPr>
              <a:t>与安慰剂相比</a:t>
            </a:r>
            <a:r>
              <a:rPr lang="zh-CN" altLang="en-US" sz="1200" dirty="0">
                <a:solidFill>
                  <a:srgbClr val="2E3033"/>
                </a:solidFill>
                <a:latin typeface="+mn-ea"/>
                <a:cs typeface="+mn-ea"/>
                <a:sym typeface="Arial" panose="020B0604020202020204" pitchFamily="34" charset="0"/>
              </a:rPr>
              <a:t>，来特莫韦组移植后</a:t>
            </a:r>
            <a:r>
              <a:rPr lang="zh-CN" altLang="en-US" sz="1600" b="1" dirty="0">
                <a:solidFill>
                  <a:schemeClr val="accent1"/>
                </a:solidFill>
                <a:latin typeface="+mn-ea"/>
                <a:cs typeface="+mn-ea"/>
                <a:sym typeface="Arial" panose="020B0604020202020204" pitchFamily="34" charset="0"/>
              </a:rPr>
              <a:t>具有生存获益</a:t>
            </a:r>
            <a:r>
              <a:rPr lang="zh-CN" altLang="en-US" sz="1200" dirty="0">
                <a:solidFill>
                  <a:srgbClr val="2E3033"/>
                </a:solidFill>
                <a:latin typeface="+mn-ea"/>
                <a:cs typeface="+mn-ea"/>
                <a:sym typeface="Arial" panose="020B0604020202020204" pitchFamily="34" charset="0"/>
              </a:rPr>
              <a:t>（</a:t>
            </a:r>
            <a:r>
              <a:rPr lang="en-US" altLang="zh-CN" sz="1200" dirty="0">
                <a:solidFill>
                  <a:srgbClr val="2E3033"/>
                </a:solidFill>
                <a:latin typeface="+mn-ea"/>
                <a:cs typeface="+mn-ea"/>
                <a:sym typeface="Arial" panose="020B0604020202020204" pitchFamily="34" charset="0"/>
              </a:rPr>
              <a:t>10.2% vs 15.9%; p = 0.03</a:t>
            </a:r>
            <a:r>
              <a:rPr lang="zh-CN" altLang="en-US" sz="1200" dirty="0">
                <a:solidFill>
                  <a:srgbClr val="2E3033"/>
                </a:solidFill>
                <a:latin typeface="+mn-ea"/>
                <a:cs typeface="+mn-ea"/>
                <a:sym typeface="Arial" panose="020B0604020202020204" pitchFamily="34" charset="0"/>
              </a:rPr>
              <a:t>）</a:t>
            </a:r>
          </a:p>
        </p:txBody>
      </p:sp>
      <p:sp>
        <p:nvSpPr>
          <p:cNvPr id="3" name="文本框 2">
            <a:extLst>
              <a:ext uri="{FF2B5EF4-FFF2-40B4-BE49-F238E27FC236}">
                <a16:creationId xmlns:a16="http://schemas.microsoft.com/office/drawing/2014/main" id="{538A2B2E-3915-40D3-8D2D-14F455C6D6AE}"/>
              </a:ext>
            </a:extLst>
          </p:cNvPr>
          <p:cNvSpPr txBox="1"/>
          <p:nvPr/>
        </p:nvSpPr>
        <p:spPr>
          <a:xfrm>
            <a:off x="643045" y="1235035"/>
            <a:ext cx="3765566" cy="284672"/>
          </a:xfrm>
          <a:prstGeom prst="rect">
            <a:avLst/>
          </a:prstGeom>
          <a:noFill/>
        </p:spPr>
        <p:txBody>
          <a:bodyPr wrap="square" lIns="0" tIns="0" rIns="0" bIns="0" rtlCol="0">
            <a:noAutofit/>
          </a:bodyPr>
          <a:lstStyle/>
          <a:p>
            <a:pPr algn="l"/>
            <a:r>
              <a:rPr lang="zh-CN" altLang="en-US" sz="1400" dirty="0"/>
              <a:t>来特莫韦三期临床研究显示</a:t>
            </a:r>
            <a:r>
              <a:rPr lang="en-US" altLang="zh-CN" sz="1400" baseline="30000" dirty="0"/>
              <a:t>1</a:t>
            </a:r>
            <a:r>
              <a:rPr lang="zh-CN" altLang="en-US" sz="1400" dirty="0"/>
              <a:t>：</a:t>
            </a:r>
          </a:p>
        </p:txBody>
      </p:sp>
      <p:sp>
        <p:nvSpPr>
          <p:cNvPr id="115" name="矩形 114"/>
          <p:cNvSpPr/>
          <p:nvPr/>
        </p:nvSpPr>
        <p:spPr>
          <a:xfrm>
            <a:off x="553495" y="6368695"/>
            <a:ext cx="6096000" cy="400110"/>
          </a:xfrm>
          <a:prstGeom prst="rect">
            <a:avLst/>
          </a:prstGeom>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New England Journal of Medicine.2017,377(25): 2433-2444.</a:t>
            </a:r>
          </a:p>
          <a:p>
            <a:pPr marL="228600" indent="-228600">
              <a:buFont typeface="+mj-lt"/>
              <a:buAutoNum type="arabicPeriod"/>
              <a:defRPr/>
            </a:pPr>
            <a:r>
              <a:rPr lang="en-US" altLang="zh-CN" sz="1000" dirty="0" err="1">
                <a:solidFill>
                  <a:schemeClr val="bg1">
                    <a:lumMod val="65000"/>
                  </a:schemeClr>
                </a:solidFill>
                <a:latin typeface="+mn-ea"/>
                <a:sym typeface="微软雅黑" panose="020B0503020204020204" pitchFamily="34" charset="-122"/>
              </a:rPr>
              <a:t>Clin</a:t>
            </a:r>
            <a:r>
              <a:rPr lang="en-US" altLang="zh-CN" sz="1000" dirty="0">
                <a:solidFill>
                  <a:schemeClr val="bg1">
                    <a:lumMod val="65000"/>
                  </a:schemeClr>
                </a:solidFill>
                <a:latin typeface="+mn-ea"/>
                <a:sym typeface="微软雅黑" panose="020B0503020204020204" pitchFamily="34" charset="-122"/>
              </a:rPr>
              <a:t> Drug </a:t>
            </a:r>
            <a:r>
              <a:rPr lang="en-US" altLang="zh-CN" sz="1000" dirty="0" err="1">
                <a:solidFill>
                  <a:schemeClr val="bg1">
                    <a:lumMod val="65000"/>
                  </a:schemeClr>
                </a:solidFill>
                <a:latin typeface="+mn-ea"/>
                <a:sym typeface="微软雅黑" panose="020B0503020204020204" pitchFamily="34" charset="-122"/>
              </a:rPr>
              <a:t>Investig</a:t>
            </a:r>
            <a:r>
              <a:rPr lang="en-US" altLang="zh-CN" sz="1000" dirty="0">
                <a:solidFill>
                  <a:schemeClr val="bg1">
                    <a:lumMod val="65000"/>
                  </a:schemeClr>
                </a:solidFill>
                <a:latin typeface="+mn-ea"/>
                <a:sym typeface="微软雅黑" panose="020B0503020204020204" pitchFamily="34" charset="-122"/>
              </a:rPr>
              <a:t>. 2021; 41(12): 1075–1086</a:t>
            </a:r>
          </a:p>
        </p:txBody>
      </p:sp>
      <p:sp>
        <p:nvSpPr>
          <p:cNvPr id="6" name="矩形 5"/>
          <p:cNvSpPr/>
          <p:nvPr/>
        </p:nvSpPr>
        <p:spPr>
          <a:xfrm>
            <a:off x="8812964" y="3139318"/>
            <a:ext cx="684803" cy="261610"/>
          </a:xfrm>
          <a:prstGeom prst="rect">
            <a:avLst/>
          </a:prstGeom>
        </p:spPr>
        <p:txBody>
          <a:bodyPr wrap="none">
            <a:spAutoFit/>
          </a:bodyPr>
          <a:lstStyle/>
          <a:p>
            <a:r>
              <a:rPr lang="en-US" altLang="zh-CN" sz="1100" b="1" dirty="0">
                <a:solidFill>
                  <a:srgbClr val="C00000"/>
                </a:solidFill>
                <a:latin typeface="+mn-ea"/>
                <a:cs typeface="+mn-ea"/>
                <a:sym typeface="Arial" panose="020B0604020202020204" pitchFamily="34" charset="0"/>
              </a:rPr>
              <a:t>P=0.03</a:t>
            </a:r>
            <a:endParaRPr lang="zh-CN" altLang="en-US" sz="1100" b="1" dirty="0">
              <a:solidFill>
                <a:srgbClr val="C00000"/>
              </a:solidFill>
              <a:latin typeface="+mn-ea"/>
              <a:cs typeface="+mn-ea"/>
            </a:endParaRPr>
          </a:p>
        </p:txBody>
      </p:sp>
      <p:sp>
        <p:nvSpPr>
          <p:cNvPr id="139" name="圆角矩形 138"/>
          <p:cNvSpPr/>
          <p:nvPr/>
        </p:nvSpPr>
        <p:spPr>
          <a:xfrm>
            <a:off x="622925" y="1556120"/>
            <a:ext cx="3659515" cy="92952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40" name="矩形 139"/>
          <p:cNvSpPr/>
          <p:nvPr/>
        </p:nvSpPr>
        <p:spPr>
          <a:xfrm>
            <a:off x="674715" y="1574607"/>
            <a:ext cx="3555934" cy="861390"/>
          </a:xfrm>
          <a:prstGeom prst="rect">
            <a:avLst/>
          </a:prstGeom>
        </p:spPr>
        <p:txBody>
          <a:bodyPr wrap="square">
            <a:spAutoFit/>
          </a:bodyPr>
          <a:lstStyle/>
          <a:p>
            <a:pPr marL="285750" indent="-285750">
              <a:lnSpc>
                <a:spcPct val="130000"/>
              </a:lnSpc>
              <a:buFont typeface="Arial" panose="020B0604020202020204" pitchFamily="34" charset="0"/>
              <a:buChar char="•"/>
              <a:defRPr/>
            </a:pPr>
            <a:r>
              <a:rPr lang="zh-CN" altLang="en-US" sz="1200" dirty="0">
                <a:solidFill>
                  <a:srgbClr val="2E3033"/>
                </a:solidFill>
                <a:latin typeface="+mn-ea"/>
                <a:cs typeface="+mn-ea"/>
                <a:sym typeface="Arial" panose="020B0604020202020204" pitchFamily="34" charset="0"/>
              </a:rPr>
              <a:t>主要有效性终点：</a:t>
            </a:r>
            <a:r>
              <a:rPr lang="zh-CN" altLang="en-US" sz="1200" b="1" dirty="0">
                <a:solidFill>
                  <a:srgbClr val="FF0000"/>
                </a:solidFill>
                <a:latin typeface="+mn-ea"/>
                <a:cs typeface="+mn-ea"/>
                <a:sym typeface="Arial" panose="020B0604020202020204" pitchFamily="34" charset="0"/>
              </a:rPr>
              <a:t>与安慰剂相比</a:t>
            </a:r>
            <a:r>
              <a:rPr lang="zh-CN" altLang="en-US" sz="1200" dirty="0">
                <a:solidFill>
                  <a:srgbClr val="2E3033"/>
                </a:solidFill>
                <a:latin typeface="+mn-ea"/>
                <a:cs typeface="+mn-ea"/>
                <a:sym typeface="Arial" panose="020B0604020202020204" pitchFamily="34" charset="0"/>
              </a:rPr>
              <a:t>，来特莫韦组移植后第</a:t>
            </a:r>
            <a:r>
              <a:rPr lang="en-US" altLang="zh-CN" sz="1200" dirty="0">
                <a:solidFill>
                  <a:srgbClr val="2E3033"/>
                </a:solidFill>
                <a:latin typeface="+mn-ea"/>
                <a:cs typeface="+mn-ea"/>
                <a:sym typeface="Arial" panose="020B0604020202020204" pitchFamily="34" charset="0"/>
              </a:rPr>
              <a:t>24</a:t>
            </a:r>
            <a:r>
              <a:rPr lang="zh-CN" altLang="en-US" sz="1200" dirty="0">
                <a:solidFill>
                  <a:srgbClr val="2E3033"/>
                </a:solidFill>
                <a:latin typeface="+mn-ea"/>
                <a:cs typeface="+mn-ea"/>
                <a:sym typeface="Arial" panose="020B0604020202020204" pitchFamily="34" charset="0"/>
              </a:rPr>
              <a:t>周发生临床显著</a:t>
            </a:r>
            <a:r>
              <a:rPr lang="en-US" altLang="zh-CN" sz="1200" dirty="0">
                <a:solidFill>
                  <a:srgbClr val="2E3033"/>
                </a:solidFill>
                <a:latin typeface="+mn-ea"/>
                <a:cs typeface="+mn-ea"/>
                <a:sym typeface="Arial" panose="020B0604020202020204" pitchFamily="34" charset="0"/>
              </a:rPr>
              <a:t>CMV</a:t>
            </a:r>
            <a:r>
              <a:rPr lang="zh-CN" altLang="en-US" sz="1200" dirty="0">
                <a:solidFill>
                  <a:srgbClr val="2E3033"/>
                </a:solidFill>
                <a:latin typeface="+mn-ea"/>
                <a:cs typeface="+mn-ea"/>
                <a:sym typeface="Arial" panose="020B0604020202020204" pitchFamily="34" charset="0"/>
              </a:rPr>
              <a:t>感染的患者比例</a:t>
            </a:r>
            <a:r>
              <a:rPr lang="zh-CN" altLang="en-US" sz="1600" b="1" dirty="0">
                <a:solidFill>
                  <a:schemeClr val="accent1"/>
                </a:solidFill>
                <a:latin typeface="+mn-ea"/>
                <a:cs typeface="+mn-ea"/>
                <a:sym typeface="Arial" panose="020B0604020202020204" pitchFamily="34" charset="0"/>
              </a:rPr>
              <a:t>显著降低</a:t>
            </a:r>
            <a:r>
              <a:rPr lang="zh-CN" altLang="en-US" sz="1200" dirty="0">
                <a:solidFill>
                  <a:srgbClr val="2E3033"/>
                </a:solidFill>
                <a:latin typeface="+mn-ea"/>
                <a:cs typeface="+mn-ea"/>
                <a:sym typeface="Arial" panose="020B0604020202020204" pitchFamily="34" charset="0"/>
              </a:rPr>
              <a:t>（</a:t>
            </a:r>
            <a:r>
              <a:rPr lang="en-US" altLang="zh-CN" sz="1200" dirty="0">
                <a:solidFill>
                  <a:srgbClr val="2E3033"/>
                </a:solidFill>
                <a:latin typeface="+mn-ea"/>
                <a:cs typeface="+mn-ea"/>
                <a:sym typeface="Arial" panose="020B0604020202020204" pitchFamily="34" charset="0"/>
              </a:rPr>
              <a:t>p</a:t>
            </a:r>
            <a:r>
              <a:rPr lang="zh-CN" altLang="en-US" sz="1200" dirty="0">
                <a:solidFill>
                  <a:srgbClr val="2E3033"/>
                </a:solidFill>
                <a:latin typeface="+mn-ea"/>
                <a:cs typeface="+mn-ea"/>
                <a:sym typeface="Arial" panose="020B0604020202020204" pitchFamily="34" charset="0"/>
              </a:rPr>
              <a:t>＜</a:t>
            </a:r>
            <a:r>
              <a:rPr lang="en-US" altLang="zh-CN" sz="1200" dirty="0">
                <a:solidFill>
                  <a:srgbClr val="2E3033"/>
                </a:solidFill>
                <a:latin typeface="+mn-ea"/>
                <a:cs typeface="+mn-ea"/>
                <a:sym typeface="Arial" panose="020B0604020202020204" pitchFamily="34" charset="0"/>
              </a:rPr>
              <a:t>0.001</a:t>
            </a:r>
            <a:r>
              <a:rPr lang="zh-CN" altLang="en-US" sz="1200" dirty="0">
                <a:solidFill>
                  <a:srgbClr val="2E3033"/>
                </a:solidFill>
                <a:latin typeface="+mn-ea"/>
                <a:cs typeface="+mn-ea"/>
                <a:sym typeface="Arial" panose="020B0604020202020204" pitchFamily="34" charset="0"/>
              </a:rPr>
              <a:t>）</a:t>
            </a:r>
            <a:endParaRPr lang="en-US" altLang="zh-CN" sz="1200" dirty="0">
              <a:solidFill>
                <a:srgbClr val="2E3033"/>
              </a:solidFill>
              <a:latin typeface="+mn-ea"/>
              <a:cs typeface="+mn-ea"/>
              <a:sym typeface="Arial" panose="020B0604020202020204" pitchFamily="34" charset="0"/>
            </a:endParaRPr>
          </a:p>
        </p:txBody>
      </p:sp>
      <p:graphicFrame>
        <p:nvGraphicFramePr>
          <p:cNvPr id="141" name="图表 140"/>
          <p:cNvGraphicFramePr/>
          <p:nvPr>
            <p:extLst>
              <p:ext uri="{D42A27DB-BD31-4B8C-83A1-F6EECF244321}">
                <p14:modId xmlns:p14="http://schemas.microsoft.com/office/powerpoint/2010/main" val="1661387131"/>
              </p:ext>
            </p:extLst>
          </p:nvPr>
        </p:nvGraphicFramePr>
        <p:xfrm>
          <a:off x="396240" y="2819174"/>
          <a:ext cx="3782618" cy="2850408"/>
        </p:xfrm>
        <a:graphic>
          <a:graphicData uri="http://schemas.openxmlformats.org/drawingml/2006/chart">
            <c:chart xmlns:c="http://schemas.openxmlformats.org/drawingml/2006/chart" xmlns:r="http://schemas.openxmlformats.org/officeDocument/2006/relationships" r:id="rId4"/>
          </a:graphicData>
        </a:graphic>
      </p:graphicFrame>
      <p:sp>
        <p:nvSpPr>
          <p:cNvPr id="144" name="矩形 143"/>
          <p:cNvSpPr/>
          <p:nvPr/>
        </p:nvSpPr>
        <p:spPr>
          <a:xfrm>
            <a:off x="2420301" y="3333969"/>
            <a:ext cx="824265" cy="276999"/>
          </a:xfrm>
          <a:prstGeom prst="rect">
            <a:avLst/>
          </a:prstGeom>
        </p:spPr>
        <p:txBody>
          <a:bodyPr wrap="none">
            <a:spAutoFit/>
          </a:bodyPr>
          <a:lstStyle/>
          <a:p>
            <a:r>
              <a:rPr lang="en-US" altLang="zh-CN" sz="12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P&lt;0.001</a:t>
            </a:r>
          </a:p>
        </p:txBody>
      </p:sp>
      <p:sp>
        <p:nvSpPr>
          <p:cNvPr id="145" name="矩形 144"/>
          <p:cNvSpPr/>
          <p:nvPr/>
        </p:nvSpPr>
        <p:spPr>
          <a:xfrm>
            <a:off x="1241169" y="2634856"/>
            <a:ext cx="2201245" cy="276999"/>
          </a:xfrm>
          <a:prstGeom prst="rect">
            <a:avLst/>
          </a:prstGeom>
        </p:spPr>
        <p:txBody>
          <a:bodyPr wrap="none">
            <a:spAutoFit/>
          </a:bodyPr>
          <a:lstStyle/>
          <a:p>
            <a:pPr algn="ctr">
              <a:defRPr/>
            </a:pPr>
            <a:r>
              <a:rPr lang="zh-CN" altLang="zh-CN" sz="1200" b="1" dirty="0">
                <a:latin typeface="Arial" panose="020B0604020202020204" pitchFamily="34" charset="0"/>
                <a:ea typeface="微软雅黑" panose="020B0503020204020204" pitchFamily="34" charset="-122"/>
              </a:rPr>
              <a:t>移植后</a:t>
            </a:r>
            <a:r>
              <a:rPr lang="en-US" altLang="zh-CN" sz="1200" b="1" dirty="0">
                <a:latin typeface="Arial" panose="020B0604020202020204" pitchFamily="34" charset="0"/>
                <a:ea typeface="微软雅黑" panose="020B0503020204020204" pitchFamily="34" charset="-122"/>
              </a:rPr>
              <a:t>24</a:t>
            </a:r>
            <a:r>
              <a:rPr lang="zh-CN" altLang="zh-CN" sz="1200" b="1" dirty="0">
                <a:latin typeface="Arial" panose="020B0604020202020204" pitchFamily="34" charset="0"/>
                <a:ea typeface="微软雅黑" panose="020B0503020204020204" pitchFamily="34" charset="-122"/>
              </a:rPr>
              <a:t>周的主要</a:t>
            </a:r>
            <a:r>
              <a:rPr lang="zh-CN" altLang="en-US" sz="1200" b="1" dirty="0">
                <a:latin typeface="Arial" panose="020B0604020202020204" pitchFamily="34" charset="0"/>
                <a:ea typeface="微软雅黑" panose="020B0503020204020204" pitchFamily="34" charset="-122"/>
              </a:rPr>
              <a:t>有效性</a:t>
            </a:r>
            <a:r>
              <a:rPr lang="zh-CN" altLang="zh-CN" sz="1200" b="1" dirty="0">
                <a:latin typeface="Arial" panose="020B0604020202020204" pitchFamily="34" charset="0"/>
                <a:ea typeface="微软雅黑" panose="020B0503020204020204" pitchFamily="34" charset="-122"/>
              </a:rPr>
              <a:t>终点</a:t>
            </a:r>
          </a:p>
        </p:txBody>
      </p:sp>
      <p:sp>
        <p:nvSpPr>
          <p:cNvPr id="39" name="圆角矩形 38"/>
          <p:cNvSpPr/>
          <p:nvPr/>
        </p:nvSpPr>
        <p:spPr>
          <a:xfrm>
            <a:off x="4456323" y="1546295"/>
            <a:ext cx="3659515" cy="929526"/>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0" name="矩形 39"/>
          <p:cNvSpPr/>
          <p:nvPr/>
        </p:nvSpPr>
        <p:spPr>
          <a:xfrm>
            <a:off x="4551452" y="1580363"/>
            <a:ext cx="3526486" cy="861390"/>
          </a:xfrm>
          <a:prstGeom prst="rect">
            <a:avLst/>
          </a:prstGeom>
        </p:spPr>
        <p:txBody>
          <a:bodyPr wrap="square">
            <a:spAutoFit/>
          </a:bodyPr>
          <a:lstStyle/>
          <a:p>
            <a:pPr marL="285750" indent="-285750">
              <a:lnSpc>
                <a:spcPct val="130000"/>
              </a:lnSpc>
              <a:buFont typeface="Arial" panose="020B0604020202020204" pitchFamily="34" charset="0"/>
              <a:buChar char="•"/>
              <a:defRPr/>
            </a:pPr>
            <a:r>
              <a:rPr lang="zh-CN" altLang="en-US" sz="1200" b="1" dirty="0">
                <a:solidFill>
                  <a:srgbClr val="FF0000"/>
                </a:solidFill>
                <a:latin typeface="+mn-ea"/>
                <a:cs typeface="+mn-ea"/>
                <a:sym typeface="Arial" panose="020B0604020202020204" pitchFamily="34" charset="0"/>
              </a:rPr>
              <a:t>与安慰剂相比</a:t>
            </a:r>
            <a:r>
              <a:rPr lang="zh-CN" altLang="en-US" sz="1200" dirty="0">
                <a:solidFill>
                  <a:srgbClr val="2E3033"/>
                </a:solidFill>
                <a:latin typeface="+mn-ea"/>
                <a:cs typeface="+mn-ea"/>
                <a:sym typeface="Arial" panose="020B0604020202020204" pitchFamily="34" charset="0"/>
              </a:rPr>
              <a:t>，来特莫韦组在移植后第</a:t>
            </a:r>
            <a:r>
              <a:rPr lang="en-US" altLang="zh-CN" sz="1200" dirty="0">
                <a:solidFill>
                  <a:srgbClr val="2E3033"/>
                </a:solidFill>
                <a:latin typeface="+mn-ea"/>
                <a:cs typeface="+mn-ea"/>
                <a:sym typeface="Arial" panose="020B0604020202020204" pitchFamily="34" charset="0"/>
              </a:rPr>
              <a:t>14</a:t>
            </a:r>
            <a:r>
              <a:rPr lang="zh-CN" altLang="en-US" sz="1200" dirty="0">
                <a:solidFill>
                  <a:srgbClr val="2E3033"/>
                </a:solidFill>
                <a:latin typeface="+mn-ea"/>
                <a:cs typeface="+mn-ea"/>
                <a:sym typeface="Arial" panose="020B0604020202020204" pitchFamily="34" charset="0"/>
              </a:rPr>
              <a:t>周及第</a:t>
            </a:r>
            <a:r>
              <a:rPr lang="en-US" altLang="zh-CN" sz="1200" dirty="0">
                <a:solidFill>
                  <a:srgbClr val="2E3033"/>
                </a:solidFill>
                <a:latin typeface="+mn-ea"/>
                <a:cs typeface="+mn-ea"/>
                <a:sym typeface="Arial" panose="020B0604020202020204" pitchFamily="34" charset="0"/>
              </a:rPr>
              <a:t>24</a:t>
            </a:r>
            <a:r>
              <a:rPr lang="zh-CN" altLang="en-US" sz="1200" dirty="0">
                <a:solidFill>
                  <a:srgbClr val="2E3033"/>
                </a:solidFill>
                <a:latin typeface="+mn-ea"/>
                <a:cs typeface="+mn-ea"/>
                <a:sym typeface="Arial" panose="020B0604020202020204" pitchFamily="34" charset="0"/>
              </a:rPr>
              <a:t>周出现临床显著</a:t>
            </a:r>
            <a:r>
              <a:rPr lang="en-US" altLang="zh-CN" sz="1200" dirty="0">
                <a:solidFill>
                  <a:srgbClr val="2E3033"/>
                </a:solidFill>
                <a:latin typeface="+mn-ea"/>
                <a:cs typeface="+mn-ea"/>
                <a:sym typeface="Arial" panose="020B0604020202020204" pitchFamily="34" charset="0"/>
              </a:rPr>
              <a:t>CMV</a:t>
            </a:r>
            <a:r>
              <a:rPr lang="zh-CN" altLang="en-US" sz="1200" dirty="0">
                <a:solidFill>
                  <a:srgbClr val="2E3033"/>
                </a:solidFill>
                <a:latin typeface="+mn-ea"/>
                <a:cs typeface="+mn-ea"/>
                <a:sym typeface="Arial" panose="020B0604020202020204" pitchFamily="34" charset="0"/>
              </a:rPr>
              <a:t>感染的患者分别</a:t>
            </a:r>
            <a:r>
              <a:rPr lang="zh-CN" altLang="en-US" sz="1600" b="1" dirty="0">
                <a:solidFill>
                  <a:schemeClr val="accent1"/>
                </a:solidFill>
                <a:latin typeface="+mn-ea"/>
                <a:cs typeface="+mn-ea"/>
                <a:sym typeface="Arial" panose="020B0604020202020204" pitchFamily="34" charset="0"/>
              </a:rPr>
              <a:t>显著降低</a:t>
            </a:r>
          </a:p>
        </p:txBody>
      </p:sp>
      <p:grpSp>
        <p:nvGrpSpPr>
          <p:cNvPr id="41" name="组合 40"/>
          <p:cNvGrpSpPr/>
          <p:nvPr/>
        </p:nvGrpSpPr>
        <p:grpSpPr>
          <a:xfrm>
            <a:off x="4119678" y="2654366"/>
            <a:ext cx="4144986" cy="2924330"/>
            <a:chOff x="308914" y="5438755"/>
            <a:chExt cx="5965801" cy="2956803"/>
          </a:xfrm>
        </p:grpSpPr>
        <p:sp>
          <p:nvSpPr>
            <p:cNvPr id="42" name="TextBox 407"/>
            <p:cNvSpPr txBox="1"/>
            <p:nvPr/>
          </p:nvSpPr>
          <p:spPr>
            <a:xfrm>
              <a:off x="1651477" y="5438755"/>
              <a:ext cx="3439622" cy="407016"/>
            </a:xfrm>
            <a:prstGeom prst="rect">
              <a:avLst/>
            </a:prstGeom>
            <a:noFill/>
          </p:spPr>
          <p:txBody>
            <a:bodyPr wrap="square" lIns="0" tIns="0" rIns="0" bIns="0" rtlCol="0">
              <a:spAutoFit/>
            </a:bodyPr>
            <a:lstStyle/>
            <a:p>
              <a:pPr algn="ctr">
                <a:lnSpc>
                  <a:spcPct val="109000"/>
                </a:lnSpc>
              </a:pP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移植后</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24</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周有临床意义的</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CMV</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感染的累积发生率</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FAS</a:t>
              </a:r>
              <a:r>
                <a:rPr lang="zh-CN" altLang="en-US" sz="1200" b="1" dirty="0">
                  <a:latin typeface="Arial" panose="020B0604020202020204" pitchFamily="34" charset="0"/>
                  <a:ea typeface="微软雅黑" panose="020B0503020204020204" pitchFamily="34" charset="-122"/>
                  <a:sym typeface="微软雅黑" panose="020B0503020204020204" pitchFamily="34" charset="-122"/>
                </a:rPr>
                <a:t>人群</a:t>
              </a:r>
              <a:r>
                <a:rPr lang="en-US" altLang="zh-CN" sz="1200" b="1" dirty="0">
                  <a:latin typeface="Arial" panose="020B0604020202020204" pitchFamily="34" charset="0"/>
                  <a:ea typeface="微软雅黑" panose="020B0503020204020204" pitchFamily="34" charset="-122"/>
                  <a:sym typeface="微软雅黑" panose="020B0503020204020204" pitchFamily="34" charset="-122"/>
                </a:rPr>
                <a:t>)</a:t>
              </a:r>
            </a:p>
          </p:txBody>
        </p:sp>
        <p:grpSp>
          <p:nvGrpSpPr>
            <p:cNvPr id="43" name="组合 42"/>
            <p:cNvGrpSpPr/>
            <p:nvPr/>
          </p:nvGrpSpPr>
          <p:grpSpPr>
            <a:xfrm>
              <a:off x="308914" y="5645373"/>
              <a:ext cx="5965801" cy="2750185"/>
              <a:chOff x="9232687" y="3299896"/>
              <a:chExt cx="7712872" cy="4429624"/>
            </a:xfrm>
          </p:grpSpPr>
          <p:sp>
            <p:nvSpPr>
              <p:cNvPr id="103" name="TextBox 413"/>
              <p:cNvSpPr txBox="1"/>
              <p:nvPr/>
            </p:nvSpPr>
            <p:spPr>
              <a:xfrm>
                <a:off x="13867396" y="5221946"/>
                <a:ext cx="1356203" cy="294681"/>
              </a:xfrm>
              <a:prstGeom prst="rect">
                <a:avLst/>
              </a:prstGeom>
              <a:noFill/>
            </p:spPr>
            <p:txBody>
              <a:bodyPr wrap="square" lIns="0" tIns="0" rIns="0" bIns="0" rtlCol="0">
                <a:spAutoFit/>
              </a:bodyPr>
              <a:lstStyle/>
              <a:p>
                <a:pPr algn="ctr">
                  <a:lnSpc>
                    <a:spcPct val="98000"/>
                  </a:lnSpc>
                </a:pPr>
                <a:r>
                  <a:rPr lang="en-US" altLang="zh-CN" sz="1200" b="1" spc="-9"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57.3%</a:t>
                </a:r>
                <a:endParaRPr lang="en-US" altLang="zh-CN" sz="1200"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45" name="TextBox 407"/>
              <p:cNvSpPr txBox="1"/>
              <p:nvPr/>
            </p:nvSpPr>
            <p:spPr>
              <a:xfrm>
                <a:off x="9528443" y="7477732"/>
                <a:ext cx="6818322" cy="251788"/>
              </a:xfrm>
              <a:prstGeom prst="rect">
                <a:avLst/>
              </a:prstGeom>
              <a:noFill/>
            </p:spPr>
            <p:txBody>
              <a:bodyPr wrap="square" lIns="0" tIns="0" rIns="0" bIns="0" rtlCol="0">
                <a:spAutoFit/>
              </a:bodyPr>
              <a:lstStyle/>
              <a:p>
                <a:pPr hangingPunct="0">
                  <a:lnSpc>
                    <a:spcPct val="109000"/>
                  </a:lnSpc>
                </a:pPr>
                <a:r>
                  <a:rPr lang="en-US" altLang="zh-CN" sz="1000" dirty="0">
                    <a:solidFill>
                      <a:schemeClr val="tx1">
                        <a:lumMod val="50000"/>
                        <a:lumOff val="50000"/>
                      </a:schemeClr>
                    </a:solidFill>
                    <a:latin typeface="微软雅黑" panose="020B0503020204020204" pitchFamily="34" charset="-122"/>
                    <a:ea typeface="微软雅黑" panose="020B0503020204020204" pitchFamily="34" charset="-122"/>
                    <a:cs typeface="+mn-ea"/>
                    <a:sym typeface="微软雅黑" panose="020B0503020204020204" pitchFamily="34" charset="-122"/>
                  </a:rPr>
                  <a:t>FAS</a:t>
                </a:r>
                <a:r>
                  <a:rPr lang="zh-CN" altLang="en-US" sz="1000" dirty="0">
                    <a:solidFill>
                      <a:schemeClr val="tx1">
                        <a:lumMod val="50000"/>
                        <a:lumOff val="50000"/>
                      </a:schemeClr>
                    </a:solidFill>
                    <a:latin typeface="微软雅黑" panose="020B0503020204020204" pitchFamily="34" charset="-122"/>
                    <a:ea typeface="微软雅黑" panose="020B0503020204020204" pitchFamily="34" charset="-122"/>
                    <a:cs typeface="+mn-ea"/>
                    <a:sym typeface="微软雅黑" panose="020B0503020204020204" pitchFamily="34" charset="-122"/>
                  </a:rPr>
                  <a:t>：全分析集</a:t>
                </a:r>
                <a:endParaRPr lang="en-US" altLang="zh-CN" sz="1000" dirty="0">
                  <a:solidFill>
                    <a:schemeClr val="tx1">
                      <a:lumMod val="50000"/>
                      <a:lumOff val="50000"/>
                    </a:schemeClr>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nvGrpSpPr>
              <p:cNvPr id="46" name="组合 45"/>
              <p:cNvGrpSpPr/>
              <p:nvPr/>
            </p:nvGrpSpPr>
            <p:grpSpPr>
              <a:xfrm>
                <a:off x="9232687" y="3299896"/>
                <a:ext cx="7712872" cy="4377800"/>
                <a:chOff x="5861169" y="2805214"/>
                <a:chExt cx="5742430" cy="3083624"/>
              </a:xfrm>
            </p:grpSpPr>
            <p:grpSp>
              <p:nvGrpSpPr>
                <p:cNvPr id="51" name="组合 50"/>
                <p:cNvGrpSpPr/>
                <p:nvPr/>
              </p:nvGrpSpPr>
              <p:grpSpPr>
                <a:xfrm>
                  <a:off x="5861169" y="2805214"/>
                  <a:ext cx="5742430" cy="3083624"/>
                  <a:chOff x="490254" y="2909398"/>
                  <a:chExt cx="7579360" cy="3083629"/>
                </a:xfrm>
              </p:grpSpPr>
              <p:grpSp>
                <p:nvGrpSpPr>
                  <p:cNvPr id="54" name="组合 53"/>
                  <p:cNvGrpSpPr/>
                  <p:nvPr/>
                </p:nvGrpSpPr>
                <p:grpSpPr>
                  <a:xfrm>
                    <a:off x="490254" y="2909398"/>
                    <a:ext cx="7579360" cy="3083629"/>
                    <a:chOff x="7486664" y="3785916"/>
                    <a:chExt cx="5804075" cy="2199822"/>
                  </a:xfrm>
                </p:grpSpPr>
                <p:grpSp>
                  <p:nvGrpSpPr>
                    <p:cNvPr id="57" name="组合 56"/>
                    <p:cNvGrpSpPr/>
                    <p:nvPr/>
                  </p:nvGrpSpPr>
                  <p:grpSpPr>
                    <a:xfrm>
                      <a:off x="7486664" y="3785916"/>
                      <a:ext cx="5804075" cy="2199822"/>
                      <a:chOff x="7366345" y="3670611"/>
                      <a:chExt cx="5879413" cy="2816114"/>
                    </a:xfrm>
                  </p:grpSpPr>
                  <p:sp>
                    <p:nvSpPr>
                      <p:cNvPr id="64" name="任意多边形 63"/>
                      <p:cNvSpPr/>
                      <p:nvPr/>
                    </p:nvSpPr>
                    <p:spPr>
                      <a:xfrm>
                        <a:off x="8260080" y="3670611"/>
                        <a:ext cx="4015740" cy="2295849"/>
                      </a:xfrm>
                      <a:custGeom>
                        <a:avLst/>
                        <a:gdLst>
                          <a:gd name="connsiteX0" fmla="*/ 0 w 4015740"/>
                          <a:gd name="connsiteY0" fmla="*/ 0 h 3147060"/>
                          <a:gd name="connsiteX1" fmla="*/ 0 w 4015740"/>
                          <a:gd name="connsiteY1" fmla="*/ 3147060 h 3147060"/>
                          <a:gd name="connsiteX2" fmla="*/ 4015740 w 4015740"/>
                          <a:gd name="connsiteY2" fmla="*/ 3147060 h 3147060"/>
                        </a:gdLst>
                        <a:ahLst/>
                        <a:cxnLst>
                          <a:cxn ang="0">
                            <a:pos x="connsiteX0" y="connsiteY0"/>
                          </a:cxn>
                          <a:cxn ang="0">
                            <a:pos x="connsiteX1" y="connsiteY1"/>
                          </a:cxn>
                          <a:cxn ang="0">
                            <a:pos x="connsiteX2" y="connsiteY2"/>
                          </a:cxn>
                        </a:cxnLst>
                        <a:rect l="l" t="t" r="r" b="b"/>
                        <a:pathLst>
                          <a:path w="4015740" h="3147060">
                            <a:moveTo>
                              <a:pt x="0" y="0"/>
                            </a:moveTo>
                            <a:lnTo>
                              <a:pt x="0" y="3147060"/>
                            </a:lnTo>
                            <a:lnTo>
                              <a:pt x="4015740" y="3147060"/>
                            </a:lnTo>
                          </a:path>
                        </a:pathLst>
                      </a:custGeom>
                      <a:noFill/>
                      <a:ln w="19050">
                        <a:solidFill>
                          <a:schemeClr val="tx1">
                            <a:lumMod val="50000"/>
                            <a:lumOff val="50000"/>
                          </a:schemeClr>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5" name="任意多边形 64"/>
                      <p:cNvSpPr/>
                      <p:nvPr/>
                    </p:nvSpPr>
                    <p:spPr>
                      <a:xfrm>
                        <a:off x="8267700" y="4511040"/>
                        <a:ext cx="4076700" cy="1424940"/>
                      </a:xfrm>
                      <a:custGeom>
                        <a:avLst/>
                        <a:gdLst>
                          <a:gd name="connsiteX0" fmla="*/ 0 w 4076700"/>
                          <a:gd name="connsiteY0" fmla="*/ 1424940 h 1424940"/>
                          <a:gd name="connsiteX1" fmla="*/ 457200 w 4076700"/>
                          <a:gd name="connsiteY1" fmla="*/ 1424940 h 1424940"/>
                          <a:gd name="connsiteX2" fmla="*/ 609600 w 4076700"/>
                          <a:gd name="connsiteY2" fmla="*/ 1402080 h 1424940"/>
                          <a:gd name="connsiteX3" fmla="*/ 655320 w 4076700"/>
                          <a:gd name="connsiteY3" fmla="*/ 1295400 h 1424940"/>
                          <a:gd name="connsiteX4" fmla="*/ 746760 w 4076700"/>
                          <a:gd name="connsiteY4" fmla="*/ 1203960 h 1424940"/>
                          <a:gd name="connsiteX5" fmla="*/ 777240 w 4076700"/>
                          <a:gd name="connsiteY5" fmla="*/ 1074420 h 1424940"/>
                          <a:gd name="connsiteX6" fmla="*/ 838200 w 4076700"/>
                          <a:gd name="connsiteY6" fmla="*/ 1005840 h 1424940"/>
                          <a:gd name="connsiteX7" fmla="*/ 861060 w 4076700"/>
                          <a:gd name="connsiteY7" fmla="*/ 914400 h 1424940"/>
                          <a:gd name="connsiteX8" fmla="*/ 960120 w 4076700"/>
                          <a:gd name="connsiteY8" fmla="*/ 807720 h 1424940"/>
                          <a:gd name="connsiteX9" fmla="*/ 982980 w 4076700"/>
                          <a:gd name="connsiteY9" fmla="*/ 701040 h 1424940"/>
                          <a:gd name="connsiteX10" fmla="*/ 1028700 w 4076700"/>
                          <a:gd name="connsiteY10" fmla="*/ 685800 h 1424940"/>
                          <a:gd name="connsiteX11" fmla="*/ 1051560 w 4076700"/>
                          <a:gd name="connsiteY11" fmla="*/ 647700 h 1424940"/>
                          <a:gd name="connsiteX12" fmla="*/ 1158240 w 4076700"/>
                          <a:gd name="connsiteY12" fmla="*/ 571500 h 1424940"/>
                          <a:gd name="connsiteX13" fmla="*/ 1173480 w 4076700"/>
                          <a:gd name="connsiteY13" fmla="*/ 541020 h 1424940"/>
                          <a:gd name="connsiteX14" fmla="*/ 1257300 w 4076700"/>
                          <a:gd name="connsiteY14" fmla="*/ 518160 h 1424940"/>
                          <a:gd name="connsiteX15" fmla="*/ 1280160 w 4076700"/>
                          <a:gd name="connsiteY15" fmla="*/ 434340 h 1424940"/>
                          <a:gd name="connsiteX16" fmla="*/ 1341120 w 4076700"/>
                          <a:gd name="connsiteY16" fmla="*/ 312420 h 1424940"/>
                          <a:gd name="connsiteX17" fmla="*/ 1424940 w 4076700"/>
                          <a:gd name="connsiteY17" fmla="*/ 312420 h 1424940"/>
                          <a:gd name="connsiteX18" fmla="*/ 1524000 w 4076700"/>
                          <a:gd name="connsiteY18" fmla="*/ 266700 h 1424940"/>
                          <a:gd name="connsiteX19" fmla="*/ 1638300 w 4076700"/>
                          <a:gd name="connsiteY19" fmla="*/ 220980 h 1424940"/>
                          <a:gd name="connsiteX20" fmla="*/ 1744980 w 4076700"/>
                          <a:gd name="connsiteY20" fmla="*/ 182880 h 1424940"/>
                          <a:gd name="connsiteX21" fmla="*/ 1973580 w 4076700"/>
                          <a:gd name="connsiteY21" fmla="*/ 182880 h 1424940"/>
                          <a:gd name="connsiteX22" fmla="*/ 2042160 w 4076700"/>
                          <a:gd name="connsiteY22" fmla="*/ 137160 h 1424940"/>
                          <a:gd name="connsiteX23" fmla="*/ 2278380 w 4076700"/>
                          <a:gd name="connsiteY23" fmla="*/ 129540 h 1424940"/>
                          <a:gd name="connsiteX24" fmla="*/ 2400300 w 4076700"/>
                          <a:gd name="connsiteY24" fmla="*/ 83820 h 1424940"/>
                          <a:gd name="connsiteX25" fmla="*/ 3223260 w 4076700"/>
                          <a:gd name="connsiteY25" fmla="*/ 83820 h 1424940"/>
                          <a:gd name="connsiteX26" fmla="*/ 3230880 w 4076700"/>
                          <a:gd name="connsiteY26" fmla="*/ 60960 h 1424940"/>
                          <a:gd name="connsiteX27" fmla="*/ 3596640 w 4076700"/>
                          <a:gd name="connsiteY27" fmla="*/ 60960 h 1424940"/>
                          <a:gd name="connsiteX28" fmla="*/ 3604260 w 4076700"/>
                          <a:gd name="connsiteY28" fmla="*/ 30480 h 1424940"/>
                          <a:gd name="connsiteX29" fmla="*/ 3779520 w 4076700"/>
                          <a:gd name="connsiteY29" fmla="*/ 30480 h 1424940"/>
                          <a:gd name="connsiteX30" fmla="*/ 3802380 w 4076700"/>
                          <a:gd name="connsiteY30" fmla="*/ 0 h 1424940"/>
                          <a:gd name="connsiteX31" fmla="*/ 4076700 w 4076700"/>
                          <a:gd name="connsiteY31" fmla="*/ 0 h 1424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076700" h="1424940">
                            <a:moveTo>
                              <a:pt x="0" y="1424940"/>
                            </a:moveTo>
                            <a:lnTo>
                              <a:pt x="457200" y="1424940"/>
                            </a:lnTo>
                            <a:lnTo>
                              <a:pt x="609600" y="1402080"/>
                            </a:lnTo>
                            <a:lnTo>
                              <a:pt x="655320" y="1295400"/>
                            </a:lnTo>
                            <a:lnTo>
                              <a:pt x="746760" y="1203960"/>
                            </a:lnTo>
                            <a:lnTo>
                              <a:pt x="777240" y="1074420"/>
                            </a:lnTo>
                            <a:lnTo>
                              <a:pt x="838200" y="1005840"/>
                            </a:lnTo>
                            <a:lnTo>
                              <a:pt x="861060" y="914400"/>
                            </a:lnTo>
                            <a:lnTo>
                              <a:pt x="960120" y="807720"/>
                            </a:lnTo>
                            <a:lnTo>
                              <a:pt x="982980" y="701040"/>
                            </a:lnTo>
                            <a:lnTo>
                              <a:pt x="1028700" y="685800"/>
                            </a:lnTo>
                            <a:lnTo>
                              <a:pt x="1051560" y="647700"/>
                            </a:lnTo>
                            <a:lnTo>
                              <a:pt x="1158240" y="571500"/>
                            </a:lnTo>
                            <a:lnTo>
                              <a:pt x="1173480" y="541020"/>
                            </a:lnTo>
                            <a:lnTo>
                              <a:pt x="1257300" y="518160"/>
                            </a:lnTo>
                            <a:lnTo>
                              <a:pt x="1280160" y="434340"/>
                            </a:lnTo>
                            <a:lnTo>
                              <a:pt x="1341120" y="312420"/>
                            </a:lnTo>
                            <a:lnTo>
                              <a:pt x="1424940" y="312420"/>
                            </a:lnTo>
                            <a:lnTo>
                              <a:pt x="1524000" y="266700"/>
                            </a:lnTo>
                            <a:lnTo>
                              <a:pt x="1638300" y="220980"/>
                            </a:lnTo>
                            <a:lnTo>
                              <a:pt x="1744980" y="182880"/>
                            </a:lnTo>
                            <a:lnTo>
                              <a:pt x="1973580" y="182880"/>
                            </a:lnTo>
                            <a:lnTo>
                              <a:pt x="2042160" y="137160"/>
                            </a:lnTo>
                            <a:lnTo>
                              <a:pt x="2278380" y="129540"/>
                            </a:lnTo>
                            <a:lnTo>
                              <a:pt x="2400300" y="83820"/>
                            </a:lnTo>
                            <a:lnTo>
                              <a:pt x="3223260" y="83820"/>
                            </a:lnTo>
                            <a:lnTo>
                              <a:pt x="3230880" y="60960"/>
                            </a:lnTo>
                            <a:lnTo>
                              <a:pt x="3596640" y="60960"/>
                            </a:lnTo>
                            <a:lnTo>
                              <a:pt x="3604260" y="30480"/>
                            </a:lnTo>
                            <a:lnTo>
                              <a:pt x="3779520" y="30480"/>
                            </a:lnTo>
                            <a:lnTo>
                              <a:pt x="3802380" y="0"/>
                            </a:lnTo>
                            <a:lnTo>
                              <a:pt x="4076700" y="0"/>
                            </a:lnTo>
                          </a:path>
                        </a:pathLst>
                      </a:custGeom>
                      <a:noFill/>
                      <a:ln w="19050">
                        <a:solidFill>
                          <a:schemeClr val="tx1"/>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66" name="任意多边形 65"/>
                      <p:cNvSpPr/>
                      <p:nvPr/>
                    </p:nvSpPr>
                    <p:spPr>
                      <a:xfrm>
                        <a:off x="8252460" y="5295900"/>
                        <a:ext cx="4076700" cy="647700"/>
                      </a:xfrm>
                      <a:custGeom>
                        <a:avLst/>
                        <a:gdLst>
                          <a:gd name="connsiteX0" fmla="*/ 0 w 4076700"/>
                          <a:gd name="connsiteY0" fmla="*/ 647700 h 647700"/>
                          <a:gd name="connsiteX1" fmla="*/ 373380 w 4076700"/>
                          <a:gd name="connsiteY1" fmla="*/ 617220 h 647700"/>
                          <a:gd name="connsiteX2" fmla="*/ 586740 w 4076700"/>
                          <a:gd name="connsiteY2" fmla="*/ 586740 h 647700"/>
                          <a:gd name="connsiteX3" fmla="*/ 929640 w 4076700"/>
                          <a:gd name="connsiteY3" fmla="*/ 525780 h 647700"/>
                          <a:gd name="connsiteX4" fmla="*/ 1066800 w 4076700"/>
                          <a:gd name="connsiteY4" fmla="*/ 525780 h 647700"/>
                          <a:gd name="connsiteX5" fmla="*/ 1280160 w 4076700"/>
                          <a:gd name="connsiteY5" fmla="*/ 495300 h 647700"/>
                          <a:gd name="connsiteX6" fmla="*/ 1455420 w 4076700"/>
                          <a:gd name="connsiteY6" fmla="*/ 487680 h 647700"/>
                          <a:gd name="connsiteX7" fmla="*/ 1630680 w 4076700"/>
                          <a:gd name="connsiteY7" fmla="*/ 449580 h 647700"/>
                          <a:gd name="connsiteX8" fmla="*/ 1889760 w 4076700"/>
                          <a:gd name="connsiteY8" fmla="*/ 449580 h 647700"/>
                          <a:gd name="connsiteX9" fmla="*/ 1912620 w 4076700"/>
                          <a:gd name="connsiteY9" fmla="*/ 426720 h 647700"/>
                          <a:gd name="connsiteX10" fmla="*/ 2286000 w 4076700"/>
                          <a:gd name="connsiteY10" fmla="*/ 449580 h 647700"/>
                          <a:gd name="connsiteX11" fmla="*/ 2385060 w 4076700"/>
                          <a:gd name="connsiteY11" fmla="*/ 381000 h 647700"/>
                          <a:gd name="connsiteX12" fmla="*/ 2819400 w 4076700"/>
                          <a:gd name="connsiteY12" fmla="*/ 373380 h 647700"/>
                          <a:gd name="connsiteX13" fmla="*/ 2903220 w 4076700"/>
                          <a:gd name="connsiteY13" fmla="*/ 342900 h 647700"/>
                          <a:gd name="connsiteX14" fmla="*/ 2933700 w 4076700"/>
                          <a:gd name="connsiteY14" fmla="*/ 350520 h 647700"/>
                          <a:gd name="connsiteX15" fmla="*/ 3131820 w 4076700"/>
                          <a:gd name="connsiteY15" fmla="*/ 205740 h 647700"/>
                          <a:gd name="connsiteX16" fmla="*/ 3261360 w 4076700"/>
                          <a:gd name="connsiteY16" fmla="*/ 205740 h 647700"/>
                          <a:gd name="connsiteX17" fmla="*/ 3314700 w 4076700"/>
                          <a:gd name="connsiteY17" fmla="*/ 182880 h 647700"/>
                          <a:gd name="connsiteX18" fmla="*/ 3352800 w 4076700"/>
                          <a:gd name="connsiteY18" fmla="*/ 106680 h 647700"/>
                          <a:gd name="connsiteX19" fmla="*/ 3413760 w 4076700"/>
                          <a:gd name="connsiteY19" fmla="*/ 106680 h 647700"/>
                          <a:gd name="connsiteX20" fmla="*/ 3474720 w 4076700"/>
                          <a:gd name="connsiteY20" fmla="*/ 60960 h 647700"/>
                          <a:gd name="connsiteX21" fmla="*/ 3482340 w 4076700"/>
                          <a:gd name="connsiteY21" fmla="*/ 53340 h 647700"/>
                          <a:gd name="connsiteX22" fmla="*/ 3756660 w 4076700"/>
                          <a:gd name="connsiteY22" fmla="*/ 30480 h 647700"/>
                          <a:gd name="connsiteX23" fmla="*/ 3810000 w 4076700"/>
                          <a:gd name="connsiteY23" fmla="*/ 22860 h 647700"/>
                          <a:gd name="connsiteX24" fmla="*/ 4076700 w 4076700"/>
                          <a:gd name="connsiteY24"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76700" h="647700">
                            <a:moveTo>
                              <a:pt x="0" y="647700"/>
                            </a:moveTo>
                            <a:lnTo>
                              <a:pt x="373380" y="617220"/>
                            </a:lnTo>
                            <a:lnTo>
                              <a:pt x="586740" y="586740"/>
                            </a:lnTo>
                            <a:lnTo>
                              <a:pt x="929640" y="525780"/>
                            </a:lnTo>
                            <a:lnTo>
                              <a:pt x="1066800" y="525780"/>
                            </a:lnTo>
                            <a:lnTo>
                              <a:pt x="1280160" y="495300"/>
                            </a:lnTo>
                            <a:lnTo>
                              <a:pt x="1455420" y="487680"/>
                            </a:lnTo>
                            <a:lnTo>
                              <a:pt x="1630680" y="449580"/>
                            </a:lnTo>
                            <a:lnTo>
                              <a:pt x="1889760" y="449580"/>
                            </a:lnTo>
                            <a:lnTo>
                              <a:pt x="1912620" y="426720"/>
                            </a:lnTo>
                            <a:lnTo>
                              <a:pt x="2286000" y="449580"/>
                            </a:lnTo>
                            <a:lnTo>
                              <a:pt x="2385060" y="381000"/>
                            </a:lnTo>
                            <a:lnTo>
                              <a:pt x="2819400" y="373380"/>
                            </a:lnTo>
                            <a:lnTo>
                              <a:pt x="2903220" y="342900"/>
                            </a:lnTo>
                            <a:lnTo>
                              <a:pt x="2933700" y="350520"/>
                            </a:lnTo>
                            <a:lnTo>
                              <a:pt x="3131820" y="205740"/>
                            </a:lnTo>
                            <a:lnTo>
                              <a:pt x="3261360" y="205740"/>
                            </a:lnTo>
                            <a:lnTo>
                              <a:pt x="3314700" y="182880"/>
                            </a:lnTo>
                            <a:lnTo>
                              <a:pt x="3352800" y="106680"/>
                            </a:lnTo>
                            <a:lnTo>
                              <a:pt x="3413760" y="106680"/>
                            </a:lnTo>
                            <a:lnTo>
                              <a:pt x="3474720" y="60960"/>
                            </a:lnTo>
                            <a:lnTo>
                              <a:pt x="3482340" y="53340"/>
                            </a:lnTo>
                            <a:lnTo>
                              <a:pt x="3756660" y="30480"/>
                            </a:lnTo>
                            <a:lnTo>
                              <a:pt x="3810000" y="22860"/>
                            </a:lnTo>
                            <a:lnTo>
                              <a:pt x="4076700" y="0"/>
                            </a:lnTo>
                          </a:path>
                        </a:pathLst>
                      </a:custGeom>
                      <a:noFill/>
                      <a:ln w="19050">
                        <a:solidFill>
                          <a:srgbClr val="B7D33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dirty="0">
                          <a:solidFill>
                            <a:srgbClr val="B7D332"/>
                          </a:solidFill>
                          <a:latin typeface="微软雅黑" panose="020B0503020204020204" pitchFamily="34" charset="-122"/>
                          <a:ea typeface="微软雅黑" panose="020B0503020204020204" pitchFamily="34" charset="-122"/>
                          <a:sym typeface="微软雅黑" panose="020B0503020204020204" pitchFamily="34" charset="-122"/>
                        </a:endParaRPr>
                      </a:p>
                    </p:txBody>
                  </p:sp>
                  <p:grpSp>
                    <p:nvGrpSpPr>
                      <p:cNvPr id="67" name="组合 66"/>
                      <p:cNvGrpSpPr/>
                      <p:nvPr/>
                    </p:nvGrpSpPr>
                    <p:grpSpPr>
                      <a:xfrm>
                        <a:off x="8178959" y="4052317"/>
                        <a:ext cx="86360" cy="1883665"/>
                        <a:chOff x="14272260" y="3574846"/>
                        <a:chExt cx="175260" cy="914400"/>
                      </a:xfrm>
                    </p:grpSpPr>
                    <p:cxnSp>
                      <p:nvCxnSpPr>
                        <p:cNvPr id="95" name="直接连接符 94"/>
                        <p:cNvCxnSpPr/>
                        <p:nvPr/>
                      </p:nvCxnSpPr>
                      <p:spPr>
                        <a:xfrm>
                          <a:off x="14272260" y="35748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nvCxnSpPr>
                      <p:spPr>
                        <a:xfrm>
                          <a:off x="14272260" y="3727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nvCxnSpPr>
                      <p:spPr>
                        <a:xfrm>
                          <a:off x="14272260" y="38796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8" name="直接连接符 97"/>
                        <p:cNvCxnSpPr/>
                        <p:nvPr/>
                      </p:nvCxnSpPr>
                      <p:spPr>
                        <a:xfrm>
                          <a:off x="14272260" y="40320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9" name="直接连接符 98"/>
                        <p:cNvCxnSpPr/>
                        <p:nvPr/>
                      </p:nvCxnSpPr>
                      <p:spPr>
                        <a:xfrm>
                          <a:off x="14272260" y="41844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0" name="直接连接符 99"/>
                        <p:cNvCxnSpPr/>
                        <p:nvPr/>
                      </p:nvCxnSpPr>
                      <p:spPr>
                        <a:xfrm>
                          <a:off x="14272260" y="43368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1" name="直接连接符 100"/>
                        <p:cNvCxnSpPr/>
                        <p:nvPr/>
                      </p:nvCxnSpPr>
                      <p:spPr>
                        <a:xfrm>
                          <a:off x="14272260" y="4489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68" name="组合 67"/>
                      <p:cNvGrpSpPr/>
                      <p:nvPr/>
                    </p:nvGrpSpPr>
                    <p:grpSpPr>
                      <a:xfrm rot="16200000">
                        <a:off x="10090786" y="4150238"/>
                        <a:ext cx="86360" cy="3709669"/>
                        <a:chOff x="14272258" y="2965246"/>
                        <a:chExt cx="175262" cy="1524000"/>
                      </a:xfrm>
                    </p:grpSpPr>
                    <p:cxnSp>
                      <p:nvCxnSpPr>
                        <p:cNvPr id="88" name="直接连接符 87"/>
                        <p:cNvCxnSpPr/>
                        <p:nvPr/>
                      </p:nvCxnSpPr>
                      <p:spPr>
                        <a:xfrm>
                          <a:off x="14272260" y="2965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9" name="直接连接符 88"/>
                        <p:cNvCxnSpPr/>
                        <p:nvPr/>
                      </p:nvCxnSpPr>
                      <p:spPr>
                        <a:xfrm>
                          <a:off x="14272258" y="3094168"/>
                          <a:ext cx="175261"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0" name="直接连接符 89"/>
                        <p:cNvCxnSpPr/>
                        <p:nvPr/>
                      </p:nvCxnSpPr>
                      <p:spPr>
                        <a:xfrm>
                          <a:off x="14272260" y="3345699"/>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1" name="直接连接符 90"/>
                        <p:cNvCxnSpPr/>
                        <p:nvPr/>
                      </p:nvCxnSpPr>
                      <p:spPr>
                        <a:xfrm>
                          <a:off x="14272260" y="3602238"/>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2" name="直接连接符 91"/>
                        <p:cNvCxnSpPr/>
                        <p:nvPr/>
                      </p:nvCxnSpPr>
                      <p:spPr>
                        <a:xfrm>
                          <a:off x="14272260" y="3855072"/>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3" name="直接连接符 92"/>
                        <p:cNvCxnSpPr/>
                        <p:nvPr/>
                      </p:nvCxnSpPr>
                      <p:spPr>
                        <a:xfrm>
                          <a:off x="14272260" y="4111285"/>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4" name="直接连接符 93"/>
                        <p:cNvCxnSpPr/>
                        <p:nvPr/>
                      </p:nvCxnSpPr>
                      <p:spPr>
                        <a:xfrm>
                          <a:off x="14272260" y="4489246"/>
                          <a:ext cx="17526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69" name="矩形 68"/>
                      <p:cNvSpPr/>
                      <p:nvPr/>
                    </p:nvSpPr>
                    <p:spPr>
                      <a:xfrm>
                        <a:off x="8568662" y="4048355"/>
                        <a:ext cx="1094135" cy="274062"/>
                      </a:xfrm>
                      <a:prstGeom prst="rect">
                        <a:avLst/>
                      </a:prstGeom>
                    </p:spPr>
                    <p:txBody>
                      <a:bodyPr wrap="none">
                        <a:spAutoFit/>
                      </a:bodyPr>
                      <a:lstStyle/>
                      <a:p>
                        <a:r>
                          <a:rPr lang="en-US" altLang="zh-CN" sz="11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P&lt;0.001</a:t>
                        </a:r>
                      </a:p>
                    </p:txBody>
                  </p:sp>
                  <p:sp>
                    <p:nvSpPr>
                      <p:cNvPr id="70" name="文本框 69"/>
                      <p:cNvSpPr txBox="1"/>
                      <p:nvPr/>
                    </p:nvSpPr>
                    <p:spPr>
                      <a:xfrm>
                        <a:off x="7571019" y="3897812"/>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6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1" name="文本框 70"/>
                      <p:cNvSpPr txBox="1"/>
                      <p:nvPr/>
                    </p:nvSpPr>
                    <p:spPr>
                      <a:xfrm>
                        <a:off x="7571019" y="4220995"/>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5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2" name="文本框 71"/>
                      <p:cNvSpPr txBox="1"/>
                      <p:nvPr/>
                    </p:nvSpPr>
                    <p:spPr>
                      <a:xfrm>
                        <a:off x="7676230" y="4530177"/>
                        <a:ext cx="560810" cy="274062"/>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4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3" name="文本框 72"/>
                      <p:cNvSpPr txBox="1"/>
                      <p:nvPr/>
                    </p:nvSpPr>
                    <p:spPr>
                      <a:xfrm>
                        <a:off x="7571019" y="4827506"/>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3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4" name="文本框 73"/>
                      <p:cNvSpPr txBox="1"/>
                      <p:nvPr/>
                    </p:nvSpPr>
                    <p:spPr>
                      <a:xfrm>
                        <a:off x="7571019" y="5157401"/>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2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5" name="文本框 74"/>
                      <p:cNvSpPr txBox="1"/>
                      <p:nvPr/>
                    </p:nvSpPr>
                    <p:spPr>
                      <a:xfrm>
                        <a:off x="7571019" y="5476771"/>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6" name="文本框 75"/>
                      <p:cNvSpPr txBox="1"/>
                      <p:nvPr/>
                    </p:nvSpPr>
                    <p:spPr>
                      <a:xfrm>
                        <a:off x="7571019" y="5790714"/>
                        <a:ext cx="666020" cy="271053"/>
                      </a:xfrm>
                      <a:prstGeom prst="rect">
                        <a:avLst/>
                      </a:prstGeom>
                      <a:noFill/>
                    </p:spPr>
                    <p:txBody>
                      <a:bodyPr wrap="square" rtlCol="0">
                        <a:spAutoFit/>
                      </a:bodyPr>
                      <a:lstStyle/>
                      <a:p>
                        <a:pPr algn="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7" name="文本框 76"/>
                      <p:cNvSpPr txBox="1"/>
                      <p:nvPr/>
                    </p:nvSpPr>
                    <p:spPr>
                      <a:xfrm>
                        <a:off x="8129933" y="6001068"/>
                        <a:ext cx="298396" cy="271053"/>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8" name="文本框 77"/>
                      <p:cNvSpPr txBox="1"/>
                      <p:nvPr/>
                    </p:nvSpPr>
                    <p:spPr>
                      <a:xfrm>
                        <a:off x="8444260" y="6001068"/>
                        <a:ext cx="298396" cy="271053"/>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2</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79" name="文本框 78"/>
                      <p:cNvSpPr txBox="1"/>
                      <p:nvPr/>
                    </p:nvSpPr>
                    <p:spPr>
                      <a:xfrm>
                        <a:off x="9065038" y="6001068"/>
                        <a:ext cx="298396" cy="271053"/>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6</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0" name="文本框 79"/>
                      <p:cNvSpPr txBox="1"/>
                      <p:nvPr/>
                    </p:nvSpPr>
                    <p:spPr>
                      <a:xfrm>
                        <a:off x="9542754"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0</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1" name="文本框 80"/>
                      <p:cNvSpPr txBox="1"/>
                      <p:nvPr/>
                    </p:nvSpPr>
                    <p:spPr>
                      <a:xfrm>
                        <a:off x="10155166"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4</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2" name="文本框 81"/>
                      <p:cNvSpPr txBox="1"/>
                      <p:nvPr/>
                    </p:nvSpPr>
                    <p:spPr>
                      <a:xfrm>
                        <a:off x="10778830"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18</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3" name="文本框 82"/>
                      <p:cNvSpPr txBox="1"/>
                      <p:nvPr/>
                    </p:nvSpPr>
                    <p:spPr>
                      <a:xfrm>
                        <a:off x="11693313" y="6007460"/>
                        <a:ext cx="562199" cy="257149"/>
                      </a:xfrm>
                      <a:prstGeom prst="rect">
                        <a:avLst/>
                      </a:prstGeom>
                      <a:noFill/>
                    </p:spPr>
                    <p:txBody>
                      <a:bodyPr wrap="square" rtlCol="0">
                        <a:spAutoFit/>
                      </a:bodyPr>
                      <a:lstStyle/>
                      <a:p>
                        <a:pPr algn="ctr"/>
                        <a:r>
                          <a:rPr lang="en-US" altLang="zh-CN" sz="1100" dirty="0">
                            <a:latin typeface="微软雅黑" panose="020B0503020204020204" pitchFamily="34" charset="-122"/>
                            <a:ea typeface="微软雅黑" panose="020B0503020204020204" pitchFamily="34" charset="-122"/>
                            <a:sym typeface="微软雅黑" panose="020B0503020204020204" pitchFamily="34" charset="-122"/>
                          </a:rPr>
                          <a:t>24</a:t>
                        </a:r>
                        <a:endParaRPr lang="zh-CN" altLang="en-US" sz="1100" dirty="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4" name="文本框 83"/>
                      <p:cNvSpPr txBox="1"/>
                      <p:nvPr/>
                    </p:nvSpPr>
                    <p:spPr>
                      <a:xfrm>
                        <a:off x="11922852" y="5413339"/>
                        <a:ext cx="1322906" cy="272276"/>
                      </a:xfrm>
                      <a:prstGeom prst="rect">
                        <a:avLst/>
                      </a:prstGeom>
                      <a:noFill/>
                    </p:spPr>
                    <p:txBody>
                      <a:bodyPr wrap="square" rtlCol="0">
                        <a:spAutoFit/>
                      </a:bodyPr>
                      <a:lstStyle/>
                      <a:p>
                        <a:pPr algn="ctr"/>
                        <a:r>
                          <a:rPr lang="zh-CN" altLang="en-US" sz="1200" b="1" dirty="0">
                            <a:solidFill>
                              <a:srgbClr val="B7D332"/>
                            </a:solidFill>
                            <a:latin typeface="微软雅黑" panose="020B0503020204020204" pitchFamily="34" charset="-122"/>
                            <a:ea typeface="微软雅黑" panose="020B0503020204020204" pitchFamily="34" charset="-122"/>
                            <a:sym typeface="微软雅黑" panose="020B0503020204020204" pitchFamily="34" charset="-122"/>
                          </a:rPr>
                          <a:t>来特莫韦</a:t>
                        </a:r>
                      </a:p>
                    </p:txBody>
                  </p:sp>
                  <p:sp>
                    <p:nvSpPr>
                      <p:cNvPr id="85" name="文本框 84"/>
                      <p:cNvSpPr txBox="1"/>
                      <p:nvPr/>
                    </p:nvSpPr>
                    <p:spPr>
                      <a:xfrm>
                        <a:off x="12003351" y="4070999"/>
                        <a:ext cx="873047" cy="249586"/>
                      </a:xfrm>
                      <a:prstGeom prst="rect">
                        <a:avLst/>
                      </a:prstGeom>
                      <a:noFill/>
                    </p:spPr>
                    <p:txBody>
                      <a:bodyPr wrap="square" rtlCol="0">
                        <a:spAutoFit/>
                      </a:bodyPr>
                      <a:lstStyle/>
                      <a:p>
                        <a:r>
                          <a:rPr lang="zh-CN" altLang="en-US" sz="1050" b="1" dirty="0">
                            <a:latin typeface="Arial" panose="020B0604020202020204" pitchFamily="34" charset="0"/>
                            <a:ea typeface="微软雅黑" panose="020B0503020204020204" pitchFamily="34" charset="-122"/>
                            <a:cs typeface="+mn-ea"/>
                            <a:sym typeface="微软雅黑" panose="020B0503020204020204" pitchFamily="34" charset="-122"/>
                          </a:rPr>
                          <a:t>安慰剂</a:t>
                        </a:r>
                      </a:p>
                    </p:txBody>
                  </p:sp>
                  <p:sp>
                    <p:nvSpPr>
                      <p:cNvPr id="86" name="文本框 85"/>
                      <p:cNvSpPr txBox="1"/>
                      <p:nvPr/>
                    </p:nvSpPr>
                    <p:spPr>
                      <a:xfrm>
                        <a:off x="9537785" y="6244702"/>
                        <a:ext cx="1810077" cy="242023"/>
                      </a:xfrm>
                      <a:prstGeom prst="rect">
                        <a:avLst/>
                      </a:prstGeom>
                      <a:noFill/>
                    </p:spPr>
                    <p:txBody>
                      <a:bodyPr wrap="square" rtlCol="0">
                        <a:spAutoFit/>
                      </a:bodyPr>
                      <a:lstStyle/>
                      <a:p>
                        <a:pPr algn="ctr"/>
                        <a:r>
                          <a:rPr lang="zh-CN" altLang="en-US" sz="1000" spc="14" dirty="0">
                            <a:solidFill>
                              <a:srgbClr val="000000"/>
                            </a:solidFill>
                            <a:latin typeface="Arial" panose="020B0604020202020204" pitchFamily="34" charset="0"/>
                            <a:ea typeface="微软雅黑" panose="020B0503020204020204" pitchFamily="34" charset="-122"/>
                            <a:cs typeface="+mn-ea"/>
                            <a:sym typeface="微软雅黑" panose="020B0503020204020204" pitchFamily="34" charset="-122"/>
                          </a:rPr>
                          <a:t>自移植之后，周</a:t>
                        </a:r>
                      </a:p>
                    </p:txBody>
                  </p:sp>
                  <p:sp>
                    <p:nvSpPr>
                      <p:cNvPr id="87" name="文本框 86"/>
                      <p:cNvSpPr txBox="1"/>
                      <p:nvPr/>
                    </p:nvSpPr>
                    <p:spPr>
                      <a:xfrm rot="16200000">
                        <a:off x="6575499" y="4546149"/>
                        <a:ext cx="1938407" cy="356716"/>
                      </a:xfrm>
                      <a:prstGeom prst="rect">
                        <a:avLst/>
                      </a:prstGeom>
                      <a:noFill/>
                    </p:spPr>
                    <p:txBody>
                      <a:bodyPr wrap="square" rtlCol="0">
                        <a:spAutoFit/>
                      </a:bodyPr>
                      <a:lstStyle/>
                      <a:p>
                        <a:pPr algn="ctr">
                          <a:lnSpc>
                            <a:spcPct val="120000"/>
                          </a:lnSpc>
                        </a:pPr>
                        <a:r>
                          <a:rPr lang="zh-CN" altLang="en-US" sz="1000" dirty="0">
                            <a:solidFill>
                              <a:srgbClr val="000000"/>
                            </a:solidFill>
                            <a:latin typeface="Arial" panose="020B0604020202020204" pitchFamily="34" charset="0"/>
                            <a:ea typeface="微软雅黑" panose="020B0503020204020204" pitchFamily="34" charset="-122"/>
                            <a:cs typeface="+mn-ea"/>
                            <a:sym typeface="微软雅黑" panose="020B0503020204020204" pitchFamily="34" charset="-122"/>
                          </a:rPr>
                          <a:t>累积率，</a:t>
                        </a:r>
                        <a:r>
                          <a:rPr lang="en-US" altLang="zh-CN" sz="1000" dirty="0">
                            <a:solidFill>
                              <a:srgbClr val="000000"/>
                            </a:solidFill>
                            <a:latin typeface="Arial" panose="020B0604020202020204" pitchFamily="34" charset="0"/>
                            <a:ea typeface="微软雅黑" panose="020B0503020204020204" pitchFamily="34" charset="-122"/>
                            <a:cs typeface="+mn-ea"/>
                            <a:sym typeface="微软雅黑" panose="020B0503020204020204" pitchFamily="34" charset="-122"/>
                          </a:rPr>
                          <a:t>%</a:t>
                        </a:r>
                      </a:p>
                    </p:txBody>
                  </p:sp>
                </p:grpSp>
                <p:sp>
                  <p:nvSpPr>
                    <p:cNvPr id="58" name="Freeform 394"/>
                    <p:cNvSpPr/>
                    <p:nvPr/>
                  </p:nvSpPr>
                  <p:spPr>
                    <a:xfrm>
                      <a:off x="12040878" y="3899846"/>
                      <a:ext cx="8510" cy="1679799"/>
                    </a:xfrm>
                    <a:custGeom>
                      <a:avLst/>
                      <a:gdLst>
                        <a:gd name="connsiteX0" fmla="*/ 4571 w 9144"/>
                        <a:gd name="connsiteY0" fmla="*/ 2089657 h 2094229"/>
                        <a:gd name="connsiteX1" fmla="*/ 4571 w 9144"/>
                        <a:gd name="connsiteY1" fmla="*/ 4571 h 2094229"/>
                      </a:gdLst>
                      <a:ahLst/>
                      <a:cxnLst>
                        <a:cxn ang="0">
                          <a:pos x="connsiteX0" y="connsiteY0"/>
                        </a:cxn>
                        <a:cxn ang="0">
                          <a:pos x="connsiteX1" y="connsiteY1"/>
                        </a:cxn>
                      </a:cxnLst>
                      <a:rect l="l" t="t" r="r" b="b"/>
                      <a:pathLst>
                        <a:path w="9144" h="2094229">
                          <a:moveTo>
                            <a:pt x="4571" y="2089657"/>
                          </a:moveTo>
                          <a:lnTo>
                            <a:pt x="4571" y="4571"/>
                          </a:lnTo>
                        </a:path>
                      </a:pathLst>
                    </a:custGeom>
                    <a:ln w="14">
                      <a:solidFill>
                        <a:srgbClr val="808080">
                          <a:alpha val="100000"/>
                        </a:srgb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59" name="TextBox 413"/>
                    <p:cNvSpPr txBox="1"/>
                    <p:nvPr/>
                  </p:nvSpPr>
                  <p:spPr>
                    <a:xfrm>
                      <a:off x="12240195" y="4287469"/>
                      <a:ext cx="765031" cy="138938"/>
                    </a:xfrm>
                    <a:prstGeom prst="rect">
                      <a:avLst/>
                    </a:prstGeom>
                    <a:noFill/>
                  </p:spPr>
                  <p:txBody>
                    <a:bodyPr wrap="square" lIns="0" tIns="0" rIns="0" bIns="0" rtlCol="0">
                      <a:spAutoFit/>
                    </a:bodyPr>
                    <a:lstStyle/>
                    <a:p>
                      <a:pPr>
                        <a:lnSpc>
                          <a:spcPct val="98000"/>
                        </a:lnSpc>
                      </a:pPr>
                      <a:r>
                        <a:rPr lang="en-US" altLang="zh-CN" sz="1200" b="1" spc="-9" dirty="0">
                          <a:latin typeface="微软雅黑" panose="020B0503020204020204" pitchFamily="34" charset="-122"/>
                          <a:ea typeface="微软雅黑" panose="020B0503020204020204" pitchFamily="34" charset="-122"/>
                          <a:cs typeface="+mn-ea"/>
                          <a:sym typeface="微软雅黑" panose="020B0503020204020204" pitchFamily="34" charset="-122"/>
                        </a:rPr>
                        <a:t>4</a:t>
                      </a:r>
                      <a:r>
                        <a:rPr lang="en-US" altLang="zh-CN" sz="1200" b="1" dirty="0">
                          <a:latin typeface="微软雅黑" panose="020B0503020204020204" pitchFamily="34" charset="-122"/>
                          <a:ea typeface="微软雅黑" panose="020B0503020204020204" pitchFamily="34" charset="-122"/>
                          <a:cs typeface="+mn-ea"/>
                          <a:sym typeface="微软雅黑" panose="020B0503020204020204" pitchFamily="34" charset="-122"/>
                        </a:rPr>
                        <a:t>4.3%</a:t>
                      </a:r>
                    </a:p>
                  </p:txBody>
                </p:sp>
                <p:sp>
                  <p:nvSpPr>
                    <p:cNvPr id="60" name="TextBox 413"/>
                    <p:cNvSpPr txBox="1"/>
                    <p:nvPr/>
                  </p:nvSpPr>
                  <p:spPr>
                    <a:xfrm>
                      <a:off x="12113643" y="4874651"/>
                      <a:ext cx="742598" cy="148076"/>
                    </a:xfrm>
                    <a:prstGeom prst="rect">
                      <a:avLst/>
                    </a:prstGeom>
                    <a:noFill/>
                  </p:spPr>
                  <p:txBody>
                    <a:bodyPr wrap="square" lIns="0" tIns="0" rIns="0" bIns="0" rtlCol="0">
                      <a:spAutoFit/>
                    </a:bodyPr>
                    <a:lstStyle/>
                    <a:p>
                      <a:pPr>
                        <a:lnSpc>
                          <a:spcPct val="98000"/>
                        </a:lnSpc>
                      </a:pPr>
                      <a:r>
                        <a:rPr lang="en-US" altLang="zh-CN" sz="1200" b="1" spc="-9"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18.9</a:t>
                      </a:r>
                      <a:r>
                        <a:rPr lang="en-US" altLang="zh-CN" sz="1200" b="1"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a:t>
                      </a:r>
                    </a:p>
                  </p:txBody>
                </p:sp>
                <p:sp>
                  <p:nvSpPr>
                    <p:cNvPr id="61" name="Freeform 394"/>
                    <p:cNvSpPr/>
                    <p:nvPr/>
                  </p:nvSpPr>
                  <p:spPr>
                    <a:xfrm>
                      <a:off x="10517474" y="3899846"/>
                      <a:ext cx="8510" cy="1679799"/>
                    </a:xfrm>
                    <a:custGeom>
                      <a:avLst/>
                      <a:gdLst>
                        <a:gd name="connsiteX0" fmla="*/ 4571 w 9144"/>
                        <a:gd name="connsiteY0" fmla="*/ 2089657 h 2094229"/>
                        <a:gd name="connsiteX1" fmla="*/ 4571 w 9144"/>
                        <a:gd name="connsiteY1" fmla="*/ 4571 h 2094229"/>
                      </a:gdLst>
                      <a:ahLst/>
                      <a:cxnLst>
                        <a:cxn ang="0">
                          <a:pos x="connsiteX0" y="connsiteY0"/>
                        </a:cxn>
                        <a:cxn ang="0">
                          <a:pos x="connsiteX1" y="connsiteY1"/>
                        </a:cxn>
                      </a:cxnLst>
                      <a:rect l="l" t="t" r="r" b="b"/>
                      <a:pathLst>
                        <a:path w="9144" h="2094229">
                          <a:moveTo>
                            <a:pt x="4571" y="2089657"/>
                          </a:moveTo>
                          <a:lnTo>
                            <a:pt x="4571" y="4571"/>
                          </a:lnTo>
                        </a:path>
                      </a:pathLst>
                    </a:custGeom>
                    <a:ln w="14">
                      <a:solidFill>
                        <a:srgbClr val="808080">
                          <a:alpha val="100000"/>
                        </a:srgbClr>
                      </a:solidFill>
                      <a:prstDash val="dash"/>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1600" dirty="0">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sp>
                  <p:nvSpPr>
                    <p:cNvPr id="62" name="TextBox 413"/>
                    <p:cNvSpPr txBox="1"/>
                    <p:nvPr/>
                  </p:nvSpPr>
                  <p:spPr>
                    <a:xfrm>
                      <a:off x="9851746" y="4371305"/>
                      <a:ext cx="765032" cy="138938"/>
                    </a:xfrm>
                    <a:prstGeom prst="rect">
                      <a:avLst/>
                    </a:prstGeom>
                    <a:noFill/>
                  </p:spPr>
                  <p:txBody>
                    <a:bodyPr wrap="square" lIns="0" tIns="0" rIns="0" bIns="0" rtlCol="0">
                      <a:spAutoFit/>
                    </a:bodyPr>
                    <a:lstStyle/>
                    <a:p>
                      <a:pPr>
                        <a:lnSpc>
                          <a:spcPct val="98000"/>
                        </a:lnSpc>
                      </a:pPr>
                      <a:r>
                        <a:rPr lang="en-US" altLang="zh-CN" sz="1200" b="1" spc="-9" dirty="0">
                          <a:latin typeface="微软雅黑" panose="020B0503020204020204" pitchFamily="34" charset="-122"/>
                          <a:ea typeface="微软雅黑" panose="020B0503020204020204" pitchFamily="34" charset="-122"/>
                          <a:cs typeface="+mn-ea"/>
                          <a:sym typeface="微软雅黑" panose="020B0503020204020204" pitchFamily="34" charset="-122"/>
                        </a:rPr>
                        <a:t>4</a:t>
                      </a:r>
                      <a:r>
                        <a:rPr lang="en-US" altLang="zh-CN" sz="1200" b="1" dirty="0">
                          <a:latin typeface="微软雅黑" panose="020B0503020204020204" pitchFamily="34" charset="-122"/>
                          <a:ea typeface="微软雅黑" panose="020B0503020204020204" pitchFamily="34" charset="-122"/>
                          <a:cs typeface="+mn-ea"/>
                          <a:sym typeface="微软雅黑" panose="020B0503020204020204" pitchFamily="34" charset="-122"/>
                        </a:rPr>
                        <a:t>1.3%</a:t>
                      </a:r>
                    </a:p>
                  </p:txBody>
                </p:sp>
                <p:sp>
                  <p:nvSpPr>
                    <p:cNvPr id="63" name="TextBox 413"/>
                    <p:cNvSpPr txBox="1"/>
                    <p:nvPr/>
                  </p:nvSpPr>
                  <p:spPr>
                    <a:xfrm>
                      <a:off x="9998152" y="5173992"/>
                      <a:ext cx="607407" cy="148076"/>
                    </a:xfrm>
                    <a:prstGeom prst="rect">
                      <a:avLst/>
                    </a:prstGeom>
                    <a:noFill/>
                  </p:spPr>
                  <p:txBody>
                    <a:bodyPr wrap="square" lIns="0" tIns="0" rIns="0" bIns="0" rtlCol="0">
                      <a:spAutoFit/>
                    </a:bodyPr>
                    <a:lstStyle/>
                    <a:p>
                      <a:pPr>
                        <a:lnSpc>
                          <a:spcPct val="98000"/>
                        </a:lnSpc>
                      </a:pPr>
                      <a:r>
                        <a:rPr lang="en-US" altLang="zh-CN" sz="1200" b="1" spc="-9"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6.8</a:t>
                      </a:r>
                      <a:r>
                        <a:rPr lang="en-US" altLang="zh-CN" sz="1200" b="1" dirty="0">
                          <a:solidFill>
                            <a:srgbClr val="FF0000"/>
                          </a:solidFill>
                          <a:latin typeface="微软雅黑" panose="020B0503020204020204" pitchFamily="34" charset="-122"/>
                          <a:ea typeface="微软雅黑" panose="020B0503020204020204" pitchFamily="34" charset="-122"/>
                          <a:cs typeface="+mn-ea"/>
                          <a:sym typeface="微软雅黑" panose="020B0503020204020204" pitchFamily="34" charset="-122"/>
                        </a:rPr>
                        <a:t>%</a:t>
                      </a:r>
                    </a:p>
                  </p:txBody>
                </p:sp>
              </p:grpSp>
              <p:sp>
                <p:nvSpPr>
                  <p:cNvPr id="55" name="椭圆 54"/>
                  <p:cNvSpPr/>
                  <p:nvPr/>
                </p:nvSpPr>
                <p:spPr>
                  <a:xfrm>
                    <a:off x="6394673" y="4678708"/>
                    <a:ext cx="109110" cy="86168"/>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6" name="椭圆 55"/>
                  <p:cNvSpPr/>
                  <p:nvPr/>
                </p:nvSpPr>
                <p:spPr>
                  <a:xfrm>
                    <a:off x="6394673" y="3802627"/>
                    <a:ext cx="109110" cy="86168"/>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52" name="椭圆 51"/>
                <p:cNvSpPr/>
                <p:nvPr/>
              </p:nvSpPr>
              <p:spPr>
                <a:xfrm>
                  <a:off x="8826940" y="5030576"/>
                  <a:ext cx="74995" cy="79421"/>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53" name="椭圆 52"/>
                <p:cNvSpPr/>
                <p:nvPr/>
              </p:nvSpPr>
              <p:spPr>
                <a:xfrm>
                  <a:off x="8826940" y="3843084"/>
                  <a:ext cx="74995" cy="79421"/>
                </a:xfrm>
                <a:prstGeom prst="ellipse">
                  <a:avLst/>
                </a:prstGeom>
                <a:solidFill>
                  <a:srgbClr val="C00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600">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50" name="TextBox 413"/>
              <p:cNvSpPr txBox="1"/>
              <p:nvPr/>
            </p:nvSpPr>
            <p:spPr>
              <a:xfrm>
                <a:off x="10968417" y="5856405"/>
                <a:ext cx="1362386" cy="294681"/>
              </a:xfrm>
              <a:prstGeom prst="rect">
                <a:avLst/>
              </a:prstGeom>
              <a:noFill/>
            </p:spPr>
            <p:txBody>
              <a:bodyPr wrap="square" lIns="0" tIns="0" rIns="0" bIns="0" rtlCol="0">
                <a:spAutoFit/>
              </a:bodyPr>
              <a:lstStyle/>
              <a:p>
                <a:pPr algn="ctr">
                  <a:lnSpc>
                    <a:spcPct val="98000"/>
                  </a:lnSpc>
                </a:pPr>
                <a:r>
                  <a:rPr lang="en-US" altLang="zh-CN" sz="1200" b="1" spc="-9"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rPr>
                  <a:t>83.5%</a:t>
                </a:r>
                <a:endParaRPr lang="en-US" altLang="zh-CN" sz="1200" b="1" dirty="0">
                  <a:solidFill>
                    <a:schemeClr val="bg1"/>
                  </a:solidFill>
                  <a:latin typeface="微软雅黑" panose="020B0503020204020204" pitchFamily="34" charset="-122"/>
                  <a:ea typeface="微软雅黑" panose="020B0503020204020204" pitchFamily="34" charset="-122"/>
                  <a:cs typeface="+mn-ea"/>
                  <a:sym typeface="微软雅黑" panose="020B0503020204020204" pitchFamily="34" charset="-122"/>
                </a:endParaRPr>
              </a:p>
            </p:txBody>
          </p:sp>
        </p:grpSp>
      </p:grpSp>
      <p:sp>
        <p:nvSpPr>
          <p:cNvPr id="104" name="文本框 103">
            <a:extLst>
              <a:ext uri="{FF2B5EF4-FFF2-40B4-BE49-F238E27FC236}">
                <a16:creationId xmlns:a16="http://schemas.microsoft.com/office/drawing/2014/main" id="{9FC29032-B2FD-40F4-A7DD-30AD3CD1846B}"/>
              </a:ext>
            </a:extLst>
          </p:cNvPr>
          <p:cNvSpPr txBox="1"/>
          <p:nvPr/>
        </p:nvSpPr>
        <p:spPr>
          <a:xfrm>
            <a:off x="5614982" y="5469851"/>
            <a:ext cx="1529485" cy="261610"/>
          </a:xfrm>
          <a:prstGeom prst="rect">
            <a:avLst/>
          </a:prstGeom>
          <a:noFill/>
        </p:spPr>
        <p:txBody>
          <a:bodyPr wrap="square">
            <a:spAutoFit/>
          </a:bodyPr>
          <a:lstStyle/>
          <a:p>
            <a:r>
              <a:rPr lang="en-US" sz="1050" dirty="0">
                <a:solidFill>
                  <a:srgbClr val="242424"/>
                </a:solidFill>
                <a:effectLst/>
                <a:latin typeface="-apple-system"/>
              </a:rPr>
              <a:t>Kaplan–Meier</a:t>
            </a:r>
            <a:r>
              <a:rPr lang="zh-CN" altLang="en-US" sz="1050" dirty="0">
                <a:solidFill>
                  <a:srgbClr val="242424"/>
                </a:solidFill>
                <a:effectLst/>
                <a:latin typeface="-apple-system"/>
              </a:rPr>
              <a:t>曲线图</a:t>
            </a:r>
            <a:endParaRPr lang="en-US" sz="1050" dirty="0"/>
          </a:p>
        </p:txBody>
      </p:sp>
    </p:spTree>
    <p:extLst>
      <p:ext uri="{BB962C8B-B14F-4D97-AF65-F5344CB8AC3E}">
        <p14:creationId xmlns:p14="http://schemas.microsoft.com/office/powerpoint/2010/main" val="387335273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对象 7" hidden="1">
            <a:extLst>
              <a:ext uri="{FF2B5EF4-FFF2-40B4-BE49-F238E27FC236}">
                <a16:creationId xmlns:a16="http://schemas.microsoft.com/office/drawing/2014/main" id="{038F45FE-F4EC-4C67-AF0A-D2FA0E8FC7FC}"/>
              </a:ext>
            </a:extLst>
          </p:cNvPr>
          <p:cNvGraphicFramePr>
            <a:graphicFrameLocks noChangeAspect="1"/>
          </p:cNvGraphicFramePr>
          <p:nvPr>
            <p:custDataLst>
              <p:tags r:id="rId1"/>
            </p:custDataLst>
            <p:extLst>
              <p:ext uri="{D42A27DB-BD31-4B8C-83A1-F6EECF244321}">
                <p14:modId xmlns:p14="http://schemas.microsoft.com/office/powerpoint/2010/main" val="129999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16" imgH="416" progId="TCLayout.ActiveDocument.1">
                  <p:embed/>
                </p:oleObj>
              </mc:Choice>
              <mc:Fallback>
                <p:oleObj name="think-cell 幻灯片" r:id="rId4" imgW="416" imgH="416" progId="TCLayout.ActiveDocument.1">
                  <p:embed/>
                  <p:pic>
                    <p:nvPicPr>
                      <p:cNvPr id="8" name="对象 7" hidden="1">
                        <a:extLst>
                          <a:ext uri="{FF2B5EF4-FFF2-40B4-BE49-F238E27FC236}">
                            <a16:creationId xmlns:a16="http://schemas.microsoft.com/office/drawing/2014/main" id="{038F45FE-F4EC-4C67-AF0A-D2FA0E8FC7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标题 1">
            <a:extLst>
              <a:ext uri="{FF2B5EF4-FFF2-40B4-BE49-F238E27FC236}">
                <a16:creationId xmlns:a16="http://schemas.microsoft.com/office/drawing/2014/main" id="{4D450375-5D30-467E-8C7A-3DDE34A8CBED}"/>
              </a:ext>
            </a:extLst>
          </p:cNvPr>
          <p:cNvSpPr>
            <a:spLocks noGrp="1"/>
          </p:cNvSpPr>
          <p:nvPr>
            <p:ph type="title"/>
          </p:nvPr>
        </p:nvSpPr>
        <p:spPr/>
        <p:txBody>
          <a:bodyPr vert="horz"/>
          <a:lstStyle/>
          <a:p>
            <a:r>
              <a:rPr lang="en-US" altLang="zh-CN" dirty="0">
                <a:latin typeface="Arial" panose="020B0604020202020204" pitchFamily="34" charset="0"/>
                <a:sym typeface="Arial" panose="020B0604020202020204" pitchFamily="34" charset="0"/>
              </a:rPr>
              <a:t>03 </a:t>
            </a:r>
            <a:r>
              <a:rPr lang="zh-CN" altLang="en-US" dirty="0">
                <a:latin typeface="Arial" panose="020B0604020202020204" pitchFamily="34" charset="0"/>
                <a:sym typeface="Arial" panose="020B0604020202020204" pitchFamily="34" charset="0"/>
              </a:rPr>
              <a:t>有效性</a:t>
            </a:r>
          </a:p>
        </p:txBody>
      </p:sp>
      <p:sp>
        <p:nvSpPr>
          <p:cNvPr id="4" name="灯片编号占位符 3">
            <a:extLst>
              <a:ext uri="{FF2B5EF4-FFF2-40B4-BE49-F238E27FC236}">
                <a16:creationId xmlns:a16="http://schemas.microsoft.com/office/drawing/2014/main" id="{997E47CA-CC93-46D3-97E5-9A3022F59446}"/>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7</a:t>
            </a:fld>
            <a:endParaRPr lang="en-GB">
              <a:latin typeface="Arial" panose="020B0604020202020204" pitchFamily="34" charset="0"/>
              <a:ea typeface="微软雅黑" panose="020B0503020204020204" pitchFamily="34" charset="-122"/>
              <a:sym typeface="Arial" panose="020B0604020202020204" pitchFamily="34" charset="0"/>
            </a:endParaRPr>
          </a:p>
        </p:txBody>
      </p:sp>
      <p:sp>
        <p:nvSpPr>
          <p:cNvPr id="6" name="内容占位符 2">
            <a:extLst>
              <a:ext uri="{FF2B5EF4-FFF2-40B4-BE49-F238E27FC236}">
                <a16:creationId xmlns:a16="http://schemas.microsoft.com/office/drawing/2014/main" id="{43DC84BD-8AF0-4A3C-9899-B37B7987304B}"/>
              </a:ext>
            </a:extLst>
          </p:cNvPr>
          <p:cNvSpPr txBox="1">
            <a:spLocks/>
          </p:cNvSpPr>
          <p:nvPr/>
        </p:nvSpPr>
        <p:spPr>
          <a:xfrm>
            <a:off x="348303" y="1115103"/>
            <a:ext cx="5908208" cy="488724"/>
          </a:xfrm>
          <a:prstGeom prst="rect">
            <a:avLst/>
          </a:prstGeom>
        </p:spPr>
        <p:txBody>
          <a:bodyPr vert="horz" wrap="square" lIns="0" tIns="0" rIns="0" bIns="0" rtlCol="0" anchor="ctr">
            <a:spAutoFit/>
          </a:bodyPr>
          <a:lstStyle>
            <a:lvl1pPr marL="0" indent="0" algn="l" defTabSz="914400" rtl="0" eaLnBrk="1" latinLnBrk="0" hangingPunct="1">
              <a:lnSpc>
                <a:spcPct val="100000"/>
              </a:lnSpc>
              <a:spcBef>
                <a:spcPts val="0"/>
              </a:spcBef>
              <a:spcAft>
                <a:spcPts val="1600"/>
              </a:spcAft>
              <a:buFont typeface="Arial" panose="020B0604020202020204" pitchFamily="34" charset="0"/>
              <a:buNone/>
              <a:defRPr sz="1200" kern="1200">
                <a:solidFill>
                  <a:schemeClr val="accent4"/>
                </a:solidFill>
                <a:latin typeface="微软雅黑" panose="020B0503020204020204" pitchFamily="34" charset="-122"/>
                <a:ea typeface="微软雅黑" panose="020B0503020204020204" pitchFamily="34" charset="-122"/>
                <a:cs typeface="+mn-cs"/>
              </a:defRPr>
            </a:lvl1pPr>
            <a:lvl2pPr marL="0" indent="0" algn="l" defTabSz="914400" rtl="0" eaLnBrk="1" latinLnBrk="0" hangingPunct="1">
              <a:lnSpc>
                <a:spcPct val="100000"/>
              </a:lnSpc>
              <a:spcBef>
                <a:spcPts val="0"/>
              </a:spcBef>
              <a:spcAft>
                <a:spcPts val="0"/>
              </a:spcAft>
              <a:buFont typeface="Arial" panose="020B0604020202020204" pitchFamily="34" charset="0"/>
              <a:buNone/>
              <a:defRPr sz="1600" b="0" kern="1200">
                <a:solidFill>
                  <a:schemeClr val="accent4"/>
                </a:solidFill>
                <a:latin typeface="微软雅黑" panose="020B0503020204020204" pitchFamily="34" charset="-122"/>
                <a:ea typeface="微软雅黑" panose="020B0503020204020204" pitchFamily="34" charset="-122"/>
                <a:cs typeface="+mn-cs"/>
              </a:defRPr>
            </a:lvl2pPr>
            <a:lvl3pPr marL="0" indent="0" algn="l" defTabSz="914400" rtl="0" eaLnBrk="1" latinLnBrk="0" hangingPunct="1">
              <a:lnSpc>
                <a:spcPct val="100000"/>
              </a:lnSpc>
              <a:spcBef>
                <a:spcPts val="0"/>
              </a:spcBef>
              <a:spcAft>
                <a:spcPts val="3400"/>
              </a:spcAft>
              <a:buFont typeface="Arial" panose="020B0604020202020204" pitchFamily="34" charset="0"/>
              <a:buNone/>
              <a:defRPr sz="1200" b="1" kern="1200">
                <a:solidFill>
                  <a:schemeClr val="accent1"/>
                </a:solidFill>
                <a:latin typeface="微软雅黑" panose="020B0503020204020204" pitchFamily="34" charset="-122"/>
                <a:ea typeface="微软雅黑" panose="020B0503020204020204" pitchFamily="34" charset="-122"/>
                <a:cs typeface="+mn-cs"/>
              </a:defRPr>
            </a:lvl3pPr>
            <a:lvl4pPr marL="0" indent="0" algn="l" defTabSz="914400" rtl="0" eaLnBrk="1" latinLnBrk="0" hangingPunct="1">
              <a:lnSpc>
                <a:spcPct val="100000"/>
              </a:lnSpc>
              <a:spcBef>
                <a:spcPts val="0"/>
              </a:spcBef>
              <a:spcAft>
                <a:spcPts val="1600"/>
              </a:spcAft>
              <a:buFont typeface="Arial" panose="020B0604020202020204" pitchFamily="34" charset="0"/>
              <a:buNone/>
              <a:defRPr sz="3000" kern="1200">
                <a:solidFill>
                  <a:schemeClr val="accent1"/>
                </a:solidFill>
                <a:latin typeface="微软雅黑" panose="020B0503020204020204" pitchFamily="34" charset="-122"/>
                <a:ea typeface="微软雅黑" panose="020B0503020204020204" pitchFamily="34" charset="-122"/>
                <a:cs typeface="+mn-cs"/>
              </a:defRPr>
            </a:lvl4pPr>
            <a:lvl5pPr marL="108000" indent="-108000" algn="l" defTabSz="914400" rtl="0" eaLnBrk="1" latinLnBrk="0" hangingPunct="1">
              <a:lnSpc>
                <a:spcPct val="100000"/>
              </a:lnSpc>
              <a:spcBef>
                <a:spcPts val="0"/>
              </a:spcBef>
              <a:spcAft>
                <a:spcPts val="1600"/>
              </a:spcAft>
              <a:buFont typeface="Arial" panose="020B0604020202020204" pitchFamily="34" charset="0"/>
              <a:buChar char="•"/>
              <a:defRPr sz="1200" kern="1200">
                <a:solidFill>
                  <a:schemeClr val="accent4"/>
                </a:solidFill>
                <a:latin typeface="微软雅黑" panose="020B0503020204020204" pitchFamily="34" charset="-122"/>
                <a:ea typeface="微软雅黑" panose="020B0503020204020204" pitchFamily="34" charset="-122"/>
                <a:cs typeface="+mn-cs"/>
              </a:defRPr>
            </a:lvl5pPr>
            <a:lvl6pPr marL="216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6pPr>
            <a:lvl7pPr marL="324000" indent="-108000" algn="l" defTabSz="914400" rtl="0" eaLnBrk="1" latinLnBrk="0" hangingPunct="1">
              <a:lnSpc>
                <a:spcPct val="90000"/>
              </a:lnSpc>
              <a:spcBef>
                <a:spcPts val="0"/>
              </a:spcBef>
              <a:spcAft>
                <a:spcPts val="1600"/>
              </a:spcAft>
              <a:buFont typeface="Arial" panose="020B0604020202020204" pitchFamily="34" charset="0"/>
              <a:buChar char="•"/>
              <a:defRPr sz="1200" kern="1200">
                <a:solidFill>
                  <a:schemeClr val="accent4"/>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50000"/>
              </a:lnSpc>
            </a:pPr>
            <a:r>
              <a:rPr lang="zh-CN" altLang="en-US" sz="1800" b="1" dirty="0">
                <a:solidFill>
                  <a:schemeClr val="accent1">
                    <a:lumMod val="75000"/>
                  </a:schemeClr>
                </a:solidFill>
                <a:latin typeface="Arial" panose="020B0604020202020204" pitchFamily="34" charset="0"/>
                <a:sym typeface="Arial" panose="020B0604020202020204" pitchFamily="34" charset="0"/>
              </a:rPr>
              <a:t>来特莫韦获得多个全球</a:t>
            </a:r>
            <a:r>
              <a:rPr lang="zh-CN" altLang="en-US" sz="1800" b="1" dirty="0">
                <a:solidFill>
                  <a:srgbClr val="FF0000"/>
                </a:solidFill>
                <a:latin typeface="Arial" panose="020B0604020202020204" pitchFamily="34" charset="0"/>
                <a:sym typeface="Arial" panose="020B0604020202020204" pitchFamily="34" charset="0"/>
              </a:rPr>
              <a:t>血液</a:t>
            </a:r>
            <a:r>
              <a:rPr lang="zh-CN" altLang="en-US" sz="1800" b="1" dirty="0">
                <a:solidFill>
                  <a:schemeClr val="accent1">
                    <a:lumMod val="75000"/>
                  </a:schemeClr>
                </a:solidFill>
                <a:latin typeface="Arial" panose="020B0604020202020204" pitchFamily="34" charset="0"/>
                <a:sym typeface="Arial" panose="020B0604020202020204" pitchFamily="34" charset="0"/>
              </a:rPr>
              <a:t>领域权威指南共识</a:t>
            </a:r>
            <a:r>
              <a:rPr lang="zh-CN" altLang="en-US" sz="2400" b="1" dirty="0">
                <a:solidFill>
                  <a:srgbClr val="FF0000"/>
                </a:solidFill>
                <a:effectLst>
                  <a:outerShdw blurRad="38100" dist="38100" dir="2700000" algn="tl">
                    <a:srgbClr val="000000">
                      <a:alpha val="43137"/>
                    </a:srgbClr>
                  </a:outerShdw>
                </a:effectLst>
                <a:latin typeface="Arial" panose="020B0604020202020204" pitchFamily="34" charset="0"/>
                <a:sym typeface="Arial" panose="020B0604020202020204" pitchFamily="34" charset="0"/>
              </a:rPr>
              <a:t>一线</a:t>
            </a:r>
            <a:r>
              <a:rPr lang="zh-CN" altLang="en-US" sz="1800" b="1" dirty="0">
                <a:solidFill>
                  <a:schemeClr val="accent1">
                    <a:lumMod val="75000"/>
                  </a:schemeClr>
                </a:solidFill>
                <a:latin typeface="Arial" panose="020B0604020202020204" pitchFamily="34" charset="0"/>
                <a:sym typeface="Arial" panose="020B0604020202020204" pitchFamily="34" charset="0"/>
              </a:rPr>
              <a:t>推荐</a:t>
            </a:r>
            <a:endParaRPr lang="en-US" altLang="zh-CN" sz="1800" b="1" dirty="0">
              <a:solidFill>
                <a:schemeClr val="accent1">
                  <a:lumMod val="75000"/>
                </a:schemeClr>
              </a:solidFill>
              <a:latin typeface="Arial" panose="020B0604020202020204" pitchFamily="34" charset="0"/>
              <a:sym typeface="Arial" panose="020B0604020202020204" pitchFamily="34" charset="0"/>
            </a:endParaRPr>
          </a:p>
        </p:txBody>
      </p:sp>
      <p:grpSp>
        <p:nvGrpSpPr>
          <p:cNvPr id="5" name="组合 4">
            <a:extLst>
              <a:ext uri="{FF2B5EF4-FFF2-40B4-BE49-F238E27FC236}">
                <a16:creationId xmlns:a16="http://schemas.microsoft.com/office/drawing/2014/main" id="{57D39EA1-A313-4CE0-8853-37ECEE4CB38C}"/>
              </a:ext>
            </a:extLst>
          </p:cNvPr>
          <p:cNvGrpSpPr/>
          <p:nvPr/>
        </p:nvGrpSpPr>
        <p:grpSpPr>
          <a:xfrm>
            <a:off x="8956447" y="1679412"/>
            <a:ext cx="2726259" cy="4243429"/>
            <a:chOff x="596900" y="1678429"/>
            <a:chExt cx="2726259" cy="4243429"/>
          </a:xfrm>
        </p:grpSpPr>
        <p:sp>
          <p:nvSpPr>
            <p:cNvPr id="30" name="矩形 10">
              <a:extLst>
                <a:ext uri="{FF2B5EF4-FFF2-40B4-BE49-F238E27FC236}">
                  <a16:creationId xmlns:a16="http://schemas.microsoft.com/office/drawing/2014/main" id="{12107348-C004-4930-A1FA-68F1609B5E88}"/>
                </a:ext>
              </a:extLst>
            </p:cNvPr>
            <p:cNvSpPr/>
            <p:nvPr/>
          </p:nvSpPr>
          <p:spPr>
            <a:xfrm>
              <a:off x="596900" y="1678429"/>
              <a:ext cx="2688036" cy="4243429"/>
            </a:xfrm>
            <a:prstGeom prst="roundRect">
              <a:avLst>
                <a:gd name="adj" fmla="val 3271"/>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8" name="内容占位符 18"/>
            <p:cNvPicPr>
              <a:picLocks noChangeAspect="1"/>
            </p:cNvPicPr>
            <p:nvPr/>
          </p:nvPicPr>
          <p:blipFill>
            <a:blip r:embed="rId6"/>
            <a:stretch>
              <a:fillRect/>
            </a:stretch>
          </p:blipFill>
          <p:spPr>
            <a:xfrm>
              <a:off x="764153" y="2280070"/>
              <a:ext cx="2414356" cy="1316453"/>
            </a:xfrm>
            <a:prstGeom prst="rect">
              <a:avLst/>
            </a:prstGeom>
            <a:ln>
              <a:noFill/>
            </a:ln>
            <a:effectLst>
              <a:outerShdw blurRad="50800" dist="38100" dir="2700000" algn="tl" rotWithShape="0">
                <a:prstClr val="black">
                  <a:alpha val="40000"/>
                </a:prstClr>
              </a:outerShdw>
            </a:effectLst>
          </p:spPr>
        </p:pic>
        <p:sp>
          <p:nvSpPr>
            <p:cNvPr id="12" name="文本框 47">
              <a:extLst>
                <a:ext uri="{FF2B5EF4-FFF2-40B4-BE49-F238E27FC236}">
                  <a16:creationId xmlns:a16="http://schemas.microsoft.com/office/drawing/2014/main" id="{56F1582D-0B26-4708-9CF8-E4B1D34C26B3}"/>
                </a:ext>
              </a:extLst>
            </p:cNvPr>
            <p:cNvSpPr txBox="1"/>
            <p:nvPr/>
          </p:nvSpPr>
          <p:spPr>
            <a:xfrm>
              <a:off x="692927" y="4051961"/>
              <a:ext cx="2630232" cy="97757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建议</a:t>
              </a:r>
              <a:r>
                <a:rPr lang="en-US" altLang="zh-CN" sz="1300" dirty="0" err="1">
                  <a:solidFill>
                    <a:schemeClr val="tx1">
                      <a:lumMod val="50000"/>
                      <a:lumOff val="50000"/>
                    </a:schemeClr>
                  </a:solidFill>
                  <a:latin typeface="+mn-ea"/>
                  <a:cs typeface="+mn-ea"/>
                  <a:sym typeface="Arial" panose="020B0604020202020204" pitchFamily="34" charset="0"/>
                </a:rPr>
                <a:t>Allo</a:t>
              </a:r>
              <a:r>
                <a:rPr lang="en-US" altLang="zh-CN" sz="1300" dirty="0">
                  <a:solidFill>
                    <a:schemeClr val="tx1">
                      <a:lumMod val="50000"/>
                      <a:lumOff val="50000"/>
                    </a:schemeClr>
                  </a:solidFill>
                  <a:latin typeface="+mn-ea"/>
                  <a:cs typeface="+mn-ea"/>
                  <a:sym typeface="Arial" panose="020B0604020202020204" pitchFamily="34" charset="0"/>
                </a:rPr>
                <a:t>-HSCT</a:t>
              </a:r>
              <a:r>
                <a:rPr lang="zh-CN" altLang="en-US" sz="1300" dirty="0">
                  <a:solidFill>
                    <a:schemeClr val="tx1">
                      <a:lumMod val="50000"/>
                      <a:lumOff val="50000"/>
                    </a:schemeClr>
                  </a:solidFill>
                  <a:latin typeface="+mn-ea"/>
                  <a:cs typeface="+mn-ea"/>
                  <a:sym typeface="Arial" panose="020B0604020202020204" pitchFamily="34" charset="0"/>
                </a:rPr>
                <a:t>后</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感染高风险受者监测期间采用来特莫韦作为</a:t>
              </a:r>
              <a:r>
                <a:rPr lang="zh-CN" altLang="en-US" sz="1400" b="1" dirty="0">
                  <a:solidFill>
                    <a:srgbClr val="C00000"/>
                  </a:solidFill>
                  <a:latin typeface="+mn-ea"/>
                  <a:cs typeface="+mn-ea"/>
                  <a:sym typeface="Arial" panose="020B0604020202020204" pitchFamily="34" charset="0"/>
                </a:rPr>
                <a:t>一级</a:t>
              </a:r>
              <a:r>
                <a:rPr lang="zh-CN" altLang="en-US" sz="1300" dirty="0">
                  <a:solidFill>
                    <a:schemeClr val="tx1">
                      <a:lumMod val="50000"/>
                      <a:lumOff val="50000"/>
                    </a:schemeClr>
                  </a:solidFill>
                  <a:latin typeface="+mn-ea"/>
                  <a:cs typeface="+mn-ea"/>
                  <a:sym typeface="Arial" panose="020B0604020202020204" pitchFamily="34" charset="0"/>
                </a:rPr>
                <a:t>预防方案</a:t>
              </a:r>
              <a:endParaRPr lang="en-US" altLang="zh-CN" sz="1300" dirty="0">
                <a:solidFill>
                  <a:schemeClr val="tx1">
                    <a:lumMod val="50000"/>
                    <a:lumOff val="50000"/>
                  </a:schemeClr>
                </a:solidFill>
                <a:latin typeface="+mn-ea"/>
                <a:cs typeface="+mn-ea"/>
                <a:sym typeface="Arial" panose="020B0604020202020204" pitchFamily="34" charset="0"/>
              </a:endParaRPr>
            </a:p>
          </p:txBody>
        </p:sp>
        <p:sp>
          <p:nvSpPr>
            <p:cNvPr id="19" name="文本框 68">
              <a:extLst>
                <a:ext uri="{FF2B5EF4-FFF2-40B4-BE49-F238E27FC236}">
                  <a16:creationId xmlns:a16="http://schemas.microsoft.com/office/drawing/2014/main" id="{933A0474-C5E0-47B1-B79C-4F167B169840}"/>
                </a:ext>
              </a:extLst>
            </p:cNvPr>
            <p:cNvSpPr txBox="1"/>
            <p:nvPr/>
          </p:nvSpPr>
          <p:spPr>
            <a:xfrm>
              <a:off x="756343" y="1712548"/>
              <a:ext cx="2429976" cy="37702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21</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年</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NCCN</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指南</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2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5</a:t>
              </a:r>
              <a:endParaRPr lang="zh-CN" altLang="en-US" sz="12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grpSp>
        <p:nvGrpSpPr>
          <p:cNvPr id="10" name="组合 9">
            <a:extLst>
              <a:ext uri="{FF2B5EF4-FFF2-40B4-BE49-F238E27FC236}">
                <a16:creationId xmlns:a16="http://schemas.microsoft.com/office/drawing/2014/main" id="{DC513D16-D225-40BE-AE92-C187FC587C9A}"/>
              </a:ext>
            </a:extLst>
          </p:cNvPr>
          <p:cNvGrpSpPr/>
          <p:nvPr/>
        </p:nvGrpSpPr>
        <p:grpSpPr>
          <a:xfrm>
            <a:off x="6069078" y="1654316"/>
            <a:ext cx="2793238" cy="4281045"/>
            <a:chOff x="6069078" y="1654316"/>
            <a:chExt cx="2793238" cy="4281045"/>
          </a:xfrm>
        </p:grpSpPr>
        <p:sp>
          <p:nvSpPr>
            <p:cNvPr id="31" name="矩形 14">
              <a:extLst>
                <a:ext uri="{FF2B5EF4-FFF2-40B4-BE49-F238E27FC236}">
                  <a16:creationId xmlns:a16="http://schemas.microsoft.com/office/drawing/2014/main" id="{0F05D89C-48DB-485F-9E7A-CEE94CD71D80}"/>
                </a:ext>
              </a:extLst>
            </p:cNvPr>
            <p:cNvSpPr/>
            <p:nvPr/>
          </p:nvSpPr>
          <p:spPr>
            <a:xfrm>
              <a:off x="6069078" y="1671925"/>
              <a:ext cx="2738304" cy="4250484"/>
            </a:xfrm>
            <a:prstGeom prst="roundRect">
              <a:avLst>
                <a:gd name="adj" fmla="val 2766"/>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文本框 52">
              <a:extLst>
                <a:ext uri="{FF2B5EF4-FFF2-40B4-BE49-F238E27FC236}">
                  <a16:creationId xmlns:a16="http://schemas.microsoft.com/office/drawing/2014/main" id="{370DB014-6ADF-4BCB-A836-E8F572FFCA87}"/>
                </a:ext>
              </a:extLst>
            </p:cNvPr>
            <p:cNvSpPr txBox="1"/>
            <p:nvPr/>
          </p:nvSpPr>
          <p:spPr>
            <a:xfrm>
              <a:off x="6232084" y="4978176"/>
              <a:ext cx="2630232" cy="95718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推荐</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血清学阳性成人</a:t>
              </a:r>
              <a:r>
                <a:rPr lang="en-US" altLang="zh-CN" sz="1300" dirty="0">
                  <a:solidFill>
                    <a:schemeClr val="tx1">
                      <a:lumMod val="50000"/>
                      <a:lumOff val="50000"/>
                    </a:schemeClr>
                  </a:solidFill>
                  <a:latin typeface="+mn-ea"/>
                  <a:cs typeface="+mn-ea"/>
                  <a:sym typeface="Arial" panose="020B0604020202020204" pitchFamily="34" charset="0"/>
                </a:rPr>
                <a:t>Allo-HSCT/CBT</a:t>
              </a:r>
              <a:r>
                <a:rPr lang="zh-CN" altLang="en-US" sz="1300" dirty="0">
                  <a:solidFill>
                    <a:schemeClr val="tx1">
                      <a:lumMod val="50000"/>
                      <a:lumOff val="50000"/>
                    </a:schemeClr>
                  </a:solidFill>
                  <a:latin typeface="+mn-ea"/>
                  <a:cs typeface="+mn-ea"/>
                  <a:sym typeface="Arial" panose="020B0604020202020204" pitchFamily="34" charset="0"/>
                </a:rPr>
                <a:t>受者接受来特莫韦预防</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感染 </a:t>
              </a:r>
              <a:r>
                <a:rPr lang="en-US" altLang="zh-CN" sz="1300" dirty="0">
                  <a:solidFill>
                    <a:schemeClr val="tx1">
                      <a:lumMod val="50000"/>
                      <a:lumOff val="50000"/>
                    </a:schemeClr>
                  </a:solidFill>
                  <a:latin typeface="+mn-ea"/>
                  <a:cs typeface="+mn-ea"/>
                  <a:sym typeface="Arial" panose="020B0604020202020204" pitchFamily="34" charset="0"/>
                </a:rPr>
                <a:t>(</a:t>
              </a:r>
              <a:r>
                <a:rPr lang="en-US" altLang="zh-CN" sz="1300" b="1" dirty="0">
                  <a:solidFill>
                    <a:srgbClr val="C00000"/>
                  </a:solidFill>
                  <a:latin typeface="+mn-ea"/>
                  <a:cs typeface="+mn-ea"/>
                  <a:sym typeface="Arial" panose="020B0604020202020204" pitchFamily="34" charset="0"/>
                </a:rPr>
                <a:t>A-Ⅰ</a:t>
              </a:r>
              <a:r>
                <a:rPr lang="zh-CN" altLang="en-US" sz="1300" dirty="0">
                  <a:solidFill>
                    <a:schemeClr val="tx1">
                      <a:lumMod val="50000"/>
                      <a:lumOff val="50000"/>
                    </a:schemeClr>
                  </a:solidFill>
                  <a:latin typeface="+mn-ea"/>
                  <a:cs typeface="+mn-ea"/>
                  <a:sym typeface="Arial" panose="020B0604020202020204" pitchFamily="34" charset="0"/>
                </a:rPr>
                <a:t>）</a:t>
              </a:r>
            </a:p>
          </p:txBody>
        </p:sp>
        <p:sp>
          <p:nvSpPr>
            <p:cNvPr id="21" name="文本框 70">
              <a:extLst>
                <a:ext uri="{FF2B5EF4-FFF2-40B4-BE49-F238E27FC236}">
                  <a16:creationId xmlns:a16="http://schemas.microsoft.com/office/drawing/2014/main" id="{A13AE7F9-8E72-4CB3-98BA-DC76E945EA8C}"/>
                </a:ext>
              </a:extLst>
            </p:cNvPr>
            <p:cNvSpPr txBox="1"/>
            <p:nvPr/>
          </p:nvSpPr>
          <p:spPr>
            <a:xfrm>
              <a:off x="6141116" y="1654316"/>
              <a:ext cx="2630233" cy="70057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21</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年美国移植与细胞治疗指南</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4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3-4</a:t>
              </a:r>
              <a:endPar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 name="组合 2"/>
            <p:cNvGrpSpPr/>
            <p:nvPr/>
          </p:nvGrpSpPr>
          <p:grpSpPr>
            <a:xfrm>
              <a:off x="6234494" y="2417747"/>
              <a:ext cx="2428472" cy="2580510"/>
              <a:chOff x="6288943" y="2945413"/>
              <a:chExt cx="2153979" cy="2443881"/>
            </a:xfrm>
          </p:grpSpPr>
          <p:pic>
            <p:nvPicPr>
              <p:cNvPr id="25" name="图片 24"/>
              <p:cNvPicPr>
                <a:picLocks noChangeAspect="1"/>
              </p:cNvPicPr>
              <p:nvPr/>
            </p:nvPicPr>
            <p:blipFill>
              <a:blip r:embed="rId7"/>
              <a:stretch>
                <a:fillRect/>
              </a:stretch>
            </p:blipFill>
            <p:spPr>
              <a:xfrm>
                <a:off x="6288943" y="2945413"/>
                <a:ext cx="2135350" cy="1081025"/>
              </a:xfrm>
              <a:prstGeom prst="rect">
                <a:avLst/>
              </a:prstGeom>
              <a:effectLst>
                <a:outerShdw blurRad="50800" dist="38100" dir="2700000" algn="tl" rotWithShape="0">
                  <a:prstClr val="black">
                    <a:alpha val="40000"/>
                  </a:prstClr>
                </a:outerShdw>
              </a:effectLst>
            </p:spPr>
          </p:pic>
          <p:pic>
            <p:nvPicPr>
              <p:cNvPr id="26" name="图片 25"/>
              <p:cNvPicPr>
                <a:picLocks noChangeAspect="1"/>
              </p:cNvPicPr>
              <p:nvPr/>
            </p:nvPicPr>
            <p:blipFill>
              <a:blip r:embed="rId8"/>
              <a:stretch>
                <a:fillRect/>
              </a:stretch>
            </p:blipFill>
            <p:spPr>
              <a:xfrm>
                <a:off x="6308470" y="4127431"/>
                <a:ext cx="2134452" cy="1261863"/>
              </a:xfrm>
              <a:prstGeom prst="rect">
                <a:avLst/>
              </a:prstGeom>
              <a:effectLst>
                <a:outerShdw blurRad="50800" dist="38100" dir="2700000" algn="tl" rotWithShape="0">
                  <a:prstClr val="black">
                    <a:alpha val="40000"/>
                  </a:prstClr>
                </a:outerShdw>
              </a:effectLst>
            </p:spPr>
          </p:pic>
        </p:grpSp>
      </p:grpSp>
      <p:grpSp>
        <p:nvGrpSpPr>
          <p:cNvPr id="11" name="组合 10">
            <a:extLst>
              <a:ext uri="{FF2B5EF4-FFF2-40B4-BE49-F238E27FC236}">
                <a16:creationId xmlns:a16="http://schemas.microsoft.com/office/drawing/2014/main" id="{B115D03B-FF8E-4846-8302-0B394015BE42}"/>
              </a:ext>
            </a:extLst>
          </p:cNvPr>
          <p:cNvGrpSpPr/>
          <p:nvPr/>
        </p:nvGrpSpPr>
        <p:grpSpPr>
          <a:xfrm>
            <a:off x="499493" y="1660863"/>
            <a:ext cx="2562701" cy="4243429"/>
            <a:chOff x="3404090" y="1679328"/>
            <a:chExt cx="2562701" cy="4243429"/>
          </a:xfrm>
        </p:grpSpPr>
        <p:sp>
          <p:nvSpPr>
            <p:cNvPr id="7" name="矩形 6">
              <a:extLst>
                <a:ext uri="{FF2B5EF4-FFF2-40B4-BE49-F238E27FC236}">
                  <a16:creationId xmlns:a16="http://schemas.microsoft.com/office/drawing/2014/main" id="{28BF902E-12F0-44BE-9FB1-93A6EC040D89}"/>
                </a:ext>
              </a:extLst>
            </p:cNvPr>
            <p:cNvSpPr/>
            <p:nvPr/>
          </p:nvSpPr>
          <p:spPr>
            <a:xfrm>
              <a:off x="3404090" y="1679328"/>
              <a:ext cx="2562701" cy="4243429"/>
            </a:xfrm>
            <a:prstGeom prst="roundRect">
              <a:avLst>
                <a:gd name="adj" fmla="val 3287"/>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文本框 50">
              <a:extLst>
                <a:ext uri="{FF2B5EF4-FFF2-40B4-BE49-F238E27FC236}">
                  <a16:creationId xmlns:a16="http://schemas.microsoft.com/office/drawing/2014/main" id="{FE2A2AB8-0AA9-4977-8C3D-F0FD6F51CEF3}"/>
                </a:ext>
              </a:extLst>
            </p:cNvPr>
            <p:cNvSpPr txBox="1"/>
            <p:nvPr/>
          </p:nvSpPr>
          <p:spPr>
            <a:xfrm>
              <a:off x="3506101" y="4059633"/>
              <a:ext cx="2358677" cy="95718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推荐来特莫韦为</a:t>
              </a:r>
              <a:r>
                <a:rPr lang="en-US" altLang="zh-CN" sz="1300" dirty="0" err="1">
                  <a:solidFill>
                    <a:schemeClr val="tx1">
                      <a:lumMod val="50000"/>
                      <a:lumOff val="50000"/>
                    </a:schemeClr>
                  </a:solidFill>
                  <a:latin typeface="+mn-ea"/>
                  <a:cs typeface="+mn-ea"/>
                  <a:sym typeface="Arial" panose="020B0604020202020204" pitchFamily="34" charset="0"/>
                </a:rPr>
                <a:t>Allo</a:t>
              </a:r>
              <a:r>
                <a:rPr lang="en-US" altLang="zh-CN" sz="1300" dirty="0">
                  <a:solidFill>
                    <a:schemeClr val="tx1">
                      <a:lumMod val="50000"/>
                      <a:lumOff val="50000"/>
                    </a:schemeClr>
                  </a:solidFill>
                  <a:latin typeface="+mn-ea"/>
                  <a:cs typeface="+mn-ea"/>
                  <a:sym typeface="Arial" panose="020B0604020202020204" pitchFamily="34" charset="0"/>
                </a:rPr>
                <a:t>-HSCT</a:t>
              </a:r>
              <a:r>
                <a:rPr lang="zh-CN" altLang="en-US" sz="1300" dirty="0">
                  <a:solidFill>
                    <a:schemeClr val="tx1">
                      <a:lumMod val="50000"/>
                      <a:lumOff val="50000"/>
                    </a:schemeClr>
                  </a:solidFill>
                  <a:latin typeface="+mn-ea"/>
                  <a:cs typeface="+mn-ea"/>
                  <a:sym typeface="Arial" panose="020B0604020202020204" pitchFamily="34" charset="0"/>
                </a:rPr>
                <a:t>移植后</a:t>
              </a:r>
              <a:r>
                <a:rPr lang="en-US" altLang="zh-CN" sz="1300" dirty="0">
                  <a:solidFill>
                    <a:schemeClr val="tx1">
                      <a:lumMod val="50000"/>
                      <a:lumOff val="50000"/>
                    </a:schemeClr>
                  </a:solidFill>
                  <a:latin typeface="+mn-ea"/>
                  <a:cs typeface="+mn-ea"/>
                  <a:sym typeface="Arial" panose="020B0604020202020204" pitchFamily="34" charset="0"/>
                </a:rPr>
                <a:t>CMV</a:t>
              </a:r>
              <a:r>
                <a:rPr lang="zh-CN" altLang="en-US" sz="1300" dirty="0">
                  <a:solidFill>
                    <a:schemeClr val="tx1">
                      <a:lumMod val="50000"/>
                      <a:lumOff val="50000"/>
                    </a:schemeClr>
                  </a:solidFill>
                  <a:latin typeface="+mn-ea"/>
                  <a:cs typeface="+mn-ea"/>
                  <a:sym typeface="Arial" panose="020B0604020202020204" pitchFamily="34" charset="0"/>
                </a:rPr>
                <a:t>感染预防药物，推荐等级</a:t>
              </a:r>
              <a:r>
                <a:rPr lang="en-US" altLang="zh-CN" sz="1300" b="1" dirty="0">
                  <a:solidFill>
                    <a:srgbClr val="C00000"/>
                  </a:solidFill>
                  <a:latin typeface="+mn-ea"/>
                  <a:cs typeface="+mn-ea"/>
                  <a:sym typeface="Arial" panose="020B0604020202020204" pitchFamily="34" charset="0"/>
                </a:rPr>
                <a:t>(A-Ⅰ)</a:t>
              </a:r>
              <a:endParaRPr lang="zh-CN" altLang="en-US" sz="1300" b="1" dirty="0">
                <a:solidFill>
                  <a:srgbClr val="C00000"/>
                </a:solidFill>
                <a:latin typeface="+mn-ea"/>
                <a:cs typeface="+mn-ea"/>
                <a:sym typeface="Arial" panose="020B0604020202020204" pitchFamily="34" charset="0"/>
              </a:endParaRPr>
            </a:p>
          </p:txBody>
        </p:sp>
        <p:sp>
          <p:nvSpPr>
            <p:cNvPr id="20" name="文本框 69">
              <a:extLst>
                <a:ext uri="{FF2B5EF4-FFF2-40B4-BE49-F238E27FC236}">
                  <a16:creationId xmlns:a16="http://schemas.microsoft.com/office/drawing/2014/main" id="{4D1D882C-C017-4F4E-9180-F143EB9886E3}"/>
                </a:ext>
              </a:extLst>
            </p:cNvPr>
            <p:cNvSpPr txBox="1"/>
            <p:nvPr/>
          </p:nvSpPr>
          <p:spPr>
            <a:xfrm>
              <a:off x="3559798" y="1724405"/>
              <a:ext cx="2328631" cy="70019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17</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欧洲白血病感染</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ECIL7)</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指南</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4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1</a:t>
              </a:r>
              <a:endPar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7" name="内容占位符 5"/>
            <p:cNvPicPr>
              <a:picLocks noChangeAspect="1"/>
            </p:cNvPicPr>
            <p:nvPr/>
          </p:nvPicPr>
          <p:blipFill>
            <a:blip r:embed="rId9"/>
            <a:stretch>
              <a:fillRect/>
            </a:stretch>
          </p:blipFill>
          <p:spPr>
            <a:xfrm>
              <a:off x="3577755" y="2597778"/>
              <a:ext cx="2358677" cy="979895"/>
            </a:xfrm>
            <a:prstGeom prst="rect">
              <a:avLst/>
            </a:prstGeom>
            <a:ln>
              <a:noFill/>
            </a:ln>
            <a:effectLst>
              <a:outerShdw blurRad="50800" dist="38100" dir="2700000" algn="tl" rotWithShape="0">
                <a:prstClr val="black">
                  <a:alpha val="40000"/>
                </a:prstClr>
              </a:outerShdw>
            </a:effectLst>
          </p:spPr>
        </p:pic>
      </p:grpSp>
      <p:grpSp>
        <p:nvGrpSpPr>
          <p:cNvPr id="9" name="组合 8">
            <a:extLst>
              <a:ext uri="{FF2B5EF4-FFF2-40B4-BE49-F238E27FC236}">
                <a16:creationId xmlns:a16="http://schemas.microsoft.com/office/drawing/2014/main" id="{E6AA857F-E54F-4B08-882D-74A64B4A1CE9}"/>
              </a:ext>
            </a:extLst>
          </p:cNvPr>
          <p:cNvGrpSpPr/>
          <p:nvPr/>
        </p:nvGrpSpPr>
        <p:grpSpPr>
          <a:xfrm>
            <a:off x="3173885" y="1666151"/>
            <a:ext cx="2750779" cy="4244285"/>
            <a:chOff x="8852763" y="1678429"/>
            <a:chExt cx="2750779" cy="4244285"/>
          </a:xfrm>
        </p:grpSpPr>
        <p:sp>
          <p:nvSpPr>
            <p:cNvPr id="32" name="矩形 16">
              <a:extLst>
                <a:ext uri="{FF2B5EF4-FFF2-40B4-BE49-F238E27FC236}">
                  <a16:creationId xmlns:a16="http://schemas.microsoft.com/office/drawing/2014/main" id="{8D560EB7-E7DC-4665-B9A9-095E3E2192FB}"/>
                </a:ext>
              </a:extLst>
            </p:cNvPr>
            <p:cNvSpPr/>
            <p:nvPr/>
          </p:nvSpPr>
          <p:spPr>
            <a:xfrm>
              <a:off x="8897448" y="1678429"/>
              <a:ext cx="2706094" cy="4244285"/>
            </a:xfrm>
            <a:prstGeom prst="roundRect">
              <a:avLst>
                <a:gd name="adj" fmla="val 2172"/>
              </a:avLst>
            </a:prstGeom>
            <a:solidFill>
              <a:schemeClr val="bg1">
                <a:lumMod val="50000"/>
                <a:alpha val="5098"/>
              </a:schemeClr>
            </a:solidFill>
            <a:ln w="9525">
              <a:solidFill>
                <a:schemeClr val="bg1">
                  <a:lumMod val="85000"/>
                </a:schemeClr>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defPPr>
                <a:defRPr lang="en-US"/>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文本框 64">
              <a:extLst>
                <a:ext uri="{FF2B5EF4-FFF2-40B4-BE49-F238E27FC236}">
                  <a16:creationId xmlns:a16="http://schemas.microsoft.com/office/drawing/2014/main" id="{2801D45C-83DB-4D59-9140-6E6E6C005006}"/>
                </a:ext>
              </a:extLst>
            </p:cNvPr>
            <p:cNvSpPr txBox="1"/>
            <p:nvPr/>
          </p:nvSpPr>
          <p:spPr>
            <a:xfrm>
              <a:off x="8973188" y="4065222"/>
              <a:ext cx="2630232" cy="125726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spcBef>
                  <a:spcPts val="800"/>
                </a:spcBef>
                <a:spcAft>
                  <a:spcPts val="300"/>
                </a:spcAft>
                <a:defRPr/>
              </a:pPr>
              <a:r>
                <a:rPr lang="zh-CN" altLang="en-US" sz="1300" dirty="0">
                  <a:solidFill>
                    <a:schemeClr val="tx1">
                      <a:lumMod val="50000"/>
                      <a:lumOff val="50000"/>
                    </a:schemeClr>
                  </a:solidFill>
                  <a:latin typeface="+mn-ea"/>
                  <a:cs typeface="+mn-ea"/>
                  <a:sym typeface="Arial" panose="020B0604020202020204" pitchFamily="34" charset="0"/>
                </a:rPr>
                <a:t>来特莫韦可作为</a:t>
              </a:r>
              <a:r>
                <a:rPr lang="en-US" altLang="zh-CN" sz="1300" dirty="0" err="1">
                  <a:solidFill>
                    <a:schemeClr val="tx1">
                      <a:lumMod val="50000"/>
                      <a:lumOff val="50000"/>
                    </a:schemeClr>
                  </a:solidFill>
                  <a:latin typeface="+mn-ea"/>
                  <a:cs typeface="+mn-ea"/>
                  <a:sym typeface="Arial" panose="020B0604020202020204" pitchFamily="34" charset="0"/>
                </a:rPr>
                <a:t>Allo</a:t>
              </a:r>
              <a:r>
                <a:rPr lang="en-US" altLang="zh-CN" sz="1300" dirty="0">
                  <a:solidFill>
                    <a:schemeClr val="tx1">
                      <a:lumMod val="50000"/>
                      <a:lumOff val="50000"/>
                    </a:schemeClr>
                  </a:solidFill>
                  <a:latin typeface="+mn-ea"/>
                  <a:cs typeface="+mn-ea"/>
                  <a:sym typeface="Arial" panose="020B0604020202020204" pitchFamily="34" charset="0"/>
                </a:rPr>
                <a:t>-HSCT CMV</a:t>
              </a:r>
              <a:r>
                <a:rPr lang="zh-CN" altLang="en-US" sz="1300" dirty="0">
                  <a:solidFill>
                    <a:schemeClr val="tx1">
                      <a:lumMod val="50000"/>
                      <a:lumOff val="50000"/>
                    </a:schemeClr>
                  </a:solidFill>
                  <a:latin typeface="+mn-ea"/>
                  <a:cs typeface="+mn-ea"/>
                  <a:sym typeface="Arial" panose="020B0604020202020204" pitchFamily="34" charset="0"/>
                </a:rPr>
                <a:t>血清阳性受者移植后最佳预防药物，在移植后早期植入阶段即可启动，并持续至第</a:t>
              </a:r>
              <a:r>
                <a:rPr lang="en-US" altLang="zh-CN" sz="1300" dirty="0">
                  <a:solidFill>
                    <a:schemeClr val="tx1">
                      <a:lumMod val="50000"/>
                      <a:lumOff val="50000"/>
                    </a:schemeClr>
                  </a:solidFill>
                  <a:latin typeface="+mn-ea"/>
                  <a:cs typeface="+mn-ea"/>
                  <a:sym typeface="Arial" panose="020B0604020202020204" pitchFamily="34" charset="0"/>
                </a:rPr>
                <a:t>100</a:t>
              </a:r>
              <a:r>
                <a:rPr lang="zh-CN" altLang="en-US" sz="1300" dirty="0">
                  <a:solidFill>
                    <a:schemeClr val="tx1">
                      <a:lumMod val="50000"/>
                      <a:lumOff val="50000"/>
                    </a:schemeClr>
                  </a:solidFill>
                  <a:latin typeface="+mn-ea"/>
                  <a:cs typeface="+mn-ea"/>
                  <a:sym typeface="Arial" panose="020B0604020202020204" pitchFamily="34" charset="0"/>
                </a:rPr>
                <a:t>天</a:t>
              </a:r>
              <a:r>
                <a:rPr lang="en-US" altLang="zh-CN" sz="1300" dirty="0">
                  <a:solidFill>
                    <a:schemeClr val="tx1">
                      <a:lumMod val="50000"/>
                      <a:lumOff val="50000"/>
                    </a:schemeClr>
                  </a:solidFill>
                  <a:latin typeface="+mn-ea"/>
                  <a:cs typeface="+mn-ea"/>
                  <a:sym typeface="Arial" panose="020B0604020202020204" pitchFamily="34" charset="0"/>
                </a:rPr>
                <a:t>(</a:t>
              </a:r>
              <a:r>
                <a:rPr lang="en-US" altLang="zh-CN" sz="1300" b="1" dirty="0">
                  <a:solidFill>
                    <a:srgbClr val="C00000"/>
                  </a:solidFill>
                  <a:latin typeface="+mn-ea"/>
                  <a:cs typeface="+mn-ea"/>
                  <a:sym typeface="Arial" panose="020B0604020202020204" pitchFamily="34" charset="0"/>
                </a:rPr>
                <a:t>A-Ⅰ</a:t>
              </a:r>
              <a:r>
                <a:rPr lang="zh-CN" altLang="en-US" sz="1300" dirty="0">
                  <a:solidFill>
                    <a:schemeClr val="tx1">
                      <a:lumMod val="50000"/>
                      <a:lumOff val="50000"/>
                    </a:schemeClr>
                  </a:solidFill>
                  <a:latin typeface="+mn-ea"/>
                  <a:cs typeface="+mn-ea"/>
                  <a:sym typeface="Arial" panose="020B0604020202020204" pitchFamily="34" charset="0"/>
                </a:rPr>
                <a:t>） </a:t>
              </a:r>
            </a:p>
          </p:txBody>
        </p:sp>
        <p:sp>
          <p:nvSpPr>
            <p:cNvPr id="22" name="文本框 71">
              <a:extLst>
                <a:ext uri="{FF2B5EF4-FFF2-40B4-BE49-F238E27FC236}">
                  <a16:creationId xmlns:a16="http://schemas.microsoft.com/office/drawing/2014/main" id="{AA6AE179-F7E2-40E1-998B-A6C9A75E5CEF}"/>
                </a:ext>
              </a:extLst>
            </p:cNvPr>
            <p:cNvSpPr txBox="1"/>
            <p:nvPr/>
          </p:nvSpPr>
          <p:spPr>
            <a:xfrm>
              <a:off x="8852763" y="1760270"/>
              <a:ext cx="2750779" cy="377026"/>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spcBef>
                  <a:spcPts val="800"/>
                </a:spcBef>
                <a:spcAft>
                  <a:spcPts val="300"/>
                </a:spcAft>
                <a:defRPr/>
              </a:pP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019</a:t>
              </a:r>
              <a:r>
                <a:rPr lang="zh-CN" altLang="en-US"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意大利多学科共识</a:t>
              </a:r>
              <a:r>
                <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sz="1400" b="1" baseline="30000"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rPr>
                <a:t>2</a:t>
              </a:r>
              <a:endParaRPr lang="en-US" altLang="zh-CN" sz="1400" b="1" dirty="0">
                <a:solidFill>
                  <a:schemeClr val="accent1"/>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9" name="图片 28"/>
            <p:cNvPicPr>
              <a:picLocks noChangeAspect="1"/>
            </p:cNvPicPr>
            <p:nvPr/>
          </p:nvPicPr>
          <p:blipFill rotWithShape="1">
            <a:blip r:embed="rId10"/>
            <a:srcRect b="24666"/>
            <a:stretch/>
          </p:blipFill>
          <p:spPr>
            <a:xfrm>
              <a:off x="9017508" y="2528345"/>
              <a:ext cx="2465973" cy="1244717"/>
            </a:xfrm>
            <a:prstGeom prst="rect">
              <a:avLst/>
            </a:prstGeom>
            <a:effectLst>
              <a:outerShdw blurRad="50800" dist="38100" dir="2700000" algn="tl" rotWithShape="0">
                <a:prstClr val="black">
                  <a:alpha val="40000"/>
                </a:prstClr>
              </a:outerShdw>
            </a:effectLst>
          </p:spPr>
        </p:pic>
      </p:grpSp>
      <p:sp>
        <p:nvSpPr>
          <p:cNvPr id="33" name="矩形 32">
            <a:extLst>
              <a:ext uri="{FF2B5EF4-FFF2-40B4-BE49-F238E27FC236}">
                <a16:creationId xmlns:a16="http://schemas.microsoft.com/office/drawing/2014/main" id="{D22C8E9F-8EF6-4524-B30C-723927ADE375}"/>
              </a:ext>
            </a:extLst>
          </p:cNvPr>
          <p:cNvSpPr/>
          <p:nvPr/>
        </p:nvSpPr>
        <p:spPr>
          <a:xfrm>
            <a:off x="0" y="6400800"/>
            <a:ext cx="906032" cy="457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35" name="矩形 34"/>
          <p:cNvSpPr/>
          <p:nvPr/>
        </p:nvSpPr>
        <p:spPr>
          <a:xfrm>
            <a:off x="596900" y="5992974"/>
            <a:ext cx="6096000" cy="1015663"/>
          </a:xfrm>
          <a:prstGeom prst="rect">
            <a:avLst/>
          </a:prstGeom>
        </p:spPr>
        <p:txBody>
          <a:bodyPr>
            <a:spAutoFit/>
          </a:bodyPr>
          <a:lstStyle/>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Lancet Infect Dis. 2019 Aug;19(8):e260-e272. </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Clin Transplant. 2019 Oct;33(10):e13666.</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Transplant Cell </a:t>
            </a:r>
            <a:r>
              <a:rPr lang="en-US" altLang="zh-CN" sz="1000" dirty="0" err="1">
                <a:solidFill>
                  <a:schemeClr val="bg1">
                    <a:lumMod val="65000"/>
                  </a:schemeClr>
                </a:solidFill>
                <a:latin typeface="+mn-ea"/>
                <a:sym typeface="微软雅黑" panose="020B0503020204020204" pitchFamily="34" charset="-122"/>
              </a:rPr>
              <a:t>Ther</a:t>
            </a:r>
            <a:r>
              <a:rPr lang="en-US" altLang="zh-CN" sz="1000" dirty="0">
                <a:solidFill>
                  <a:schemeClr val="bg1">
                    <a:lumMod val="65000"/>
                  </a:schemeClr>
                </a:solidFill>
                <a:latin typeface="+mn-ea"/>
                <a:sym typeface="微软雅黑" panose="020B0503020204020204" pitchFamily="34" charset="-122"/>
              </a:rPr>
              <a:t>. 2021 May;27(5):359-362.</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Transplant Cell </a:t>
            </a:r>
            <a:r>
              <a:rPr lang="en-US" altLang="zh-CN" sz="1000" dirty="0" err="1">
                <a:solidFill>
                  <a:schemeClr val="bg1">
                    <a:lumMod val="65000"/>
                  </a:schemeClr>
                </a:solidFill>
                <a:latin typeface="+mn-ea"/>
                <a:sym typeface="微软雅黑" panose="020B0503020204020204" pitchFamily="34" charset="-122"/>
              </a:rPr>
              <a:t>Ther</a:t>
            </a:r>
            <a:r>
              <a:rPr lang="en-US" altLang="zh-CN" sz="1000" dirty="0">
                <a:solidFill>
                  <a:schemeClr val="bg1">
                    <a:lumMod val="65000"/>
                  </a:schemeClr>
                </a:solidFill>
                <a:latin typeface="+mn-ea"/>
                <a:sym typeface="微软雅黑" panose="020B0503020204020204" pitchFamily="34" charset="-122"/>
              </a:rPr>
              <a:t>. 2021 Sep;27(9);707-719</a:t>
            </a:r>
          </a:p>
          <a:p>
            <a:pPr marL="228600" indent="-228600">
              <a:buFont typeface="+mj-lt"/>
              <a:buAutoNum type="arabicPeriod"/>
              <a:defRPr/>
            </a:pPr>
            <a:r>
              <a:rPr lang="en-US" altLang="zh-CN" sz="1000" dirty="0">
                <a:solidFill>
                  <a:schemeClr val="bg1">
                    <a:lumMod val="65000"/>
                  </a:schemeClr>
                </a:solidFill>
                <a:latin typeface="+mn-ea"/>
                <a:sym typeface="微软雅黑" panose="020B0503020204020204" pitchFamily="34" charset="-122"/>
              </a:rPr>
              <a:t>NCCN Guidelines Version 1.2021- Prevention and Treatment of Cancer-Related Infection</a:t>
            </a:r>
          </a:p>
          <a:p>
            <a:pPr marL="228600" indent="-228600">
              <a:buFont typeface="+mj-lt"/>
              <a:buAutoNum type="arabicPeriod"/>
              <a:defRPr/>
            </a:pPr>
            <a:endParaRPr lang="en-US" altLang="zh-CN" sz="1000" dirty="0">
              <a:solidFill>
                <a:schemeClr val="bg1">
                  <a:lumMod val="65000"/>
                </a:schemeClr>
              </a:solidFill>
              <a:latin typeface="+mn-ea"/>
              <a:sym typeface="微软雅黑" panose="020B0503020204020204" pitchFamily="34" charset="-122"/>
            </a:endParaRPr>
          </a:p>
        </p:txBody>
      </p:sp>
    </p:spTree>
    <p:extLst>
      <p:ext uri="{BB962C8B-B14F-4D97-AF65-F5344CB8AC3E}">
        <p14:creationId xmlns:p14="http://schemas.microsoft.com/office/powerpoint/2010/main" val="267967340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圆角矩形 38"/>
          <p:cNvSpPr/>
          <p:nvPr/>
        </p:nvSpPr>
        <p:spPr>
          <a:xfrm>
            <a:off x="590888" y="1621492"/>
            <a:ext cx="7086600" cy="1083997"/>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4" name="矩形 3">
            <a:extLst>
              <a:ext uri="{FF2B5EF4-FFF2-40B4-BE49-F238E27FC236}">
                <a16:creationId xmlns:a16="http://schemas.microsoft.com/office/drawing/2014/main" id="{E064333D-6471-46C6-9EB6-A7A7FD9DF751}"/>
              </a:ext>
            </a:extLst>
          </p:cNvPr>
          <p:cNvSpPr/>
          <p:nvPr/>
        </p:nvSpPr>
        <p:spPr>
          <a:xfrm>
            <a:off x="1084905" y="3315791"/>
            <a:ext cx="2740723" cy="88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与更昔洛韦相比，来特莫韦的抗病毒活性约</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高</a:t>
            </a:r>
            <a:r>
              <a:rPr lang="en-US" altLang="zh-CN" sz="1600" b="1" dirty="0">
                <a:solidFill>
                  <a:srgbClr val="C00000"/>
                </a:solidFill>
                <a:latin typeface="Arial" panose="020B0604020202020204" pitchFamily="34" charset="0"/>
                <a:ea typeface="微软雅黑" panose="020B0503020204020204" pitchFamily="34" charset="-122"/>
                <a:sym typeface="Arial" panose="020B0604020202020204" pitchFamily="34" charset="0"/>
              </a:rPr>
              <a:t>1000</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倍</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5" name="标题 4">
            <a:extLst>
              <a:ext uri="{FF2B5EF4-FFF2-40B4-BE49-F238E27FC236}">
                <a16:creationId xmlns:a16="http://schemas.microsoft.com/office/drawing/2014/main" id="{30F158DB-5F0E-D38C-1941-8719C050D5BA}"/>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4 </a:t>
            </a:r>
            <a:r>
              <a:rPr lang="zh-CN" altLang="en-US" dirty="0">
                <a:latin typeface="Arial" panose="020B0604020202020204" pitchFamily="34" charset="0"/>
                <a:sym typeface="Arial" panose="020B0604020202020204" pitchFamily="34" charset="0"/>
              </a:rPr>
              <a:t>创新性</a:t>
            </a:r>
          </a:p>
        </p:txBody>
      </p:sp>
      <p:sp>
        <p:nvSpPr>
          <p:cNvPr id="38" name="矩形 37"/>
          <p:cNvSpPr/>
          <p:nvPr/>
        </p:nvSpPr>
        <p:spPr>
          <a:xfrm>
            <a:off x="685154" y="1654935"/>
            <a:ext cx="6602968" cy="995914"/>
          </a:xfrm>
          <a:prstGeom prst="rect">
            <a:avLst/>
          </a:prstGeom>
        </p:spPr>
        <p:txBody>
          <a:bodyPr wrap="square">
            <a:spAutoFit/>
          </a:bodyPr>
          <a:lstStyle/>
          <a:p>
            <a:pPr algn="ctr">
              <a:lnSpc>
                <a:spcPct val="150000"/>
              </a:lnSpc>
            </a:pPr>
            <a:r>
              <a:rPr lang="zh-CN" altLang="en-US" sz="16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来特莫韦</a:t>
            </a: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机制创新</a:t>
            </a:r>
            <a:r>
              <a:rPr lang="zh-CN" altLang="en-US" sz="16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a:t>
            </a: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高度特异性抑制</a:t>
            </a:r>
            <a:r>
              <a:rPr lang="en-US" altLang="zh-CN"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CMA DNA</a:t>
            </a:r>
            <a:r>
              <a:rPr lang="zh-CN" altLang="en-US"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末端酶复合物，体外实验表明其抗病毒活性是更昔洛韦的</a:t>
            </a:r>
            <a:r>
              <a:rPr lang="en-US" altLang="zh-CN" sz="2400" b="1" dirty="0">
                <a:solidFill>
                  <a:srgbClr val="FF9933"/>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1000</a:t>
            </a:r>
            <a:r>
              <a:rPr lang="zh-CN" altLang="en-US" sz="2400" b="1" dirty="0">
                <a:solidFill>
                  <a:srgbClr val="FF9933"/>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rPr>
              <a:t>倍</a:t>
            </a:r>
            <a:r>
              <a:rPr lang="en-US" altLang="zh-CN" sz="1600" b="1" baseline="30000"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rPr>
              <a:t>1-2</a:t>
            </a:r>
            <a:endParaRPr lang="zh-CN" altLang="en-US" sz="1600" b="1" dirty="0">
              <a:solidFill>
                <a:schemeClr val="bg1"/>
              </a:solidFill>
              <a:effectLst>
                <a:outerShdw blurRad="38100" dist="38100" dir="2700000" algn="tl">
                  <a:srgbClr val="000000">
                    <a:alpha val="43137"/>
                  </a:srgbClr>
                </a:outerShdw>
              </a:effectLst>
              <a:latin typeface="Arial" panose="020B0604020202020204" pitchFamily="34" charset="0"/>
              <a:ea typeface="微软雅黑" panose="020B0503020204020204" pitchFamily="34" charset="-122"/>
              <a:sym typeface="Arial" panose="020B0604020202020204" pitchFamily="34" charset="0"/>
            </a:endParaRPr>
          </a:p>
        </p:txBody>
      </p:sp>
      <p:grpSp>
        <p:nvGrpSpPr>
          <p:cNvPr id="45" name="组合 44"/>
          <p:cNvGrpSpPr/>
          <p:nvPr/>
        </p:nvGrpSpPr>
        <p:grpSpPr>
          <a:xfrm>
            <a:off x="6533221" y="1538860"/>
            <a:ext cx="5027935" cy="3653080"/>
            <a:chOff x="6460485" y="1338020"/>
            <a:chExt cx="5027935" cy="3653080"/>
          </a:xfrm>
        </p:grpSpPr>
        <p:grpSp>
          <p:nvGrpSpPr>
            <p:cNvPr id="7" name="组合 6"/>
            <p:cNvGrpSpPr/>
            <p:nvPr/>
          </p:nvGrpSpPr>
          <p:grpSpPr>
            <a:xfrm>
              <a:off x="7397750" y="1338020"/>
              <a:ext cx="4090670" cy="3653080"/>
              <a:chOff x="673364" y="1646779"/>
              <a:chExt cx="6721616" cy="5541362"/>
            </a:xfrm>
          </p:grpSpPr>
          <p:grpSp>
            <p:nvGrpSpPr>
              <p:cNvPr id="8" name="组合 7"/>
              <p:cNvGrpSpPr/>
              <p:nvPr/>
            </p:nvGrpSpPr>
            <p:grpSpPr>
              <a:xfrm>
                <a:off x="673364" y="1646779"/>
                <a:ext cx="6721616" cy="5541362"/>
                <a:chOff x="813119" y="1810848"/>
                <a:chExt cx="6721616" cy="5541362"/>
              </a:xfrm>
            </p:grpSpPr>
            <p:sp>
              <p:nvSpPr>
                <p:cNvPr id="11" name="任意多边形 10"/>
                <p:cNvSpPr/>
                <p:nvPr/>
              </p:nvSpPr>
              <p:spPr>
                <a:xfrm>
                  <a:off x="813119" y="1810848"/>
                  <a:ext cx="6721616" cy="5541362"/>
                </a:xfrm>
                <a:custGeom>
                  <a:avLst/>
                  <a:gdLst>
                    <a:gd name="connsiteX0" fmla="*/ 371744 w 6721616"/>
                    <a:gd name="connsiteY0" fmla="*/ 0 h 5541362"/>
                    <a:gd name="connsiteX1" fmla="*/ 6349872 w 6721616"/>
                    <a:gd name="connsiteY1" fmla="*/ 0 h 5541362"/>
                    <a:gd name="connsiteX2" fmla="*/ 6721616 w 6721616"/>
                    <a:gd name="connsiteY2" fmla="*/ 371744 h 5541362"/>
                    <a:gd name="connsiteX3" fmla="*/ 6721616 w 6721616"/>
                    <a:gd name="connsiteY3" fmla="*/ 4258848 h 5541362"/>
                    <a:gd name="connsiteX4" fmla="*/ 6349872 w 6721616"/>
                    <a:gd name="connsiteY4" fmla="*/ 4630592 h 5541362"/>
                    <a:gd name="connsiteX5" fmla="*/ 2296531 w 6721616"/>
                    <a:gd name="connsiteY5" fmla="*/ 4630592 h 5541362"/>
                    <a:gd name="connsiteX6" fmla="*/ 2326582 w 6721616"/>
                    <a:gd name="connsiteY6" fmla="*/ 4685957 h 5541362"/>
                    <a:gd name="connsiteX7" fmla="*/ 2374969 w 6721616"/>
                    <a:gd name="connsiteY7" fmla="*/ 4925628 h 5541362"/>
                    <a:gd name="connsiteX8" fmla="*/ 1759235 w 6721616"/>
                    <a:gd name="connsiteY8" fmla="*/ 5541362 h 5541362"/>
                    <a:gd name="connsiteX9" fmla="*/ 1641316 w 6721616"/>
                    <a:gd name="connsiteY9" fmla="*/ 5541362 h 5541362"/>
                    <a:gd name="connsiteX10" fmla="*/ 1025582 w 6721616"/>
                    <a:gd name="connsiteY10" fmla="*/ 4925628 h 5541362"/>
                    <a:gd name="connsiteX11" fmla="*/ 1073970 w 6721616"/>
                    <a:gd name="connsiteY11" fmla="*/ 4685957 h 5541362"/>
                    <a:gd name="connsiteX12" fmla="*/ 1104021 w 6721616"/>
                    <a:gd name="connsiteY12" fmla="*/ 4630592 h 5541362"/>
                    <a:gd name="connsiteX13" fmla="*/ 371744 w 6721616"/>
                    <a:gd name="connsiteY13" fmla="*/ 4630592 h 5541362"/>
                    <a:gd name="connsiteX14" fmla="*/ 0 w 6721616"/>
                    <a:gd name="connsiteY14" fmla="*/ 4258848 h 5541362"/>
                    <a:gd name="connsiteX15" fmla="*/ 0 w 6721616"/>
                    <a:gd name="connsiteY15" fmla="*/ 371744 h 5541362"/>
                    <a:gd name="connsiteX16" fmla="*/ 371744 w 6721616"/>
                    <a:gd name="connsiteY16" fmla="*/ 0 h 554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21616" h="5541362">
                      <a:moveTo>
                        <a:pt x="371744" y="0"/>
                      </a:moveTo>
                      <a:lnTo>
                        <a:pt x="6349872" y="0"/>
                      </a:lnTo>
                      <a:cubicBezTo>
                        <a:pt x="6555181" y="0"/>
                        <a:pt x="6721616" y="166435"/>
                        <a:pt x="6721616" y="371744"/>
                      </a:cubicBezTo>
                      <a:lnTo>
                        <a:pt x="6721616" y="4258848"/>
                      </a:lnTo>
                      <a:cubicBezTo>
                        <a:pt x="6721616" y="4464157"/>
                        <a:pt x="6555181" y="4630592"/>
                        <a:pt x="6349872" y="4630592"/>
                      </a:cubicBezTo>
                      <a:lnTo>
                        <a:pt x="2296531" y="4630592"/>
                      </a:lnTo>
                      <a:lnTo>
                        <a:pt x="2326582" y="4685957"/>
                      </a:lnTo>
                      <a:cubicBezTo>
                        <a:pt x="2357740" y="4759622"/>
                        <a:pt x="2374969" y="4840613"/>
                        <a:pt x="2374969" y="4925628"/>
                      </a:cubicBezTo>
                      <a:cubicBezTo>
                        <a:pt x="2374969" y="5265688"/>
                        <a:pt x="2099295" y="5541362"/>
                        <a:pt x="1759235" y="5541362"/>
                      </a:cubicBezTo>
                      <a:lnTo>
                        <a:pt x="1641316" y="5541362"/>
                      </a:lnTo>
                      <a:cubicBezTo>
                        <a:pt x="1301256" y="5541362"/>
                        <a:pt x="1025582" y="5265688"/>
                        <a:pt x="1025582" y="4925628"/>
                      </a:cubicBezTo>
                      <a:cubicBezTo>
                        <a:pt x="1025582" y="4840613"/>
                        <a:pt x="1042812" y="4759622"/>
                        <a:pt x="1073970" y="4685957"/>
                      </a:cubicBezTo>
                      <a:lnTo>
                        <a:pt x="1104021" y="4630592"/>
                      </a:lnTo>
                      <a:lnTo>
                        <a:pt x="371744" y="4630592"/>
                      </a:lnTo>
                      <a:cubicBezTo>
                        <a:pt x="166435" y="4630592"/>
                        <a:pt x="0" y="4464157"/>
                        <a:pt x="0" y="4258848"/>
                      </a:cubicBezTo>
                      <a:lnTo>
                        <a:pt x="0" y="371744"/>
                      </a:lnTo>
                      <a:cubicBezTo>
                        <a:pt x="0" y="166435"/>
                        <a:pt x="166435" y="0"/>
                        <a:pt x="371744" y="0"/>
                      </a:cubicBezTo>
                      <a:close/>
                    </a:path>
                  </a:pathLst>
                </a:custGeom>
                <a:solidFill>
                  <a:schemeClr val="bg1">
                    <a:lumMod val="95000"/>
                  </a:schemeClr>
                </a:solidFill>
                <a:ln>
                  <a:solidFill>
                    <a:schemeClr val="tx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nvGrpSpPr>
                <p:cNvPr id="12" name="组合 11"/>
                <p:cNvGrpSpPr/>
                <p:nvPr/>
              </p:nvGrpSpPr>
              <p:grpSpPr>
                <a:xfrm>
                  <a:off x="1129665" y="2507255"/>
                  <a:ext cx="6055451" cy="4680886"/>
                  <a:chOff x="1759680" y="3084197"/>
                  <a:chExt cx="6055451" cy="4680886"/>
                </a:xfrm>
              </p:grpSpPr>
              <p:sp>
                <p:nvSpPr>
                  <p:cNvPr id="13" name="矩形 12"/>
                  <p:cNvSpPr/>
                  <p:nvPr/>
                </p:nvSpPr>
                <p:spPr>
                  <a:xfrm>
                    <a:off x="3634107" y="3549604"/>
                    <a:ext cx="1227965" cy="385166"/>
                  </a:xfrm>
                  <a:prstGeom prst="rect">
                    <a:avLst/>
                  </a:prstGeom>
                </p:spPr>
                <p:txBody>
                  <a:bodyPr wrap="none">
                    <a:spAutoFit/>
                  </a:bodyPr>
                  <a:lstStyle/>
                  <a:p>
                    <a:r>
                      <a:rPr lang="zh-CN" altLang="en-US" sz="1050" b="1" dirty="0">
                        <a:latin typeface="Arial" panose="020B0604020202020204" pitchFamily="34" charset="0"/>
                        <a:ea typeface="微软雅黑" panose="020B0503020204020204" pitchFamily="34" charset="-122"/>
                        <a:sym typeface="Arial" panose="020B0604020202020204" pitchFamily="34" charset="0"/>
                      </a:rPr>
                      <a:t>病毒DNA</a:t>
                    </a:r>
                  </a:p>
                </p:txBody>
              </p:sp>
              <p:sp>
                <p:nvSpPr>
                  <p:cNvPr id="14" name="同心圆 13"/>
                  <p:cNvSpPr/>
                  <p:nvPr/>
                </p:nvSpPr>
                <p:spPr>
                  <a:xfrm>
                    <a:off x="3457016" y="3084197"/>
                    <a:ext cx="1505541" cy="1339490"/>
                  </a:xfrm>
                  <a:prstGeom prst="donut">
                    <a:avLst>
                      <a:gd name="adj" fmla="val 12569"/>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solidFill>
                        <a:schemeClr val="tx1"/>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矩形 14"/>
                  <p:cNvSpPr/>
                  <p:nvPr/>
                </p:nvSpPr>
                <p:spPr>
                  <a:xfrm>
                    <a:off x="4218403" y="4256314"/>
                    <a:ext cx="744154" cy="15922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nvGrpSpPr>
                  <p:cNvPr id="16" name="组合 15"/>
                  <p:cNvGrpSpPr/>
                  <p:nvPr/>
                </p:nvGrpSpPr>
                <p:grpSpPr>
                  <a:xfrm>
                    <a:off x="4928537" y="4256314"/>
                    <a:ext cx="2862912" cy="159229"/>
                    <a:chOff x="4928537" y="4256314"/>
                    <a:chExt cx="2862912" cy="159229"/>
                  </a:xfrm>
                </p:grpSpPr>
                <p:sp>
                  <p:nvSpPr>
                    <p:cNvPr id="31" name="矩形 30"/>
                    <p:cNvSpPr/>
                    <p:nvPr/>
                  </p:nvSpPr>
                  <p:spPr>
                    <a:xfrm>
                      <a:off x="4928537" y="4256314"/>
                      <a:ext cx="744154" cy="159229"/>
                    </a:xfrm>
                    <a:prstGeom prst="rect">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sp>
                  <p:nvSpPr>
                    <p:cNvPr id="32" name="矩形 31"/>
                    <p:cNvSpPr/>
                    <p:nvPr/>
                  </p:nvSpPr>
                  <p:spPr>
                    <a:xfrm>
                      <a:off x="5638670" y="4256314"/>
                      <a:ext cx="2152779" cy="1592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sp>
                <p:nvSpPr>
                  <p:cNvPr id="17" name="矩形 16"/>
                  <p:cNvSpPr/>
                  <p:nvPr/>
                </p:nvSpPr>
                <p:spPr>
                  <a:xfrm>
                    <a:off x="4928537" y="4225710"/>
                    <a:ext cx="45719" cy="220436"/>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cxnSp>
                <p:nvCxnSpPr>
                  <p:cNvPr id="18" name="直接箭头连接符 17"/>
                  <p:cNvCxnSpPr/>
                  <p:nvPr/>
                </p:nvCxnSpPr>
                <p:spPr>
                  <a:xfrm>
                    <a:off x="4941237" y="4693207"/>
                    <a:ext cx="0" cy="934092"/>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9" name="组合 18"/>
                  <p:cNvGrpSpPr/>
                  <p:nvPr/>
                </p:nvGrpSpPr>
                <p:grpSpPr>
                  <a:xfrm>
                    <a:off x="4952219" y="5674651"/>
                    <a:ext cx="2862912" cy="159229"/>
                    <a:chOff x="4928537" y="4256314"/>
                    <a:chExt cx="2862912" cy="159229"/>
                  </a:xfrm>
                </p:grpSpPr>
                <p:sp>
                  <p:nvSpPr>
                    <p:cNvPr id="29" name="矩形 28"/>
                    <p:cNvSpPr/>
                    <p:nvPr/>
                  </p:nvSpPr>
                  <p:spPr>
                    <a:xfrm>
                      <a:off x="4928537" y="4256314"/>
                      <a:ext cx="744154" cy="159229"/>
                    </a:xfrm>
                    <a:prstGeom prst="rect">
                      <a:avLst/>
                    </a:prstGeom>
                    <a:solidFill>
                      <a:srgbClr val="00B0F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sp>
                  <p:nvSpPr>
                    <p:cNvPr id="30" name="矩形 29"/>
                    <p:cNvSpPr/>
                    <p:nvPr/>
                  </p:nvSpPr>
                  <p:spPr>
                    <a:xfrm>
                      <a:off x="5638670" y="4256314"/>
                      <a:ext cx="2152779" cy="15922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050">
                        <a:latin typeface="Arial" panose="020B0604020202020204" pitchFamily="34" charset="0"/>
                        <a:ea typeface="微软雅黑" panose="020B0503020204020204" pitchFamily="34" charset="-122"/>
                        <a:sym typeface="Arial" panose="020B0604020202020204" pitchFamily="34" charset="0"/>
                      </a:endParaRPr>
                    </a:p>
                  </p:txBody>
                </p:sp>
              </p:grpSp>
              <p:pic>
                <p:nvPicPr>
                  <p:cNvPr id="20" name="图片 19"/>
                  <p:cNvPicPr>
                    <a:picLocks noChangeAspect="1"/>
                  </p:cNvPicPr>
                  <p:nvPr/>
                </p:nvPicPr>
                <p:blipFill>
                  <a:blip r:embed="rId3"/>
                  <a:srcRect l="20489" t="8475" r="2264" b="3858"/>
                  <a:stretch>
                    <a:fillRect/>
                  </a:stretch>
                </p:blipFill>
                <p:spPr>
                  <a:xfrm>
                    <a:off x="2636843" y="5295724"/>
                    <a:ext cx="963612" cy="921562"/>
                  </a:xfrm>
                  <a:custGeom>
                    <a:avLst/>
                    <a:gdLst>
                      <a:gd name="connsiteX0" fmla="*/ 647700 w 1309688"/>
                      <a:gd name="connsiteY0" fmla="*/ 0 h 1252537"/>
                      <a:gd name="connsiteX1" fmla="*/ 1271588 w 1309688"/>
                      <a:gd name="connsiteY1" fmla="*/ 323850 h 1252537"/>
                      <a:gd name="connsiteX2" fmla="*/ 1309688 w 1309688"/>
                      <a:gd name="connsiteY2" fmla="*/ 966787 h 1252537"/>
                      <a:gd name="connsiteX3" fmla="*/ 652463 w 1309688"/>
                      <a:gd name="connsiteY3" fmla="*/ 1252537 h 1252537"/>
                      <a:gd name="connsiteX4" fmla="*/ 0 w 1309688"/>
                      <a:gd name="connsiteY4" fmla="*/ 938212 h 1252537"/>
                      <a:gd name="connsiteX5" fmla="*/ 61913 w 1309688"/>
                      <a:gd name="connsiteY5" fmla="*/ 323850 h 125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9688" h="1252537">
                        <a:moveTo>
                          <a:pt x="647700" y="0"/>
                        </a:moveTo>
                        <a:lnTo>
                          <a:pt x="1271588" y="323850"/>
                        </a:lnTo>
                        <a:lnTo>
                          <a:pt x="1309688" y="966787"/>
                        </a:lnTo>
                        <a:lnTo>
                          <a:pt x="652463" y="1252537"/>
                        </a:lnTo>
                        <a:lnTo>
                          <a:pt x="0" y="938212"/>
                        </a:lnTo>
                        <a:lnTo>
                          <a:pt x="61913" y="323850"/>
                        </a:lnTo>
                        <a:close/>
                      </a:path>
                    </a:pathLst>
                  </a:custGeom>
                </p:spPr>
              </p:pic>
              <p:sp>
                <p:nvSpPr>
                  <p:cNvPr id="21" name="矩形 20"/>
                  <p:cNvSpPr/>
                  <p:nvPr/>
                </p:nvSpPr>
                <p:spPr>
                  <a:xfrm>
                    <a:off x="5342767" y="4500620"/>
                    <a:ext cx="1567748" cy="373493"/>
                  </a:xfrm>
                  <a:prstGeom prst="rect">
                    <a:avLst/>
                  </a:prstGeom>
                </p:spPr>
                <p:txBody>
                  <a:bodyPr wrap="none">
                    <a:spAutoFit/>
                  </a:bodyPr>
                  <a:lstStyle/>
                  <a:p>
                    <a:r>
                      <a:rPr lang="zh-CN" altLang="en-US" sz="1000" dirty="0">
                        <a:latin typeface="Arial" panose="020B0604020202020204" pitchFamily="34" charset="0"/>
                        <a:ea typeface="微软雅黑" panose="020B0503020204020204" pitchFamily="34" charset="-122"/>
                        <a:sym typeface="Arial" panose="020B0604020202020204" pitchFamily="34" charset="0"/>
                      </a:rPr>
                      <a:t>末端酶复合物</a:t>
                    </a:r>
                  </a:p>
                </p:txBody>
              </p:sp>
              <p:sp>
                <p:nvSpPr>
                  <p:cNvPr id="22" name="矩形 21"/>
                  <p:cNvSpPr/>
                  <p:nvPr/>
                </p:nvSpPr>
                <p:spPr>
                  <a:xfrm>
                    <a:off x="1783271" y="3482745"/>
                    <a:ext cx="1567748" cy="606927"/>
                  </a:xfrm>
                  <a:prstGeom prst="rect">
                    <a:avLst/>
                  </a:prstGeom>
                </p:spPr>
                <p:txBody>
                  <a:bodyPr wrap="none">
                    <a:spAutoFit/>
                  </a:bodyPr>
                  <a:lstStyle/>
                  <a:p>
                    <a:pPr algn="ctr"/>
                    <a:r>
                      <a:rPr lang="zh-CN" altLang="en-US" sz="1000" b="1" dirty="0">
                        <a:latin typeface="Arial" panose="020B0604020202020204" pitchFamily="34" charset="0"/>
                        <a:ea typeface="微软雅黑" panose="020B0503020204020204" pitchFamily="34" charset="-122"/>
                        <a:sym typeface="Arial" panose="020B0604020202020204" pitchFamily="34" charset="0"/>
                      </a:rPr>
                      <a:t>脱氧核糖核酸</a:t>
                    </a:r>
                    <a:endParaRPr lang="en-US" altLang="zh-CN" sz="1000" b="1" dirty="0">
                      <a:latin typeface="Arial" panose="020B0604020202020204" pitchFamily="34" charset="0"/>
                      <a:ea typeface="微软雅黑" panose="020B0503020204020204" pitchFamily="34" charset="-122"/>
                      <a:sym typeface="Arial" panose="020B0604020202020204" pitchFamily="34" charset="0"/>
                    </a:endParaRPr>
                  </a:p>
                  <a:p>
                    <a:pPr algn="ctr"/>
                    <a:r>
                      <a:rPr lang="zh-CN" altLang="en-US" sz="1000" b="1" dirty="0">
                        <a:latin typeface="Arial" panose="020B0604020202020204" pitchFamily="34" charset="0"/>
                        <a:ea typeface="微软雅黑" panose="020B0503020204020204" pitchFamily="34" charset="-122"/>
                        <a:sym typeface="Arial" panose="020B0604020202020204" pitchFamily="34" charset="0"/>
                      </a:rPr>
                      <a:t>串联体</a:t>
                    </a:r>
                  </a:p>
                </p:txBody>
              </p:sp>
              <p:cxnSp>
                <p:nvCxnSpPr>
                  <p:cNvPr id="23" name="直接箭头连接符 22"/>
                  <p:cNvCxnSpPr/>
                  <p:nvPr/>
                </p:nvCxnSpPr>
                <p:spPr>
                  <a:xfrm rot="5400000">
                    <a:off x="4276337" y="5242294"/>
                    <a:ext cx="0" cy="100847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矩形 23"/>
                  <p:cNvSpPr/>
                  <p:nvPr/>
                </p:nvSpPr>
                <p:spPr>
                  <a:xfrm>
                    <a:off x="4069152" y="5835682"/>
                    <a:ext cx="724873" cy="373493"/>
                  </a:xfrm>
                  <a:prstGeom prst="rect">
                    <a:avLst/>
                  </a:prstGeom>
                </p:spPr>
                <p:txBody>
                  <a:bodyPr wrap="none">
                    <a:spAutoFit/>
                  </a:bodyPr>
                  <a:lstStyle/>
                  <a:p>
                    <a:r>
                      <a:rPr lang="zh-CN" altLang="en-US" sz="1000" dirty="0">
                        <a:latin typeface="Arial" panose="020B0604020202020204" pitchFamily="34" charset="0"/>
                        <a:ea typeface="微软雅黑" panose="020B0503020204020204" pitchFamily="34" charset="-122"/>
                        <a:sym typeface="Arial" panose="020B0604020202020204" pitchFamily="34" charset="0"/>
                      </a:rPr>
                      <a:t>包装</a:t>
                    </a:r>
                  </a:p>
                </p:txBody>
              </p:sp>
              <p:sp>
                <p:nvSpPr>
                  <p:cNvPr id="25" name="矩形 24"/>
                  <p:cNvSpPr/>
                  <p:nvPr/>
                </p:nvSpPr>
                <p:spPr>
                  <a:xfrm>
                    <a:off x="1759680" y="6580014"/>
                    <a:ext cx="935593" cy="373493"/>
                  </a:xfrm>
                  <a:prstGeom prst="rect">
                    <a:avLst/>
                  </a:prstGeom>
                </p:spPr>
                <p:txBody>
                  <a:bodyPr wrap="none">
                    <a:spAutoFit/>
                  </a:bodyPr>
                  <a:lstStyle/>
                  <a:p>
                    <a:r>
                      <a:rPr lang="zh-CN" altLang="en-US" sz="1000" dirty="0">
                        <a:latin typeface="Arial" panose="020B0604020202020204" pitchFamily="34" charset="0"/>
                        <a:ea typeface="微软雅黑" panose="020B0503020204020204" pitchFamily="34" charset="-122"/>
                        <a:sym typeface="Arial" panose="020B0604020202020204" pitchFamily="34" charset="0"/>
                      </a:rPr>
                      <a:t>核出口</a:t>
                    </a:r>
                  </a:p>
                </p:txBody>
              </p:sp>
              <p:pic>
                <p:nvPicPr>
                  <p:cNvPr id="26" name="图片 25"/>
                  <p:cNvPicPr>
                    <a:picLocks noChangeAspect="1"/>
                  </p:cNvPicPr>
                  <p:nvPr/>
                </p:nvPicPr>
                <p:blipFill>
                  <a:blip r:embed="rId3"/>
                  <a:srcRect l="20489" t="8475" r="2264" b="3858"/>
                  <a:stretch>
                    <a:fillRect/>
                  </a:stretch>
                </p:blipFill>
                <p:spPr>
                  <a:xfrm>
                    <a:off x="2636843" y="6843521"/>
                    <a:ext cx="963612" cy="921562"/>
                  </a:xfrm>
                  <a:custGeom>
                    <a:avLst/>
                    <a:gdLst>
                      <a:gd name="connsiteX0" fmla="*/ 647700 w 1309688"/>
                      <a:gd name="connsiteY0" fmla="*/ 0 h 1252537"/>
                      <a:gd name="connsiteX1" fmla="*/ 1271588 w 1309688"/>
                      <a:gd name="connsiteY1" fmla="*/ 323850 h 1252537"/>
                      <a:gd name="connsiteX2" fmla="*/ 1309688 w 1309688"/>
                      <a:gd name="connsiteY2" fmla="*/ 966787 h 1252537"/>
                      <a:gd name="connsiteX3" fmla="*/ 652463 w 1309688"/>
                      <a:gd name="connsiteY3" fmla="*/ 1252537 h 1252537"/>
                      <a:gd name="connsiteX4" fmla="*/ 0 w 1309688"/>
                      <a:gd name="connsiteY4" fmla="*/ 938212 h 1252537"/>
                      <a:gd name="connsiteX5" fmla="*/ 61913 w 1309688"/>
                      <a:gd name="connsiteY5" fmla="*/ 323850 h 125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9688" h="1252537">
                        <a:moveTo>
                          <a:pt x="647700" y="0"/>
                        </a:moveTo>
                        <a:lnTo>
                          <a:pt x="1271588" y="323850"/>
                        </a:lnTo>
                        <a:lnTo>
                          <a:pt x="1309688" y="966787"/>
                        </a:lnTo>
                        <a:lnTo>
                          <a:pt x="652463" y="1252537"/>
                        </a:lnTo>
                        <a:lnTo>
                          <a:pt x="0" y="938212"/>
                        </a:lnTo>
                        <a:lnTo>
                          <a:pt x="61913" y="323850"/>
                        </a:lnTo>
                        <a:close/>
                      </a:path>
                    </a:pathLst>
                  </a:custGeom>
                </p:spPr>
              </p:pic>
              <p:cxnSp>
                <p:nvCxnSpPr>
                  <p:cNvPr id="27" name="直接箭头连接符 26"/>
                  <p:cNvCxnSpPr/>
                  <p:nvPr/>
                </p:nvCxnSpPr>
                <p:spPr>
                  <a:xfrm>
                    <a:off x="3118649" y="6316280"/>
                    <a:ext cx="0" cy="451058"/>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8" name="矩形 27"/>
                  <p:cNvSpPr/>
                  <p:nvPr/>
                </p:nvSpPr>
                <p:spPr>
                  <a:xfrm>
                    <a:off x="5342767" y="4778266"/>
                    <a:ext cx="946129" cy="840360"/>
                  </a:xfrm>
                  <a:prstGeom prst="rect">
                    <a:avLst/>
                  </a:prstGeom>
                </p:spPr>
                <p:txBody>
                  <a:bodyPr wrap="none">
                    <a:spAutoFit/>
                  </a:bodyPr>
                  <a:lstStyle/>
                  <a:p>
                    <a:r>
                      <a:rPr lang="en-US" altLang="zh-CN" sz="1000" b="1" dirty="0">
                        <a:solidFill>
                          <a:srgbClr val="C00000"/>
                        </a:solidFill>
                        <a:latin typeface="Arial" panose="020B0604020202020204" pitchFamily="34" charset="0"/>
                        <a:ea typeface="微软雅黑" panose="020B0503020204020204" pitchFamily="34" charset="-122"/>
                        <a:sym typeface="Arial" panose="020B0604020202020204" pitchFamily="34" charset="0"/>
                      </a:rPr>
                      <a:t>pUL56</a:t>
                    </a:r>
                  </a:p>
                  <a:p>
                    <a:r>
                      <a:rPr lang="en-US" altLang="zh-CN" sz="1000" b="1" dirty="0">
                        <a:latin typeface="Arial" panose="020B0604020202020204" pitchFamily="34" charset="0"/>
                        <a:ea typeface="微软雅黑" panose="020B0503020204020204" pitchFamily="34" charset="-122"/>
                        <a:sym typeface="Arial" panose="020B0604020202020204" pitchFamily="34" charset="0"/>
                      </a:rPr>
                      <a:t>pUL89</a:t>
                    </a:r>
                  </a:p>
                  <a:p>
                    <a:r>
                      <a:rPr lang="en-US" altLang="zh-CN" sz="1000" b="1" dirty="0">
                        <a:latin typeface="Arial" panose="020B0604020202020204" pitchFamily="34" charset="0"/>
                        <a:ea typeface="微软雅黑" panose="020B0503020204020204" pitchFamily="34" charset="-122"/>
                        <a:sym typeface="Arial" panose="020B0604020202020204" pitchFamily="34" charset="0"/>
                      </a:rPr>
                      <a:t>pUL51</a:t>
                    </a:r>
                    <a:endParaRPr lang="zh-CN" altLang="en-US" sz="1000" b="1" dirty="0">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9" name="矩形 8"/>
              <p:cNvSpPr/>
              <p:nvPr/>
            </p:nvSpPr>
            <p:spPr>
              <a:xfrm>
                <a:off x="3497545" y="4158055"/>
                <a:ext cx="724872" cy="373493"/>
              </a:xfrm>
              <a:prstGeom prst="rect">
                <a:avLst/>
              </a:prstGeom>
            </p:spPr>
            <p:txBody>
              <a:bodyPr wrap="none">
                <a:spAutoFit/>
              </a:bodyPr>
              <a:lstStyle/>
              <a:p>
                <a:r>
                  <a:rPr lang="zh-CN" altLang="en-US" sz="1000" dirty="0">
                    <a:solidFill>
                      <a:srgbClr val="2E3033"/>
                    </a:solidFill>
                    <a:latin typeface="Arial" panose="020B0604020202020204" pitchFamily="34" charset="0"/>
                    <a:ea typeface="微软雅黑" panose="020B0503020204020204" pitchFamily="34" charset="-122"/>
                    <a:sym typeface="Arial" panose="020B0604020202020204" pitchFamily="34" charset="0"/>
                  </a:rPr>
                  <a:t>切割</a:t>
                </a:r>
                <a:endParaRPr lang="zh-CN" altLang="en-US" sz="1000" b="0" i="0" dirty="0">
                  <a:solidFill>
                    <a:srgbClr val="2E3033"/>
                  </a:solidFill>
                  <a:effectLst/>
                  <a:latin typeface="Arial" panose="020B0604020202020204" pitchFamily="34" charset="0"/>
                  <a:ea typeface="微软雅黑" panose="020B0503020204020204" pitchFamily="34" charset="-122"/>
                  <a:sym typeface="Arial" panose="020B0604020202020204" pitchFamily="34" charset="0"/>
                </a:endParaRPr>
              </a:p>
            </p:txBody>
          </p:sp>
          <p:sp>
            <p:nvSpPr>
              <p:cNvPr id="10" name="矩形 9"/>
              <p:cNvSpPr/>
              <p:nvPr/>
            </p:nvSpPr>
            <p:spPr>
              <a:xfrm>
                <a:off x="3782338" y="3701281"/>
                <a:ext cx="977736" cy="326807"/>
              </a:xfrm>
              <a:prstGeom prst="rect">
                <a:avLst/>
              </a:prstGeom>
            </p:spPr>
            <p:txBody>
              <a:bodyPr wrap="none">
                <a:spAutoFit/>
              </a:bodyPr>
              <a:lstStyle/>
              <a:p>
                <a:r>
                  <a:rPr lang="zh-CN" altLang="en-US" sz="800" dirty="0">
                    <a:latin typeface="Arial" panose="020B0604020202020204" pitchFamily="34" charset="0"/>
                    <a:ea typeface="微软雅黑" panose="020B0503020204020204" pitchFamily="34" charset="-122"/>
                    <a:sym typeface="Arial" panose="020B0604020202020204" pitchFamily="34" charset="0"/>
                  </a:rPr>
                  <a:t>结合位点</a:t>
                </a:r>
              </a:p>
            </p:txBody>
          </p:sp>
        </p:grpSp>
        <p:grpSp>
          <p:nvGrpSpPr>
            <p:cNvPr id="44" name="组合 43"/>
            <p:cNvGrpSpPr/>
            <p:nvPr/>
          </p:nvGrpSpPr>
          <p:grpSpPr>
            <a:xfrm>
              <a:off x="6460485" y="2354209"/>
              <a:ext cx="2605195" cy="1184830"/>
              <a:chOff x="6460485" y="2354209"/>
              <a:chExt cx="2605195" cy="1184830"/>
            </a:xfrm>
          </p:grpSpPr>
          <p:grpSp>
            <p:nvGrpSpPr>
              <p:cNvPr id="37" name="组合 36"/>
              <p:cNvGrpSpPr/>
              <p:nvPr/>
            </p:nvGrpSpPr>
            <p:grpSpPr>
              <a:xfrm>
                <a:off x="6460485" y="2354209"/>
                <a:ext cx="1225776" cy="1184830"/>
                <a:chOff x="3087961" y="3054071"/>
                <a:chExt cx="1705552" cy="1648580"/>
              </a:xfrm>
            </p:grpSpPr>
            <p:sp>
              <p:nvSpPr>
                <p:cNvPr id="33" name="椭圆 32"/>
                <p:cNvSpPr/>
                <p:nvPr/>
              </p:nvSpPr>
              <p:spPr>
                <a:xfrm>
                  <a:off x="3087961" y="3054071"/>
                  <a:ext cx="1705552" cy="1648580"/>
                </a:xfrm>
                <a:prstGeom prst="ellipse">
                  <a:avLst/>
                </a:prstGeom>
                <a:solidFill>
                  <a:schemeClr val="bg1"/>
                </a:solidFill>
                <a:ln>
                  <a:solidFill>
                    <a:schemeClr val="tx2"/>
                  </a:solidFill>
                </a:ln>
              </p:spPr>
              <p:style>
                <a:lnRef idx="0">
                  <a:scrgbClr r="0" g="0" b="0"/>
                </a:lnRef>
                <a:fillRef idx="0">
                  <a:scrgbClr r="0" g="0" b="0"/>
                </a:fillRef>
                <a:effectRef idx="0">
                  <a:scrgbClr r="0" g="0" b="0"/>
                </a:effectRef>
                <a:fontRef idx="minor">
                  <a:schemeClr val="lt1"/>
                </a:fontRef>
              </p:style>
              <p:txBody>
                <a:bodyPr rtlCol="0" anchor="ctr"/>
                <a:lstStyle/>
                <a:p>
                  <a:pPr algn="ctr"/>
                  <a:endParaRPr lang="zh-CN" altLang="en-US" sz="1400">
                    <a:latin typeface="Arial" panose="020B0604020202020204" pitchFamily="34" charset="0"/>
                    <a:ea typeface="微软雅黑" panose="020B0503020204020204" pitchFamily="34" charset="-122"/>
                    <a:sym typeface="Arial" panose="020B0604020202020204" pitchFamily="34" charset="0"/>
                  </a:endParaRPr>
                </a:p>
              </p:txBody>
            </p:sp>
            <p:grpSp>
              <p:nvGrpSpPr>
                <p:cNvPr id="34" name="组合 33"/>
                <p:cNvGrpSpPr/>
                <p:nvPr/>
              </p:nvGrpSpPr>
              <p:grpSpPr>
                <a:xfrm>
                  <a:off x="3305833" y="3312446"/>
                  <a:ext cx="1305659" cy="1331280"/>
                  <a:chOff x="7048966" y="4103050"/>
                  <a:chExt cx="2616276" cy="2667616"/>
                </a:xfrm>
              </p:grpSpPr>
              <p:pic>
                <p:nvPicPr>
                  <p:cNvPr id="35" name="图片 34"/>
                  <p:cNvPicPr>
                    <a:picLocks noChangeAspect="1"/>
                  </p:cNvPicPr>
                  <p:nvPr/>
                </p:nvPicPr>
                <p:blipFill>
                  <a:blip r:embed="rId4">
                    <a:clrChange>
                      <a:clrFrom>
                        <a:srgbClr val="FFFFFF"/>
                      </a:clrFrom>
                      <a:clrTo>
                        <a:srgbClr val="FFFFFF">
                          <a:alpha val="0"/>
                        </a:srgbClr>
                      </a:clrTo>
                    </a:clrChange>
                    <a:extLst>
                      <a:ext uri="{BEBA8EAE-BF5A-486C-A8C5-ECC9F3942E4B}">
                        <a14:imgProps xmlns:a14="http://schemas.microsoft.com/office/drawing/2010/main">
                          <a14:imgLayer r:embed="rId5">
                            <a14:imgEffect>
                              <a14:brightnessContrast contrast="-40000"/>
                            </a14:imgEffect>
                            <a14:imgEffect>
                              <a14:sharpenSoften amount="50000"/>
                            </a14:imgEffect>
                          </a14:imgLayer>
                        </a14:imgProps>
                      </a:ext>
                    </a:extLst>
                  </a:blip>
                  <a:stretch>
                    <a:fillRect/>
                  </a:stretch>
                </p:blipFill>
                <p:spPr>
                  <a:xfrm>
                    <a:off x="7267258" y="4103050"/>
                    <a:ext cx="2397984" cy="2087817"/>
                  </a:xfrm>
                  <a:prstGeom prst="rect">
                    <a:avLst/>
                  </a:prstGeom>
                </p:spPr>
              </p:pic>
              <p:sp>
                <p:nvSpPr>
                  <p:cNvPr id="36" name="文本框 35"/>
                  <p:cNvSpPr txBox="1"/>
                  <p:nvPr/>
                </p:nvSpPr>
                <p:spPr>
                  <a:xfrm>
                    <a:off x="7048966" y="5998366"/>
                    <a:ext cx="2544435" cy="772300"/>
                  </a:xfrm>
                  <a:prstGeom prst="rect">
                    <a:avLst/>
                  </a:prstGeom>
                  <a:noFill/>
                </p:spPr>
                <p:txBody>
                  <a:bodyPr wrap="square" rtlCol="0" anchor="t">
                    <a:spAutoFit/>
                  </a:bodyPr>
                  <a:lstStyle/>
                  <a:p>
                    <a:pPr algn="ctr"/>
                    <a:r>
                      <a:rPr lang="zh-CN" altLang="en-US" sz="1200" dirty="0">
                        <a:latin typeface="Arial" panose="020B0604020202020204" pitchFamily="34" charset="0"/>
                        <a:ea typeface="微软雅黑" panose="020B0503020204020204" pitchFamily="34" charset="-122"/>
                        <a:sym typeface="Arial" panose="020B0604020202020204" pitchFamily="34" charset="0"/>
                      </a:rPr>
                      <a:t>来特莫韦</a:t>
                    </a:r>
                  </a:p>
                </p:txBody>
              </p:sp>
            </p:grpSp>
          </p:grpSp>
          <p:sp>
            <p:nvSpPr>
              <p:cNvPr id="41" name="右箭头 40"/>
              <p:cNvSpPr/>
              <p:nvPr/>
            </p:nvSpPr>
            <p:spPr>
              <a:xfrm>
                <a:off x="7549268" y="2885993"/>
                <a:ext cx="1516412" cy="197885"/>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42" name="矩形 41"/>
          <p:cNvSpPr/>
          <p:nvPr/>
        </p:nvSpPr>
        <p:spPr>
          <a:xfrm>
            <a:off x="1228335" y="2962798"/>
            <a:ext cx="1654620" cy="369332"/>
          </a:xfrm>
          <a:prstGeom prst="rect">
            <a:avLst/>
          </a:prstGeom>
        </p:spPr>
        <p:txBody>
          <a:bodyPr wrap="none">
            <a:spAutoFit/>
          </a:bodyPr>
          <a:lstStyle/>
          <a:p>
            <a:r>
              <a:rPr lang="zh-CN" altLang="en-US" b="1" dirty="0">
                <a:solidFill>
                  <a:srgbClr val="00857C"/>
                </a:solidFill>
                <a:latin typeface="Arial" panose="020B0604020202020204" pitchFamily="34" charset="0"/>
                <a:ea typeface="微软雅黑" panose="020B0503020204020204" pitchFamily="34" charset="-122"/>
                <a:sym typeface="Arial" panose="020B0604020202020204" pitchFamily="34" charset="0"/>
              </a:rPr>
              <a:t>抗病毒活性高</a:t>
            </a:r>
            <a:r>
              <a:rPr lang="en-US" altLang="zh-CN" b="1" baseline="30000" dirty="0">
                <a:solidFill>
                  <a:srgbClr val="00857C"/>
                </a:solidFill>
                <a:latin typeface="Arial" panose="020B0604020202020204" pitchFamily="34" charset="0"/>
                <a:ea typeface="微软雅黑" panose="020B0503020204020204" pitchFamily="34" charset="-122"/>
                <a:sym typeface="Arial" panose="020B0604020202020204" pitchFamily="34" charset="0"/>
              </a:rPr>
              <a:t>3</a:t>
            </a:r>
            <a:endParaRPr lang="zh-CN" altLang="en-US"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52" name="组合 51"/>
          <p:cNvGrpSpPr/>
          <p:nvPr/>
        </p:nvGrpSpPr>
        <p:grpSpPr>
          <a:xfrm>
            <a:off x="834706" y="3020036"/>
            <a:ext cx="263296" cy="263296"/>
            <a:chOff x="845097" y="2843391"/>
            <a:chExt cx="263296" cy="263296"/>
          </a:xfrm>
        </p:grpSpPr>
        <p:sp>
          <p:nvSpPr>
            <p:cNvPr id="49" name="椭圆 48"/>
            <p:cNvSpPr/>
            <p:nvPr/>
          </p:nvSpPr>
          <p:spPr>
            <a:xfrm>
              <a:off x="845097" y="2843391"/>
              <a:ext cx="263296" cy="263296"/>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0" name="椭圆 49"/>
            <p:cNvSpPr/>
            <p:nvPr/>
          </p:nvSpPr>
          <p:spPr>
            <a:xfrm>
              <a:off x="858194" y="2856488"/>
              <a:ext cx="237102" cy="23710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51" name="椭圆 50"/>
            <p:cNvSpPr/>
            <p:nvPr/>
          </p:nvSpPr>
          <p:spPr>
            <a:xfrm>
              <a:off x="931934" y="2930228"/>
              <a:ext cx="89622" cy="8962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61" name="矩形 60"/>
          <p:cNvSpPr/>
          <p:nvPr/>
        </p:nvSpPr>
        <p:spPr>
          <a:xfrm>
            <a:off x="4076508" y="2962798"/>
            <a:ext cx="2577950" cy="369332"/>
          </a:xfrm>
          <a:prstGeom prst="rect">
            <a:avLst/>
          </a:prstGeom>
        </p:spPr>
        <p:txBody>
          <a:bodyPr wrap="none">
            <a:spAutoFit/>
          </a:bodyPr>
          <a:lstStyle/>
          <a:p>
            <a:r>
              <a:rPr lang="zh-CN" altLang="en-US" b="1" dirty="0">
                <a:solidFill>
                  <a:srgbClr val="00857C"/>
                </a:solidFill>
                <a:latin typeface="Arial" panose="020B0604020202020204" pitchFamily="34" charset="0"/>
                <a:ea typeface="微软雅黑" panose="020B0503020204020204" pitchFamily="34" charset="-122"/>
                <a:sym typeface="Arial" panose="020B0604020202020204" pitchFamily="34" charset="0"/>
              </a:rPr>
              <a:t>无肾毒性，无骨髓移植</a:t>
            </a:r>
            <a:r>
              <a:rPr lang="en-US" altLang="zh-CN" baseline="30000" dirty="0">
                <a:solidFill>
                  <a:srgbClr val="00857C"/>
                </a:solidFill>
                <a:latin typeface="Arial" panose="020B0604020202020204" pitchFamily="34" charset="0"/>
                <a:ea typeface="微软雅黑" panose="020B0503020204020204" pitchFamily="34" charset="-122"/>
                <a:sym typeface="Arial" panose="020B0604020202020204" pitchFamily="34" charset="0"/>
              </a:rPr>
              <a:t>4</a:t>
            </a:r>
            <a:endParaRPr lang="zh-CN" altLang="en-US"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2" name="组合 61"/>
          <p:cNvGrpSpPr/>
          <p:nvPr/>
        </p:nvGrpSpPr>
        <p:grpSpPr>
          <a:xfrm>
            <a:off x="3726947" y="3020036"/>
            <a:ext cx="263296" cy="263296"/>
            <a:chOff x="845097" y="2843391"/>
            <a:chExt cx="263296" cy="263296"/>
          </a:xfrm>
        </p:grpSpPr>
        <p:sp>
          <p:nvSpPr>
            <p:cNvPr id="63" name="椭圆 62"/>
            <p:cNvSpPr/>
            <p:nvPr/>
          </p:nvSpPr>
          <p:spPr>
            <a:xfrm>
              <a:off x="845097" y="2843391"/>
              <a:ext cx="263296" cy="263296"/>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4" name="椭圆 63"/>
            <p:cNvSpPr/>
            <p:nvPr/>
          </p:nvSpPr>
          <p:spPr>
            <a:xfrm>
              <a:off x="858194" y="2856488"/>
              <a:ext cx="237102" cy="23710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65" name="椭圆 64"/>
            <p:cNvSpPr/>
            <p:nvPr/>
          </p:nvSpPr>
          <p:spPr>
            <a:xfrm>
              <a:off x="931934" y="2930228"/>
              <a:ext cx="89622" cy="8962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66" name="矩形 65">
            <a:extLst>
              <a:ext uri="{FF2B5EF4-FFF2-40B4-BE49-F238E27FC236}">
                <a16:creationId xmlns:a16="http://schemas.microsoft.com/office/drawing/2014/main" id="{E064333D-6471-46C6-9EB6-A7A7FD9DF751}"/>
              </a:ext>
            </a:extLst>
          </p:cNvPr>
          <p:cNvSpPr/>
          <p:nvPr/>
        </p:nvSpPr>
        <p:spPr>
          <a:xfrm>
            <a:off x="3932826" y="3315791"/>
            <a:ext cx="2429434" cy="88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来特莫韦的靶点在哺乳动物中没有对应物，</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不抑制</a:t>
            </a: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人体细胞</a:t>
            </a:r>
            <a:r>
              <a:rPr lang="en-US" altLang="zh-CN"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DNA</a:t>
            </a: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合成</a:t>
            </a:r>
            <a:endParaRPr lang="en-US" altLang="zh-CN"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67" name="矩形 66"/>
          <p:cNvSpPr/>
          <p:nvPr/>
        </p:nvSpPr>
        <p:spPr>
          <a:xfrm>
            <a:off x="2963276" y="4476250"/>
            <a:ext cx="1423788" cy="369332"/>
          </a:xfrm>
          <a:prstGeom prst="rect">
            <a:avLst/>
          </a:prstGeom>
        </p:spPr>
        <p:txBody>
          <a:bodyPr wrap="none">
            <a:spAutoFit/>
          </a:bodyPr>
          <a:lstStyle/>
          <a:p>
            <a:r>
              <a:rPr lang="zh-CN" altLang="en-US" b="1" dirty="0">
                <a:solidFill>
                  <a:srgbClr val="00857C"/>
                </a:solidFill>
                <a:latin typeface="Arial" panose="020B0604020202020204" pitchFamily="34" charset="0"/>
                <a:ea typeface="微软雅黑" panose="020B0503020204020204" pitchFamily="34" charset="-122"/>
                <a:sym typeface="Arial" panose="020B0604020202020204" pitchFamily="34" charset="0"/>
              </a:rPr>
              <a:t>无交叉耐药</a:t>
            </a:r>
            <a:r>
              <a:rPr lang="en-US" altLang="zh-CN" b="1" baseline="30000" dirty="0">
                <a:solidFill>
                  <a:srgbClr val="00857C"/>
                </a:solidFill>
                <a:latin typeface="Arial" panose="020B0604020202020204" pitchFamily="34" charset="0"/>
                <a:ea typeface="微软雅黑" panose="020B0503020204020204" pitchFamily="34" charset="-122"/>
                <a:sym typeface="Arial" panose="020B0604020202020204" pitchFamily="34" charset="0"/>
              </a:rPr>
              <a:t>5</a:t>
            </a:r>
            <a:endParaRPr lang="zh-CN" altLang="en-US" dirty="0">
              <a:solidFill>
                <a:srgbClr val="00857C"/>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68" name="组合 67"/>
          <p:cNvGrpSpPr/>
          <p:nvPr/>
        </p:nvGrpSpPr>
        <p:grpSpPr>
          <a:xfrm>
            <a:off x="2569647" y="4533488"/>
            <a:ext cx="263296" cy="263296"/>
            <a:chOff x="845097" y="2843391"/>
            <a:chExt cx="263296" cy="263296"/>
          </a:xfrm>
        </p:grpSpPr>
        <p:sp>
          <p:nvSpPr>
            <p:cNvPr id="69" name="椭圆 68"/>
            <p:cNvSpPr/>
            <p:nvPr/>
          </p:nvSpPr>
          <p:spPr>
            <a:xfrm>
              <a:off x="845097" y="2843391"/>
              <a:ext cx="263296" cy="263296"/>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0" name="椭圆 69"/>
            <p:cNvSpPr/>
            <p:nvPr/>
          </p:nvSpPr>
          <p:spPr>
            <a:xfrm>
              <a:off x="858194" y="2856488"/>
              <a:ext cx="237102" cy="23710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71" name="椭圆 70"/>
            <p:cNvSpPr/>
            <p:nvPr/>
          </p:nvSpPr>
          <p:spPr>
            <a:xfrm>
              <a:off x="931934" y="2930228"/>
              <a:ext cx="89622" cy="89622"/>
            </a:xfrm>
            <a:prstGeom prst="ellipse">
              <a:avLst/>
            </a:prstGeom>
            <a:solidFill>
              <a:srgbClr val="00857C">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sp>
        <p:nvSpPr>
          <p:cNvPr id="72" name="矩形 71">
            <a:extLst>
              <a:ext uri="{FF2B5EF4-FFF2-40B4-BE49-F238E27FC236}">
                <a16:creationId xmlns:a16="http://schemas.microsoft.com/office/drawing/2014/main" id="{E064333D-6471-46C6-9EB6-A7A7FD9DF751}"/>
              </a:ext>
            </a:extLst>
          </p:cNvPr>
          <p:cNvSpPr/>
          <p:nvPr/>
        </p:nvSpPr>
        <p:spPr>
          <a:xfrm>
            <a:off x="2775526" y="4893098"/>
            <a:ext cx="3320474" cy="8877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indent="-285750">
              <a:lnSpc>
                <a:spcPct val="150000"/>
              </a:lnSpc>
              <a:buFont typeface="Arial" panose="020B0604020202020204" pitchFamily="34" charset="0"/>
              <a:buChar char="•"/>
            </a:pPr>
            <a:r>
              <a:rPr lang="zh-CN" altLang="en-US" sz="1200" dirty="0">
                <a:solidFill>
                  <a:schemeClr val="tx1">
                    <a:lumMod val="50000"/>
                    <a:lumOff val="50000"/>
                  </a:schemeClr>
                </a:solidFill>
                <a:latin typeface="Arial" panose="020B0604020202020204" pitchFamily="34" charset="0"/>
                <a:ea typeface="微软雅黑" panose="020B0503020204020204" pitchFamily="34" charset="-122"/>
                <a:sym typeface="Arial" panose="020B0604020202020204" pitchFamily="34" charset="0"/>
              </a:rPr>
              <a:t>机制独特，与现有的治疗药物如更昔洛韦、膦甲酸钠的</a:t>
            </a:r>
            <a:r>
              <a:rPr lang="zh-CN" altLang="en-US" sz="1400" b="1" dirty="0">
                <a:solidFill>
                  <a:srgbClr val="C00000"/>
                </a:solidFill>
                <a:latin typeface="Arial" panose="020B0604020202020204" pitchFamily="34" charset="0"/>
                <a:ea typeface="微软雅黑" panose="020B0503020204020204" pitchFamily="34" charset="-122"/>
                <a:sym typeface="Arial" panose="020B0604020202020204" pitchFamily="34" charset="0"/>
              </a:rPr>
              <a:t>靶点不同</a:t>
            </a:r>
            <a:endParaRPr lang="en-US" altLang="zh-CN" sz="1400" b="1" dirty="0">
              <a:solidFill>
                <a:srgbClr val="C0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75" name="矩形 74"/>
          <p:cNvSpPr/>
          <p:nvPr/>
        </p:nvSpPr>
        <p:spPr>
          <a:xfrm>
            <a:off x="521648" y="5828324"/>
            <a:ext cx="6096000" cy="861774"/>
          </a:xfrm>
          <a:prstGeom prst="rect">
            <a:avLst/>
          </a:prstGeom>
        </p:spPr>
        <p:txBody>
          <a:bodyPr>
            <a:spAutoFit/>
          </a:bodyPr>
          <a:lstStyle/>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Foolad</a:t>
            </a:r>
            <a:r>
              <a:rPr lang="en-US" altLang="zh-CN" sz="1000" dirty="0">
                <a:solidFill>
                  <a:schemeClr val="bg1">
                    <a:lumMod val="65000"/>
                  </a:schemeClr>
                </a:solidFill>
                <a:latin typeface="+mn-ea"/>
                <a:sym typeface="Arial" panose="020B0604020202020204" pitchFamily="34" charset="0"/>
              </a:rPr>
              <a:t> F, et al. Expert review of clinical pharmacology, 2018, 11(10): 931-941.</a:t>
            </a:r>
          </a:p>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Piret</a:t>
            </a:r>
            <a:r>
              <a:rPr lang="en-US" altLang="zh-CN" sz="1000" dirty="0">
                <a:solidFill>
                  <a:schemeClr val="bg1">
                    <a:lumMod val="65000"/>
                  </a:schemeClr>
                </a:solidFill>
                <a:latin typeface="+mn-ea"/>
                <a:sym typeface="Arial" panose="020B0604020202020204" pitchFamily="34" charset="0"/>
              </a:rPr>
              <a:t> J, </a:t>
            </a:r>
            <a:r>
              <a:rPr lang="en-US" altLang="zh-CN" sz="1000" dirty="0" err="1">
                <a:solidFill>
                  <a:schemeClr val="bg1">
                    <a:lumMod val="65000"/>
                  </a:schemeClr>
                </a:solidFill>
                <a:latin typeface="+mn-ea"/>
                <a:sym typeface="Arial" panose="020B0604020202020204" pitchFamily="34" charset="0"/>
              </a:rPr>
              <a:t>Boivin</a:t>
            </a:r>
            <a:r>
              <a:rPr lang="en-US" altLang="zh-CN" sz="1000" dirty="0">
                <a:solidFill>
                  <a:schemeClr val="bg1">
                    <a:lumMod val="65000"/>
                  </a:schemeClr>
                </a:solidFill>
                <a:latin typeface="+mn-ea"/>
                <a:sym typeface="Arial" panose="020B0604020202020204" pitchFamily="34" charset="0"/>
              </a:rPr>
              <a:t> G. Antiviral research, 2019, 163: 91-105</a:t>
            </a:r>
          </a:p>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Lischka</a:t>
            </a:r>
            <a:r>
              <a:rPr lang="en-US" altLang="zh-CN" sz="1000" dirty="0">
                <a:solidFill>
                  <a:schemeClr val="bg1">
                    <a:lumMod val="65000"/>
                  </a:schemeClr>
                </a:solidFill>
                <a:latin typeface="+mn-ea"/>
                <a:sym typeface="Arial" panose="020B0604020202020204" pitchFamily="34" charset="0"/>
              </a:rPr>
              <a:t> P, et al. </a:t>
            </a:r>
            <a:r>
              <a:rPr lang="en-US" altLang="zh-CN" sz="1000" dirty="0" err="1">
                <a:solidFill>
                  <a:schemeClr val="bg1">
                    <a:lumMod val="65000"/>
                  </a:schemeClr>
                </a:solidFill>
                <a:latin typeface="+mn-ea"/>
                <a:sym typeface="Arial" panose="020B0604020202020204" pitchFamily="34" charset="0"/>
              </a:rPr>
              <a:t>Antimicrob</a:t>
            </a:r>
            <a:r>
              <a:rPr lang="en-US" altLang="zh-CN" sz="1000" dirty="0">
                <a:solidFill>
                  <a:schemeClr val="bg1">
                    <a:lumMod val="65000"/>
                  </a:schemeClr>
                </a:solidFill>
                <a:latin typeface="+mn-ea"/>
                <a:sym typeface="Arial" panose="020B0604020202020204" pitchFamily="34" charset="0"/>
              </a:rPr>
              <a:t> Agents </a:t>
            </a:r>
            <a:r>
              <a:rPr lang="en-US" altLang="zh-CN" sz="1000" dirty="0" err="1">
                <a:solidFill>
                  <a:schemeClr val="bg1">
                    <a:lumMod val="65000"/>
                  </a:schemeClr>
                </a:solidFill>
                <a:latin typeface="+mn-ea"/>
                <a:sym typeface="Arial" panose="020B0604020202020204" pitchFamily="34" charset="0"/>
              </a:rPr>
              <a:t>Chemother</a:t>
            </a:r>
            <a:r>
              <a:rPr lang="en-US" altLang="zh-CN" sz="1000" dirty="0">
                <a:solidFill>
                  <a:schemeClr val="bg1">
                    <a:lumMod val="65000"/>
                  </a:schemeClr>
                </a:solidFill>
                <a:latin typeface="+mn-ea"/>
                <a:sym typeface="Arial" panose="020B0604020202020204" pitchFamily="34" charset="0"/>
              </a:rPr>
              <a:t>. 2010 Mar;54(3);1290-7</a:t>
            </a:r>
          </a:p>
          <a:p>
            <a:pPr marL="228600" indent="-228600">
              <a:buFont typeface="+mj-lt"/>
              <a:buAutoNum type="arabicPeriod"/>
              <a:defRPr/>
            </a:pPr>
            <a:r>
              <a:rPr lang="en-US" altLang="zh-CN" sz="1000" dirty="0" err="1">
                <a:solidFill>
                  <a:schemeClr val="bg1">
                    <a:lumMod val="65000"/>
                  </a:schemeClr>
                </a:solidFill>
                <a:latin typeface="+mn-ea"/>
                <a:sym typeface="Arial" panose="020B0604020202020204" pitchFamily="34" charset="0"/>
              </a:rPr>
              <a:t>Goldner</a:t>
            </a:r>
            <a:r>
              <a:rPr lang="en-US" altLang="zh-CN" sz="1000" dirty="0">
                <a:solidFill>
                  <a:schemeClr val="bg1">
                    <a:lumMod val="65000"/>
                  </a:schemeClr>
                </a:solidFill>
                <a:latin typeface="+mn-ea"/>
                <a:sym typeface="Arial" panose="020B0604020202020204" pitchFamily="34" charset="0"/>
              </a:rPr>
              <a:t> T, et al. J </a:t>
            </a:r>
            <a:r>
              <a:rPr lang="en-US" altLang="zh-CN" sz="1000" dirty="0" err="1">
                <a:solidFill>
                  <a:schemeClr val="bg1">
                    <a:lumMod val="65000"/>
                  </a:schemeClr>
                </a:solidFill>
                <a:latin typeface="+mn-ea"/>
                <a:sym typeface="Arial" panose="020B0604020202020204" pitchFamily="34" charset="0"/>
              </a:rPr>
              <a:t>Virol</a:t>
            </a:r>
            <a:r>
              <a:rPr lang="en-US" altLang="zh-CN" sz="1000" dirty="0">
                <a:solidFill>
                  <a:schemeClr val="bg1">
                    <a:lumMod val="65000"/>
                  </a:schemeClr>
                </a:solidFill>
                <a:latin typeface="+mn-ea"/>
                <a:sym typeface="Arial" panose="020B0604020202020204" pitchFamily="34" charset="0"/>
              </a:rPr>
              <a:t>. 2011 Oct;85(20);10884-93</a:t>
            </a:r>
          </a:p>
          <a:p>
            <a:pPr marL="228600" indent="-228600">
              <a:buFont typeface="+mj-lt"/>
              <a:buAutoNum type="arabicPeriod"/>
              <a:defRPr/>
            </a:pPr>
            <a:r>
              <a:rPr lang="en-US" altLang="zh-CN" sz="1000" dirty="0">
                <a:solidFill>
                  <a:schemeClr val="bg1">
                    <a:lumMod val="65000"/>
                  </a:schemeClr>
                </a:solidFill>
                <a:latin typeface="+mn-ea"/>
                <a:sym typeface="Arial" panose="020B0604020202020204" pitchFamily="34" charset="0"/>
              </a:rPr>
              <a:t>El </a:t>
            </a:r>
            <a:r>
              <a:rPr lang="en-US" altLang="zh-CN" sz="1000" dirty="0" err="1">
                <a:solidFill>
                  <a:schemeClr val="bg1">
                    <a:lumMod val="65000"/>
                  </a:schemeClr>
                </a:solidFill>
                <a:latin typeface="+mn-ea"/>
                <a:sym typeface="Arial" panose="020B0604020202020204" pitchFamily="34" charset="0"/>
              </a:rPr>
              <a:t>Helou</a:t>
            </a:r>
            <a:r>
              <a:rPr lang="en-US" altLang="zh-CN" sz="1000" dirty="0">
                <a:solidFill>
                  <a:schemeClr val="bg1">
                    <a:lumMod val="65000"/>
                  </a:schemeClr>
                </a:solidFill>
                <a:latin typeface="+mn-ea"/>
                <a:sym typeface="Arial" panose="020B0604020202020204" pitchFamily="34" charset="0"/>
              </a:rPr>
              <a:t> G, </a:t>
            </a:r>
            <a:r>
              <a:rPr lang="en-US" altLang="zh-CN" sz="1000" dirty="0" err="1">
                <a:solidFill>
                  <a:schemeClr val="bg1">
                    <a:lumMod val="65000"/>
                  </a:schemeClr>
                </a:solidFill>
                <a:latin typeface="+mn-ea"/>
                <a:sym typeface="Arial" panose="020B0604020202020204" pitchFamily="34" charset="0"/>
              </a:rPr>
              <a:t>Razonable</a:t>
            </a:r>
            <a:r>
              <a:rPr lang="en-US" altLang="zh-CN" sz="1000" dirty="0">
                <a:solidFill>
                  <a:schemeClr val="bg1">
                    <a:lumMod val="65000"/>
                  </a:schemeClr>
                </a:solidFill>
                <a:latin typeface="+mn-ea"/>
                <a:sym typeface="Arial" panose="020B0604020202020204" pitchFamily="34" charset="0"/>
              </a:rPr>
              <a:t> R </a:t>
            </a:r>
            <a:r>
              <a:rPr lang="en-US" altLang="zh-CN" sz="1000" dirty="0" err="1">
                <a:solidFill>
                  <a:schemeClr val="bg1">
                    <a:lumMod val="65000"/>
                  </a:schemeClr>
                </a:solidFill>
                <a:latin typeface="+mn-ea"/>
                <a:sym typeface="Arial" panose="020B0604020202020204" pitchFamily="34" charset="0"/>
              </a:rPr>
              <a:t>R</a:t>
            </a:r>
            <a:r>
              <a:rPr lang="en-US" altLang="zh-CN" sz="1000" dirty="0">
                <a:solidFill>
                  <a:schemeClr val="bg1">
                    <a:lumMod val="65000"/>
                  </a:schemeClr>
                </a:solidFill>
                <a:latin typeface="+mn-ea"/>
                <a:sym typeface="Arial" panose="020B0604020202020204" pitchFamily="34" charset="0"/>
              </a:rPr>
              <a:t>. Infection and drug resistance, 2019, 12: 1481.</a:t>
            </a:r>
          </a:p>
        </p:txBody>
      </p:sp>
      <p:sp>
        <p:nvSpPr>
          <p:cNvPr id="59" name="矩形 58"/>
          <p:cNvSpPr/>
          <p:nvPr/>
        </p:nvSpPr>
        <p:spPr>
          <a:xfrm>
            <a:off x="7682376" y="2882271"/>
            <a:ext cx="1388522" cy="246221"/>
          </a:xfrm>
          <a:prstGeom prst="rect">
            <a:avLst/>
          </a:prstGeom>
        </p:spPr>
        <p:txBody>
          <a:bodyPr wrap="none">
            <a:spAutoFit/>
          </a:bodyPr>
          <a:lstStyle/>
          <a:p>
            <a:r>
              <a:rPr lang="zh-CN" altLang="en-US" sz="10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靶向病毒</a:t>
            </a:r>
            <a:r>
              <a:rPr lang="en-US" altLang="zh-CN" sz="10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DNA</a:t>
            </a:r>
            <a:r>
              <a:rPr lang="zh-CN" altLang="en-US" sz="1000" b="1" dirty="0">
                <a:solidFill>
                  <a:srgbClr val="C00000"/>
                </a:solidFill>
                <a:latin typeface="微软雅黑" panose="020B0503020204020204" pitchFamily="34" charset="-122"/>
                <a:ea typeface="微软雅黑" panose="020B0503020204020204" pitchFamily="34" charset="-122"/>
                <a:sym typeface="微软雅黑" panose="020B0503020204020204" pitchFamily="34" charset="-122"/>
              </a:rPr>
              <a:t>末端酶</a:t>
            </a:r>
          </a:p>
        </p:txBody>
      </p:sp>
    </p:spTree>
    <p:extLst>
      <p:ext uri="{BB962C8B-B14F-4D97-AF65-F5344CB8AC3E}">
        <p14:creationId xmlns:p14="http://schemas.microsoft.com/office/powerpoint/2010/main" val="2725222057"/>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9A2216D-055E-4D50-A8E2-813E94E54BEC}"/>
              </a:ext>
            </a:extLst>
          </p:cNvPr>
          <p:cNvSpPr>
            <a:spLocks noGrp="1"/>
          </p:cNvSpPr>
          <p:nvPr>
            <p:ph type="title"/>
          </p:nvPr>
        </p:nvSpPr>
        <p:spPr/>
        <p:txBody>
          <a:bodyPr/>
          <a:lstStyle/>
          <a:p>
            <a:r>
              <a:rPr lang="en-US" altLang="zh-CN" dirty="0">
                <a:latin typeface="Arial" panose="020B0604020202020204" pitchFamily="34" charset="0"/>
                <a:sym typeface="Arial" panose="020B0604020202020204" pitchFamily="34" charset="0"/>
              </a:rPr>
              <a:t>05 </a:t>
            </a:r>
            <a:r>
              <a:rPr lang="zh-CN" altLang="en-US" dirty="0">
                <a:latin typeface="Arial" panose="020B0604020202020204" pitchFamily="34" charset="0"/>
                <a:sym typeface="Arial" panose="020B0604020202020204" pitchFamily="34" charset="0"/>
              </a:rPr>
              <a:t>公平性</a:t>
            </a:r>
            <a:endParaRPr lang="en-US" dirty="0">
              <a:latin typeface="Arial" panose="020B0604020202020204" pitchFamily="34" charset="0"/>
              <a:sym typeface="Arial" panose="020B0604020202020204" pitchFamily="34" charset="0"/>
            </a:endParaRPr>
          </a:p>
        </p:txBody>
      </p:sp>
      <p:sp>
        <p:nvSpPr>
          <p:cNvPr id="4" name="灯片编号占位符 3">
            <a:extLst>
              <a:ext uri="{FF2B5EF4-FFF2-40B4-BE49-F238E27FC236}">
                <a16:creationId xmlns:a16="http://schemas.microsoft.com/office/drawing/2014/main" id="{A88AAA35-AD89-48EB-8A59-6515464A24BE}"/>
              </a:ext>
            </a:extLst>
          </p:cNvPr>
          <p:cNvSpPr>
            <a:spLocks noGrp="1"/>
          </p:cNvSpPr>
          <p:nvPr>
            <p:ph type="sldNum" sz="quarter" idx="4294967295"/>
          </p:nvPr>
        </p:nvSpPr>
        <p:spPr>
          <a:xfrm>
            <a:off x="11961813" y="6480175"/>
            <a:ext cx="230187" cy="215900"/>
          </a:xfrm>
        </p:spPr>
        <p:txBody>
          <a:bodyPr/>
          <a:lstStyle/>
          <a:p>
            <a:fld id="{29CC380D-5F44-41E8-971E-CDD19ED6F8E3}" type="slidenum">
              <a:rPr lang="en-GB" smtClean="0">
                <a:latin typeface="Arial" panose="020B0604020202020204" pitchFamily="34" charset="0"/>
                <a:ea typeface="微软雅黑" panose="020B0503020204020204" pitchFamily="34" charset="-122"/>
                <a:sym typeface="Arial" panose="020B0604020202020204" pitchFamily="34" charset="0"/>
              </a:rPr>
              <a:t>9</a:t>
            </a:fld>
            <a:endParaRPr lang="en-GB" dirty="0">
              <a:latin typeface="Arial" panose="020B0604020202020204" pitchFamily="34" charset="0"/>
              <a:ea typeface="微软雅黑" panose="020B0503020204020204" pitchFamily="34" charset="-122"/>
              <a:sym typeface="Arial" panose="020B0604020202020204" pitchFamily="34" charset="0"/>
            </a:endParaRPr>
          </a:p>
        </p:txBody>
      </p:sp>
      <p:grpSp>
        <p:nvGrpSpPr>
          <p:cNvPr id="5" name="组合 4"/>
          <p:cNvGrpSpPr/>
          <p:nvPr/>
        </p:nvGrpSpPr>
        <p:grpSpPr>
          <a:xfrm>
            <a:off x="351146" y="1076498"/>
            <a:ext cx="7476115" cy="1326899"/>
            <a:chOff x="680330" y="1153329"/>
            <a:chExt cx="7476115" cy="1532588"/>
          </a:xfrm>
        </p:grpSpPr>
        <p:sp>
          <p:nvSpPr>
            <p:cNvPr id="21" name="平行四边形 20"/>
            <p:cNvSpPr/>
            <p:nvPr/>
          </p:nvSpPr>
          <p:spPr>
            <a:xfrm>
              <a:off x="1147447" y="1287879"/>
              <a:ext cx="4695569" cy="285159"/>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22" name="组合 21"/>
            <p:cNvGrpSpPr/>
            <p:nvPr/>
          </p:nvGrpSpPr>
          <p:grpSpPr>
            <a:xfrm>
              <a:off x="872851" y="1593265"/>
              <a:ext cx="7283594" cy="1092652"/>
              <a:chOff x="842027" y="1199615"/>
              <a:chExt cx="6732087" cy="1380694"/>
            </a:xfrm>
          </p:grpSpPr>
          <p:sp>
            <p:nvSpPr>
              <p:cNvPr id="23" name="平行四边形 22"/>
              <p:cNvSpPr/>
              <p:nvPr/>
            </p:nvSpPr>
            <p:spPr>
              <a:xfrm>
                <a:off x="842027" y="1597507"/>
                <a:ext cx="6588411" cy="982802"/>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平行四边形 23"/>
              <p:cNvSpPr/>
              <p:nvPr/>
            </p:nvSpPr>
            <p:spPr>
              <a:xfrm>
                <a:off x="884283" y="1199615"/>
                <a:ext cx="6689831" cy="1125184"/>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5" name="平行四边形 24"/>
            <p:cNvSpPr/>
            <p:nvPr/>
          </p:nvSpPr>
          <p:spPr>
            <a:xfrm rot="21339992">
              <a:off x="680330" y="1322554"/>
              <a:ext cx="501126" cy="1267375"/>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文本框 25"/>
            <p:cNvSpPr txBox="1"/>
            <p:nvPr/>
          </p:nvSpPr>
          <p:spPr>
            <a:xfrm>
              <a:off x="1236398" y="1153329"/>
              <a:ext cx="6033557" cy="853760"/>
            </a:xfrm>
            <a:prstGeom prst="rect">
              <a:avLst/>
            </a:prstGeom>
            <a:noFill/>
          </p:spPr>
          <p:txBody>
            <a:bodyPr wrap="square">
              <a:spAutoFit/>
            </a:bodyPr>
            <a:lstStyle/>
            <a:p>
              <a:pPr>
                <a:lnSpc>
                  <a:spcPct val="150000"/>
                </a:lnSpc>
              </a:pPr>
              <a:r>
                <a:rPr kumimoji="0" lang="zh-CN" altLang="en-US"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所治疾病对公共健康的影响</a:t>
              </a:r>
            </a:p>
            <a:p>
              <a:pPr>
                <a:lnSpc>
                  <a:spcPct val="150000"/>
                </a:lnSpc>
              </a:pPr>
              <a:endParaRPr lang="en-US" altLang="zh-CN" sz="1600" b="1" dirty="0">
                <a:solidFill>
                  <a:schemeClr val="bg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7" name="文本框 26"/>
            <p:cNvSpPr txBox="1"/>
            <p:nvPr/>
          </p:nvSpPr>
          <p:spPr>
            <a:xfrm>
              <a:off x="1110812" y="1600094"/>
              <a:ext cx="6921951" cy="895086"/>
            </a:xfrm>
            <a:prstGeom prst="rect">
              <a:avLst/>
            </a:prstGeom>
            <a:noFill/>
          </p:spPr>
          <p:txBody>
            <a:bodyPr wrap="square">
              <a:spAutoFit/>
            </a:bodyPr>
            <a:lstStyle/>
            <a:p>
              <a:pPr marL="184150" marR="0" lvl="0" indent="-171450" algn="l" defTabSz="914400" rtl="0" eaLnBrk="1" fontAlgn="auto" latinLnBrk="0" hangingPunct="1">
                <a:lnSpc>
                  <a:spcPct val="120000"/>
                </a:lnSpc>
                <a:spcBef>
                  <a:spcPts val="0"/>
                </a:spcBef>
                <a:spcAft>
                  <a:spcPts val="0"/>
                </a:spcAft>
                <a:buClrTx/>
                <a:buSzTx/>
                <a:buFont typeface="Arial" panose="020B0604020202020204" pitchFamily="34" charset="0"/>
                <a:buChar char="•"/>
                <a:tabLst/>
                <a:defRPr/>
              </a:pPr>
              <a:r>
                <a:rPr lang="en-US" altLang="zh-CN" sz="1200" b="1" dirty="0">
                  <a:solidFill>
                    <a:srgbClr val="C00000"/>
                  </a:solidFill>
                  <a:latin typeface="Arial" panose="020B0604020202020204" pitchFamily="34" charset="0"/>
                  <a:ea typeface="微软雅黑" panose="020B0503020204020204" pitchFamily="34" charset="-122"/>
                </a:rPr>
                <a:t>2023</a:t>
              </a:r>
              <a:r>
                <a:rPr lang="zh-CN" altLang="en-US" sz="1200" dirty="0">
                  <a:latin typeface="Arial" panose="020B0604020202020204" pitchFamily="34" charset="0"/>
                  <a:ea typeface="微软雅黑" panose="020B0503020204020204" pitchFamily="34" charset="-122"/>
                </a:rPr>
                <a:t>年预计中国异基因造血干细胞移植</a:t>
              </a:r>
              <a:r>
                <a:rPr lang="en-US" altLang="zh-CN" sz="1200" dirty="0">
                  <a:latin typeface="Arial" panose="020B0604020202020204" pitchFamily="34" charset="0"/>
                  <a:ea typeface="微软雅黑" panose="020B0503020204020204" pitchFamily="34" charset="-122"/>
                </a:rPr>
                <a:t>R+</a:t>
              </a:r>
              <a:r>
                <a:rPr lang="zh-CN" altLang="en-US" sz="1200" dirty="0">
                  <a:latin typeface="Arial" panose="020B0604020202020204" pitchFamily="34" charset="0"/>
                  <a:ea typeface="微软雅黑" panose="020B0503020204020204" pitchFamily="34" charset="-122"/>
                </a:rPr>
                <a:t>受者为</a:t>
              </a:r>
              <a:r>
                <a:rPr lang="en-US" altLang="zh-CN" sz="1200" b="1" dirty="0">
                  <a:latin typeface="Arial" panose="020B0604020202020204" pitchFamily="34" charset="0"/>
                  <a:ea typeface="微软雅黑" panose="020B0503020204020204" pitchFamily="34" charset="-122"/>
                </a:rPr>
                <a:t>12297</a:t>
              </a:r>
              <a:r>
                <a:rPr lang="zh-CN" altLang="en-US" sz="1200" dirty="0">
                  <a:latin typeface="Arial" panose="020B0604020202020204" pitchFamily="34" charset="0"/>
                  <a:ea typeface="微软雅黑" panose="020B0503020204020204" pitchFamily="34" charset="-122"/>
                </a:rPr>
                <a:t>人，其中成人受者为</a:t>
              </a:r>
              <a:r>
                <a:rPr lang="en-US" altLang="zh-CN" sz="1300" b="1" dirty="0">
                  <a:solidFill>
                    <a:srgbClr val="FF0000"/>
                  </a:solidFill>
                  <a:latin typeface="Arial" panose="020B0604020202020204" pitchFamily="34" charset="0"/>
                  <a:ea typeface="微软雅黑" panose="020B0503020204020204" pitchFamily="34" charset="-122"/>
                </a:rPr>
                <a:t>8608</a:t>
              </a:r>
              <a:r>
                <a:rPr lang="zh-CN" altLang="en-US" sz="1200" dirty="0">
                  <a:latin typeface="Arial" panose="020B0604020202020204" pitchFamily="34" charset="0"/>
                  <a:ea typeface="微软雅黑" panose="020B0503020204020204" pitchFamily="34" charset="-122"/>
                </a:rPr>
                <a:t>人，若不进行充分预防，</a:t>
              </a:r>
              <a:r>
                <a:rPr lang="en-US" altLang="zh-CN" sz="1300" b="1" dirty="0">
                  <a:solidFill>
                    <a:srgbClr val="C00000"/>
                  </a:solidFill>
                  <a:latin typeface="Arial" panose="020B0604020202020204" pitchFamily="34" charset="0"/>
                  <a:ea typeface="微软雅黑" panose="020B0503020204020204" pitchFamily="34" charset="-122"/>
                </a:rPr>
                <a:t>&gt;80%</a:t>
              </a:r>
              <a:r>
                <a:rPr lang="zh-CN" altLang="en-US" sz="1200" dirty="0">
                  <a:latin typeface="Arial" panose="020B0604020202020204" pitchFamily="34" charset="0"/>
                  <a:ea typeface="微软雅黑" panose="020B0503020204020204" pitchFamily="34" charset="-122"/>
                </a:rPr>
                <a:t>患者会发生</a:t>
              </a:r>
              <a:r>
                <a:rPr lang="en-US" altLang="zh-CN" sz="1200" dirty="0">
                  <a:latin typeface="Arial" panose="020B0604020202020204" pitchFamily="34" charset="0"/>
                  <a:ea typeface="微软雅黑" panose="020B0503020204020204" pitchFamily="34" charset="-122"/>
                </a:rPr>
                <a:t>CMV</a:t>
              </a:r>
              <a:r>
                <a:rPr lang="zh-CN" altLang="en-US" sz="1200" dirty="0">
                  <a:latin typeface="Arial" panose="020B0604020202020204" pitchFamily="34" charset="0"/>
                  <a:ea typeface="微软雅黑" panose="020B0503020204020204" pitchFamily="34" charset="-122"/>
                </a:rPr>
                <a:t>感染，如</a:t>
              </a:r>
              <a:r>
                <a:rPr lang="zh-CN" altLang="en-US" sz="1200" b="0" i="0" dirty="0">
                  <a:solidFill>
                    <a:srgbClr val="242424"/>
                  </a:solidFill>
                  <a:effectLst/>
                  <a:latin typeface="-apple-system"/>
                </a:rPr>
                <a:t>发展成</a:t>
              </a:r>
              <a:r>
                <a:rPr lang="en-US" altLang="zh-CN" sz="1200" b="0" i="0" dirty="0">
                  <a:solidFill>
                    <a:srgbClr val="242424"/>
                  </a:solidFill>
                  <a:effectLst/>
                  <a:latin typeface="-apple-system"/>
                </a:rPr>
                <a:t>CMV</a:t>
              </a:r>
              <a:r>
                <a:rPr lang="zh-CN" altLang="en-US" sz="1200" b="0" i="0" dirty="0">
                  <a:solidFill>
                    <a:srgbClr val="242424"/>
                  </a:solidFill>
                  <a:effectLst/>
                  <a:latin typeface="-apple-system"/>
                </a:rPr>
                <a:t>肺炎，</a:t>
              </a:r>
              <a:r>
                <a:rPr lang="zh-CN" altLang="en-US" sz="1200" dirty="0">
                  <a:latin typeface="Arial" panose="020B0604020202020204" pitchFamily="34" charset="0"/>
                  <a:ea typeface="微软雅黑" panose="020B0503020204020204" pitchFamily="34" charset="-122"/>
                </a:rPr>
                <a:t>患者</a:t>
              </a:r>
              <a:r>
                <a:rPr lang="zh-CN" altLang="en-US" sz="1200" b="1" dirty="0">
                  <a:solidFill>
                    <a:srgbClr val="C00000"/>
                  </a:solidFill>
                  <a:latin typeface="Arial" panose="020B0604020202020204" pitchFamily="34" charset="0"/>
                  <a:ea typeface="微软雅黑" panose="020B0503020204020204" pitchFamily="34" charset="-122"/>
                </a:rPr>
                <a:t>病死率达</a:t>
              </a:r>
              <a:r>
                <a:rPr lang="en-US" altLang="zh-CN" sz="1200" b="1" dirty="0">
                  <a:solidFill>
                    <a:srgbClr val="C00000"/>
                  </a:solidFill>
                  <a:latin typeface="Arial" panose="020B0604020202020204" pitchFamily="34" charset="0"/>
                  <a:ea typeface="微软雅黑" panose="020B0503020204020204" pitchFamily="34" charset="-122"/>
                </a:rPr>
                <a:t>50%</a:t>
              </a:r>
            </a:p>
            <a:p>
              <a:pPr marL="184150" marR="0" lvl="0" indent="-171450" algn="l" defTabSz="914400" rtl="0" eaLnBrk="1" fontAlgn="auto" latinLnBrk="0" hangingPunct="1">
                <a:lnSpc>
                  <a:spcPct val="120000"/>
                </a:lnSpc>
                <a:spcBef>
                  <a:spcPts val="0"/>
                </a:spcBef>
                <a:spcAft>
                  <a:spcPts val="0"/>
                </a:spcAft>
                <a:buClrTx/>
                <a:buSzPct val="92000"/>
                <a:buFont typeface="Arial" panose="020B0604020202020204" pitchFamily="34" charset="0"/>
                <a:buChar char="•"/>
                <a:tabLst/>
                <a:defRPr/>
              </a:pPr>
              <a:r>
                <a:rPr lang="zh-CN" altLang="en-US" sz="1200" dirty="0">
                  <a:latin typeface="Arial" panose="020B0604020202020204" pitchFamily="34" charset="0"/>
                  <a:ea typeface="微软雅黑" panose="020B0503020204020204" pitchFamily="34" charset="-122"/>
                </a:rPr>
                <a:t>来特莫韦可为造血干细胞移植</a:t>
              </a:r>
              <a:r>
                <a:rPr lang="en-US" altLang="zh-CN" sz="1200" dirty="0">
                  <a:latin typeface="Arial" panose="020B0604020202020204" pitchFamily="34" charset="0"/>
                  <a:ea typeface="微软雅黑" panose="020B0503020204020204" pitchFamily="34" charset="-122"/>
                </a:rPr>
                <a:t>R+</a:t>
              </a:r>
              <a:r>
                <a:rPr lang="zh-CN" altLang="en-US" sz="1200" dirty="0">
                  <a:latin typeface="Arial" panose="020B0604020202020204" pitchFamily="34" charset="0"/>
                  <a:ea typeface="微软雅黑" panose="020B0503020204020204" pitchFamily="34" charset="-122"/>
                </a:rPr>
                <a:t>成人受者提供</a:t>
              </a:r>
              <a:r>
                <a:rPr lang="zh-CN" altLang="en-US" sz="1200" b="1" dirty="0">
                  <a:solidFill>
                    <a:srgbClr val="C00000"/>
                  </a:solidFill>
                  <a:latin typeface="Arial" panose="020B0604020202020204" pitchFamily="34" charset="0"/>
                  <a:ea typeface="微软雅黑" panose="020B0503020204020204" pitchFamily="34" charset="-122"/>
                </a:rPr>
                <a:t>更优</a:t>
              </a:r>
              <a:r>
                <a:rPr lang="zh-CN" altLang="en-US" sz="1200" dirty="0">
                  <a:latin typeface="Arial" panose="020B0604020202020204" pitchFamily="34" charset="0"/>
                  <a:ea typeface="微软雅黑" panose="020B0503020204020204" pitchFamily="34" charset="-122"/>
                </a:rPr>
                <a:t>治疗方案，提高患者回归社会的能力</a:t>
              </a:r>
            </a:p>
          </p:txBody>
        </p:sp>
      </p:grpSp>
      <p:grpSp>
        <p:nvGrpSpPr>
          <p:cNvPr id="28" name="组合 27"/>
          <p:cNvGrpSpPr/>
          <p:nvPr/>
        </p:nvGrpSpPr>
        <p:grpSpPr>
          <a:xfrm>
            <a:off x="4489703" y="2370637"/>
            <a:ext cx="7452360" cy="1477785"/>
            <a:chOff x="1802604" y="1290326"/>
            <a:chExt cx="10118484" cy="1477785"/>
          </a:xfrm>
        </p:grpSpPr>
        <p:sp>
          <p:nvSpPr>
            <p:cNvPr id="29" name="平行四边形 28"/>
            <p:cNvSpPr/>
            <p:nvPr/>
          </p:nvSpPr>
          <p:spPr>
            <a:xfrm>
              <a:off x="5449283" y="1418162"/>
              <a:ext cx="6307271" cy="246888"/>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0" name="组合 29"/>
            <p:cNvGrpSpPr/>
            <p:nvPr/>
          </p:nvGrpSpPr>
          <p:grpSpPr>
            <a:xfrm>
              <a:off x="1802604" y="1687667"/>
              <a:ext cx="9887434" cy="1080444"/>
              <a:chOff x="1701378" y="1318917"/>
              <a:chExt cx="9138766" cy="1365275"/>
            </a:xfrm>
          </p:grpSpPr>
          <p:sp>
            <p:nvSpPr>
              <p:cNvPr id="34" name="平行四边形 33"/>
              <p:cNvSpPr/>
              <p:nvPr/>
            </p:nvSpPr>
            <p:spPr>
              <a:xfrm>
                <a:off x="1701378" y="1759826"/>
                <a:ext cx="9000490" cy="924366"/>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5" name="平行四边形 34"/>
              <p:cNvSpPr/>
              <p:nvPr/>
            </p:nvSpPr>
            <p:spPr>
              <a:xfrm>
                <a:off x="1701378" y="1318917"/>
                <a:ext cx="9138766" cy="1155457"/>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1" name="平行四边形 30"/>
            <p:cNvSpPr/>
            <p:nvPr/>
          </p:nvSpPr>
          <p:spPr>
            <a:xfrm>
              <a:off x="11419962" y="1459714"/>
              <a:ext cx="501126" cy="1280160"/>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2" name="文本框 31"/>
            <p:cNvSpPr txBox="1"/>
            <p:nvPr/>
          </p:nvSpPr>
          <p:spPr>
            <a:xfrm>
              <a:off x="5613817" y="1290326"/>
              <a:ext cx="6033557" cy="417743"/>
            </a:xfrm>
            <a:prstGeom prst="rect">
              <a:avLst/>
            </a:prstGeom>
            <a:noFill/>
          </p:spPr>
          <p:txBody>
            <a:bodyPr wrap="square">
              <a:spAutoFit/>
            </a:bodyPr>
            <a:lstStyle/>
            <a:p>
              <a:pPr>
                <a:lnSpc>
                  <a:spcPct val="150000"/>
                </a:lnSpc>
              </a:pPr>
              <a:r>
                <a:rPr lang="zh-CN" altLang="en-US"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填补</a:t>
              </a:r>
              <a:r>
                <a:rPr lang="zh-CN" altLang="en-US" sz="1400" b="1" dirty="0">
                  <a:latin typeface="Arial" panose="020B0604020202020204" pitchFamily="34" charset="0"/>
                  <a:ea typeface="微软雅黑" panose="020B0503020204020204" pitchFamily="34" charset="-122"/>
                  <a:cs typeface="+mn-ea"/>
                  <a:sym typeface="Arial" panose="020B0604020202020204" pitchFamily="34" charset="0"/>
                </a:rPr>
                <a:t>医保药品目录</a:t>
              </a:r>
              <a:r>
                <a:rPr lang="zh-CN" altLang="en-US"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空白</a:t>
              </a:r>
              <a:endParaRPr lang="en-US" altLang="zh-CN"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3" name="文本框 32"/>
            <p:cNvSpPr txBox="1"/>
            <p:nvPr/>
          </p:nvSpPr>
          <p:spPr>
            <a:xfrm>
              <a:off x="2059149" y="1674468"/>
              <a:ext cx="9630888" cy="886525"/>
            </a:xfrm>
            <a:prstGeom prst="rect">
              <a:avLst/>
            </a:prstGeom>
            <a:noFill/>
          </p:spPr>
          <p:txBody>
            <a:bodyPr wrap="square">
              <a:spAutoFit/>
            </a:bodyPr>
            <a:lstStyle/>
            <a:p>
              <a:pPr marL="171450" indent="-171450" fontAlgn="b">
                <a:lnSpc>
                  <a:spcPts val="2200"/>
                </a:lnSpc>
                <a:spcAft>
                  <a:spcPts val="800"/>
                </a:spcAft>
                <a:buFont typeface="Arial" panose="020B0604020202020204" pitchFamily="34" charset="0"/>
                <a:buChar char="•"/>
              </a:pP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全球首个且目前唯一</a:t>
              </a:r>
              <a:r>
                <a:rPr lang="zh-CN" altLang="en-US" sz="1200" dirty="0">
                  <a:latin typeface="Arial" panose="020B0604020202020204" pitchFamily="34" charset="0"/>
                  <a:ea typeface="微软雅黑" panose="020B0503020204020204" pitchFamily="34" charset="-122"/>
                  <a:sym typeface="Arial" panose="020B0604020202020204" pitchFamily="34" charset="0"/>
                </a:rPr>
                <a:t>上市的靶向</a:t>
              </a:r>
              <a:r>
                <a:rPr lang="en-US" altLang="zh-CN" sz="1200" dirty="0">
                  <a:latin typeface="Arial" panose="020B0604020202020204" pitchFamily="34" charset="0"/>
                  <a:ea typeface="微软雅黑" panose="020B0503020204020204" pitchFamily="34" charset="-122"/>
                  <a:sym typeface="Arial" panose="020B0604020202020204" pitchFamily="34" charset="0"/>
                </a:rPr>
                <a:t>CMV</a:t>
              </a:r>
              <a:r>
                <a:rPr lang="zh-CN" altLang="en-US" sz="1200" dirty="0">
                  <a:latin typeface="Arial" panose="020B0604020202020204" pitchFamily="34" charset="0"/>
                  <a:ea typeface="微软雅黑" panose="020B0503020204020204" pitchFamily="34" charset="-122"/>
                  <a:sym typeface="Arial" panose="020B0604020202020204" pitchFamily="34" charset="0"/>
                </a:rPr>
                <a:t>病毒末端酶的药物，</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填补</a:t>
              </a:r>
              <a:r>
                <a:rPr lang="zh-CN" altLang="en-US" sz="1200" dirty="0">
                  <a:latin typeface="Arial" panose="020B0604020202020204" pitchFamily="34" charset="0"/>
                  <a:ea typeface="微软雅黑" panose="020B0503020204020204" pitchFamily="34" charset="-122"/>
                  <a:sym typeface="Arial" panose="020B0604020202020204" pitchFamily="34" charset="0"/>
                </a:rPr>
                <a:t>目录中预防巨细胞感染和巨细胞病毒病的药物</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空白</a:t>
              </a:r>
              <a:r>
                <a:rPr lang="zh-CN" altLang="en-US" sz="1200" dirty="0">
                  <a:latin typeface="Arial" panose="020B0604020202020204" pitchFamily="34" charset="0"/>
                  <a:ea typeface="微软雅黑" panose="020B0503020204020204" pitchFamily="34" charset="-122"/>
                  <a:sym typeface="Arial" panose="020B0604020202020204" pitchFamily="34" charset="0"/>
                </a:rPr>
                <a:t>；无骨髓抑制和肾损伤不良事件增加（</a:t>
              </a:r>
              <a:r>
                <a:rPr lang="en-US" altLang="zh-CN"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vs </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安慰剂</a:t>
              </a:r>
              <a:r>
                <a:rPr lang="zh-CN" altLang="en-US" sz="1200" dirty="0">
                  <a:latin typeface="Arial" panose="020B0604020202020204" pitchFamily="34" charset="0"/>
                  <a:ea typeface="微软雅黑" panose="020B0503020204020204" pitchFamily="34" charset="-122"/>
                  <a:sym typeface="Arial" panose="020B0604020202020204" pitchFamily="34" charset="0"/>
                </a:rPr>
                <a:t>）</a:t>
              </a:r>
              <a:r>
                <a:rPr lang="zh-CN" altLang="en-US" sz="1400" dirty="0">
                  <a:latin typeface="Arial" panose="020B0604020202020204" pitchFamily="34" charset="0"/>
                  <a:ea typeface="微软雅黑" panose="020B0503020204020204" pitchFamily="34" charset="-122"/>
                  <a:sym typeface="Arial" panose="020B0604020202020204" pitchFamily="34" charset="0"/>
                </a:rPr>
                <a:t>、</a:t>
              </a:r>
              <a:r>
                <a:rPr lang="zh-CN" altLang="en-US" sz="1200" dirty="0">
                  <a:latin typeface="Arial" panose="020B0604020202020204" pitchFamily="34" charset="0"/>
                  <a:ea typeface="微软雅黑" panose="020B0503020204020204" pitchFamily="34" charset="-122"/>
                  <a:sym typeface="Arial" panose="020B0604020202020204" pitchFamily="34" charset="0"/>
                </a:rPr>
                <a:t>无交叉耐药，满足患者的基本用药需求和临床需求。</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p:txBody>
        </p:sp>
      </p:grpSp>
      <p:sp>
        <p:nvSpPr>
          <p:cNvPr id="45" name="矩形 44">
            <a:extLst>
              <a:ext uri="{FF2B5EF4-FFF2-40B4-BE49-F238E27FC236}">
                <a16:creationId xmlns:a16="http://schemas.microsoft.com/office/drawing/2014/main" id="{038A650B-2E90-4379-98FD-75EE72CF6B85}"/>
              </a:ext>
            </a:extLst>
          </p:cNvPr>
          <p:cNvSpPr/>
          <p:nvPr/>
        </p:nvSpPr>
        <p:spPr>
          <a:xfrm>
            <a:off x="0" y="6400800"/>
            <a:ext cx="906032" cy="457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bg1"/>
              </a:solidFill>
            </a:endParaRPr>
          </a:p>
        </p:txBody>
      </p:sp>
      <p:sp>
        <p:nvSpPr>
          <p:cNvPr id="44" name="矩形 43"/>
          <p:cNvSpPr/>
          <p:nvPr/>
        </p:nvSpPr>
        <p:spPr>
          <a:xfrm>
            <a:off x="424360" y="6558068"/>
            <a:ext cx="10255832" cy="249812"/>
          </a:xfrm>
          <a:prstGeom prst="rect">
            <a:avLst/>
          </a:prstGeom>
        </p:spPr>
        <p:txBody>
          <a:bodyPr wrap="square">
            <a:spAutoFit/>
          </a:bodyPr>
          <a:lstStyle/>
          <a:p>
            <a:pPr marL="228600" indent="-228600">
              <a:lnSpc>
                <a:spcPct val="110000"/>
              </a:lnSpc>
              <a:spcBef>
                <a:spcPct val="20000"/>
              </a:spcBef>
              <a:buFont typeface="+mj-lt"/>
              <a:buAutoNum type="arabicPeriod"/>
              <a:defRPr/>
            </a:pPr>
            <a:r>
              <a:rPr lang="en-US" altLang="zh-CN" sz="1000" dirty="0" err="1">
                <a:solidFill>
                  <a:schemeClr val="bg1">
                    <a:lumMod val="65000"/>
                  </a:schemeClr>
                </a:solidFill>
                <a:latin typeface="+mn-ea"/>
                <a:sym typeface="微软雅黑" panose="020B0503020204020204" pitchFamily="34" charset="-122"/>
              </a:rPr>
              <a:t>Alsumali</a:t>
            </a:r>
            <a:r>
              <a:rPr lang="en-US" altLang="zh-CN" sz="1000" dirty="0">
                <a:solidFill>
                  <a:schemeClr val="bg1">
                    <a:lumMod val="65000"/>
                  </a:schemeClr>
                </a:solidFill>
                <a:latin typeface="+mn-ea"/>
                <a:sym typeface="微软雅黑" panose="020B0503020204020204" pitchFamily="34" charset="-122"/>
              </a:rPr>
              <a:t> A, et al. J Med </a:t>
            </a:r>
            <a:r>
              <a:rPr lang="en-US" altLang="zh-CN" sz="1000" dirty="0" err="1">
                <a:solidFill>
                  <a:schemeClr val="bg1">
                    <a:lumMod val="65000"/>
                  </a:schemeClr>
                </a:solidFill>
                <a:latin typeface="+mn-ea"/>
                <a:sym typeface="微软雅黑" panose="020B0503020204020204" pitchFamily="34" charset="-122"/>
              </a:rPr>
              <a:t>Virol</a:t>
            </a:r>
            <a:r>
              <a:rPr lang="en-US" altLang="zh-CN" sz="1000" dirty="0">
                <a:solidFill>
                  <a:schemeClr val="bg1">
                    <a:lumMod val="65000"/>
                  </a:schemeClr>
                </a:solidFill>
                <a:latin typeface="+mn-ea"/>
                <a:sym typeface="微软雅黑" panose="020B0503020204020204" pitchFamily="34" charset="-122"/>
              </a:rPr>
              <a:t>. 2021 Jun;93(6):3786-3794.  2. </a:t>
            </a:r>
            <a:r>
              <a:rPr lang="en-US" altLang="zh-CN" sz="1000" dirty="0" err="1">
                <a:solidFill>
                  <a:schemeClr val="bg1">
                    <a:lumMod val="65000"/>
                  </a:schemeClr>
                </a:solidFill>
                <a:latin typeface="+mn-ea"/>
              </a:rPr>
              <a:t>Enferm</a:t>
            </a:r>
            <a:r>
              <a:rPr lang="en-US" altLang="zh-CN" sz="1000" dirty="0">
                <a:solidFill>
                  <a:schemeClr val="bg1">
                    <a:lumMod val="65000"/>
                  </a:schemeClr>
                </a:solidFill>
                <a:latin typeface="+mn-ea"/>
              </a:rPr>
              <a:t> </a:t>
            </a:r>
            <a:r>
              <a:rPr lang="en-US" altLang="zh-CN" sz="1000" dirty="0" err="1">
                <a:solidFill>
                  <a:schemeClr val="bg1">
                    <a:lumMod val="65000"/>
                  </a:schemeClr>
                </a:solidFill>
                <a:latin typeface="+mn-ea"/>
              </a:rPr>
              <a:t>Infecc</a:t>
            </a:r>
            <a:r>
              <a:rPr lang="en-US" altLang="zh-CN" sz="1000" dirty="0">
                <a:solidFill>
                  <a:schemeClr val="bg1">
                    <a:lumMod val="65000"/>
                  </a:schemeClr>
                </a:solidFill>
                <a:latin typeface="+mn-ea"/>
              </a:rPr>
              <a:t> Microbiol Clin. 2010 Jan;28(1):1-5. 3.Curr Med Res </a:t>
            </a:r>
            <a:r>
              <a:rPr lang="en-US" altLang="zh-CN" sz="1000" dirty="0" err="1">
                <a:solidFill>
                  <a:schemeClr val="bg1">
                    <a:lumMod val="65000"/>
                  </a:schemeClr>
                </a:solidFill>
                <a:latin typeface="+mn-ea"/>
              </a:rPr>
              <a:t>Opin</a:t>
            </a:r>
            <a:r>
              <a:rPr lang="en-US" altLang="zh-CN" sz="1000" dirty="0">
                <a:solidFill>
                  <a:schemeClr val="bg1">
                    <a:lumMod val="65000"/>
                  </a:schemeClr>
                </a:solidFill>
                <a:latin typeface="+mn-ea"/>
              </a:rPr>
              <a:t>. 2019 Dec;35(12):2089-2096. </a:t>
            </a:r>
          </a:p>
        </p:txBody>
      </p:sp>
      <p:grpSp>
        <p:nvGrpSpPr>
          <p:cNvPr id="46" name="组合 45">
            <a:extLst>
              <a:ext uri="{FF2B5EF4-FFF2-40B4-BE49-F238E27FC236}">
                <a16:creationId xmlns:a16="http://schemas.microsoft.com/office/drawing/2014/main" id="{DD4BD250-F805-45FD-BAF8-40B5212FA368}"/>
              </a:ext>
            </a:extLst>
          </p:cNvPr>
          <p:cNvGrpSpPr/>
          <p:nvPr/>
        </p:nvGrpSpPr>
        <p:grpSpPr>
          <a:xfrm>
            <a:off x="287138" y="3950799"/>
            <a:ext cx="7444947" cy="1229880"/>
            <a:chOff x="616538" y="1264451"/>
            <a:chExt cx="7386466" cy="1420533"/>
          </a:xfrm>
        </p:grpSpPr>
        <p:sp>
          <p:nvSpPr>
            <p:cNvPr id="47" name="平行四边形 46">
              <a:extLst>
                <a:ext uri="{FF2B5EF4-FFF2-40B4-BE49-F238E27FC236}">
                  <a16:creationId xmlns:a16="http://schemas.microsoft.com/office/drawing/2014/main" id="{1282F118-E068-438C-8F4A-CAB7B6CA9A38}"/>
                </a:ext>
              </a:extLst>
            </p:cNvPr>
            <p:cNvSpPr/>
            <p:nvPr/>
          </p:nvSpPr>
          <p:spPr>
            <a:xfrm>
              <a:off x="1046863" y="1330122"/>
              <a:ext cx="4695569" cy="285160"/>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48" name="组合 47">
              <a:extLst>
                <a:ext uri="{FF2B5EF4-FFF2-40B4-BE49-F238E27FC236}">
                  <a16:creationId xmlns:a16="http://schemas.microsoft.com/office/drawing/2014/main" id="{9B8AD55A-1417-44CC-914A-1C67AB3CE0B7}"/>
                </a:ext>
              </a:extLst>
            </p:cNvPr>
            <p:cNvGrpSpPr/>
            <p:nvPr/>
          </p:nvGrpSpPr>
          <p:grpSpPr>
            <a:xfrm>
              <a:off x="817843" y="1646072"/>
              <a:ext cx="7185161" cy="1011936"/>
              <a:chOff x="791182" y="1266346"/>
              <a:chExt cx="6641106" cy="1278701"/>
            </a:xfrm>
          </p:grpSpPr>
          <p:sp>
            <p:nvSpPr>
              <p:cNvPr id="52" name="平行四边形 51">
                <a:extLst>
                  <a:ext uri="{FF2B5EF4-FFF2-40B4-BE49-F238E27FC236}">
                    <a16:creationId xmlns:a16="http://schemas.microsoft.com/office/drawing/2014/main" id="{F2645656-B732-44A9-A965-EEB9512C9CAE}"/>
                  </a:ext>
                </a:extLst>
              </p:cNvPr>
              <p:cNvSpPr/>
              <p:nvPr/>
            </p:nvSpPr>
            <p:spPr>
              <a:xfrm>
                <a:off x="791182" y="1744307"/>
                <a:ext cx="6588411" cy="800740"/>
              </a:xfrm>
              <a:prstGeom prst="parallelogram">
                <a:avLst>
                  <a:gd name="adj" fmla="val 21554"/>
                </a:avLst>
              </a:prstGeom>
              <a:solidFill>
                <a:srgbClr val="00857C"/>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3" name="平行四边形 52">
                <a:extLst>
                  <a:ext uri="{FF2B5EF4-FFF2-40B4-BE49-F238E27FC236}">
                    <a16:creationId xmlns:a16="http://schemas.microsoft.com/office/drawing/2014/main" id="{9C4868FA-F221-47FD-B1BD-A722B474D618}"/>
                  </a:ext>
                </a:extLst>
              </p:cNvPr>
              <p:cNvSpPr/>
              <p:nvPr/>
            </p:nvSpPr>
            <p:spPr>
              <a:xfrm>
                <a:off x="807952" y="1266346"/>
                <a:ext cx="6624336" cy="1067653"/>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49" name="平行四边形 48">
              <a:extLst>
                <a:ext uri="{FF2B5EF4-FFF2-40B4-BE49-F238E27FC236}">
                  <a16:creationId xmlns:a16="http://schemas.microsoft.com/office/drawing/2014/main" id="{DB1061BB-756A-46C8-AAB7-FC38E946E10A}"/>
                </a:ext>
              </a:extLst>
            </p:cNvPr>
            <p:cNvSpPr/>
            <p:nvPr/>
          </p:nvSpPr>
          <p:spPr>
            <a:xfrm rot="21287342">
              <a:off x="616538" y="1311993"/>
              <a:ext cx="501126" cy="1372991"/>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0" name="文本框 49">
              <a:extLst>
                <a:ext uri="{FF2B5EF4-FFF2-40B4-BE49-F238E27FC236}">
                  <a16:creationId xmlns:a16="http://schemas.microsoft.com/office/drawing/2014/main" id="{2BC6911B-4687-4702-938D-0805CFC1E004}"/>
                </a:ext>
              </a:extLst>
            </p:cNvPr>
            <p:cNvSpPr txBox="1"/>
            <p:nvPr/>
          </p:nvSpPr>
          <p:spPr>
            <a:xfrm>
              <a:off x="1160379" y="1264451"/>
              <a:ext cx="6033557" cy="39103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符合“</a:t>
              </a:r>
              <a:r>
                <a:rPr kumimoji="0" lang="zh-CN" altLang="en-US" sz="16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保基本</a:t>
              </a:r>
              <a:r>
                <a:rPr kumimoji="0" lang="zh-CN" altLang="en-US" sz="1400" b="1" i="0" u="none" strike="noStrike" kern="1200" cap="none" spc="-5"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mn-cs"/>
                </a:rPr>
                <a:t>”原则</a:t>
              </a:r>
            </a:p>
          </p:txBody>
        </p:sp>
        <p:sp>
          <p:nvSpPr>
            <p:cNvPr id="51" name="文本框 50">
              <a:extLst>
                <a:ext uri="{FF2B5EF4-FFF2-40B4-BE49-F238E27FC236}">
                  <a16:creationId xmlns:a16="http://schemas.microsoft.com/office/drawing/2014/main" id="{9551664C-D0D8-4858-97B5-C06E36E66B8E}"/>
                </a:ext>
              </a:extLst>
            </p:cNvPr>
            <p:cNvSpPr txBox="1"/>
            <p:nvPr/>
          </p:nvSpPr>
          <p:spPr>
            <a:xfrm>
              <a:off x="1003113" y="1725660"/>
              <a:ext cx="6921951" cy="640913"/>
            </a:xfrm>
            <a:prstGeom prst="rect">
              <a:avLst/>
            </a:prstGeom>
            <a:noFill/>
          </p:spPr>
          <p:txBody>
            <a:bodyPr wrap="square">
              <a:spAutoFit/>
            </a:bodyPr>
            <a:lstStyle/>
            <a:p>
              <a:pPr marL="184150" marR="0" lvl="0" indent="-171450" algn="l" defTabSz="914400" rtl="0" eaLnBrk="1" fontAlgn="auto" latinLnBrk="0" hangingPunct="1">
                <a:lnSpc>
                  <a:spcPct val="120000"/>
                </a:lnSpc>
                <a:spcBef>
                  <a:spcPts val="340"/>
                </a:spcBef>
                <a:spcAft>
                  <a:spcPts val="0"/>
                </a:spcAft>
                <a:buClrTx/>
                <a:buSzTx/>
                <a:buFont typeface="Arial" panose="020B0604020202020204" pitchFamily="34" charset="0"/>
                <a:buChar char="•"/>
                <a:tabLst/>
                <a:defRPr/>
              </a:pPr>
              <a:r>
                <a:rPr lang="zh-CN" altLang="en-US" sz="1200" dirty="0">
                  <a:latin typeface="Arial" panose="020B0604020202020204" pitchFamily="34" charset="0"/>
                  <a:ea typeface="微软雅黑" panose="020B0503020204020204" pitchFamily="34" charset="-122"/>
                </a:rPr>
                <a:t>接受造血干细胞移植的</a:t>
              </a:r>
              <a:r>
                <a:rPr lang="en-US" altLang="zh-CN" sz="1200" dirty="0">
                  <a:latin typeface="Arial" panose="020B0604020202020204" pitchFamily="34" charset="0"/>
                  <a:ea typeface="微软雅黑" panose="020B0503020204020204" pitchFamily="34" charset="-122"/>
                </a:rPr>
                <a:t>CMV R+</a:t>
              </a:r>
              <a:r>
                <a:rPr lang="zh-CN" altLang="en-US" sz="1200" dirty="0">
                  <a:latin typeface="Arial" panose="020B0604020202020204" pitchFamily="34" charset="0"/>
                  <a:ea typeface="微软雅黑" panose="020B0503020204020204" pitchFamily="34" charset="-122"/>
                </a:rPr>
                <a:t>患者易发生</a:t>
              </a:r>
              <a:r>
                <a:rPr lang="en-US" altLang="zh-CN" sz="1200" dirty="0">
                  <a:latin typeface="Arial" panose="020B0604020202020204" pitchFamily="34" charset="0"/>
                  <a:ea typeface="微软雅黑" panose="020B0503020204020204" pitchFamily="34" charset="-122"/>
                </a:rPr>
                <a:t>CMV</a:t>
              </a:r>
              <a:r>
                <a:rPr lang="zh-CN" altLang="en-US" sz="1200" dirty="0">
                  <a:latin typeface="Arial" panose="020B0604020202020204" pitchFamily="34" charset="0"/>
                  <a:ea typeface="微软雅黑" panose="020B0503020204020204" pitchFamily="34" charset="-122"/>
                </a:rPr>
                <a:t>感染，加剧患者经济负担，间接成本高昂</a:t>
              </a:r>
              <a:endParaRPr lang="en-US" altLang="zh-CN" sz="1200" dirty="0">
                <a:latin typeface="Arial" panose="020B0604020202020204" pitchFamily="34" charset="0"/>
                <a:ea typeface="微软雅黑" panose="020B0503020204020204" pitchFamily="34" charset="-122"/>
              </a:endParaRPr>
            </a:p>
            <a:p>
              <a:pPr marL="184150" marR="0" lvl="0" indent="-171450" algn="l" defTabSz="914400" rtl="0" eaLnBrk="1" fontAlgn="auto" latinLnBrk="0" hangingPunct="1">
                <a:lnSpc>
                  <a:spcPct val="120000"/>
                </a:lnSpc>
                <a:spcBef>
                  <a:spcPts val="340"/>
                </a:spcBef>
                <a:spcAft>
                  <a:spcPts val="0"/>
                </a:spcAft>
                <a:buClrTx/>
                <a:buSzTx/>
                <a:buFont typeface="Arial" panose="020B0604020202020204" pitchFamily="34" charset="0"/>
                <a:buChar char="•"/>
                <a:tabLst/>
                <a:defRPr/>
              </a:pPr>
              <a:r>
                <a:rPr lang="zh-CN" altLang="en-US" sz="1200" dirty="0">
                  <a:latin typeface="Arial" panose="020B0604020202020204" pitchFamily="34" charset="0"/>
                  <a:ea typeface="微软雅黑" panose="020B0503020204020204" pitchFamily="34" charset="-122"/>
                </a:rPr>
                <a:t>来特莫韦将以更为合理的价格保障中国患者</a:t>
              </a:r>
              <a:r>
                <a:rPr lang="zh-CN" altLang="en-US" sz="1200" b="1" dirty="0">
                  <a:solidFill>
                    <a:srgbClr val="C00000"/>
                  </a:solidFill>
                  <a:latin typeface="Arial" panose="020B0604020202020204" pitchFamily="34" charset="0"/>
                  <a:ea typeface="微软雅黑" panose="020B0503020204020204" pitchFamily="34" charset="-122"/>
                </a:rPr>
                <a:t>可及可负担</a:t>
              </a:r>
              <a:endParaRPr lang="en-US" altLang="zh-CN" sz="1200" b="1" dirty="0">
                <a:solidFill>
                  <a:srgbClr val="C00000"/>
                </a:solidFill>
                <a:latin typeface="Arial" panose="020B0604020202020204" pitchFamily="34" charset="0"/>
                <a:ea typeface="微软雅黑" panose="020B0503020204020204" pitchFamily="34" charset="-122"/>
              </a:endParaRPr>
            </a:p>
          </p:txBody>
        </p:sp>
      </p:grpSp>
      <p:grpSp>
        <p:nvGrpSpPr>
          <p:cNvPr id="54" name="组合 53">
            <a:extLst>
              <a:ext uri="{FF2B5EF4-FFF2-40B4-BE49-F238E27FC236}">
                <a16:creationId xmlns:a16="http://schemas.microsoft.com/office/drawing/2014/main" id="{A92FFCBE-81B8-40F0-A5A8-788CEEBD3323}"/>
              </a:ext>
            </a:extLst>
          </p:cNvPr>
          <p:cNvGrpSpPr/>
          <p:nvPr/>
        </p:nvGrpSpPr>
        <p:grpSpPr>
          <a:xfrm>
            <a:off x="4006805" y="5111072"/>
            <a:ext cx="8141458" cy="1525489"/>
            <a:chOff x="1802604" y="1270052"/>
            <a:chExt cx="10118489" cy="1525489"/>
          </a:xfrm>
        </p:grpSpPr>
        <p:sp>
          <p:nvSpPr>
            <p:cNvPr id="55" name="平行四边形 54">
              <a:extLst>
                <a:ext uri="{FF2B5EF4-FFF2-40B4-BE49-F238E27FC236}">
                  <a16:creationId xmlns:a16="http://schemas.microsoft.com/office/drawing/2014/main" id="{50C19652-F6DA-4CDD-8F03-3A28EA66293A}"/>
                </a:ext>
              </a:extLst>
            </p:cNvPr>
            <p:cNvSpPr/>
            <p:nvPr/>
          </p:nvSpPr>
          <p:spPr>
            <a:xfrm>
              <a:off x="5449283" y="1399874"/>
              <a:ext cx="6307271" cy="274320"/>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56" name="组合 55">
              <a:extLst>
                <a:ext uri="{FF2B5EF4-FFF2-40B4-BE49-F238E27FC236}">
                  <a16:creationId xmlns:a16="http://schemas.microsoft.com/office/drawing/2014/main" id="{D0503F91-5C9A-4D61-857A-756BDD8401D9}"/>
                </a:ext>
              </a:extLst>
            </p:cNvPr>
            <p:cNvGrpSpPr/>
            <p:nvPr/>
          </p:nvGrpSpPr>
          <p:grpSpPr>
            <a:xfrm>
              <a:off x="1802604" y="1696810"/>
              <a:ext cx="9887434" cy="1098731"/>
              <a:chOff x="1701378" y="1330471"/>
              <a:chExt cx="9138766" cy="1388382"/>
            </a:xfrm>
          </p:grpSpPr>
          <p:sp>
            <p:nvSpPr>
              <p:cNvPr id="60" name="平行四边形 59">
                <a:extLst>
                  <a:ext uri="{FF2B5EF4-FFF2-40B4-BE49-F238E27FC236}">
                    <a16:creationId xmlns:a16="http://schemas.microsoft.com/office/drawing/2014/main" id="{4166FBA1-2FA7-4E52-9107-06632196C4C3}"/>
                  </a:ext>
                </a:extLst>
              </p:cNvPr>
              <p:cNvSpPr/>
              <p:nvPr/>
            </p:nvSpPr>
            <p:spPr>
              <a:xfrm>
                <a:off x="1701378" y="1794487"/>
                <a:ext cx="9000489" cy="924366"/>
              </a:xfrm>
              <a:prstGeom prst="parallelogram">
                <a:avLst>
                  <a:gd name="adj" fmla="val 21554"/>
                </a:avLst>
              </a:prstGeom>
              <a:solidFill>
                <a:srgbClr val="FFC000"/>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1" name="平行四边形 60">
                <a:extLst>
                  <a:ext uri="{FF2B5EF4-FFF2-40B4-BE49-F238E27FC236}">
                    <a16:creationId xmlns:a16="http://schemas.microsoft.com/office/drawing/2014/main" id="{1857E545-B632-4263-A21B-73C5B2E38D51}"/>
                  </a:ext>
                </a:extLst>
              </p:cNvPr>
              <p:cNvSpPr/>
              <p:nvPr/>
            </p:nvSpPr>
            <p:spPr>
              <a:xfrm>
                <a:off x="1701378" y="1330471"/>
                <a:ext cx="9138766" cy="1155457"/>
              </a:xfrm>
              <a:prstGeom prst="parallelogram">
                <a:avLst/>
              </a:prstGeom>
              <a:solidFill>
                <a:schemeClr val="bg1">
                  <a:lumMod val="95000"/>
                </a:schemeClr>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57" name="平行四边形 56">
              <a:extLst>
                <a:ext uri="{FF2B5EF4-FFF2-40B4-BE49-F238E27FC236}">
                  <a16:creationId xmlns:a16="http://schemas.microsoft.com/office/drawing/2014/main" id="{C05262FA-C8AD-483E-B728-431A50960F15}"/>
                </a:ext>
              </a:extLst>
            </p:cNvPr>
            <p:cNvSpPr/>
            <p:nvPr/>
          </p:nvSpPr>
          <p:spPr>
            <a:xfrm>
              <a:off x="11419967" y="1404850"/>
              <a:ext cx="501126" cy="1280160"/>
            </a:xfrm>
            <a:prstGeom prst="parallelogram">
              <a:avLst>
                <a:gd name="adj" fmla="val 81955"/>
              </a:avLst>
            </a:prstGeom>
            <a:solidFill>
              <a:schemeClr val="tx2">
                <a:alpha val="20884"/>
              </a:schemeClr>
            </a:solidFill>
            <a:ln w="60325">
              <a:noFill/>
            </a:ln>
          </p:spPr>
          <p:style>
            <a:lnRef idx="2">
              <a:schemeClr val="accent1">
                <a:shade val="50000"/>
              </a:schemeClr>
            </a:lnRef>
            <a:fillRef idx="1">
              <a:schemeClr val="accent1"/>
            </a:fillRef>
            <a:effectRef idx="0">
              <a:schemeClr val="accent1"/>
            </a:effectRef>
            <a:fontRef idx="minor">
              <a:schemeClr val="lt1"/>
            </a:fontRef>
          </p:style>
          <p:txBody>
            <a:bodyPr wrap="square" lIns="324000" tIns="324000" rtlCol="0" anchor="t" anchorCtr="0">
              <a:noAutofit/>
            </a:bodyPr>
            <a:lstStyle/>
            <a:p>
              <a:pPr>
                <a:buClr>
                  <a:srgbClr val="001965"/>
                </a:buClr>
              </a:pPr>
              <a:endParaRPr lang="zh-CN" altLang="en-US" sz="1200" dirty="0">
                <a:solidFill>
                  <a:schemeClr val="tx1"/>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8" name="文本框 57">
              <a:extLst>
                <a:ext uri="{FF2B5EF4-FFF2-40B4-BE49-F238E27FC236}">
                  <a16:creationId xmlns:a16="http://schemas.microsoft.com/office/drawing/2014/main" id="{30190519-42BC-4DF4-A873-2D69FD350EC3}"/>
                </a:ext>
              </a:extLst>
            </p:cNvPr>
            <p:cNvSpPr txBox="1"/>
            <p:nvPr/>
          </p:nvSpPr>
          <p:spPr>
            <a:xfrm>
              <a:off x="5613817" y="1270052"/>
              <a:ext cx="6033558" cy="417743"/>
            </a:xfrm>
            <a:prstGeom prst="rect">
              <a:avLst/>
            </a:prstGeom>
            <a:noFill/>
          </p:spPr>
          <p:txBody>
            <a:bodyPr wrap="square">
              <a:spAutoFit/>
            </a:bodyPr>
            <a:lstStyle/>
            <a:p>
              <a:pPr>
                <a:lnSpc>
                  <a:spcPct val="150000"/>
                </a:lnSpc>
              </a:pPr>
              <a:r>
                <a:rPr lang="zh-CN" altLang="en-US" sz="1400" b="1" dirty="0">
                  <a:latin typeface="Arial" panose="020B0604020202020204" pitchFamily="34" charset="0"/>
                  <a:ea typeface="微软雅黑" panose="020B0503020204020204" pitchFamily="34" charset="-122"/>
                  <a:cs typeface="+mn-ea"/>
                  <a:sym typeface="Arial" panose="020B0604020202020204" pitchFamily="34" charset="0"/>
                </a:rPr>
                <a:t>临床管理</a:t>
              </a:r>
              <a:r>
                <a:rPr lang="zh-CN" altLang="en-US" sz="16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rPr>
                <a:t>可控</a:t>
              </a:r>
              <a:endParaRPr lang="en-US" altLang="zh-CN" sz="1400" b="1" dirty="0">
                <a:solidFill>
                  <a:schemeClr val="accent2">
                    <a:lumMod val="50000"/>
                  </a:schemeClr>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9" name="文本框 58">
              <a:extLst>
                <a:ext uri="{FF2B5EF4-FFF2-40B4-BE49-F238E27FC236}">
                  <a16:creationId xmlns:a16="http://schemas.microsoft.com/office/drawing/2014/main" id="{6D1147C7-1370-42CC-BB3B-C367078F663A}"/>
                </a:ext>
              </a:extLst>
            </p:cNvPr>
            <p:cNvSpPr txBox="1"/>
            <p:nvPr/>
          </p:nvSpPr>
          <p:spPr>
            <a:xfrm>
              <a:off x="2094765" y="1669440"/>
              <a:ext cx="9400839" cy="928203"/>
            </a:xfrm>
            <a:prstGeom prst="rect">
              <a:avLst/>
            </a:prstGeom>
            <a:noFill/>
          </p:spPr>
          <p:txBody>
            <a:bodyPr wrap="square">
              <a:spAutoFit/>
            </a:bodyPr>
            <a:lstStyle/>
            <a:p>
              <a:pPr marL="171450" indent="-171450" fontAlgn="b">
                <a:lnSpc>
                  <a:spcPts val="1700"/>
                </a:lnSpc>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sym typeface="Arial" panose="020B0604020202020204" pitchFamily="34" charset="0"/>
                </a:rPr>
                <a:t>根据来特莫韦说明书适应症，</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仅</a:t>
              </a:r>
              <a:r>
                <a:rPr lang="zh-CN" altLang="en-US" sz="1200" dirty="0">
                  <a:latin typeface="Arial" panose="020B0604020202020204" pitchFamily="34" charset="0"/>
                  <a:ea typeface="微软雅黑" panose="020B0503020204020204" pitchFamily="34" charset="-122"/>
                  <a:sym typeface="Arial" panose="020B0604020202020204" pitchFamily="34" charset="0"/>
                </a:rPr>
                <a:t>应用于</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血液科</a:t>
              </a:r>
              <a:r>
                <a:rPr lang="zh-CN" altLang="en-US" sz="1200" dirty="0">
                  <a:latin typeface="Arial" panose="020B0604020202020204" pitchFamily="34" charset="0"/>
                  <a:ea typeface="微软雅黑" panose="020B0503020204020204" pitchFamily="34" charset="-122"/>
                  <a:sym typeface="Arial" panose="020B0604020202020204" pitchFamily="34" charset="0"/>
                </a:rPr>
                <a:t>接受</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异基因</a:t>
              </a:r>
              <a:r>
                <a:rPr lang="zh-CN" altLang="en-US" sz="1200" dirty="0">
                  <a:latin typeface="Arial" panose="020B0604020202020204" pitchFamily="34" charset="0"/>
                  <a:ea typeface="微软雅黑" panose="020B0503020204020204" pitchFamily="34" charset="-122"/>
                  <a:sym typeface="Arial" panose="020B0604020202020204" pitchFamily="34" charset="0"/>
                </a:rPr>
                <a:t>造血干细胞移植且巨细胞病毒血清学</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阳性</a:t>
              </a:r>
              <a:r>
                <a:rPr lang="zh-CN" altLang="en-US" sz="1200" dirty="0">
                  <a:latin typeface="Arial" panose="020B0604020202020204" pitchFamily="34" charset="0"/>
                  <a:ea typeface="微软雅黑" panose="020B0503020204020204" pitchFamily="34" charset="-122"/>
                  <a:sym typeface="Arial" panose="020B0604020202020204" pitchFamily="34" charset="0"/>
                </a:rPr>
                <a:t>的</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成人</a:t>
              </a:r>
              <a:r>
                <a:rPr lang="zh-CN" altLang="en-US" sz="1200" dirty="0">
                  <a:latin typeface="Arial" panose="020B0604020202020204" pitchFamily="34" charset="0"/>
                  <a:ea typeface="微软雅黑" panose="020B0503020204020204" pitchFamily="34" charset="-122"/>
                  <a:sym typeface="Arial" panose="020B0604020202020204" pitchFamily="34" charset="0"/>
                </a:rPr>
                <a:t>受者预防</a:t>
              </a:r>
              <a:r>
                <a:rPr lang="en-US" altLang="zh-CN" sz="1200" dirty="0">
                  <a:latin typeface="Arial" panose="020B0604020202020204" pitchFamily="34" charset="0"/>
                  <a:ea typeface="微软雅黑" panose="020B0503020204020204" pitchFamily="34" charset="-122"/>
                  <a:sym typeface="Arial" panose="020B0604020202020204" pitchFamily="34" charset="0"/>
                </a:rPr>
                <a:t>CMV</a:t>
              </a:r>
              <a:r>
                <a:rPr lang="zh-CN" altLang="en-US" sz="1200" dirty="0">
                  <a:latin typeface="Arial" panose="020B0604020202020204" pitchFamily="34" charset="0"/>
                  <a:ea typeface="微软雅黑" panose="020B0503020204020204" pitchFamily="34" charset="-122"/>
                  <a:sym typeface="Arial" panose="020B0604020202020204" pitchFamily="34" charset="0"/>
                </a:rPr>
                <a:t>感染和</a:t>
              </a:r>
              <a:r>
                <a:rPr lang="en-US" altLang="zh-CN" sz="1200" dirty="0">
                  <a:latin typeface="Arial" panose="020B0604020202020204" pitchFamily="34" charset="0"/>
                  <a:ea typeface="微软雅黑" panose="020B0503020204020204" pitchFamily="34" charset="-122"/>
                  <a:sym typeface="Arial" panose="020B0604020202020204" pitchFamily="34" charset="0"/>
                </a:rPr>
                <a:t>CMV</a:t>
              </a:r>
              <a:r>
                <a:rPr lang="zh-CN" altLang="en-US" sz="1200" dirty="0">
                  <a:latin typeface="Arial" panose="020B0604020202020204" pitchFamily="34" charset="0"/>
                  <a:ea typeface="微软雅黑" panose="020B0503020204020204" pitchFamily="34" charset="-122"/>
                  <a:sym typeface="Arial" panose="020B0604020202020204" pitchFamily="34" charset="0"/>
                </a:rPr>
                <a:t>病，且该适应症是来特莫韦</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全球唯一适应症</a:t>
              </a:r>
              <a:r>
                <a:rPr lang="zh-CN" altLang="en-US" sz="1200" dirty="0">
                  <a:latin typeface="Arial" panose="020B0604020202020204" pitchFamily="34" charset="0"/>
                  <a:ea typeface="微软雅黑" panose="020B0503020204020204" pitchFamily="34" charset="-122"/>
                  <a:sym typeface="Arial" panose="020B0604020202020204" pitchFamily="34" charset="0"/>
                </a:rPr>
                <a:t>，临床管理难度小</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a:p>
              <a:pPr marL="171450" indent="-171450" fontAlgn="b">
                <a:lnSpc>
                  <a:spcPts val="1700"/>
                </a:lnSpc>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rPr>
                <a:t>不良反应安全可控，无骨髓抑制和肾毒性、无交叉耐药，口服</a:t>
              </a:r>
              <a:r>
                <a:rPr lang="zh-CN" altLang="en-US" sz="1200">
                  <a:latin typeface="Arial" panose="020B0604020202020204" pitchFamily="34" charset="0"/>
                  <a:ea typeface="微软雅黑" panose="020B0503020204020204" pitchFamily="34" charset="-122"/>
                </a:rPr>
                <a:t>给药，患者</a:t>
              </a:r>
              <a:r>
                <a:rPr lang="zh-CN" altLang="en-US" sz="1200" dirty="0">
                  <a:latin typeface="Arial" panose="020B0604020202020204" pitchFamily="34" charset="0"/>
                  <a:ea typeface="微软雅黑" panose="020B0503020204020204" pitchFamily="34" charset="-122"/>
                </a:rPr>
                <a:t>依从性好，便于临床管理</a:t>
              </a:r>
            </a:p>
            <a:p>
              <a:pPr marL="171450" indent="-171450" fontAlgn="b">
                <a:lnSpc>
                  <a:spcPts val="1700"/>
                </a:lnSpc>
                <a:spcAft>
                  <a:spcPts val="800"/>
                </a:spcAft>
                <a:buFont typeface="Arial" panose="020B0604020202020204" pitchFamily="34" charset="0"/>
                <a:buChar char="•"/>
              </a:pPr>
              <a:r>
                <a:rPr lang="zh-CN" altLang="en-US" sz="1200" dirty="0">
                  <a:latin typeface="Arial" panose="020B0604020202020204" pitchFamily="34" charset="0"/>
                  <a:ea typeface="微软雅黑" panose="020B0503020204020204" pitchFamily="34" charset="-122"/>
                  <a:sym typeface="Arial" panose="020B0604020202020204" pitchFamily="34" charset="0"/>
                </a:rPr>
                <a:t>中国患者</a:t>
              </a:r>
              <a:r>
                <a:rPr lang="en-US" altLang="zh-CN"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90%</a:t>
              </a:r>
              <a:r>
                <a:rPr lang="zh-CN" altLang="en-US" sz="1200" b="1" dirty="0">
                  <a:solidFill>
                    <a:srgbClr val="C00000"/>
                  </a:solidFill>
                  <a:latin typeface="Arial" panose="020B0604020202020204" pitchFamily="34" charset="0"/>
                  <a:ea typeface="微软雅黑" panose="020B0503020204020204" pitchFamily="34" charset="-122"/>
                  <a:sym typeface="Arial" panose="020B0604020202020204" pitchFamily="34" charset="0"/>
                </a:rPr>
                <a:t>以上</a:t>
              </a:r>
              <a:r>
                <a:rPr lang="zh-CN" altLang="en-US" sz="1200" dirty="0">
                  <a:latin typeface="Arial" panose="020B0604020202020204" pitchFamily="34" charset="0"/>
                  <a:ea typeface="微软雅黑" panose="020B0503020204020204" pitchFamily="34" charset="-122"/>
                  <a:sym typeface="Arial" panose="020B0604020202020204" pitchFamily="34" charset="0"/>
                </a:rPr>
                <a:t>与环孢素连用，</a:t>
              </a:r>
              <a:r>
                <a:rPr lang="zh-CN" altLang="en-US" sz="1200" b="0" i="0" dirty="0">
                  <a:solidFill>
                    <a:srgbClr val="242424"/>
                  </a:solidFill>
                  <a:effectLst/>
                  <a:latin typeface="-apple-system"/>
                </a:rPr>
                <a:t>更符合中国临床免疫抑制剂方案</a:t>
              </a:r>
              <a:endParaRPr lang="en-US" altLang="zh-CN" sz="1200" dirty="0">
                <a:latin typeface="Arial" panose="020B0604020202020204" pitchFamily="34" charset="0"/>
                <a:ea typeface="微软雅黑" panose="020B0503020204020204" pitchFamily="34" charset="-122"/>
                <a:sym typeface="Arial" panose="020B0604020202020204" pitchFamily="34" charset="0"/>
              </a:endParaRPr>
            </a:p>
          </p:txBody>
        </p:sp>
      </p:grpSp>
    </p:spTree>
    <p:extLst>
      <p:ext uri="{BB962C8B-B14F-4D97-AF65-F5344CB8AC3E}">
        <p14:creationId xmlns:p14="http://schemas.microsoft.com/office/powerpoint/2010/main" val="351857290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ISLIDE.GUIDESSETTING" val="{&quot;Id&quot;:&quot;a3a31ecb-e163-4047-a88a-bbe2f7efd549&quot;,&quot;Name&quot;:&quot;自定义&quot;,&quot;Kind&quot;:&quot;Custom&quot;,&quot;OldGuidesSetting&quot;:{&quot;HeaderHeight&quot;:15.0,&quot;FooterHeight&quot;:6.0,&quot;SideMargin&quot;:4.0,&quot;TopMargin&quot;:0.0,&quot;BottomMargin&quot;:0.0,&quot;IntervalMargin&quot;:1.5}}"/>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ISLIDE.DIAGRAM" val="#803418;"/>
  <p:tag name="ISLIDE.ICON" val="#153579;#384280;#169966;#402741;#384928;#49831;#393620;#138595;"/>
</p:tagLst>
</file>

<file path=ppt/tags/tag4.xml><?xml version="1.0" encoding="utf-8"?>
<p:tagLst xmlns:a="http://schemas.openxmlformats.org/drawingml/2006/main" xmlns:r="http://schemas.openxmlformats.org/officeDocument/2006/relationships" xmlns:p="http://schemas.openxmlformats.org/presentationml/2006/main">
  <p:tag name="ISLIDE.THEME" val="https://www.islide.cc;https://www.islide.cc;"/>
  <p:tag name="ISLIDE.VECTOR" val="#192835;"/>
  <p:tag name="ISLIDE.ICON" val="#41071;#167570;#71679;#145021;#135846;#23852;#4107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ISLIDE.PICTURE" val="#745078;#711893;"/>
  <p:tag name="ISLIDE.ICON" val="#136345;#167570;#167570;#55717;#71679;"/>
  <p:tag name="ISLIDE.VECTOR" val="#184163;#867478;#748475;#254603;#778524;#821049;#184087;"/>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ISLIDE.ICON" val="#141418;#156516;#3217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SD 16:9 PPT Theme">
  <a:themeElements>
    <a:clrScheme name="Merck colour theme">
      <a:dk1>
        <a:sysClr val="windowText" lastClr="000000"/>
      </a:dk1>
      <a:lt1>
        <a:sysClr val="window" lastClr="FFFFFF"/>
      </a:lt1>
      <a:dk2>
        <a:srgbClr val="44546A"/>
      </a:dk2>
      <a:lt2>
        <a:srgbClr val="9EA7B3"/>
      </a:lt2>
      <a:accent1>
        <a:srgbClr val="00857C"/>
      </a:accent1>
      <a:accent2>
        <a:srgbClr val="6ECEB2"/>
      </a:accent2>
      <a:accent3>
        <a:srgbClr val="FFF063"/>
      </a:accent3>
      <a:accent4>
        <a:srgbClr val="0C2340"/>
      </a:accent4>
      <a:accent5>
        <a:srgbClr val="5450E4"/>
      </a:accent5>
      <a:accent6>
        <a:srgbClr val="688CE8"/>
      </a:accent6>
      <a:hlink>
        <a:srgbClr val="0563C1"/>
      </a:hlink>
      <a:folHlink>
        <a:srgbClr val="954F72"/>
      </a:folHlink>
    </a:clrScheme>
    <a:fontScheme name="自定义 1">
      <a:majorFont>
        <a:latin typeface="微软雅黑"/>
        <a:ea typeface="微软雅黑"/>
        <a:cs typeface=""/>
      </a:majorFont>
      <a:minorFont>
        <a:latin typeface="微软雅黑"/>
        <a:ea typeface="微软雅黑"/>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200"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200" dirty="0"/>
        </a:defPPr>
      </a:lstStyle>
    </a:txDef>
  </a:objectDefaults>
  <a:extraClrSchemeLst/>
  <a:custClrLst>
    <a:custClr name="Merck Teal">
      <a:srgbClr val="00857C"/>
    </a:custClr>
    <a:custClr name="White">
      <a:srgbClr val="FFFFFF"/>
    </a:custClr>
    <a:custClr name="Merck Blue">
      <a:srgbClr val="0C2340"/>
    </a:custClr>
    <a:custClr name="Merck Light Teal">
      <a:srgbClr val="6ECEB2"/>
    </a:custClr>
    <a:custClr name="Merck Off-White">
      <a:srgbClr val="F7F7F7"/>
    </a:custClr>
    <a:custClr name="Merck Lime">
      <a:srgbClr val="BFED33"/>
    </a:custClr>
    <a:custClr name="Merck Lemon">
      <a:srgbClr val="FFF063"/>
    </a:custClr>
    <a:custClr name="Merck Pastel Blue">
      <a:srgbClr val="69B8F7"/>
    </a:custClr>
    <a:custClr name="Merck Vista Blue">
      <a:srgbClr val="688CE8"/>
    </a:custClr>
    <a:custClr name="Merck Rich Blue">
      <a:srgbClr val="5450E4"/>
    </a:custClr>
  </a:custClrLst>
  <a:extLst>
    <a:ext uri="{05A4C25C-085E-4340-85A3-A5531E510DB2}">
      <thm15:themeFamily xmlns:thm15="http://schemas.microsoft.com/office/thememl/2012/main" name="Presentation9" id="{505471A8-5E1C-1C42-8102-4E306BF89AD5}" vid="{2B4D62E7-0F2F-F94D-80C9-17E7DFA785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sisl xmlns:xsd="http://www.w3.org/2001/XMLSchema" xmlns:xsi="http://www.w3.org/2001/XMLSchema-instance" xmlns="http://www.boldonjames.com/2008/01/sie/internal/label" sislVersion="0" policy="a10f9ac0-5937-4b4f-b459-96aedd9ed2c5" origin="userSelected">
  <element uid="id_classification_euconfidential" value=""/>
  <element uid="cefbaa69-3bfa-4b56-8d22-6839cb7b06d0" value=""/>
</sisl>
</file>

<file path=customXml/itemProps1.xml><?xml version="1.0" encoding="utf-8"?>
<ds:datastoreItem xmlns:ds="http://schemas.openxmlformats.org/officeDocument/2006/customXml" ds:itemID="{0E93C622-5824-44AE-A7D2-5DA0A9258534}">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otalTime>7101</TotalTime>
  <Words>1759</Words>
  <Application>Microsoft Office PowerPoint</Application>
  <PresentationFormat>宽屏</PresentationFormat>
  <Paragraphs>211</Paragraphs>
  <Slides>9</Slides>
  <Notes>9</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7" baseType="lpstr">
      <vt:lpstr>-apple-system</vt:lpstr>
      <vt:lpstr>等线</vt:lpstr>
      <vt:lpstr>微软雅黑</vt:lpstr>
      <vt:lpstr>Arial</vt:lpstr>
      <vt:lpstr>Calibri</vt:lpstr>
      <vt:lpstr>Times New Roman</vt:lpstr>
      <vt:lpstr>MSD 16:9 PPT Theme</vt:lpstr>
      <vt:lpstr>think-cell 幻灯片</vt:lpstr>
      <vt:lpstr>PowerPoint 演示文稿</vt:lpstr>
      <vt:lpstr>目录</vt:lpstr>
      <vt:lpstr>01 药品基本信息</vt:lpstr>
      <vt:lpstr>01 药品基本信息</vt:lpstr>
      <vt:lpstr>02 安全性  </vt:lpstr>
      <vt:lpstr>03 有效性</vt:lpstr>
      <vt:lpstr>03 有效性</vt:lpstr>
      <vt:lpstr>04 创新性</vt:lpstr>
      <vt:lpstr>05 公平性</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Yu, Bing</dc:creator>
  <cp:lastModifiedBy>Hu, Xue</cp:lastModifiedBy>
  <cp:revision>98</cp:revision>
  <dcterms:created xsi:type="dcterms:W3CDTF">2022-07-05T01:19:56Z</dcterms:created>
  <dcterms:modified xsi:type="dcterms:W3CDTF">2022-07-13T02:10: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81acc0d-dcc4-4dc9-a2c5-be70b05a2fe6_Enabled">
    <vt:lpwstr>true</vt:lpwstr>
  </property>
  <property fmtid="{D5CDD505-2E9C-101B-9397-08002B2CF9AE}" pid="3" name="MSIP_Label_e81acc0d-dcc4-4dc9-a2c5-be70b05a2fe6_SetDate">
    <vt:lpwstr>2022-07-05T01:20:32Z</vt:lpwstr>
  </property>
  <property fmtid="{D5CDD505-2E9C-101B-9397-08002B2CF9AE}" pid="4" name="MSIP_Label_e81acc0d-dcc4-4dc9-a2c5-be70b05a2fe6_Method">
    <vt:lpwstr>Privileged</vt:lpwstr>
  </property>
  <property fmtid="{D5CDD505-2E9C-101B-9397-08002B2CF9AE}" pid="5" name="MSIP_Label_e81acc0d-dcc4-4dc9-a2c5-be70b05a2fe6_Name">
    <vt:lpwstr>e81acc0d-dcc4-4dc9-a2c5-be70b05a2fe6</vt:lpwstr>
  </property>
  <property fmtid="{D5CDD505-2E9C-101B-9397-08002B2CF9AE}" pid="6" name="MSIP_Label_e81acc0d-dcc4-4dc9-a2c5-be70b05a2fe6_SiteId">
    <vt:lpwstr>a00de4ec-48a8-43a6-be74-e31274e2060d</vt:lpwstr>
  </property>
  <property fmtid="{D5CDD505-2E9C-101B-9397-08002B2CF9AE}" pid="7" name="MSIP_Label_e81acc0d-dcc4-4dc9-a2c5-be70b05a2fe6_ActionId">
    <vt:lpwstr>37c699d1-bdd7-4669-ab06-8938fc8c6c59</vt:lpwstr>
  </property>
  <property fmtid="{D5CDD505-2E9C-101B-9397-08002B2CF9AE}" pid="8" name="MSIP_Label_e81acc0d-dcc4-4dc9-a2c5-be70b05a2fe6_ContentBits">
    <vt:lpwstr>0</vt:lpwstr>
  </property>
  <property fmtid="{D5CDD505-2E9C-101B-9397-08002B2CF9AE}" pid="9" name="MerckAIPLabel">
    <vt:lpwstr>NotClassified</vt:lpwstr>
  </property>
  <property fmtid="{D5CDD505-2E9C-101B-9397-08002B2CF9AE}" pid="10" name="MerckAIPDataExchange">
    <vt:lpwstr>!MRKMIP@NotClassified</vt:lpwstr>
  </property>
  <property fmtid="{D5CDD505-2E9C-101B-9397-08002B2CF9AE}" pid="11" name="_AdHocReviewCycleID">
    <vt:i4>-607052079</vt:i4>
  </property>
  <property fmtid="{D5CDD505-2E9C-101B-9397-08002B2CF9AE}" pid="12" name="_NewReviewCycle">
    <vt:lpwstr/>
  </property>
  <property fmtid="{D5CDD505-2E9C-101B-9397-08002B2CF9AE}" pid="13" name="_EmailSubject">
    <vt:lpwstr>来特莫韦PPT2</vt:lpwstr>
  </property>
  <property fmtid="{D5CDD505-2E9C-101B-9397-08002B2CF9AE}" pid="14" name="_AuthorEmail">
    <vt:lpwstr>xue.hu1@merck.com</vt:lpwstr>
  </property>
  <property fmtid="{D5CDD505-2E9C-101B-9397-08002B2CF9AE}" pid="15" name="_AuthorEmailDisplayName">
    <vt:lpwstr>Hu, Xue</vt:lpwstr>
  </property>
  <property fmtid="{D5CDD505-2E9C-101B-9397-08002B2CF9AE}" pid="16" name="docIndexRef">
    <vt:lpwstr>d7e0b037-6440-4c62-a45c-0e40c46f332b</vt:lpwstr>
  </property>
  <property fmtid="{D5CDD505-2E9C-101B-9397-08002B2CF9AE}" pid="17" name="bjSaver">
    <vt:lpwstr>ogMJE//NkyGdQ3zWj/JDgOYDV5AC06Vq</vt:lpwstr>
  </property>
  <property fmtid="{D5CDD505-2E9C-101B-9397-08002B2CF9AE}" pid="18" name="bjDocumentLabelXML">
    <vt:lpwstr>&lt;?xml version="1.0" encoding="us-ascii"?&gt;&lt;sisl xmlns:xsd="http://www.w3.org/2001/XMLSchema" xmlns:xsi="http://www.w3.org/2001/XMLSchema-instance" sislVersion="0" policy="a10f9ac0-5937-4b4f-b459-96aedd9ed2c5" origin="userSelected" xmlns="http://www.boldonj</vt:lpwstr>
  </property>
  <property fmtid="{D5CDD505-2E9C-101B-9397-08002B2CF9AE}" pid="19" name="bjDocumentLabelXML-0">
    <vt:lpwstr>ames.com/2008/01/sie/internal/label"&gt;&lt;element uid="id_classification_euconfidential" value="" /&gt;&lt;element uid="cefbaa69-3bfa-4b56-8d22-6839cb7b06d0" value="" /&gt;&lt;/sisl&gt;</vt:lpwstr>
  </property>
  <property fmtid="{D5CDD505-2E9C-101B-9397-08002B2CF9AE}" pid="20" name="bjDocumentSecurityLabel">
    <vt:lpwstr>Proprietary</vt:lpwstr>
  </property>
  <property fmtid="{D5CDD505-2E9C-101B-9397-08002B2CF9AE}" pid="21" name="MerckMetadataExchange">
    <vt:lpwstr>!$MRK@Proprietary-Footer-Left</vt:lpwstr>
  </property>
  <property fmtid="{D5CDD505-2E9C-101B-9397-08002B2CF9AE}" pid="22" name="_PreviousAdHocReviewCycleID">
    <vt:i4>-823272902</vt:i4>
  </property>
</Properties>
</file>